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0.xml" ContentType="application/vnd.openxmlformats-officedocument.presentationml.notesSlide+xml"/>
  <Override PartName="/ppt/comments/modernComment_308_5E44A3E9.xml" ContentType="application/vnd.ms-powerpoint.comment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1.xml" ContentType="application/vnd.openxmlformats-officedocument.presentationml.notesSlide+xml"/>
  <Override PartName="/ppt/comments/modernComment_30E_8E610065.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4.xml" ContentType="application/vnd.openxmlformats-officedocument.presentationml.notesSlide+xml"/>
  <Override PartName="/ppt/comments/modernComment_30C_7880041B.xml" ContentType="application/vnd.ms-powerpoint.comment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9.xml" ContentType="application/vnd.openxmlformats-officedocument.presentationml.tags+xml"/>
  <Override PartName="/ppt/tags/tag40.xml" ContentType="application/vnd.openxmlformats-officedocument.presentationml.tags+xml"/>
  <Override PartName="/ppt/notesSlides/notesSlide25.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41.xml" ContentType="application/vnd.openxmlformats-officedocument.presentationml.tags+xml"/>
  <Override PartName="/ppt/notesSlides/notesSlide2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27.xml" ContentType="application/vnd.openxmlformats-officedocument.presentationml.notesSlide+xml"/>
  <Override PartName="/ppt/comments/modernComment_30A_30A6C794.xml" ContentType="application/vnd.ms-powerpoint.comment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8.xml" ContentType="application/vnd.openxmlformats-officedocument.presentationml.notesSlide+xml"/>
  <Override PartName="/ppt/comments/modernComment_309_DB7969AE.xml" ContentType="application/vnd.ms-powerpoint.comment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notesSlides/notesSlide29.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notesSlides/notesSlide30.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52.xml" ContentType="application/vnd.openxmlformats-officedocument.presentationml.tags+xml"/>
  <Override PartName="/ppt/notesSlides/notesSlide31.xml" ContentType="application/vnd.openxmlformats-officedocument.presentationml.notesSlide+xml"/>
  <Override PartName="/ppt/tags/tag53.xml" ContentType="application/vnd.openxmlformats-officedocument.presentationml.tags+xml"/>
  <Override PartName="/ppt/notesSlides/notesSlide32.xml" ContentType="application/vnd.openxmlformats-officedocument.presentationml.notesSlide+xml"/>
  <Override PartName="/ppt/tags/tag54.xml" ContentType="application/vnd.openxmlformats-officedocument.presentationml.tags+xml"/>
  <Override PartName="/ppt/notesSlides/notesSlide33.xml" ContentType="application/vnd.openxmlformats-officedocument.presentationml.notesSlide+xml"/>
  <Override PartName="/ppt/tags/tag55.xml" ContentType="application/vnd.openxmlformats-officedocument.presentationml.tags+xml"/>
  <Override PartName="/ppt/notesSlides/notesSlide34.xml" ContentType="application/vnd.openxmlformats-officedocument.presentationml.notesSlide+xml"/>
  <Override PartName="/ppt/comments/modernComment_109_354AACB0.xml" ContentType="application/vnd.ms-powerpoint.comments+xml"/>
  <Override PartName="/ppt/notesSlides/notesSlide35.xml" ContentType="application/vnd.openxmlformats-officedocument.presentationml.notesSlide+xml"/>
  <Override PartName="/ppt/tags/tag56.xml" ContentType="application/vnd.openxmlformats-officedocument.presentationml.tags+xml"/>
  <Override PartName="/ppt/notesSlides/notesSlide36.xml" ContentType="application/vnd.openxmlformats-officedocument.presentationml.notesSlide+xml"/>
  <Override PartName="/ppt/comments/modernComment_18F_2FAE70AF.xml" ContentType="application/vnd.ms-powerpoint.comments+xml"/>
  <Override PartName="/ppt/notesSlides/notesSlide37.xml" ContentType="application/vnd.openxmlformats-officedocument.presentationml.notesSlide+xml"/>
  <Override PartName="/ppt/comments/modernComment_18D_EEBE9F9A.xml" ContentType="application/vnd.ms-powerpoint.comment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omments/modernComment_191_DE9585A0.xml" ContentType="application/vnd.ms-powerpoint.comments+xml"/>
  <Override PartName="/ppt/notesSlides/notesSlide40.xml" ContentType="application/vnd.openxmlformats-officedocument.presentationml.notesSlide+xml"/>
  <Override PartName="/ppt/comments/modernComment_31C_D3D640D4.xml" ContentType="application/vnd.ms-powerpoint.comment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1.xml" ContentType="application/vnd.openxmlformats-officedocument.presentationml.notesSlide+xml"/>
  <Override PartName="/ppt/comments/modernComment_484_13B97F92.xml" ContentType="application/vnd.ms-powerpoint.comment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omments/modernComment_49C_8CE12516.xml" ContentType="application/vnd.ms-powerpoint.comments+xml"/>
  <Override PartName="/ppt/notesSlides/notesSlide44.xml" ContentType="application/vnd.openxmlformats-officedocument.presentationml.notesSlide+xml"/>
  <Override PartName="/ppt/tags/tag57.xml" ContentType="application/vnd.openxmlformats-officedocument.presentationml.tags+xml"/>
  <Override PartName="/ppt/notesSlides/notesSlide45.xml" ContentType="application/vnd.openxmlformats-officedocument.presentationml.notesSlide+xml"/>
  <Override PartName="/ppt/tags/tag58.xml" ContentType="application/vnd.openxmlformats-officedocument.presentationml.tags+xml"/>
  <Override PartName="/ppt/notesSlides/notesSlide4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4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48.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49.xml" ContentType="application/vnd.openxmlformats-officedocument.presentationml.notesSlide+xml"/>
  <Override PartName="/ppt/comments/modernComment_495_D2AC7FAB.xml" ContentType="application/vnd.ms-powerpoint.comments+xml"/>
  <Override PartName="/ppt/tags/tag69.xml" ContentType="application/vnd.openxmlformats-officedocument.presentationml.tags+xml"/>
  <Override PartName="/ppt/notesSlides/notesSlide50.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51.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5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53.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76.xml" ContentType="application/vnd.openxmlformats-officedocument.presentationml.tags+xml"/>
  <Override PartName="/ppt/notesSlides/notesSlide54.xml" ContentType="application/vnd.openxmlformats-officedocument.presentationml.notesSlide+xml"/>
  <Override PartName="/ppt/tags/tag77.xml" ContentType="application/vnd.openxmlformats-officedocument.presentationml.tags+xml"/>
  <Override PartName="/ppt/notesSlides/notesSlide55.xml" ContentType="application/vnd.openxmlformats-officedocument.presentationml.notesSlide+xml"/>
  <Override PartName="/ppt/tags/tag78.xml" ContentType="application/vnd.openxmlformats-officedocument.presentationml.tags+xml"/>
  <Override PartName="/ppt/notesSlides/notesSlide56.xml" ContentType="application/vnd.openxmlformats-officedocument.presentationml.notesSlide+xml"/>
  <Override PartName="/ppt/tags/tag79.xml" ContentType="application/vnd.openxmlformats-officedocument.presentationml.tags+xml"/>
  <Override PartName="/ppt/notesSlides/notesSlide57.xml" ContentType="application/vnd.openxmlformats-officedocument.presentationml.notesSlide+xml"/>
  <Override PartName="/ppt/tags/tag80.xml" ContentType="application/vnd.openxmlformats-officedocument.presentationml.tags+xml"/>
  <Override PartName="/ppt/notesSlides/notesSlide58.xml" ContentType="application/vnd.openxmlformats-officedocument.presentationml.notesSlide+xml"/>
  <Override PartName="/ppt/tags/tag81.xml" ContentType="application/vnd.openxmlformats-officedocument.presentationml.tags+xml"/>
  <Override PartName="/ppt/notesSlides/notesSlide59.xml" ContentType="application/vnd.openxmlformats-officedocument.presentationml.notesSlide+xml"/>
  <Override PartName="/ppt/tags/tag82.xml" ContentType="application/vnd.openxmlformats-officedocument.presentationml.tags+xml"/>
  <Override PartName="/ppt/notesSlides/notesSlide60.xml" ContentType="application/vnd.openxmlformats-officedocument.presentationml.notesSlide+xml"/>
  <Override PartName="/ppt/tags/tag83.xml" ContentType="application/vnd.openxmlformats-officedocument.presentationml.tags+xml"/>
  <Override PartName="/ppt/notesSlides/notesSlide61.xml" ContentType="application/vnd.openxmlformats-officedocument.presentationml.notesSlide+xml"/>
  <Override PartName="/ppt/tags/tag84.xml" ContentType="application/vnd.openxmlformats-officedocument.presentationml.tags+xml"/>
  <Override PartName="/ppt/notesSlides/notesSlide62.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63.xml" ContentType="application/vnd.openxmlformats-officedocument.presentationml.notesSlide+xml"/>
  <Override PartName="/ppt/tags/tag87.xml" ContentType="application/vnd.openxmlformats-officedocument.presentationml.tags+xml"/>
  <Override PartName="/ppt/notesSlides/notesSlide64.xml" ContentType="application/vnd.openxmlformats-officedocument.presentationml.notesSlide+xml"/>
  <Override PartName="/ppt/tags/tag88.xml" ContentType="application/vnd.openxmlformats-officedocument.presentationml.tags+xml"/>
  <Override PartName="/ppt/notesSlides/notesSlide65.xml" ContentType="application/vnd.openxmlformats-officedocument.presentationml.notesSlide+xml"/>
  <Override PartName="/ppt/tags/tag89.xml" ContentType="application/vnd.openxmlformats-officedocument.presentationml.tags+xml"/>
  <Override PartName="/ppt/notesSlides/notesSlide66.xml" ContentType="application/vnd.openxmlformats-officedocument.presentationml.notesSlide+xml"/>
  <Override PartName="/ppt/tags/tag90.xml" ContentType="application/vnd.openxmlformats-officedocument.presentationml.tags+xml"/>
  <Override PartName="/ppt/notesSlides/notesSlide67.xml" ContentType="application/vnd.openxmlformats-officedocument.presentationml.notesSlide+xml"/>
  <Override PartName="/ppt/tags/tag91.xml" ContentType="application/vnd.openxmlformats-officedocument.presentationml.tags+xml"/>
  <Override PartName="/ppt/notesSlides/notesSlide68.xml" ContentType="application/vnd.openxmlformats-officedocument.presentationml.notesSlide+xml"/>
  <Override PartName="/ppt/tags/tag92.xml" ContentType="application/vnd.openxmlformats-officedocument.presentationml.tags+xml"/>
  <Override PartName="/ppt/notesSlides/notesSlide69.xml" ContentType="application/vnd.openxmlformats-officedocument.presentationml.notesSlide+xml"/>
  <Override PartName="/ppt/tags/tag93.xml" ContentType="application/vnd.openxmlformats-officedocument.presentationml.tags+xml"/>
  <Override PartName="/ppt/notesSlides/notesSlide70.xml" ContentType="application/vnd.openxmlformats-officedocument.presentationml.notesSlide+xml"/>
  <Override PartName="/ppt/comments/modernComment_31A_E3724F58.xml" ContentType="application/vnd.ms-powerpoint.comments+xml"/>
  <Override PartName="/ppt/tags/tag94.xml" ContentType="application/vnd.openxmlformats-officedocument.presentationml.tags+xml"/>
  <Override PartName="/ppt/notesSlides/notesSlide71.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72.xml" ContentType="application/vnd.openxmlformats-officedocument.presentationml.notesSlide+xml"/>
  <Override PartName="/ppt/tags/tag99.xml" ContentType="application/vnd.openxmlformats-officedocument.presentationml.tags+xml"/>
  <Override PartName="/ppt/notesSlides/notesSlide73.xml" ContentType="application/vnd.openxmlformats-officedocument.presentationml.notesSlide+xml"/>
  <Override PartName="/ppt/tags/tag100.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01.xml" ContentType="application/vnd.openxmlformats-officedocument.presentationml.tags+xml"/>
  <Override PartName="/ppt/notesSlides/notesSlide81.xml" ContentType="application/vnd.openxmlformats-officedocument.presentationml.notesSlide+xml"/>
  <Override PartName="/ppt/tags/tag102.xml" ContentType="application/vnd.openxmlformats-officedocument.presentationml.tags+xml"/>
  <Override PartName="/ppt/notesSlides/notesSlide82.xml" ContentType="application/vnd.openxmlformats-officedocument.presentationml.notesSlide+xml"/>
  <Override PartName="/ppt/comments/modernComment_2FC_1AD06A2B.xml" ContentType="application/vnd.ms-powerpoint.comment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83.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84.xml" ContentType="application/vnd.openxmlformats-officedocument.presentationml.notesSlide+xml"/>
  <Override PartName="/ppt/tags/tag125.xml" ContentType="application/vnd.openxmlformats-officedocument.presentationml.tags+xml"/>
  <Override PartName="/ppt/notesSlides/notesSlide85.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86.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87.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88.xml" ContentType="application/vnd.openxmlformats-officedocument.presentationml.notesSlide+xml"/>
  <Override PartName="/ppt/tags/tag133.xml" ContentType="application/vnd.openxmlformats-officedocument.presentationml.tags+xml"/>
  <Override PartName="/ppt/notesSlides/notesSlide89.xml" ContentType="application/vnd.openxmlformats-officedocument.presentationml.notesSlide+xml"/>
  <Override PartName="/ppt/tags/tag134.xml" ContentType="application/vnd.openxmlformats-officedocument.presentationml.tags+xml"/>
  <Override PartName="/ppt/notesSlides/notesSlide90.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91.xml" ContentType="application/vnd.openxmlformats-officedocument.presentationml.notesSlide+xml"/>
  <Override PartName="/ppt/tags/tag137.xml" ContentType="application/vnd.openxmlformats-officedocument.presentationml.tags+xml"/>
  <Override PartName="/ppt/notesSlides/notesSlide92.xml" ContentType="application/vnd.openxmlformats-officedocument.presentationml.notesSlide+xml"/>
  <Override PartName="/ppt/tags/tag138.xml" ContentType="application/vnd.openxmlformats-officedocument.presentationml.tags+xml"/>
  <Override PartName="/ppt/notesSlides/notesSlide93.xml" ContentType="application/vnd.openxmlformats-officedocument.presentationml.notesSlide+xml"/>
  <Override PartName="/ppt/tags/tag139.xml" ContentType="application/vnd.openxmlformats-officedocument.presentationml.tags+xml"/>
  <Override PartName="/ppt/notesSlides/notesSlide94.xml" ContentType="application/vnd.openxmlformats-officedocument.presentationml.notesSlide+xml"/>
  <Override PartName="/ppt/comments/modernComment_10D_90BFB40D.xml" ContentType="application/vnd.ms-powerpoint.comments+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9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0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4"/>
  </p:sldMasterIdLst>
  <p:notesMasterIdLst>
    <p:notesMasterId r:id="rId116"/>
  </p:notesMasterIdLst>
  <p:sldIdLst>
    <p:sldId id="263" r:id="rId5"/>
    <p:sldId id="1186" r:id="rId6"/>
    <p:sldId id="2774" r:id="rId7"/>
    <p:sldId id="2775" r:id="rId8"/>
    <p:sldId id="2776" r:id="rId9"/>
    <p:sldId id="2777" r:id="rId10"/>
    <p:sldId id="2778" r:id="rId11"/>
    <p:sldId id="2779" r:id="rId12"/>
    <p:sldId id="1146" r:id="rId13"/>
    <p:sldId id="1151" r:id="rId14"/>
    <p:sldId id="1150" r:id="rId15"/>
    <p:sldId id="299" r:id="rId16"/>
    <p:sldId id="1145" r:id="rId17"/>
    <p:sldId id="301" r:id="rId18"/>
    <p:sldId id="1147" r:id="rId19"/>
    <p:sldId id="304" r:id="rId20"/>
    <p:sldId id="1149" r:id="rId21"/>
    <p:sldId id="305" r:id="rId22"/>
    <p:sldId id="1152" r:id="rId23"/>
    <p:sldId id="1153" r:id="rId24"/>
    <p:sldId id="1154" r:id="rId25"/>
    <p:sldId id="1155" r:id="rId26"/>
    <p:sldId id="264" r:id="rId27"/>
    <p:sldId id="776" r:id="rId28"/>
    <p:sldId id="782" r:id="rId29"/>
    <p:sldId id="783" r:id="rId30"/>
    <p:sldId id="779" r:id="rId31"/>
    <p:sldId id="780" r:id="rId32"/>
    <p:sldId id="1185" r:id="rId33"/>
    <p:sldId id="1175" r:id="rId34"/>
    <p:sldId id="778" r:id="rId35"/>
    <p:sldId id="777" r:id="rId36"/>
    <p:sldId id="1174" r:id="rId37"/>
    <p:sldId id="784" r:id="rId38"/>
    <p:sldId id="785" r:id="rId39"/>
    <p:sldId id="787" r:id="rId40"/>
    <p:sldId id="790" r:id="rId41"/>
    <p:sldId id="265" r:id="rId42"/>
    <p:sldId id="1188" r:id="rId43"/>
    <p:sldId id="1178" r:id="rId44"/>
    <p:sldId id="399" r:id="rId45"/>
    <p:sldId id="397" r:id="rId46"/>
    <p:sldId id="398" r:id="rId47"/>
    <p:sldId id="401" r:id="rId48"/>
    <p:sldId id="796" r:id="rId49"/>
    <p:sldId id="1156" r:id="rId50"/>
    <p:sldId id="1179" r:id="rId51"/>
    <p:sldId id="1180" r:id="rId52"/>
    <p:sldId id="1181" r:id="rId53"/>
    <p:sldId id="266" r:id="rId54"/>
    <p:sldId id="795" r:id="rId55"/>
    <p:sldId id="746" r:id="rId56"/>
    <p:sldId id="274" r:id="rId57"/>
    <p:sldId id="1173" r:id="rId58"/>
    <p:sldId id="1168" r:id="rId59"/>
    <p:sldId id="407" r:id="rId60"/>
    <p:sldId id="408" r:id="rId61"/>
    <p:sldId id="409" r:id="rId62"/>
    <p:sldId id="410" r:id="rId63"/>
    <p:sldId id="1160" r:id="rId64"/>
    <p:sldId id="1161" r:id="rId65"/>
    <p:sldId id="1162" r:id="rId66"/>
    <p:sldId id="1163" r:id="rId67"/>
    <p:sldId id="1164" r:id="rId68"/>
    <p:sldId id="1165" r:id="rId69"/>
    <p:sldId id="1166" r:id="rId70"/>
    <p:sldId id="1167" r:id="rId71"/>
    <p:sldId id="715" r:id="rId72"/>
    <p:sldId id="752" r:id="rId73"/>
    <p:sldId id="1169" r:id="rId74"/>
    <p:sldId id="1170" r:id="rId75"/>
    <p:sldId id="1171" r:id="rId76"/>
    <p:sldId id="1172" r:id="rId77"/>
    <p:sldId id="756" r:id="rId78"/>
    <p:sldId id="794" r:id="rId79"/>
    <p:sldId id="758" r:id="rId80"/>
    <p:sldId id="759" r:id="rId81"/>
    <p:sldId id="792" r:id="rId82"/>
    <p:sldId id="267" r:id="rId83"/>
    <p:sldId id="1184" r:id="rId84"/>
    <p:sldId id="402" r:id="rId85"/>
    <p:sldId id="1157" r:id="rId86"/>
    <p:sldId id="403" r:id="rId87"/>
    <p:sldId id="1177" r:id="rId88"/>
    <p:sldId id="1158" r:id="rId89"/>
    <p:sldId id="268" r:id="rId90"/>
    <p:sldId id="764" r:id="rId91"/>
    <p:sldId id="765" r:id="rId92"/>
    <p:sldId id="1183" r:id="rId93"/>
    <p:sldId id="1182" r:id="rId94"/>
    <p:sldId id="348" r:id="rId95"/>
    <p:sldId id="767" r:id="rId96"/>
    <p:sldId id="770" r:id="rId97"/>
    <p:sldId id="768" r:id="rId98"/>
    <p:sldId id="771" r:id="rId99"/>
    <p:sldId id="773" r:id="rId100"/>
    <p:sldId id="761" r:id="rId101"/>
    <p:sldId id="763" r:id="rId102"/>
    <p:sldId id="269" r:id="rId103"/>
    <p:sldId id="298" r:id="rId104"/>
    <p:sldId id="332" r:id="rId105"/>
    <p:sldId id="333" r:id="rId106"/>
    <p:sldId id="334" r:id="rId107"/>
    <p:sldId id="336" r:id="rId108"/>
    <p:sldId id="337" r:id="rId109"/>
    <p:sldId id="326" r:id="rId110"/>
    <p:sldId id="327" r:id="rId111"/>
    <p:sldId id="328" r:id="rId112"/>
    <p:sldId id="329" r:id="rId113"/>
    <p:sldId id="330" r:id="rId114"/>
    <p:sldId id="331" r:id="rId115"/>
  </p:sldIdLst>
  <p:sldSz cx="9144000" cy="6858000" type="screen4x3"/>
  <p:notesSz cx="6858000" cy="9144000"/>
  <p:custDataLst>
    <p:tags r:id="rId1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2BC39FC1-07BB-412B-AAB4-9DFE3CB3BB15}">
          <p14:sldIdLst>
            <p14:sldId id="263"/>
            <p14:sldId id="1186"/>
            <p14:sldId id="2774"/>
            <p14:sldId id="2775"/>
            <p14:sldId id="2776"/>
            <p14:sldId id="2777"/>
            <p14:sldId id="2778"/>
            <p14:sldId id="2779"/>
            <p14:sldId id="1146"/>
            <p14:sldId id="1151"/>
            <p14:sldId id="1150"/>
            <p14:sldId id="299"/>
            <p14:sldId id="1145"/>
            <p14:sldId id="301"/>
            <p14:sldId id="1147"/>
            <p14:sldId id="304"/>
            <p14:sldId id="1149"/>
            <p14:sldId id="305"/>
            <p14:sldId id="1152"/>
            <p14:sldId id="1153"/>
            <p14:sldId id="1154"/>
            <p14:sldId id="1155"/>
            <p14:sldId id="264"/>
            <p14:sldId id="776"/>
            <p14:sldId id="782"/>
            <p14:sldId id="783"/>
            <p14:sldId id="779"/>
            <p14:sldId id="780"/>
            <p14:sldId id="1185"/>
            <p14:sldId id="1175"/>
            <p14:sldId id="778"/>
            <p14:sldId id="777"/>
            <p14:sldId id="1174"/>
            <p14:sldId id="784"/>
            <p14:sldId id="785"/>
            <p14:sldId id="787"/>
            <p14:sldId id="790"/>
            <p14:sldId id="265"/>
            <p14:sldId id="1188"/>
            <p14:sldId id="1178"/>
            <p14:sldId id="399"/>
            <p14:sldId id="397"/>
            <p14:sldId id="398"/>
            <p14:sldId id="401"/>
            <p14:sldId id="796"/>
            <p14:sldId id="1156"/>
            <p14:sldId id="1179"/>
            <p14:sldId id="1180"/>
            <p14:sldId id="1181"/>
            <p14:sldId id="266"/>
            <p14:sldId id="795"/>
            <p14:sldId id="746"/>
            <p14:sldId id="274"/>
            <p14:sldId id="1173"/>
            <p14:sldId id="1168"/>
            <p14:sldId id="407"/>
            <p14:sldId id="408"/>
            <p14:sldId id="409"/>
            <p14:sldId id="410"/>
            <p14:sldId id="1160"/>
            <p14:sldId id="1161"/>
            <p14:sldId id="1162"/>
            <p14:sldId id="1163"/>
            <p14:sldId id="1164"/>
            <p14:sldId id="1165"/>
            <p14:sldId id="1166"/>
            <p14:sldId id="1167"/>
            <p14:sldId id="715"/>
            <p14:sldId id="752"/>
            <p14:sldId id="1169"/>
            <p14:sldId id="1170"/>
            <p14:sldId id="1171"/>
            <p14:sldId id="1172"/>
            <p14:sldId id="756"/>
            <p14:sldId id="794"/>
            <p14:sldId id="758"/>
            <p14:sldId id="759"/>
            <p14:sldId id="792"/>
            <p14:sldId id="267"/>
            <p14:sldId id="1184"/>
            <p14:sldId id="402"/>
            <p14:sldId id="1157"/>
            <p14:sldId id="403"/>
            <p14:sldId id="1177"/>
            <p14:sldId id="1158"/>
            <p14:sldId id="268"/>
            <p14:sldId id="764"/>
            <p14:sldId id="765"/>
            <p14:sldId id="1183"/>
            <p14:sldId id="1182"/>
            <p14:sldId id="348"/>
            <p14:sldId id="767"/>
            <p14:sldId id="770"/>
            <p14:sldId id="768"/>
            <p14:sldId id="771"/>
            <p14:sldId id="773"/>
            <p14:sldId id="761"/>
            <p14:sldId id="763"/>
            <p14:sldId id="269"/>
            <p14:sldId id="298"/>
            <p14:sldId id="332"/>
            <p14:sldId id="333"/>
            <p14:sldId id="334"/>
            <p14:sldId id="336"/>
            <p14:sldId id="337"/>
            <p14:sldId id="326"/>
            <p14:sldId id="327"/>
            <p14:sldId id="328"/>
            <p14:sldId id="329"/>
            <p14:sldId id="330"/>
            <p14:sldId id="33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891C52E-3C1E-986B-2C55-3E7E6206BE94}" name="KevCla12" initials="K" userId="S::KevCla12@student.fh-westkueste.de::ef2eb634-4620-450f-93cc-80cc93397e60" providerId="AD"/>
  <p188:author id="{EC839840-2B49-A7B9-AE4F-853B3BC4E8E7}" name="JanEri14" initials="JE" userId="S::JanEri14@student.fh-westkueste.de::ea321e6f-a9b4-4544-8ae7-a495220778c5" providerId="AD"/>
  <p188:author id="{AD335BA8-4F4F-1ADB-3A9F-0A6BDFF5E3FA}" name="HauSie45" initials="HS" userId="S::HauSie45@student.fh-westkueste.de::0c765841-5756-4f10-b568-76473f539d5e" providerId="AD"/>
  <p188:author id="{C5638DD5-6479-7DD9-7906-25C5884088ED}" name="KlaSch23" initials="KS" userId="S::KlaSch23@student.fh-westkueste.de::af01d902-f81e-4bcd-8d25-195841bb9bd0" providerId="AD"/>
  <p188:author id="{CA55A3D9-5D54-7008-7E6B-D79703BA1C8F}" name="JanRud67" initials="Ja" userId="S::janrud67@student.fh-westkueste.de::e03750ef-9d6b-41ce-93f4-a0b96c76819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essler, Leonie" initials="RL" lastIdx="2" clrIdx="0">
    <p:extLst>
      <p:ext uri="{19B8F6BF-5375-455C-9EA6-DF929625EA0E}">
        <p15:presenceInfo xmlns:p15="http://schemas.microsoft.com/office/powerpoint/2012/main" userId="S-1-5-21-3885498424-3782185041-3711053922-76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8282"/>
    <a:srgbClr val="85C2EB"/>
    <a:srgbClr val="E6E6E6"/>
    <a:srgbClr val="D2D2D2"/>
    <a:srgbClr val="E6D2D2"/>
    <a:srgbClr val="AAAAAA"/>
    <a:srgbClr val="B305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F56A33-4BC5-423F-96C0-6A8645FA96BB}" v="19340" dt="2023-12-03T23:57:59.708"/>
    <p1510:client id="{130DB200-CC37-4CB0-9CB7-6B4CEEE70D4C}" v="40" vWet="42" dt="2023-12-03T16:59:31.271"/>
    <p1510:client id="{846FCDC7-37D5-47BE-AE12-0870FE8BA492}" v="159" vWet="161" dt="2023-12-03T23:52:59.12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tags" Target="tags/tag1.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microsoft.com/office/2016/11/relationships/changesInfo" Target="changesInfos/changesInfo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commentAuthors" Target="commentAuthor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microsoft.com/office/2015/10/relationships/revisionInfo" Target="revisionInfo.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presProps" Target="presProps.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viewProps" Target="viewProps.xml"/><Relationship Id="rId125"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Eri14" userId="ea321e6f-a9b4-4544-8ae7-a495220778c5" providerId="ADAL" clId="{B5FC2F59-8760-4ED0-BE63-9294C5DC2940}"/>
    <pc:docChg chg="custSel addSld modSld">
      <pc:chgData name="JanEri14" userId="ea321e6f-a9b4-4544-8ae7-a495220778c5" providerId="ADAL" clId="{B5FC2F59-8760-4ED0-BE63-9294C5DC2940}" dt="2023-11-22T18:51:45.175" v="140" actId="20577"/>
      <pc:docMkLst>
        <pc:docMk/>
      </pc:docMkLst>
      <pc:sldChg chg="modSp mod">
        <pc:chgData name="JanEri14" userId="ea321e6f-a9b4-4544-8ae7-a495220778c5" providerId="ADAL" clId="{B5FC2F59-8760-4ED0-BE63-9294C5DC2940}" dt="2023-11-22T18:37:33.975" v="5" actId="20577"/>
        <pc:sldMkLst>
          <pc:docMk/>
          <pc:sldMk cId="3532490573" sldId="753"/>
        </pc:sldMkLst>
        <pc:spChg chg="mod">
          <ac:chgData name="JanEri14" userId="ea321e6f-a9b4-4544-8ae7-a495220778c5" providerId="ADAL" clId="{B5FC2F59-8760-4ED0-BE63-9294C5DC2940}" dt="2023-11-22T18:37:26.887" v="1" actId="20577"/>
          <ac:spMkLst>
            <pc:docMk/>
            <pc:sldMk cId="3532490573" sldId="753"/>
            <ac:spMk id="3" creationId="{00000000-0000-0000-0000-000000000000}"/>
          </ac:spMkLst>
        </pc:spChg>
        <pc:spChg chg="mod">
          <ac:chgData name="JanEri14" userId="ea321e6f-a9b4-4544-8ae7-a495220778c5" providerId="ADAL" clId="{B5FC2F59-8760-4ED0-BE63-9294C5DC2940}" dt="2023-11-22T18:37:29.733" v="2" actId="20577"/>
          <ac:spMkLst>
            <pc:docMk/>
            <pc:sldMk cId="3532490573" sldId="753"/>
            <ac:spMk id="7" creationId="{00000000-0000-0000-0000-000000000000}"/>
          </ac:spMkLst>
        </pc:spChg>
        <pc:spChg chg="mod">
          <ac:chgData name="JanEri14" userId="ea321e6f-a9b4-4544-8ae7-a495220778c5" providerId="ADAL" clId="{B5FC2F59-8760-4ED0-BE63-9294C5DC2940}" dt="2023-11-22T18:37:33.975" v="5" actId="20577"/>
          <ac:spMkLst>
            <pc:docMk/>
            <pc:sldMk cId="3532490573" sldId="753"/>
            <ac:spMk id="11" creationId="{00000000-0000-0000-0000-000000000000}"/>
          </ac:spMkLst>
        </pc:spChg>
      </pc:sldChg>
      <pc:sldChg chg="addSp delSp modSp mod modNotesTx">
        <pc:chgData name="JanEri14" userId="ea321e6f-a9b4-4544-8ae7-a495220778c5" providerId="ADAL" clId="{B5FC2F59-8760-4ED0-BE63-9294C5DC2940}" dt="2023-11-22T18:51:45.175" v="140" actId="20577"/>
        <pc:sldMkLst>
          <pc:docMk/>
          <pc:sldMk cId="493410457" sldId="1087"/>
        </pc:sldMkLst>
        <pc:spChg chg="del">
          <ac:chgData name="JanEri14" userId="ea321e6f-a9b4-4544-8ae7-a495220778c5" providerId="ADAL" clId="{B5FC2F59-8760-4ED0-BE63-9294C5DC2940}" dt="2023-11-22T18:50:23.575" v="31"/>
          <ac:spMkLst>
            <pc:docMk/>
            <pc:sldMk cId="493410457" sldId="1087"/>
            <ac:spMk id="6" creationId="{E549B570-E746-01CA-B1D2-72EF753EC393}"/>
          </ac:spMkLst>
        </pc:spChg>
        <pc:spChg chg="del">
          <ac:chgData name="JanEri14" userId="ea321e6f-a9b4-4544-8ae7-a495220778c5" providerId="ADAL" clId="{B5FC2F59-8760-4ED0-BE63-9294C5DC2940}" dt="2023-11-22T18:50:27.643" v="34"/>
          <ac:spMkLst>
            <pc:docMk/>
            <pc:sldMk cId="493410457" sldId="1087"/>
            <ac:spMk id="7" creationId="{C58BAEA0-05E4-47BD-948C-260D8304F749}"/>
          </ac:spMkLst>
        </pc:spChg>
        <pc:spChg chg="add mod">
          <ac:chgData name="JanEri14" userId="ea321e6f-a9b4-4544-8ae7-a495220778c5" providerId="ADAL" clId="{B5FC2F59-8760-4ED0-BE63-9294C5DC2940}" dt="2023-11-22T18:50:41.477" v="64" actId="478"/>
          <ac:spMkLst>
            <pc:docMk/>
            <pc:sldMk cId="493410457" sldId="1087"/>
            <ac:spMk id="30" creationId="{1815EEB6-5420-3226-53FB-A969F29705BC}"/>
          </ac:spMkLst>
        </pc:spChg>
        <pc:spChg chg="add mod">
          <ac:chgData name="JanEri14" userId="ea321e6f-a9b4-4544-8ae7-a495220778c5" providerId="ADAL" clId="{B5FC2F59-8760-4ED0-BE63-9294C5DC2940}" dt="2023-11-22T18:50:42.057" v="65" actId="478"/>
          <ac:spMkLst>
            <pc:docMk/>
            <pc:sldMk cId="493410457" sldId="1087"/>
            <ac:spMk id="32" creationId="{A6AA5396-973C-4A6B-86D7-6AEC5F477F21}"/>
          </ac:spMkLst>
        </pc:spChg>
        <pc:picChg chg="add del mod">
          <ac:chgData name="JanEri14" userId="ea321e6f-a9b4-4544-8ae7-a495220778c5" providerId="ADAL" clId="{B5FC2F59-8760-4ED0-BE63-9294C5DC2940}" dt="2023-11-22T18:50:41.477" v="64" actId="478"/>
          <ac:picMkLst>
            <pc:docMk/>
            <pc:sldMk cId="493410457" sldId="1087"/>
            <ac:picMk id="8" creationId="{069EA4A8-7811-A7A5-74A8-68B4CEA9461A}"/>
          </ac:picMkLst>
        </pc:picChg>
        <pc:picChg chg="add del mod">
          <ac:chgData name="JanEri14" userId="ea321e6f-a9b4-4544-8ae7-a495220778c5" providerId="ADAL" clId="{B5FC2F59-8760-4ED0-BE63-9294C5DC2940}" dt="2023-11-22T18:50:42.057" v="65" actId="478"/>
          <ac:picMkLst>
            <pc:docMk/>
            <pc:sldMk cId="493410457" sldId="1087"/>
            <ac:picMk id="10" creationId="{A9E37802-6D0C-982E-8A9E-AA6293081D2C}"/>
          </ac:picMkLst>
        </pc:picChg>
        <pc:picChg chg="add mod">
          <ac:chgData name="JanEri14" userId="ea321e6f-a9b4-4544-8ae7-a495220778c5" providerId="ADAL" clId="{B5FC2F59-8760-4ED0-BE63-9294C5DC2940}" dt="2023-11-22T18:51:09.028" v="75" actId="1076"/>
          <ac:picMkLst>
            <pc:docMk/>
            <pc:sldMk cId="493410457" sldId="1087"/>
            <ac:picMk id="12" creationId="{C8753085-034B-849F-4F9C-2617D259173D}"/>
          </ac:picMkLst>
        </pc:picChg>
        <pc:picChg chg="add mod">
          <ac:chgData name="JanEri14" userId="ea321e6f-a9b4-4544-8ae7-a495220778c5" providerId="ADAL" clId="{B5FC2F59-8760-4ED0-BE63-9294C5DC2940}" dt="2023-11-22T18:51:13.004" v="77" actId="1076"/>
          <ac:picMkLst>
            <pc:docMk/>
            <pc:sldMk cId="493410457" sldId="1087"/>
            <ac:picMk id="14" creationId="{F3809123-4BA0-2D92-25CF-3CC174DBCCD9}"/>
          </ac:picMkLst>
        </pc:picChg>
        <pc:picChg chg="add mod">
          <ac:chgData name="JanEri14" userId="ea321e6f-a9b4-4544-8ae7-a495220778c5" providerId="ADAL" clId="{B5FC2F59-8760-4ED0-BE63-9294C5DC2940}" dt="2023-11-22T18:51:17.644" v="78" actId="1076"/>
          <ac:picMkLst>
            <pc:docMk/>
            <pc:sldMk cId="493410457" sldId="1087"/>
            <ac:picMk id="16" creationId="{6FA5813B-733C-E943-1D82-78D24ED7B7C0}"/>
          </ac:picMkLst>
        </pc:picChg>
        <pc:picChg chg="add mod">
          <ac:chgData name="JanEri14" userId="ea321e6f-a9b4-4544-8ae7-a495220778c5" providerId="ADAL" clId="{B5FC2F59-8760-4ED0-BE63-9294C5DC2940}" dt="2023-11-22T18:51:00.211" v="72" actId="1076"/>
          <ac:picMkLst>
            <pc:docMk/>
            <pc:sldMk cId="493410457" sldId="1087"/>
            <ac:picMk id="18" creationId="{3D1FB099-6173-7312-F123-09DCFF07BBA4}"/>
          </ac:picMkLst>
        </pc:picChg>
        <pc:picChg chg="add mod">
          <ac:chgData name="JanEri14" userId="ea321e6f-a9b4-4544-8ae7-a495220778c5" providerId="ADAL" clId="{B5FC2F59-8760-4ED0-BE63-9294C5DC2940}" dt="2023-11-22T18:50:57.221" v="71" actId="1076"/>
          <ac:picMkLst>
            <pc:docMk/>
            <pc:sldMk cId="493410457" sldId="1087"/>
            <ac:picMk id="20" creationId="{166D6205-0308-9278-DBF1-B825E6BC0B7E}"/>
          </ac:picMkLst>
        </pc:picChg>
        <pc:picChg chg="add mod">
          <ac:chgData name="JanEri14" userId="ea321e6f-a9b4-4544-8ae7-a495220778c5" providerId="ADAL" clId="{B5FC2F59-8760-4ED0-BE63-9294C5DC2940}" dt="2023-11-22T18:51:25.047" v="81" actId="1076"/>
          <ac:picMkLst>
            <pc:docMk/>
            <pc:sldMk cId="493410457" sldId="1087"/>
            <ac:picMk id="22" creationId="{F38127E0-1147-3837-16CF-ACFB117586AC}"/>
          </ac:picMkLst>
        </pc:picChg>
        <pc:picChg chg="add mod">
          <ac:chgData name="JanEri14" userId="ea321e6f-a9b4-4544-8ae7-a495220778c5" providerId="ADAL" clId="{B5FC2F59-8760-4ED0-BE63-9294C5DC2940}" dt="2023-11-22T18:51:23.638" v="80" actId="1076"/>
          <ac:picMkLst>
            <pc:docMk/>
            <pc:sldMk cId="493410457" sldId="1087"/>
            <ac:picMk id="24" creationId="{DB14B8E9-34BB-D581-4C3A-D7DA15B1DF51}"/>
          </ac:picMkLst>
        </pc:picChg>
        <pc:picChg chg="add mod">
          <ac:chgData name="JanEri14" userId="ea321e6f-a9b4-4544-8ae7-a495220778c5" providerId="ADAL" clId="{B5FC2F59-8760-4ED0-BE63-9294C5DC2940}" dt="2023-11-22T18:51:21.804" v="79" actId="1076"/>
          <ac:picMkLst>
            <pc:docMk/>
            <pc:sldMk cId="493410457" sldId="1087"/>
            <ac:picMk id="26" creationId="{73644C1B-1EF1-5394-256A-159E2CEB78C8}"/>
          </ac:picMkLst>
        </pc:picChg>
        <pc:picChg chg="add del mod">
          <ac:chgData name="JanEri14" userId="ea321e6f-a9b4-4544-8ae7-a495220778c5" providerId="ADAL" clId="{B5FC2F59-8760-4ED0-BE63-9294C5DC2940}" dt="2023-11-22T18:51:27.523" v="82" actId="478"/>
          <ac:picMkLst>
            <pc:docMk/>
            <pc:sldMk cId="493410457" sldId="1087"/>
            <ac:picMk id="28" creationId="{AAD5D9DF-6825-1007-D13A-54D7816777FE}"/>
          </ac:picMkLst>
        </pc:picChg>
        <pc:picChg chg="add del mod">
          <ac:chgData name="JanEri14" userId="ea321e6f-a9b4-4544-8ae7-a495220778c5" providerId="ADAL" clId="{B5FC2F59-8760-4ED0-BE63-9294C5DC2940}" dt="2023-11-22T18:50:18.083" v="30" actId="478"/>
          <ac:picMkLst>
            <pc:docMk/>
            <pc:sldMk cId="493410457" sldId="1087"/>
            <ac:picMk id="1026" creationId="{768F2A06-2597-E594-949F-72A4609AED6B}"/>
          </ac:picMkLst>
        </pc:picChg>
      </pc:sldChg>
      <pc:sldChg chg="modSp add mod modNotesTx">
        <pc:chgData name="JanEri14" userId="ea321e6f-a9b4-4544-8ae7-a495220778c5" providerId="ADAL" clId="{B5FC2F59-8760-4ED0-BE63-9294C5DC2940}" dt="2023-11-22T18:40:49.188" v="19"/>
        <pc:sldMkLst>
          <pc:docMk/>
          <pc:sldMk cId="1105770311" sldId="1088"/>
        </pc:sldMkLst>
        <pc:spChg chg="mod">
          <ac:chgData name="JanEri14" userId="ea321e6f-a9b4-4544-8ae7-a495220778c5" providerId="ADAL" clId="{B5FC2F59-8760-4ED0-BE63-9294C5DC2940}" dt="2023-11-22T18:38:47.919" v="10" actId="20577"/>
          <ac:spMkLst>
            <pc:docMk/>
            <pc:sldMk cId="1105770311" sldId="1088"/>
            <ac:spMk id="5" creationId="{23A71688-6B18-43E2-1359-3CD4D63BA227}"/>
          </ac:spMkLst>
        </pc:spChg>
      </pc:sldChg>
      <pc:sldChg chg="add modNotesTx">
        <pc:chgData name="JanEri14" userId="ea321e6f-a9b4-4544-8ae7-a495220778c5" providerId="ADAL" clId="{B5FC2F59-8760-4ED0-BE63-9294C5DC2940}" dt="2023-11-22T18:40:57.446" v="21"/>
        <pc:sldMkLst>
          <pc:docMk/>
          <pc:sldMk cId="2346296890" sldId="1089"/>
        </pc:sldMkLst>
      </pc:sldChg>
      <pc:sldChg chg="add modNotesTx">
        <pc:chgData name="JanEri14" userId="ea321e6f-a9b4-4544-8ae7-a495220778c5" providerId="ADAL" clId="{B5FC2F59-8760-4ED0-BE63-9294C5DC2940}" dt="2023-11-22T18:41:11.925" v="22"/>
        <pc:sldMkLst>
          <pc:docMk/>
          <pc:sldMk cId="1842660850" sldId="1090"/>
        </pc:sldMkLst>
      </pc:sldChg>
      <pc:sldChg chg="add modNotesTx">
        <pc:chgData name="JanEri14" userId="ea321e6f-a9b4-4544-8ae7-a495220778c5" providerId="ADAL" clId="{B5FC2F59-8760-4ED0-BE63-9294C5DC2940}" dt="2023-11-22T18:41:21.610" v="23"/>
        <pc:sldMkLst>
          <pc:docMk/>
          <pc:sldMk cId="3790427731" sldId="1091"/>
        </pc:sldMkLst>
      </pc:sldChg>
      <pc:sldChg chg="add modNotesTx">
        <pc:chgData name="JanEri14" userId="ea321e6f-a9b4-4544-8ae7-a495220778c5" providerId="ADAL" clId="{B5FC2F59-8760-4ED0-BE63-9294C5DC2940}" dt="2023-11-22T18:41:30.483" v="24"/>
        <pc:sldMkLst>
          <pc:docMk/>
          <pc:sldMk cId="1975256950" sldId="1092"/>
        </pc:sldMkLst>
      </pc:sldChg>
      <pc:sldChg chg="add">
        <pc:chgData name="JanEri14" userId="ea321e6f-a9b4-4544-8ae7-a495220778c5" providerId="ADAL" clId="{B5FC2F59-8760-4ED0-BE63-9294C5DC2940}" dt="2023-11-22T18:38:52.543" v="15"/>
        <pc:sldMkLst>
          <pc:docMk/>
          <pc:sldMk cId="1285702119" sldId="1093"/>
        </pc:sldMkLst>
      </pc:sldChg>
      <pc:sldChg chg="add">
        <pc:chgData name="JanEri14" userId="ea321e6f-a9b4-4544-8ae7-a495220778c5" providerId="ADAL" clId="{B5FC2F59-8760-4ED0-BE63-9294C5DC2940}" dt="2023-11-22T18:38:53.073" v="16"/>
        <pc:sldMkLst>
          <pc:docMk/>
          <pc:sldMk cId="348050377" sldId="1094"/>
        </pc:sldMkLst>
      </pc:sldChg>
    </pc:docChg>
  </pc:docChgLst>
  <pc:docChgLst>
    <pc:chgData name="MarPed65" userId="90acb7b1-e9da-405c-a880-b89ced354a59" providerId="ADAL" clId="{8F440C45-2036-47C2-84AC-D0A61349453F}"/>
    <pc:docChg chg="undo custSel addSld modSld">
      <pc:chgData name="MarPed65" userId="90acb7b1-e9da-405c-a880-b89ced354a59" providerId="ADAL" clId="{8F440C45-2036-47C2-84AC-D0A61349453F}" dt="2023-10-16T17:45:03.157" v="403"/>
      <pc:docMkLst>
        <pc:docMk/>
      </pc:docMkLst>
      <pc:sldChg chg="addSp modSp mod">
        <pc:chgData name="MarPed65" userId="90acb7b1-e9da-405c-a880-b89ced354a59" providerId="ADAL" clId="{8F440C45-2036-47C2-84AC-D0A61349453F}" dt="2023-10-16T10:46:33.435" v="2" actId="1076"/>
        <pc:sldMkLst>
          <pc:docMk/>
          <pc:sldMk cId="2619089612" sldId="319"/>
        </pc:sldMkLst>
        <pc:picChg chg="add mod">
          <ac:chgData name="MarPed65" userId="90acb7b1-e9da-405c-a880-b89ced354a59" providerId="ADAL" clId="{8F440C45-2036-47C2-84AC-D0A61349453F}" dt="2023-10-16T10:46:33.435" v="2" actId="1076"/>
          <ac:picMkLst>
            <pc:docMk/>
            <pc:sldMk cId="2619089612" sldId="319"/>
            <ac:picMk id="8" creationId="{F2CB5083-8C7E-A658-3986-3FEB05F457B4}"/>
          </ac:picMkLst>
        </pc:picChg>
      </pc:sldChg>
      <pc:sldChg chg="addSp delSp modSp mod">
        <pc:chgData name="MarPed65" userId="90acb7b1-e9da-405c-a880-b89ced354a59" providerId="ADAL" clId="{8F440C45-2036-47C2-84AC-D0A61349453F}" dt="2023-10-16T10:49:58.643" v="57" actId="20577"/>
        <pc:sldMkLst>
          <pc:docMk/>
          <pc:sldMk cId="2894647059" sldId="344"/>
        </pc:sldMkLst>
        <pc:spChg chg="mod">
          <ac:chgData name="MarPed65" userId="90acb7b1-e9da-405c-a880-b89ced354a59" providerId="ADAL" clId="{8F440C45-2036-47C2-84AC-D0A61349453F}" dt="2023-10-16T10:47:55.464" v="19"/>
          <ac:spMkLst>
            <pc:docMk/>
            <pc:sldMk cId="2894647059" sldId="344"/>
            <ac:spMk id="8" creationId="{D72EF777-7453-4D56-E37C-470AE7412B8E}"/>
          </ac:spMkLst>
        </pc:spChg>
        <pc:spChg chg="mod">
          <ac:chgData name="MarPed65" userId="90acb7b1-e9da-405c-a880-b89ced354a59" providerId="ADAL" clId="{8F440C45-2036-47C2-84AC-D0A61349453F}" dt="2023-10-16T10:49:58.643" v="57" actId="20577"/>
          <ac:spMkLst>
            <pc:docMk/>
            <pc:sldMk cId="2894647059" sldId="344"/>
            <ac:spMk id="16" creationId="{77FFA90A-F52B-63E3-0179-7143AAFB1145}"/>
          </ac:spMkLst>
        </pc:spChg>
        <pc:spChg chg="add del mod">
          <ac:chgData name="MarPed65" userId="90acb7b1-e9da-405c-a880-b89ced354a59" providerId="ADAL" clId="{8F440C45-2036-47C2-84AC-D0A61349453F}" dt="2023-10-16T10:49:55.813" v="56" actId="20577"/>
          <ac:spMkLst>
            <pc:docMk/>
            <pc:sldMk cId="2894647059" sldId="344"/>
            <ac:spMk id="19" creationId="{8D231CE6-26BE-D6D4-D016-3E2F96F8BA41}"/>
          </ac:spMkLst>
        </pc:spChg>
        <pc:spChg chg="mod">
          <ac:chgData name="MarPed65" userId="90acb7b1-e9da-405c-a880-b89ced354a59" providerId="ADAL" clId="{8F440C45-2036-47C2-84AC-D0A61349453F}" dt="2023-10-16T10:49:42.793" v="52" actId="20577"/>
          <ac:spMkLst>
            <pc:docMk/>
            <pc:sldMk cId="2894647059" sldId="344"/>
            <ac:spMk id="22" creationId="{C6C0258C-ED8A-C910-54C1-B67697C93575}"/>
          </ac:spMkLst>
        </pc:spChg>
      </pc:sldChg>
      <pc:sldChg chg="modSp mod">
        <pc:chgData name="MarPed65" userId="90acb7b1-e9da-405c-a880-b89ced354a59" providerId="ADAL" clId="{8F440C45-2036-47C2-84AC-D0A61349453F}" dt="2023-10-16T10:53:12.982" v="93" actId="113"/>
        <pc:sldMkLst>
          <pc:docMk/>
          <pc:sldMk cId="458860339" sldId="345"/>
        </pc:sldMkLst>
        <pc:spChg chg="mod">
          <ac:chgData name="MarPed65" userId="90acb7b1-e9da-405c-a880-b89ced354a59" providerId="ADAL" clId="{8F440C45-2036-47C2-84AC-D0A61349453F}" dt="2023-10-16T10:53:12.982" v="93" actId="113"/>
          <ac:spMkLst>
            <pc:docMk/>
            <pc:sldMk cId="458860339" sldId="345"/>
            <ac:spMk id="8" creationId="{D72EF777-7453-4D56-E37C-470AE7412B8E}"/>
          </ac:spMkLst>
        </pc:spChg>
        <pc:spChg chg="mod">
          <ac:chgData name="MarPed65" userId="90acb7b1-e9da-405c-a880-b89ced354a59" providerId="ADAL" clId="{8F440C45-2036-47C2-84AC-D0A61349453F}" dt="2023-10-16T10:52:09.930" v="84" actId="20577"/>
          <ac:spMkLst>
            <pc:docMk/>
            <pc:sldMk cId="458860339" sldId="345"/>
            <ac:spMk id="16" creationId="{77FFA90A-F52B-63E3-0179-7143AAFB1145}"/>
          </ac:spMkLst>
        </pc:spChg>
        <pc:spChg chg="mod">
          <ac:chgData name="MarPed65" userId="90acb7b1-e9da-405c-a880-b89ced354a59" providerId="ADAL" clId="{8F440C45-2036-47C2-84AC-D0A61349453F}" dt="2023-10-16T10:52:27.415" v="87"/>
          <ac:spMkLst>
            <pc:docMk/>
            <pc:sldMk cId="458860339" sldId="345"/>
            <ac:spMk id="19" creationId="{8D231CE6-26BE-D6D4-D016-3E2F96F8BA41}"/>
          </ac:spMkLst>
        </pc:spChg>
        <pc:spChg chg="mod">
          <ac:chgData name="MarPed65" userId="90acb7b1-e9da-405c-a880-b89ced354a59" providerId="ADAL" clId="{8F440C45-2036-47C2-84AC-D0A61349453F}" dt="2023-10-16T10:52:58.878" v="91" actId="20577"/>
          <ac:spMkLst>
            <pc:docMk/>
            <pc:sldMk cId="458860339" sldId="345"/>
            <ac:spMk id="22" creationId="{C6C0258C-ED8A-C910-54C1-B67697C93575}"/>
          </ac:spMkLst>
        </pc:spChg>
      </pc:sldChg>
      <pc:sldChg chg="modSp mod">
        <pc:chgData name="MarPed65" userId="90acb7b1-e9da-405c-a880-b89ced354a59" providerId="ADAL" clId="{8F440C45-2036-47C2-84AC-D0A61349453F}" dt="2023-10-16T10:54:42.050" v="107" actId="207"/>
        <pc:sldMkLst>
          <pc:docMk/>
          <pc:sldMk cId="223838157" sldId="346"/>
        </pc:sldMkLst>
        <pc:spChg chg="mod">
          <ac:chgData name="MarPed65" userId="90acb7b1-e9da-405c-a880-b89ced354a59" providerId="ADAL" clId="{8F440C45-2036-47C2-84AC-D0A61349453F}" dt="2023-10-16T10:53:50.341" v="100" actId="113"/>
          <ac:spMkLst>
            <pc:docMk/>
            <pc:sldMk cId="223838157" sldId="346"/>
            <ac:spMk id="8" creationId="{D72EF777-7453-4D56-E37C-470AE7412B8E}"/>
          </ac:spMkLst>
        </pc:spChg>
        <pc:spChg chg="mod">
          <ac:chgData name="MarPed65" userId="90acb7b1-e9da-405c-a880-b89ced354a59" providerId="ADAL" clId="{8F440C45-2036-47C2-84AC-D0A61349453F}" dt="2023-10-16T10:54:20.611" v="104" actId="207"/>
          <ac:spMkLst>
            <pc:docMk/>
            <pc:sldMk cId="223838157" sldId="346"/>
            <ac:spMk id="10" creationId="{355E577B-6791-F0EE-279F-E5240383DEF1}"/>
          </ac:spMkLst>
        </pc:spChg>
        <pc:spChg chg="mod">
          <ac:chgData name="MarPed65" userId="90acb7b1-e9da-405c-a880-b89ced354a59" providerId="ADAL" clId="{8F440C45-2036-47C2-84AC-D0A61349453F}" dt="2023-10-16T10:54:42.050" v="107" actId="207"/>
          <ac:spMkLst>
            <pc:docMk/>
            <pc:sldMk cId="223838157" sldId="346"/>
            <ac:spMk id="12" creationId="{94144D5B-9452-20FD-63CC-388F2682351A}"/>
          </ac:spMkLst>
        </pc:spChg>
      </pc:sldChg>
      <pc:sldChg chg="modSp mod">
        <pc:chgData name="MarPed65" userId="90acb7b1-e9da-405c-a880-b89ced354a59" providerId="ADAL" clId="{8F440C45-2036-47C2-84AC-D0A61349453F}" dt="2023-10-16T10:56:55.399" v="127" actId="207"/>
        <pc:sldMkLst>
          <pc:docMk/>
          <pc:sldMk cId="859148925" sldId="347"/>
        </pc:sldMkLst>
        <pc:spChg chg="mod">
          <ac:chgData name="MarPed65" userId="90acb7b1-e9da-405c-a880-b89ced354a59" providerId="ADAL" clId="{8F440C45-2036-47C2-84AC-D0A61349453F}" dt="2023-10-16T10:55:08.170" v="112" actId="113"/>
          <ac:spMkLst>
            <pc:docMk/>
            <pc:sldMk cId="859148925" sldId="347"/>
            <ac:spMk id="8" creationId="{D72EF777-7453-4D56-E37C-470AE7412B8E}"/>
          </ac:spMkLst>
        </pc:spChg>
        <pc:spChg chg="mod">
          <ac:chgData name="MarPed65" userId="90acb7b1-e9da-405c-a880-b89ced354a59" providerId="ADAL" clId="{8F440C45-2036-47C2-84AC-D0A61349453F}" dt="2023-10-16T10:56:52.320" v="126" actId="207"/>
          <ac:spMkLst>
            <pc:docMk/>
            <pc:sldMk cId="859148925" sldId="347"/>
            <ac:spMk id="10" creationId="{355E577B-6791-F0EE-279F-E5240383DEF1}"/>
          </ac:spMkLst>
        </pc:spChg>
        <pc:spChg chg="mod">
          <ac:chgData name="MarPed65" userId="90acb7b1-e9da-405c-a880-b89ced354a59" providerId="ADAL" clId="{8F440C45-2036-47C2-84AC-D0A61349453F}" dt="2023-10-16T10:56:55.399" v="127" actId="207"/>
          <ac:spMkLst>
            <pc:docMk/>
            <pc:sldMk cId="859148925" sldId="347"/>
            <ac:spMk id="12" creationId="{94144D5B-9452-20FD-63CC-388F2682351A}"/>
          </ac:spMkLst>
        </pc:spChg>
        <pc:spChg chg="mod">
          <ac:chgData name="MarPed65" userId="90acb7b1-e9da-405c-a880-b89ced354a59" providerId="ADAL" clId="{8F440C45-2036-47C2-84AC-D0A61349453F}" dt="2023-10-16T10:55:33.445" v="115"/>
          <ac:spMkLst>
            <pc:docMk/>
            <pc:sldMk cId="859148925" sldId="347"/>
            <ac:spMk id="16" creationId="{77FFA90A-F52B-63E3-0179-7143AAFB1145}"/>
          </ac:spMkLst>
        </pc:spChg>
        <pc:spChg chg="mod">
          <ac:chgData name="MarPed65" userId="90acb7b1-e9da-405c-a880-b89ced354a59" providerId="ADAL" clId="{8F440C45-2036-47C2-84AC-D0A61349453F}" dt="2023-10-16T10:55:57.090" v="116"/>
          <ac:spMkLst>
            <pc:docMk/>
            <pc:sldMk cId="859148925" sldId="347"/>
            <ac:spMk id="19" creationId="{8D231CE6-26BE-D6D4-D016-3E2F96F8BA41}"/>
          </ac:spMkLst>
        </pc:spChg>
        <pc:spChg chg="mod">
          <ac:chgData name="MarPed65" userId="90acb7b1-e9da-405c-a880-b89ced354a59" providerId="ADAL" clId="{8F440C45-2036-47C2-84AC-D0A61349453F}" dt="2023-10-16T10:56:25.499" v="123" actId="207"/>
          <ac:spMkLst>
            <pc:docMk/>
            <pc:sldMk cId="859148925" sldId="347"/>
            <ac:spMk id="22" creationId="{C6C0258C-ED8A-C910-54C1-B67697C93575}"/>
          </ac:spMkLst>
        </pc:spChg>
      </pc:sldChg>
      <pc:sldChg chg="modSp mod">
        <pc:chgData name="MarPed65" userId="90acb7b1-e9da-405c-a880-b89ced354a59" providerId="ADAL" clId="{8F440C45-2036-47C2-84AC-D0A61349453F}" dt="2023-10-16T10:59:06.368" v="151" actId="207"/>
        <pc:sldMkLst>
          <pc:docMk/>
          <pc:sldMk cId="1463427970" sldId="348"/>
        </pc:sldMkLst>
        <pc:spChg chg="mod">
          <ac:chgData name="MarPed65" userId="90acb7b1-e9da-405c-a880-b89ced354a59" providerId="ADAL" clId="{8F440C45-2036-47C2-84AC-D0A61349453F}" dt="2023-10-16T10:57:26.569" v="132" actId="113"/>
          <ac:spMkLst>
            <pc:docMk/>
            <pc:sldMk cId="1463427970" sldId="348"/>
            <ac:spMk id="8" creationId="{D72EF777-7453-4D56-E37C-470AE7412B8E}"/>
          </ac:spMkLst>
        </pc:spChg>
        <pc:spChg chg="mod">
          <ac:chgData name="MarPed65" userId="90acb7b1-e9da-405c-a880-b89ced354a59" providerId="ADAL" clId="{8F440C45-2036-47C2-84AC-D0A61349453F}" dt="2023-10-16T10:57:55.379" v="136" actId="207"/>
          <ac:spMkLst>
            <pc:docMk/>
            <pc:sldMk cId="1463427970" sldId="348"/>
            <ac:spMk id="10" creationId="{355E577B-6791-F0EE-279F-E5240383DEF1}"/>
          </ac:spMkLst>
        </pc:spChg>
        <pc:spChg chg="mod">
          <ac:chgData name="MarPed65" userId="90acb7b1-e9da-405c-a880-b89ced354a59" providerId="ADAL" clId="{8F440C45-2036-47C2-84AC-D0A61349453F}" dt="2023-10-16T10:57:51.939" v="135" actId="207"/>
          <ac:spMkLst>
            <pc:docMk/>
            <pc:sldMk cId="1463427970" sldId="348"/>
            <ac:spMk id="12" creationId="{94144D5B-9452-20FD-63CC-388F2682351A}"/>
          </ac:spMkLst>
        </pc:spChg>
        <pc:spChg chg="mod">
          <ac:chgData name="MarPed65" userId="90acb7b1-e9da-405c-a880-b89ced354a59" providerId="ADAL" clId="{8F440C45-2036-47C2-84AC-D0A61349453F}" dt="2023-10-16T10:58:10.418" v="137"/>
          <ac:spMkLst>
            <pc:docMk/>
            <pc:sldMk cId="1463427970" sldId="348"/>
            <ac:spMk id="16" creationId="{77FFA90A-F52B-63E3-0179-7143AAFB1145}"/>
          </ac:spMkLst>
        </pc:spChg>
        <pc:spChg chg="mod">
          <ac:chgData name="MarPed65" userId="90acb7b1-e9da-405c-a880-b89ced354a59" providerId="ADAL" clId="{8F440C45-2036-47C2-84AC-D0A61349453F}" dt="2023-10-16T10:58:30.978" v="138"/>
          <ac:spMkLst>
            <pc:docMk/>
            <pc:sldMk cId="1463427970" sldId="348"/>
            <ac:spMk id="19" creationId="{8D231CE6-26BE-D6D4-D016-3E2F96F8BA41}"/>
          </ac:spMkLst>
        </pc:spChg>
        <pc:spChg chg="mod">
          <ac:chgData name="MarPed65" userId="90acb7b1-e9da-405c-a880-b89ced354a59" providerId="ADAL" clId="{8F440C45-2036-47C2-84AC-D0A61349453F}" dt="2023-10-16T10:59:06.368" v="151" actId="207"/>
          <ac:spMkLst>
            <pc:docMk/>
            <pc:sldMk cId="1463427970" sldId="348"/>
            <ac:spMk id="22" creationId="{C6C0258C-ED8A-C910-54C1-B67697C93575}"/>
          </ac:spMkLst>
        </pc:spChg>
      </pc:sldChg>
      <pc:sldChg chg="modSp mod">
        <pc:chgData name="MarPed65" userId="90acb7b1-e9da-405c-a880-b89ced354a59" providerId="ADAL" clId="{8F440C45-2036-47C2-84AC-D0A61349453F}" dt="2023-10-16T11:00:55.937" v="174" actId="207"/>
        <pc:sldMkLst>
          <pc:docMk/>
          <pc:sldMk cId="2373289674" sldId="349"/>
        </pc:sldMkLst>
        <pc:spChg chg="mod">
          <ac:chgData name="MarPed65" userId="90acb7b1-e9da-405c-a880-b89ced354a59" providerId="ADAL" clId="{8F440C45-2036-47C2-84AC-D0A61349453F}" dt="2023-10-16T10:59:35.468" v="157" actId="113"/>
          <ac:spMkLst>
            <pc:docMk/>
            <pc:sldMk cId="2373289674" sldId="349"/>
            <ac:spMk id="8" creationId="{D72EF777-7453-4D56-E37C-470AE7412B8E}"/>
          </ac:spMkLst>
        </pc:spChg>
        <pc:spChg chg="mod">
          <ac:chgData name="MarPed65" userId="90acb7b1-e9da-405c-a880-b89ced354a59" providerId="ADAL" clId="{8F440C45-2036-47C2-84AC-D0A61349453F}" dt="2023-10-16T10:59:59.787" v="161" actId="207"/>
          <ac:spMkLst>
            <pc:docMk/>
            <pc:sldMk cId="2373289674" sldId="349"/>
            <ac:spMk id="10" creationId="{355E577B-6791-F0EE-279F-E5240383DEF1}"/>
          </ac:spMkLst>
        </pc:spChg>
        <pc:spChg chg="mod">
          <ac:chgData name="MarPed65" userId="90acb7b1-e9da-405c-a880-b89ced354a59" providerId="ADAL" clId="{8F440C45-2036-47C2-84AC-D0A61349453F}" dt="2023-10-16T10:59:56.167" v="160" actId="207"/>
          <ac:spMkLst>
            <pc:docMk/>
            <pc:sldMk cId="2373289674" sldId="349"/>
            <ac:spMk id="12" creationId="{94144D5B-9452-20FD-63CC-388F2682351A}"/>
          </ac:spMkLst>
        </pc:spChg>
        <pc:spChg chg="mod">
          <ac:chgData name="MarPed65" userId="90acb7b1-e9da-405c-a880-b89ced354a59" providerId="ADAL" clId="{8F440C45-2036-47C2-84AC-D0A61349453F}" dt="2023-10-16T11:00:19.232" v="163" actId="14100"/>
          <ac:spMkLst>
            <pc:docMk/>
            <pc:sldMk cId="2373289674" sldId="349"/>
            <ac:spMk id="16" creationId="{77FFA90A-F52B-63E3-0179-7143AAFB1145}"/>
          </ac:spMkLst>
        </pc:spChg>
        <pc:spChg chg="mod">
          <ac:chgData name="MarPed65" userId="90acb7b1-e9da-405c-a880-b89ced354a59" providerId="ADAL" clId="{8F440C45-2036-47C2-84AC-D0A61349453F}" dt="2023-10-16T11:00:30.857" v="164"/>
          <ac:spMkLst>
            <pc:docMk/>
            <pc:sldMk cId="2373289674" sldId="349"/>
            <ac:spMk id="19" creationId="{8D231CE6-26BE-D6D4-D016-3E2F96F8BA41}"/>
          </ac:spMkLst>
        </pc:spChg>
        <pc:spChg chg="mod">
          <ac:chgData name="MarPed65" userId="90acb7b1-e9da-405c-a880-b89ced354a59" providerId="ADAL" clId="{8F440C45-2036-47C2-84AC-D0A61349453F}" dt="2023-10-16T11:00:55.937" v="174" actId="207"/>
          <ac:spMkLst>
            <pc:docMk/>
            <pc:sldMk cId="2373289674" sldId="349"/>
            <ac:spMk id="22" creationId="{C6C0258C-ED8A-C910-54C1-B67697C93575}"/>
          </ac:spMkLst>
        </pc:spChg>
      </pc:sldChg>
      <pc:sldChg chg="addSp delSp modSp mod">
        <pc:chgData name="MarPed65" userId="90acb7b1-e9da-405c-a880-b89ced354a59" providerId="ADAL" clId="{8F440C45-2036-47C2-84AC-D0A61349453F}" dt="2023-10-16T11:02:51.066" v="201" actId="207"/>
        <pc:sldMkLst>
          <pc:docMk/>
          <pc:sldMk cId="1007233819" sldId="350"/>
        </pc:sldMkLst>
        <pc:spChg chg="mod">
          <ac:chgData name="MarPed65" userId="90acb7b1-e9da-405c-a880-b89ced354a59" providerId="ADAL" clId="{8F440C45-2036-47C2-84AC-D0A61349453F}" dt="2023-10-16T11:01:24.977" v="179" actId="207"/>
          <ac:spMkLst>
            <pc:docMk/>
            <pc:sldMk cId="1007233819" sldId="350"/>
            <ac:spMk id="8" creationId="{D72EF777-7453-4D56-E37C-470AE7412B8E}"/>
          </ac:spMkLst>
        </pc:spChg>
        <pc:spChg chg="mod">
          <ac:chgData name="MarPed65" userId="90acb7b1-e9da-405c-a880-b89ced354a59" providerId="ADAL" clId="{8F440C45-2036-47C2-84AC-D0A61349453F}" dt="2023-10-16T11:01:50.736" v="183" actId="207"/>
          <ac:spMkLst>
            <pc:docMk/>
            <pc:sldMk cId="1007233819" sldId="350"/>
            <ac:spMk id="10" creationId="{355E577B-6791-F0EE-279F-E5240383DEF1}"/>
          </ac:spMkLst>
        </pc:spChg>
        <pc:spChg chg="mod">
          <ac:chgData name="MarPed65" userId="90acb7b1-e9da-405c-a880-b89ced354a59" providerId="ADAL" clId="{8F440C45-2036-47C2-84AC-D0A61349453F}" dt="2023-10-16T11:01:48.226" v="182" actId="207"/>
          <ac:spMkLst>
            <pc:docMk/>
            <pc:sldMk cId="1007233819" sldId="350"/>
            <ac:spMk id="12" creationId="{94144D5B-9452-20FD-63CC-388F2682351A}"/>
          </ac:spMkLst>
        </pc:spChg>
        <pc:spChg chg="mod">
          <ac:chgData name="MarPed65" userId="90acb7b1-e9da-405c-a880-b89ced354a59" providerId="ADAL" clId="{8F440C45-2036-47C2-84AC-D0A61349453F}" dt="2023-10-16T11:02:09.446" v="185" actId="14100"/>
          <ac:spMkLst>
            <pc:docMk/>
            <pc:sldMk cId="1007233819" sldId="350"/>
            <ac:spMk id="16" creationId="{77FFA90A-F52B-63E3-0179-7143AAFB1145}"/>
          </ac:spMkLst>
        </pc:spChg>
        <pc:spChg chg="mod">
          <ac:chgData name="MarPed65" userId="90acb7b1-e9da-405c-a880-b89ced354a59" providerId="ADAL" clId="{8F440C45-2036-47C2-84AC-D0A61349453F}" dt="2023-10-16T11:02:19.720" v="186"/>
          <ac:spMkLst>
            <pc:docMk/>
            <pc:sldMk cId="1007233819" sldId="350"/>
            <ac:spMk id="19" creationId="{8D231CE6-26BE-D6D4-D016-3E2F96F8BA41}"/>
          </ac:spMkLst>
        </pc:spChg>
        <pc:spChg chg="add del mod">
          <ac:chgData name="MarPed65" userId="90acb7b1-e9da-405c-a880-b89ced354a59" providerId="ADAL" clId="{8F440C45-2036-47C2-84AC-D0A61349453F}" dt="2023-10-16T11:02:51.066" v="201" actId="207"/>
          <ac:spMkLst>
            <pc:docMk/>
            <pc:sldMk cId="1007233819" sldId="350"/>
            <ac:spMk id="22" creationId="{C6C0258C-ED8A-C910-54C1-B67697C93575}"/>
          </ac:spMkLst>
        </pc:spChg>
      </pc:sldChg>
      <pc:sldChg chg="modSp mod">
        <pc:chgData name="MarPed65" userId="90acb7b1-e9da-405c-a880-b89ced354a59" providerId="ADAL" clId="{8F440C45-2036-47C2-84AC-D0A61349453F}" dt="2023-10-16T11:04:35.324" v="218" actId="207"/>
        <pc:sldMkLst>
          <pc:docMk/>
          <pc:sldMk cId="1311231526" sldId="351"/>
        </pc:sldMkLst>
        <pc:spChg chg="mod">
          <ac:chgData name="MarPed65" userId="90acb7b1-e9da-405c-a880-b89ced354a59" providerId="ADAL" clId="{8F440C45-2036-47C2-84AC-D0A61349453F}" dt="2023-10-16T11:03:12.815" v="206" actId="113"/>
          <ac:spMkLst>
            <pc:docMk/>
            <pc:sldMk cId="1311231526" sldId="351"/>
            <ac:spMk id="8" creationId="{D72EF777-7453-4D56-E37C-470AE7412B8E}"/>
          </ac:spMkLst>
        </pc:spChg>
        <pc:spChg chg="mod">
          <ac:chgData name="MarPed65" userId="90acb7b1-e9da-405c-a880-b89ced354a59" providerId="ADAL" clId="{8F440C45-2036-47C2-84AC-D0A61349453F}" dt="2023-10-16T11:03:31.215" v="209" actId="207"/>
          <ac:spMkLst>
            <pc:docMk/>
            <pc:sldMk cId="1311231526" sldId="351"/>
            <ac:spMk id="10" creationId="{355E577B-6791-F0EE-279F-E5240383DEF1}"/>
          </ac:spMkLst>
        </pc:spChg>
        <pc:spChg chg="mod">
          <ac:chgData name="MarPed65" userId="90acb7b1-e9da-405c-a880-b89ced354a59" providerId="ADAL" clId="{8F440C45-2036-47C2-84AC-D0A61349453F}" dt="2023-10-16T11:03:34.355" v="210" actId="207"/>
          <ac:spMkLst>
            <pc:docMk/>
            <pc:sldMk cId="1311231526" sldId="351"/>
            <ac:spMk id="12" creationId="{94144D5B-9452-20FD-63CC-388F2682351A}"/>
          </ac:spMkLst>
        </pc:spChg>
        <pc:spChg chg="mod">
          <ac:chgData name="MarPed65" userId="90acb7b1-e9da-405c-a880-b89ced354a59" providerId="ADAL" clId="{8F440C45-2036-47C2-84AC-D0A61349453F}" dt="2023-10-16T11:03:53.599" v="212" actId="14100"/>
          <ac:spMkLst>
            <pc:docMk/>
            <pc:sldMk cId="1311231526" sldId="351"/>
            <ac:spMk id="16" creationId="{77FFA90A-F52B-63E3-0179-7143AAFB1145}"/>
          </ac:spMkLst>
        </pc:spChg>
        <pc:spChg chg="mod">
          <ac:chgData name="MarPed65" userId="90acb7b1-e9da-405c-a880-b89ced354a59" providerId="ADAL" clId="{8F440C45-2036-47C2-84AC-D0A61349453F}" dt="2023-10-16T11:04:05.904" v="213"/>
          <ac:spMkLst>
            <pc:docMk/>
            <pc:sldMk cId="1311231526" sldId="351"/>
            <ac:spMk id="19" creationId="{8D231CE6-26BE-D6D4-D016-3E2F96F8BA41}"/>
          </ac:spMkLst>
        </pc:spChg>
        <pc:spChg chg="mod">
          <ac:chgData name="MarPed65" userId="90acb7b1-e9da-405c-a880-b89ced354a59" providerId="ADAL" clId="{8F440C45-2036-47C2-84AC-D0A61349453F}" dt="2023-10-16T11:04:35.324" v="218" actId="207"/>
          <ac:spMkLst>
            <pc:docMk/>
            <pc:sldMk cId="1311231526" sldId="351"/>
            <ac:spMk id="22" creationId="{C6C0258C-ED8A-C910-54C1-B67697C93575}"/>
          </ac:spMkLst>
        </pc:spChg>
      </pc:sldChg>
      <pc:sldChg chg="modSp mod">
        <pc:chgData name="MarPed65" userId="90acb7b1-e9da-405c-a880-b89ced354a59" providerId="ADAL" clId="{8F440C45-2036-47C2-84AC-D0A61349453F}" dt="2023-10-16T11:11:59.293" v="242" actId="207"/>
        <pc:sldMkLst>
          <pc:docMk/>
          <pc:sldMk cId="3667809533" sldId="352"/>
        </pc:sldMkLst>
        <pc:spChg chg="mod">
          <ac:chgData name="MarPed65" userId="90acb7b1-e9da-405c-a880-b89ced354a59" providerId="ADAL" clId="{8F440C45-2036-47C2-84AC-D0A61349453F}" dt="2023-10-16T11:10:28.729" v="223" actId="113"/>
          <ac:spMkLst>
            <pc:docMk/>
            <pc:sldMk cId="3667809533" sldId="352"/>
            <ac:spMk id="8" creationId="{D72EF777-7453-4D56-E37C-470AE7412B8E}"/>
          </ac:spMkLst>
        </pc:spChg>
        <pc:spChg chg="mod">
          <ac:chgData name="MarPed65" userId="90acb7b1-e9da-405c-a880-b89ced354a59" providerId="ADAL" clId="{8F440C45-2036-47C2-84AC-D0A61349453F}" dt="2023-10-16T11:10:47.904" v="226" actId="207"/>
          <ac:spMkLst>
            <pc:docMk/>
            <pc:sldMk cId="3667809533" sldId="352"/>
            <ac:spMk id="10" creationId="{355E577B-6791-F0EE-279F-E5240383DEF1}"/>
          </ac:spMkLst>
        </pc:spChg>
        <pc:spChg chg="mod">
          <ac:chgData name="MarPed65" userId="90acb7b1-e9da-405c-a880-b89ced354a59" providerId="ADAL" clId="{8F440C45-2036-47C2-84AC-D0A61349453F}" dt="2023-10-16T11:10:51.598" v="227" actId="207"/>
          <ac:spMkLst>
            <pc:docMk/>
            <pc:sldMk cId="3667809533" sldId="352"/>
            <ac:spMk id="12" creationId="{94144D5B-9452-20FD-63CC-388F2682351A}"/>
          </ac:spMkLst>
        </pc:spChg>
        <pc:spChg chg="mod">
          <ac:chgData name="MarPed65" userId="90acb7b1-e9da-405c-a880-b89ced354a59" providerId="ADAL" clId="{8F440C45-2036-47C2-84AC-D0A61349453F}" dt="2023-10-16T11:11:05.386" v="228"/>
          <ac:spMkLst>
            <pc:docMk/>
            <pc:sldMk cId="3667809533" sldId="352"/>
            <ac:spMk id="16" creationId="{77FFA90A-F52B-63E3-0179-7143AAFB1145}"/>
          </ac:spMkLst>
        </pc:spChg>
        <pc:spChg chg="mod">
          <ac:chgData name="MarPed65" userId="90acb7b1-e9da-405c-a880-b89ced354a59" providerId="ADAL" clId="{8F440C45-2036-47C2-84AC-D0A61349453F}" dt="2023-10-16T11:11:29.832" v="233" actId="5793"/>
          <ac:spMkLst>
            <pc:docMk/>
            <pc:sldMk cId="3667809533" sldId="352"/>
            <ac:spMk id="19" creationId="{8D231CE6-26BE-D6D4-D016-3E2F96F8BA41}"/>
          </ac:spMkLst>
        </pc:spChg>
        <pc:spChg chg="mod">
          <ac:chgData name="MarPed65" userId="90acb7b1-e9da-405c-a880-b89ced354a59" providerId="ADAL" clId="{8F440C45-2036-47C2-84AC-D0A61349453F}" dt="2023-10-16T11:11:59.293" v="242" actId="207"/>
          <ac:spMkLst>
            <pc:docMk/>
            <pc:sldMk cId="3667809533" sldId="352"/>
            <ac:spMk id="22" creationId="{C6C0258C-ED8A-C910-54C1-B67697C93575}"/>
          </ac:spMkLst>
        </pc:spChg>
      </pc:sldChg>
      <pc:sldChg chg="modSp mod">
        <pc:chgData name="MarPed65" userId="90acb7b1-e9da-405c-a880-b89ced354a59" providerId="ADAL" clId="{8F440C45-2036-47C2-84AC-D0A61349453F}" dt="2023-10-16T11:13:56.972" v="261" actId="207"/>
        <pc:sldMkLst>
          <pc:docMk/>
          <pc:sldMk cId="4255526258" sldId="353"/>
        </pc:sldMkLst>
        <pc:spChg chg="mod">
          <ac:chgData name="MarPed65" userId="90acb7b1-e9da-405c-a880-b89ced354a59" providerId="ADAL" clId="{8F440C45-2036-47C2-84AC-D0A61349453F}" dt="2023-10-16T11:12:32.462" v="247" actId="113"/>
          <ac:spMkLst>
            <pc:docMk/>
            <pc:sldMk cId="4255526258" sldId="353"/>
            <ac:spMk id="8" creationId="{D72EF777-7453-4D56-E37C-470AE7412B8E}"/>
          </ac:spMkLst>
        </pc:spChg>
        <pc:spChg chg="mod">
          <ac:chgData name="MarPed65" userId="90acb7b1-e9da-405c-a880-b89ced354a59" providerId="ADAL" clId="{8F440C45-2036-47C2-84AC-D0A61349453F}" dt="2023-10-16T11:13:54.492" v="260" actId="207"/>
          <ac:spMkLst>
            <pc:docMk/>
            <pc:sldMk cId="4255526258" sldId="353"/>
            <ac:spMk id="10" creationId="{355E577B-6791-F0EE-279F-E5240383DEF1}"/>
          </ac:spMkLst>
        </pc:spChg>
        <pc:spChg chg="mod">
          <ac:chgData name="MarPed65" userId="90acb7b1-e9da-405c-a880-b89ced354a59" providerId="ADAL" clId="{8F440C45-2036-47C2-84AC-D0A61349453F}" dt="2023-10-16T11:13:56.972" v="261" actId="207"/>
          <ac:spMkLst>
            <pc:docMk/>
            <pc:sldMk cId="4255526258" sldId="353"/>
            <ac:spMk id="12" creationId="{94144D5B-9452-20FD-63CC-388F2682351A}"/>
          </ac:spMkLst>
        </pc:spChg>
        <pc:spChg chg="mod">
          <ac:chgData name="MarPed65" userId="90acb7b1-e9da-405c-a880-b89ced354a59" providerId="ADAL" clId="{8F440C45-2036-47C2-84AC-D0A61349453F}" dt="2023-10-16T11:13:05.861" v="251" actId="20577"/>
          <ac:spMkLst>
            <pc:docMk/>
            <pc:sldMk cId="4255526258" sldId="353"/>
            <ac:spMk id="16" creationId="{77FFA90A-F52B-63E3-0179-7143AAFB1145}"/>
          </ac:spMkLst>
        </pc:spChg>
        <pc:spChg chg="mod">
          <ac:chgData name="MarPed65" userId="90acb7b1-e9da-405c-a880-b89ced354a59" providerId="ADAL" clId="{8F440C45-2036-47C2-84AC-D0A61349453F}" dt="2023-10-16T11:13:28.652" v="252"/>
          <ac:spMkLst>
            <pc:docMk/>
            <pc:sldMk cId="4255526258" sldId="353"/>
            <ac:spMk id="19" creationId="{8D231CE6-26BE-D6D4-D016-3E2F96F8BA41}"/>
          </ac:spMkLst>
        </pc:spChg>
        <pc:spChg chg="mod">
          <ac:chgData name="MarPed65" userId="90acb7b1-e9da-405c-a880-b89ced354a59" providerId="ADAL" clId="{8F440C45-2036-47C2-84AC-D0A61349453F}" dt="2023-10-16T11:13:49.132" v="259" actId="207"/>
          <ac:spMkLst>
            <pc:docMk/>
            <pc:sldMk cId="4255526258" sldId="353"/>
            <ac:spMk id="22" creationId="{C6C0258C-ED8A-C910-54C1-B67697C93575}"/>
          </ac:spMkLst>
        </pc:spChg>
      </pc:sldChg>
      <pc:sldChg chg="modSp mod">
        <pc:chgData name="MarPed65" userId="90acb7b1-e9da-405c-a880-b89ced354a59" providerId="ADAL" clId="{8F440C45-2036-47C2-84AC-D0A61349453F}" dt="2023-10-16T11:15:22.951" v="281" actId="207"/>
        <pc:sldMkLst>
          <pc:docMk/>
          <pc:sldMk cId="3744360188" sldId="354"/>
        </pc:sldMkLst>
        <pc:spChg chg="mod">
          <ac:chgData name="MarPed65" userId="90acb7b1-e9da-405c-a880-b89ced354a59" providerId="ADAL" clId="{8F440C45-2036-47C2-84AC-D0A61349453F}" dt="2023-10-16T11:14:12.941" v="266" actId="113"/>
          <ac:spMkLst>
            <pc:docMk/>
            <pc:sldMk cId="3744360188" sldId="354"/>
            <ac:spMk id="8" creationId="{D72EF777-7453-4D56-E37C-470AE7412B8E}"/>
          </ac:spMkLst>
        </pc:spChg>
        <pc:spChg chg="mod">
          <ac:chgData name="MarPed65" userId="90acb7b1-e9da-405c-a880-b89ced354a59" providerId="ADAL" clId="{8F440C45-2036-47C2-84AC-D0A61349453F}" dt="2023-10-16T11:15:20.451" v="280" actId="207"/>
          <ac:spMkLst>
            <pc:docMk/>
            <pc:sldMk cId="3744360188" sldId="354"/>
            <ac:spMk id="10" creationId="{355E577B-6791-F0EE-279F-E5240383DEF1}"/>
          </ac:spMkLst>
        </pc:spChg>
        <pc:spChg chg="mod">
          <ac:chgData name="MarPed65" userId="90acb7b1-e9da-405c-a880-b89ced354a59" providerId="ADAL" clId="{8F440C45-2036-47C2-84AC-D0A61349453F}" dt="2023-10-16T11:15:22.951" v="281" actId="207"/>
          <ac:spMkLst>
            <pc:docMk/>
            <pc:sldMk cId="3744360188" sldId="354"/>
            <ac:spMk id="12" creationId="{94144D5B-9452-20FD-63CC-388F2682351A}"/>
          </ac:spMkLst>
        </pc:spChg>
        <pc:spChg chg="mod">
          <ac:chgData name="MarPed65" userId="90acb7b1-e9da-405c-a880-b89ced354a59" providerId="ADAL" clId="{8F440C45-2036-47C2-84AC-D0A61349453F}" dt="2023-10-16T11:14:43.166" v="269"/>
          <ac:spMkLst>
            <pc:docMk/>
            <pc:sldMk cId="3744360188" sldId="354"/>
            <ac:spMk id="16" creationId="{77FFA90A-F52B-63E3-0179-7143AAFB1145}"/>
          </ac:spMkLst>
        </pc:spChg>
        <pc:spChg chg="mod">
          <ac:chgData name="MarPed65" userId="90acb7b1-e9da-405c-a880-b89ced354a59" providerId="ADAL" clId="{8F440C45-2036-47C2-84AC-D0A61349453F}" dt="2023-10-16T11:14:56.291" v="270"/>
          <ac:spMkLst>
            <pc:docMk/>
            <pc:sldMk cId="3744360188" sldId="354"/>
            <ac:spMk id="19" creationId="{8D231CE6-26BE-D6D4-D016-3E2F96F8BA41}"/>
          </ac:spMkLst>
        </pc:spChg>
        <pc:spChg chg="mod">
          <ac:chgData name="MarPed65" userId="90acb7b1-e9da-405c-a880-b89ced354a59" providerId="ADAL" clId="{8F440C45-2036-47C2-84AC-D0A61349453F}" dt="2023-10-16T11:15:16.191" v="279" actId="207"/>
          <ac:spMkLst>
            <pc:docMk/>
            <pc:sldMk cId="3744360188" sldId="354"/>
            <ac:spMk id="22" creationId="{C6C0258C-ED8A-C910-54C1-B67697C93575}"/>
          </ac:spMkLst>
        </pc:spChg>
      </pc:sldChg>
      <pc:sldChg chg="modSp mod">
        <pc:chgData name="MarPed65" userId="90acb7b1-e9da-405c-a880-b89ced354a59" providerId="ADAL" clId="{8F440C45-2036-47C2-84AC-D0A61349453F}" dt="2023-10-16T17:02:45.903" v="298" actId="207"/>
        <pc:sldMkLst>
          <pc:docMk/>
          <pc:sldMk cId="1752432362" sldId="355"/>
        </pc:sldMkLst>
        <pc:spChg chg="mod">
          <ac:chgData name="MarPed65" userId="90acb7b1-e9da-405c-a880-b89ced354a59" providerId="ADAL" clId="{8F440C45-2036-47C2-84AC-D0A61349453F}" dt="2023-10-16T17:01:28.056" v="286" actId="113"/>
          <ac:spMkLst>
            <pc:docMk/>
            <pc:sldMk cId="1752432362" sldId="355"/>
            <ac:spMk id="8" creationId="{D72EF777-7453-4D56-E37C-470AE7412B8E}"/>
          </ac:spMkLst>
        </pc:spChg>
        <pc:spChg chg="mod">
          <ac:chgData name="MarPed65" userId="90acb7b1-e9da-405c-a880-b89ced354a59" providerId="ADAL" clId="{8F440C45-2036-47C2-84AC-D0A61349453F}" dt="2023-10-16T17:01:46.483" v="289" actId="207"/>
          <ac:spMkLst>
            <pc:docMk/>
            <pc:sldMk cId="1752432362" sldId="355"/>
            <ac:spMk id="10" creationId="{355E577B-6791-F0EE-279F-E5240383DEF1}"/>
          </ac:spMkLst>
        </pc:spChg>
        <pc:spChg chg="mod">
          <ac:chgData name="MarPed65" userId="90acb7b1-e9da-405c-a880-b89ced354a59" providerId="ADAL" clId="{8F440C45-2036-47C2-84AC-D0A61349453F}" dt="2023-10-16T17:01:49.279" v="290" actId="207"/>
          <ac:spMkLst>
            <pc:docMk/>
            <pc:sldMk cId="1752432362" sldId="355"/>
            <ac:spMk id="12" creationId="{94144D5B-9452-20FD-63CC-388F2682351A}"/>
          </ac:spMkLst>
        </pc:spChg>
        <pc:spChg chg="mod">
          <ac:chgData name="MarPed65" userId="90acb7b1-e9da-405c-a880-b89ced354a59" providerId="ADAL" clId="{8F440C45-2036-47C2-84AC-D0A61349453F}" dt="2023-10-16T17:02:04.274" v="291"/>
          <ac:spMkLst>
            <pc:docMk/>
            <pc:sldMk cId="1752432362" sldId="355"/>
            <ac:spMk id="16" creationId="{77FFA90A-F52B-63E3-0179-7143AAFB1145}"/>
          </ac:spMkLst>
        </pc:spChg>
        <pc:spChg chg="mod">
          <ac:chgData name="MarPed65" userId="90acb7b1-e9da-405c-a880-b89ced354a59" providerId="ADAL" clId="{8F440C45-2036-47C2-84AC-D0A61349453F}" dt="2023-10-16T17:02:20.503" v="292"/>
          <ac:spMkLst>
            <pc:docMk/>
            <pc:sldMk cId="1752432362" sldId="355"/>
            <ac:spMk id="19" creationId="{8D231CE6-26BE-D6D4-D016-3E2F96F8BA41}"/>
          </ac:spMkLst>
        </pc:spChg>
        <pc:spChg chg="mod">
          <ac:chgData name="MarPed65" userId="90acb7b1-e9da-405c-a880-b89ced354a59" providerId="ADAL" clId="{8F440C45-2036-47C2-84AC-D0A61349453F}" dt="2023-10-16T17:02:45.903" v="298" actId="207"/>
          <ac:spMkLst>
            <pc:docMk/>
            <pc:sldMk cId="1752432362" sldId="355"/>
            <ac:spMk id="22" creationId="{C6C0258C-ED8A-C910-54C1-B67697C93575}"/>
          </ac:spMkLst>
        </pc:spChg>
      </pc:sldChg>
      <pc:sldChg chg="modSp mod">
        <pc:chgData name="MarPed65" userId="90acb7b1-e9da-405c-a880-b89ced354a59" providerId="ADAL" clId="{8F440C45-2036-47C2-84AC-D0A61349453F}" dt="2023-10-16T17:04:25.527" v="321" actId="207"/>
        <pc:sldMkLst>
          <pc:docMk/>
          <pc:sldMk cId="3009283451" sldId="356"/>
        </pc:sldMkLst>
        <pc:spChg chg="mod">
          <ac:chgData name="MarPed65" userId="90acb7b1-e9da-405c-a880-b89ced354a59" providerId="ADAL" clId="{8F440C45-2036-47C2-84AC-D0A61349453F}" dt="2023-10-16T17:03:10.833" v="303" actId="113"/>
          <ac:spMkLst>
            <pc:docMk/>
            <pc:sldMk cId="3009283451" sldId="356"/>
            <ac:spMk id="8" creationId="{D72EF777-7453-4D56-E37C-470AE7412B8E}"/>
          </ac:spMkLst>
        </pc:spChg>
        <pc:spChg chg="mod">
          <ac:chgData name="MarPed65" userId="90acb7b1-e9da-405c-a880-b89ced354a59" providerId="ADAL" clId="{8F440C45-2036-47C2-84AC-D0A61349453F}" dt="2023-10-16T17:03:34.332" v="306" actId="207"/>
          <ac:spMkLst>
            <pc:docMk/>
            <pc:sldMk cId="3009283451" sldId="356"/>
            <ac:spMk id="10" creationId="{355E577B-6791-F0EE-279F-E5240383DEF1}"/>
          </ac:spMkLst>
        </pc:spChg>
        <pc:spChg chg="mod">
          <ac:chgData name="MarPed65" userId="90acb7b1-e9da-405c-a880-b89ced354a59" providerId="ADAL" clId="{8F440C45-2036-47C2-84AC-D0A61349453F}" dt="2023-10-16T17:03:37.153" v="307" actId="207"/>
          <ac:spMkLst>
            <pc:docMk/>
            <pc:sldMk cId="3009283451" sldId="356"/>
            <ac:spMk id="12" creationId="{94144D5B-9452-20FD-63CC-388F2682351A}"/>
          </ac:spMkLst>
        </pc:spChg>
        <pc:spChg chg="mod">
          <ac:chgData name="MarPed65" userId="90acb7b1-e9da-405c-a880-b89ced354a59" providerId="ADAL" clId="{8F440C45-2036-47C2-84AC-D0A61349453F}" dt="2023-10-16T17:03:55.427" v="311" actId="20577"/>
          <ac:spMkLst>
            <pc:docMk/>
            <pc:sldMk cId="3009283451" sldId="356"/>
            <ac:spMk id="16" creationId="{77FFA90A-F52B-63E3-0179-7143AAFB1145}"/>
          </ac:spMkLst>
        </pc:spChg>
        <pc:spChg chg="mod">
          <ac:chgData name="MarPed65" userId="90acb7b1-e9da-405c-a880-b89ced354a59" providerId="ADAL" clId="{8F440C45-2036-47C2-84AC-D0A61349453F}" dt="2023-10-16T17:04:05.220" v="312"/>
          <ac:spMkLst>
            <pc:docMk/>
            <pc:sldMk cId="3009283451" sldId="356"/>
            <ac:spMk id="19" creationId="{8D231CE6-26BE-D6D4-D016-3E2F96F8BA41}"/>
          </ac:spMkLst>
        </pc:spChg>
        <pc:spChg chg="mod">
          <ac:chgData name="MarPed65" userId="90acb7b1-e9da-405c-a880-b89ced354a59" providerId="ADAL" clId="{8F440C45-2036-47C2-84AC-D0A61349453F}" dt="2023-10-16T17:04:25.527" v="321" actId="207"/>
          <ac:spMkLst>
            <pc:docMk/>
            <pc:sldMk cId="3009283451" sldId="356"/>
            <ac:spMk id="22" creationId="{C6C0258C-ED8A-C910-54C1-B67697C93575}"/>
          </ac:spMkLst>
        </pc:spChg>
      </pc:sldChg>
      <pc:sldChg chg="modSp mod">
        <pc:chgData name="MarPed65" userId="90acb7b1-e9da-405c-a880-b89ced354a59" providerId="ADAL" clId="{8F440C45-2036-47C2-84AC-D0A61349453F}" dt="2023-10-16T17:31:45.505" v="402" actId="1076"/>
        <pc:sldMkLst>
          <pc:docMk/>
          <pc:sldMk cId="3121014267" sldId="357"/>
        </pc:sldMkLst>
        <pc:spChg chg="mod">
          <ac:chgData name="MarPed65" userId="90acb7b1-e9da-405c-a880-b89ced354a59" providerId="ADAL" clId="{8F440C45-2036-47C2-84AC-D0A61349453F}" dt="2023-10-16T17:31:45.505" v="402" actId="1076"/>
          <ac:spMkLst>
            <pc:docMk/>
            <pc:sldMk cId="3121014267" sldId="357"/>
            <ac:spMk id="8" creationId="{D72EF777-7453-4D56-E37C-470AE7412B8E}"/>
          </ac:spMkLst>
        </pc:spChg>
        <pc:spChg chg="mod">
          <ac:chgData name="MarPed65" userId="90acb7b1-e9da-405c-a880-b89ced354a59" providerId="ADAL" clId="{8F440C45-2036-47C2-84AC-D0A61349453F}" dt="2023-10-16T17:05:06.821" v="329" actId="207"/>
          <ac:spMkLst>
            <pc:docMk/>
            <pc:sldMk cId="3121014267" sldId="357"/>
            <ac:spMk id="10" creationId="{355E577B-6791-F0EE-279F-E5240383DEF1}"/>
          </ac:spMkLst>
        </pc:spChg>
        <pc:spChg chg="mod">
          <ac:chgData name="MarPed65" userId="90acb7b1-e9da-405c-a880-b89ced354a59" providerId="ADAL" clId="{8F440C45-2036-47C2-84AC-D0A61349453F}" dt="2023-10-16T17:05:09.652" v="330" actId="207"/>
          <ac:spMkLst>
            <pc:docMk/>
            <pc:sldMk cId="3121014267" sldId="357"/>
            <ac:spMk id="12" creationId="{94144D5B-9452-20FD-63CC-388F2682351A}"/>
          </ac:spMkLst>
        </pc:spChg>
        <pc:spChg chg="mod">
          <ac:chgData name="MarPed65" userId="90acb7b1-e9da-405c-a880-b89ced354a59" providerId="ADAL" clId="{8F440C45-2036-47C2-84AC-D0A61349453F}" dt="2023-10-16T17:05:28.202" v="335" actId="5793"/>
          <ac:spMkLst>
            <pc:docMk/>
            <pc:sldMk cId="3121014267" sldId="357"/>
            <ac:spMk id="16" creationId="{77FFA90A-F52B-63E3-0179-7143AAFB1145}"/>
          </ac:spMkLst>
        </pc:spChg>
        <pc:spChg chg="mod">
          <ac:chgData name="MarPed65" userId="90acb7b1-e9da-405c-a880-b89ced354a59" providerId="ADAL" clId="{8F440C45-2036-47C2-84AC-D0A61349453F}" dt="2023-10-16T17:05:39.201" v="336"/>
          <ac:spMkLst>
            <pc:docMk/>
            <pc:sldMk cId="3121014267" sldId="357"/>
            <ac:spMk id="19" creationId="{8D231CE6-26BE-D6D4-D016-3E2F96F8BA41}"/>
          </ac:spMkLst>
        </pc:spChg>
        <pc:spChg chg="mod">
          <ac:chgData name="MarPed65" userId="90acb7b1-e9da-405c-a880-b89ced354a59" providerId="ADAL" clId="{8F440C45-2036-47C2-84AC-D0A61349453F}" dt="2023-10-16T17:06:03.381" v="342" actId="207"/>
          <ac:spMkLst>
            <pc:docMk/>
            <pc:sldMk cId="3121014267" sldId="357"/>
            <ac:spMk id="22" creationId="{C6C0258C-ED8A-C910-54C1-B67697C93575}"/>
          </ac:spMkLst>
        </pc:spChg>
      </pc:sldChg>
      <pc:sldChg chg="modSp mod">
        <pc:chgData name="MarPed65" userId="90acb7b1-e9da-405c-a880-b89ced354a59" providerId="ADAL" clId="{8F440C45-2036-47C2-84AC-D0A61349453F}" dt="2023-10-16T17:07:33.630" v="364" actId="207"/>
        <pc:sldMkLst>
          <pc:docMk/>
          <pc:sldMk cId="881709091" sldId="358"/>
        </pc:sldMkLst>
        <pc:spChg chg="mod">
          <ac:chgData name="MarPed65" userId="90acb7b1-e9da-405c-a880-b89ced354a59" providerId="ADAL" clId="{8F440C45-2036-47C2-84AC-D0A61349453F}" dt="2023-10-16T17:06:23.610" v="346" actId="113"/>
          <ac:spMkLst>
            <pc:docMk/>
            <pc:sldMk cId="881709091" sldId="358"/>
            <ac:spMk id="8" creationId="{D72EF777-7453-4D56-E37C-470AE7412B8E}"/>
          </ac:spMkLst>
        </pc:spChg>
        <pc:spChg chg="mod">
          <ac:chgData name="MarPed65" userId="90acb7b1-e9da-405c-a880-b89ced354a59" providerId="ADAL" clId="{8F440C45-2036-47C2-84AC-D0A61349453F}" dt="2023-10-16T17:06:42.361" v="349" actId="207"/>
          <ac:spMkLst>
            <pc:docMk/>
            <pc:sldMk cId="881709091" sldId="358"/>
            <ac:spMk id="10" creationId="{355E577B-6791-F0EE-279F-E5240383DEF1}"/>
          </ac:spMkLst>
        </pc:spChg>
        <pc:spChg chg="mod">
          <ac:chgData name="MarPed65" userId="90acb7b1-e9da-405c-a880-b89ced354a59" providerId="ADAL" clId="{8F440C45-2036-47C2-84AC-D0A61349453F}" dt="2023-10-16T17:06:45.850" v="350" actId="207"/>
          <ac:spMkLst>
            <pc:docMk/>
            <pc:sldMk cId="881709091" sldId="358"/>
            <ac:spMk id="12" creationId="{94144D5B-9452-20FD-63CC-388F2682351A}"/>
          </ac:spMkLst>
        </pc:spChg>
        <pc:spChg chg="mod">
          <ac:chgData name="MarPed65" userId="90acb7b1-e9da-405c-a880-b89ced354a59" providerId="ADAL" clId="{8F440C45-2036-47C2-84AC-D0A61349453F}" dt="2023-10-16T17:07:03.521" v="355" actId="20577"/>
          <ac:spMkLst>
            <pc:docMk/>
            <pc:sldMk cId="881709091" sldId="358"/>
            <ac:spMk id="16" creationId="{77FFA90A-F52B-63E3-0179-7143AAFB1145}"/>
          </ac:spMkLst>
        </pc:spChg>
        <pc:spChg chg="mod">
          <ac:chgData name="MarPed65" userId="90acb7b1-e9da-405c-a880-b89ced354a59" providerId="ADAL" clId="{8F440C45-2036-47C2-84AC-D0A61349453F}" dt="2023-10-16T17:07:14.450" v="356"/>
          <ac:spMkLst>
            <pc:docMk/>
            <pc:sldMk cId="881709091" sldId="358"/>
            <ac:spMk id="19" creationId="{8D231CE6-26BE-D6D4-D016-3E2F96F8BA41}"/>
          </ac:spMkLst>
        </pc:spChg>
        <pc:spChg chg="mod">
          <ac:chgData name="MarPed65" userId="90acb7b1-e9da-405c-a880-b89ced354a59" providerId="ADAL" clId="{8F440C45-2036-47C2-84AC-D0A61349453F}" dt="2023-10-16T17:07:33.630" v="364" actId="207"/>
          <ac:spMkLst>
            <pc:docMk/>
            <pc:sldMk cId="881709091" sldId="358"/>
            <ac:spMk id="22" creationId="{C6C0258C-ED8A-C910-54C1-B67697C93575}"/>
          </ac:spMkLst>
        </pc:spChg>
      </pc:sldChg>
      <pc:sldChg chg="modSp add mod">
        <pc:chgData name="MarPed65" userId="90acb7b1-e9da-405c-a880-b89ced354a59" providerId="ADAL" clId="{8F440C45-2036-47C2-84AC-D0A61349453F}" dt="2023-10-16T17:11:34.513" v="400" actId="20577"/>
        <pc:sldMkLst>
          <pc:docMk/>
          <pc:sldMk cId="557102970" sldId="378"/>
        </pc:sldMkLst>
        <pc:spChg chg="mod">
          <ac:chgData name="MarPed65" userId="90acb7b1-e9da-405c-a880-b89ced354a59" providerId="ADAL" clId="{8F440C45-2036-47C2-84AC-D0A61349453F}" dt="2023-10-16T17:11:34.513" v="400" actId="20577"/>
          <ac:spMkLst>
            <pc:docMk/>
            <pc:sldMk cId="557102970" sldId="378"/>
            <ac:spMk id="8" creationId="{D72EF777-7453-4D56-E37C-470AE7412B8E}"/>
          </ac:spMkLst>
        </pc:spChg>
        <pc:spChg chg="mod">
          <ac:chgData name="MarPed65" userId="90acb7b1-e9da-405c-a880-b89ced354a59" providerId="ADAL" clId="{8F440C45-2036-47C2-84AC-D0A61349453F}" dt="2023-10-16T17:08:41.499" v="378" actId="207"/>
          <ac:spMkLst>
            <pc:docMk/>
            <pc:sldMk cId="557102970" sldId="378"/>
            <ac:spMk id="10" creationId="{355E577B-6791-F0EE-279F-E5240383DEF1}"/>
          </ac:spMkLst>
        </pc:spChg>
        <pc:spChg chg="mod">
          <ac:chgData name="MarPed65" userId="90acb7b1-e9da-405c-a880-b89ced354a59" providerId="ADAL" clId="{8F440C45-2036-47C2-84AC-D0A61349453F}" dt="2023-10-16T17:08:38.199" v="377" actId="207"/>
          <ac:spMkLst>
            <pc:docMk/>
            <pc:sldMk cId="557102970" sldId="378"/>
            <ac:spMk id="12" creationId="{94144D5B-9452-20FD-63CC-388F2682351A}"/>
          </ac:spMkLst>
        </pc:spChg>
        <pc:spChg chg="mod">
          <ac:chgData name="MarPed65" userId="90acb7b1-e9da-405c-a880-b89ced354a59" providerId="ADAL" clId="{8F440C45-2036-47C2-84AC-D0A61349453F}" dt="2023-10-16T17:08:55.559" v="383" actId="5793"/>
          <ac:spMkLst>
            <pc:docMk/>
            <pc:sldMk cId="557102970" sldId="378"/>
            <ac:spMk id="16" creationId="{77FFA90A-F52B-63E3-0179-7143AAFB1145}"/>
          </ac:spMkLst>
        </pc:spChg>
        <pc:spChg chg="mod">
          <ac:chgData name="MarPed65" userId="90acb7b1-e9da-405c-a880-b89ced354a59" providerId="ADAL" clId="{8F440C45-2036-47C2-84AC-D0A61349453F}" dt="2023-10-16T17:09:12.109" v="390" actId="20577"/>
          <ac:spMkLst>
            <pc:docMk/>
            <pc:sldMk cId="557102970" sldId="378"/>
            <ac:spMk id="19" creationId="{8D231CE6-26BE-D6D4-D016-3E2F96F8BA41}"/>
          </ac:spMkLst>
        </pc:spChg>
        <pc:spChg chg="mod">
          <ac:chgData name="MarPed65" userId="90acb7b1-e9da-405c-a880-b89ced354a59" providerId="ADAL" clId="{8F440C45-2036-47C2-84AC-D0A61349453F}" dt="2023-10-16T17:09:39.979" v="398" actId="207"/>
          <ac:spMkLst>
            <pc:docMk/>
            <pc:sldMk cId="557102970" sldId="378"/>
            <ac:spMk id="22" creationId="{C6C0258C-ED8A-C910-54C1-B67697C93575}"/>
          </ac:spMkLst>
        </pc:spChg>
      </pc:sldChg>
      <pc:sldChg chg="add">
        <pc:chgData name="MarPed65" userId="90acb7b1-e9da-405c-a880-b89ced354a59" providerId="ADAL" clId="{8F440C45-2036-47C2-84AC-D0A61349453F}" dt="2023-10-16T17:45:03.157" v="403"/>
        <pc:sldMkLst>
          <pc:docMk/>
          <pc:sldMk cId="3587184805" sldId="1061"/>
        </pc:sldMkLst>
      </pc:sldChg>
    </pc:docChg>
  </pc:docChgLst>
  <pc:docChgLst>
    <pc:chgData name="fhw22320529" userId="8b93e261-be6a-4e90-8d80-f98471e88ed0" providerId="ADAL" clId="{5ECA7CAF-A57B-8E4A-B562-025BD75D0BF8}"/>
    <pc:docChg chg="undo redo custSel addSld delSld modSld modSection">
      <pc:chgData name="fhw22320529" userId="8b93e261-be6a-4e90-8d80-f98471e88ed0" providerId="ADAL" clId="{5ECA7CAF-A57B-8E4A-B562-025BD75D0BF8}" dt="2023-10-19T17:01:35.985" v="4167" actId="113"/>
      <pc:docMkLst>
        <pc:docMk/>
      </pc:docMkLst>
      <pc:sldChg chg="addSp delSp modSp mod delCm">
        <pc:chgData name="fhw22320529" userId="8b93e261-be6a-4e90-8d80-f98471e88ed0" providerId="ADAL" clId="{5ECA7CAF-A57B-8E4A-B562-025BD75D0BF8}" dt="2023-10-19T11:57:25.473" v="4145"/>
        <pc:sldMkLst>
          <pc:docMk/>
          <pc:sldMk cId="3927998372" sldId="317"/>
        </pc:sldMkLst>
        <pc:spChg chg="mod">
          <ac:chgData name="fhw22320529" userId="8b93e261-be6a-4e90-8d80-f98471e88ed0" providerId="ADAL" clId="{5ECA7CAF-A57B-8E4A-B562-025BD75D0BF8}" dt="2023-10-17T15:09:45.981" v="3838" actId="1076"/>
          <ac:spMkLst>
            <pc:docMk/>
            <pc:sldMk cId="3927998372" sldId="317"/>
            <ac:spMk id="2" creationId="{3E9D195C-296B-0F7E-EB54-BF6CC44A9E10}"/>
          </ac:spMkLst>
        </pc:spChg>
        <pc:spChg chg="mod">
          <ac:chgData name="fhw22320529" userId="8b93e261-be6a-4e90-8d80-f98471e88ed0" providerId="ADAL" clId="{5ECA7CAF-A57B-8E4A-B562-025BD75D0BF8}" dt="2023-10-17T15:07:57.696" v="3816" actId="113"/>
          <ac:spMkLst>
            <pc:docMk/>
            <pc:sldMk cId="3927998372" sldId="317"/>
            <ac:spMk id="3" creationId="{B87522F2-F44D-F2F3-BF69-173EC36F37AC}"/>
          </ac:spMkLst>
        </pc:spChg>
        <pc:spChg chg="mod">
          <ac:chgData name="fhw22320529" userId="8b93e261-be6a-4e90-8d80-f98471e88ed0" providerId="ADAL" clId="{5ECA7CAF-A57B-8E4A-B562-025BD75D0BF8}" dt="2023-10-16T12:41:24.166" v="2127" actId="20577"/>
          <ac:spMkLst>
            <pc:docMk/>
            <pc:sldMk cId="3927998372" sldId="317"/>
            <ac:spMk id="5" creationId="{60BF62C9-32FB-8607-DD10-B86B42995238}"/>
          </ac:spMkLst>
        </pc:spChg>
        <pc:spChg chg="mod">
          <ac:chgData name="fhw22320529" userId="8b93e261-be6a-4e90-8d80-f98471e88ed0" providerId="ADAL" clId="{5ECA7CAF-A57B-8E4A-B562-025BD75D0BF8}" dt="2023-10-16T12:33:13.534" v="1903"/>
          <ac:spMkLst>
            <pc:docMk/>
            <pc:sldMk cId="3927998372" sldId="317"/>
            <ac:spMk id="6" creationId="{E7188A8B-4900-B2A0-BC5A-DF7E30292B58}"/>
          </ac:spMkLst>
        </pc:spChg>
        <pc:spChg chg="del">
          <ac:chgData name="fhw22320529" userId="8b93e261-be6a-4e90-8d80-f98471e88ed0" providerId="ADAL" clId="{5ECA7CAF-A57B-8E4A-B562-025BD75D0BF8}" dt="2023-10-16T12:27:48.992" v="1881"/>
          <ac:spMkLst>
            <pc:docMk/>
            <pc:sldMk cId="3927998372" sldId="317"/>
            <ac:spMk id="7" creationId="{DB6F017D-D7EB-2910-185A-A2BF31049694}"/>
          </ac:spMkLst>
        </pc:spChg>
        <pc:spChg chg="add del mod">
          <ac:chgData name="fhw22320529" userId="8b93e261-be6a-4e90-8d80-f98471e88ed0" providerId="ADAL" clId="{5ECA7CAF-A57B-8E4A-B562-025BD75D0BF8}" dt="2023-10-17T11:38:19.130" v="3807" actId="478"/>
          <ac:spMkLst>
            <pc:docMk/>
            <pc:sldMk cId="3927998372" sldId="317"/>
            <ac:spMk id="7" creationId="{E332E2F0-3A7B-F988-9AF1-6B28E92873AD}"/>
          </ac:spMkLst>
        </pc:spChg>
        <pc:spChg chg="add del mod">
          <ac:chgData name="fhw22320529" userId="8b93e261-be6a-4e90-8d80-f98471e88ed0" providerId="ADAL" clId="{5ECA7CAF-A57B-8E4A-B562-025BD75D0BF8}" dt="2023-10-17T11:38:19.130" v="3807" actId="478"/>
          <ac:spMkLst>
            <pc:docMk/>
            <pc:sldMk cId="3927998372" sldId="317"/>
            <ac:spMk id="10" creationId="{CE7DE967-2F43-827E-86B4-B1FCCFECB5A7}"/>
          </ac:spMkLst>
        </pc:spChg>
        <pc:spChg chg="add del mod">
          <ac:chgData name="fhw22320529" userId="8b93e261-be6a-4e90-8d80-f98471e88ed0" providerId="ADAL" clId="{5ECA7CAF-A57B-8E4A-B562-025BD75D0BF8}" dt="2023-10-17T11:38:19.130" v="3807" actId="478"/>
          <ac:spMkLst>
            <pc:docMk/>
            <pc:sldMk cId="3927998372" sldId="317"/>
            <ac:spMk id="11" creationId="{CBA4E4EC-D445-FCD4-5A5E-CD9C613D6388}"/>
          </ac:spMkLst>
        </pc:spChg>
        <pc:spChg chg="del">
          <ac:chgData name="fhw22320529" userId="8b93e261-be6a-4e90-8d80-f98471e88ed0" providerId="ADAL" clId="{5ECA7CAF-A57B-8E4A-B562-025BD75D0BF8}" dt="2023-10-16T12:25:54.551" v="1870" actId="478"/>
          <ac:spMkLst>
            <pc:docMk/>
            <pc:sldMk cId="3927998372" sldId="317"/>
            <ac:spMk id="11" creationId="{E12E1ACA-4960-E74F-530A-096B0FFD135A}"/>
          </ac:spMkLst>
        </pc:spChg>
        <pc:spChg chg="add del mod">
          <ac:chgData name="fhw22320529" userId="8b93e261-be6a-4e90-8d80-f98471e88ed0" providerId="ADAL" clId="{5ECA7CAF-A57B-8E4A-B562-025BD75D0BF8}" dt="2023-10-17T11:38:19.130" v="3807" actId="478"/>
          <ac:spMkLst>
            <pc:docMk/>
            <pc:sldMk cId="3927998372" sldId="317"/>
            <ac:spMk id="12" creationId="{BDB6888E-4FBA-7F5F-71E0-93A7E85D8480}"/>
          </ac:spMkLst>
        </pc:spChg>
        <pc:spChg chg="add del mod">
          <ac:chgData name="fhw22320529" userId="8b93e261-be6a-4e90-8d80-f98471e88ed0" providerId="ADAL" clId="{5ECA7CAF-A57B-8E4A-B562-025BD75D0BF8}" dt="2023-10-17T11:38:19.130" v="3807" actId="478"/>
          <ac:spMkLst>
            <pc:docMk/>
            <pc:sldMk cId="3927998372" sldId="317"/>
            <ac:spMk id="13" creationId="{C3773C58-23D8-E4B4-B134-27ABFEBA3797}"/>
          </ac:spMkLst>
        </pc:spChg>
        <pc:spChg chg="add mod">
          <ac:chgData name="fhw22320529" userId="8b93e261-be6a-4e90-8d80-f98471e88ed0" providerId="ADAL" clId="{5ECA7CAF-A57B-8E4A-B562-025BD75D0BF8}" dt="2023-10-16T12:32:46.568" v="1896" actId="478"/>
          <ac:spMkLst>
            <pc:docMk/>
            <pc:sldMk cId="3927998372" sldId="317"/>
            <ac:spMk id="17" creationId="{03862D2C-BA40-038E-4F85-D9558FBC99AC}"/>
          </ac:spMkLst>
        </pc:spChg>
        <pc:picChg chg="add mod">
          <ac:chgData name="fhw22320529" userId="8b93e261-be6a-4e90-8d80-f98471e88ed0" providerId="ADAL" clId="{5ECA7CAF-A57B-8E4A-B562-025BD75D0BF8}" dt="2023-10-19T11:44:27.260" v="4142" actId="1076"/>
          <ac:picMkLst>
            <pc:docMk/>
            <pc:sldMk cId="3927998372" sldId="317"/>
            <ac:picMk id="8" creationId="{07E65547-5568-F0E2-3070-F4CF72DE2AB6}"/>
          </ac:picMkLst>
        </pc:picChg>
        <pc:picChg chg="add mod">
          <ac:chgData name="fhw22320529" userId="8b93e261-be6a-4e90-8d80-f98471e88ed0" providerId="ADAL" clId="{5ECA7CAF-A57B-8E4A-B562-025BD75D0BF8}" dt="2023-10-16T12:37:25.943" v="2006" actId="1037"/>
          <ac:picMkLst>
            <pc:docMk/>
            <pc:sldMk cId="3927998372" sldId="317"/>
            <ac:picMk id="9" creationId="{97DFB87C-44B2-37E2-882C-291D8564C826}"/>
          </ac:picMkLst>
        </pc:picChg>
        <pc:picChg chg="del">
          <ac:chgData name="fhw22320529" userId="8b93e261-be6a-4e90-8d80-f98471e88ed0" providerId="ADAL" clId="{5ECA7CAF-A57B-8E4A-B562-025BD75D0BF8}" dt="2023-10-16T11:18:40.652" v="311" actId="478"/>
          <ac:picMkLst>
            <pc:docMk/>
            <pc:sldMk cId="3927998372" sldId="317"/>
            <ac:picMk id="10" creationId="{009746DD-7751-789F-2D01-3885DF146D85}"/>
          </ac:picMkLst>
        </pc:picChg>
        <pc:picChg chg="add del mod">
          <ac:chgData name="fhw22320529" userId="8b93e261-be6a-4e90-8d80-f98471e88ed0" providerId="ADAL" clId="{5ECA7CAF-A57B-8E4A-B562-025BD75D0BF8}" dt="2023-10-16T12:32:46.568" v="1896" actId="478"/>
          <ac:picMkLst>
            <pc:docMk/>
            <pc:sldMk cId="3927998372" sldId="317"/>
            <ac:picMk id="13" creationId="{A6854A1A-375C-8AF6-8736-C9255D926157}"/>
          </ac:picMkLst>
        </pc:picChg>
        <pc:picChg chg="add mod modCrop">
          <ac:chgData name="fhw22320529" userId="8b93e261-be6a-4e90-8d80-f98471e88ed0" providerId="ADAL" clId="{5ECA7CAF-A57B-8E4A-B562-025BD75D0BF8}" dt="2023-10-16T12:37:55.877" v="2013" actId="1038"/>
          <ac:picMkLst>
            <pc:docMk/>
            <pc:sldMk cId="3927998372" sldId="317"/>
            <ac:picMk id="15" creationId="{DC9AFE30-C7BC-D34A-7D5A-2CE20A76A458}"/>
          </ac:picMkLst>
        </pc:picChg>
        <pc:extLst>
          <p:ext xmlns:p="http://schemas.openxmlformats.org/presentationml/2006/main" uri="{D6D511B9-2390-475A-947B-AFAB55BFBCF1}">
            <pc226:cmChg xmlns:pc226="http://schemas.microsoft.com/office/powerpoint/2022/06/main/command" chg="del">
              <pc226:chgData name="fhw22320529" userId="8b93e261-be6a-4e90-8d80-f98471e88ed0" providerId="ADAL" clId="{5ECA7CAF-A57B-8E4A-B562-025BD75D0BF8}" dt="2023-10-19T11:57:25.473" v="4145"/>
              <pc2:cmMkLst xmlns:pc2="http://schemas.microsoft.com/office/powerpoint/2019/9/main/command">
                <pc:docMk/>
                <pc:sldMk cId="3927998372" sldId="317"/>
                <pc2:cmMk id="{11C1D657-FA32-4329-8D76-E1CA1CCFF61B}"/>
              </pc2:cmMkLst>
            </pc226:cmChg>
          </p:ext>
        </pc:extLst>
      </pc:sldChg>
      <pc:sldChg chg="modSp mod">
        <pc:chgData name="fhw22320529" userId="8b93e261-be6a-4e90-8d80-f98471e88ed0" providerId="ADAL" clId="{5ECA7CAF-A57B-8E4A-B562-025BD75D0BF8}" dt="2023-10-17T15:23:16.454" v="3873" actId="20577"/>
        <pc:sldMkLst>
          <pc:docMk/>
          <pc:sldMk cId="1802199850" sldId="318"/>
        </pc:sldMkLst>
        <pc:spChg chg="mod">
          <ac:chgData name="fhw22320529" userId="8b93e261-be6a-4e90-8d80-f98471e88ed0" providerId="ADAL" clId="{5ECA7CAF-A57B-8E4A-B562-025BD75D0BF8}" dt="2023-10-17T15:23:16.454" v="3873" actId="20577"/>
          <ac:spMkLst>
            <pc:docMk/>
            <pc:sldMk cId="1802199850" sldId="318"/>
            <ac:spMk id="5" creationId="{BEF244CB-66C2-D195-0641-589C5F9C1CFB}"/>
          </ac:spMkLst>
        </pc:spChg>
      </pc:sldChg>
      <pc:sldChg chg="addSp delSp modSp mod">
        <pc:chgData name="fhw22320529" userId="8b93e261-be6a-4e90-8d80-f98471e88ed0" providerId="ADAL" clId="{5ECA7CAF-A57B-8E4A-B562-025BD75D0BF8}" dt="2023-10-17T15:09:28.925" v="3836" actId="20577"/>
        <pc:sldMkLst>
          <pc:docMk/>
          <pc:sldMk cId="2619089612" sldId="319"/>
        </pc:sldMkLst>
        <pc:spChg chg="mod">
          <ac:chgData name="fhw22320529" userId="8b93e261-be6a-4e90-8d80-f98471e88ed0" providerId="ADAL" clId="{5ECA7CAF-A57B-8E4A-B562-025BD75D0BF8}" dt="2023-10-17T15:09:28.925" v="3836" actId="20577"/>
          <ac:spMkLst>
            <pc:docMk/>
            <pc:sldMk cId="2619089612" sldId="319"/>
            <ac:spMk id="2" creationId="{3CFE2866-A69F-B61B-AEB8-186B79D6FF27}"/>
          </ac:spMkLst>
        </pc:spChg>
        <pc:spChg chg="mod">
          <ac:chgData name="fhw22320529" userId="8b93e261-be6a-4e90-8d80-f98471e88ed0" providerId="ADAL" clId="{5ECA7CAF-A57B-8E4A-B562-025BD75D0BF8}" dt="2023-10-16T13:02:56.082" v="2149" actId="20577"/>
          <ac:spMkLst>
            <pc:docMk/>
            <pc:sldMk cId="2619089612" sldId="319"/>
            <ac:spMk id="5" creationId="{2DC1B6EC-5838-ACE8-F8C8-EC78B835E444}"/>
          </ac:spMkLst>
        </pc:spChg>
        <pc:spChg chg="add mod">
          <ac:chgData name="fhw22320529" userId="8b93e261-be6a-4e90-8d80-f98471e88ed0" providerId="ADAL" clId="{5ECA7CAF-A57B-8E4A-B562-025BD75D0BF8}" dt="2023-10-16T12:42:03.387" v="2129" actId="20577"/>
          <ac:spMkLst>
            <pc:docMk/>
            <pc:sldMk cId="2619089612" sldId="319"/>
            <ac:spMk id="6" creationId="{24A490D9-212A-1CEA-0235-3D27E9CA98AA}"/>
          </ac:spMkLst>
        </pc:spChg>
        <pc:spChg chg="del">
          <ac:chgData name="fhw22320529" userId="8b93e261-be6a-4e90-8d80-f98471e88ed0" providerId="ADAL" clId="{5ECA7CAF-A57B-8E4A-B562-025BD75D0BF8}" dt="2023-10-16T09:13:14.571" v="54"/>
          <ac:spMkLst>
            <pc:docMk/>
            <pc:sldMk cId="2619089612" sldId="319"/>
            <ac:spMk id="12" creationId="{92569BC5-03ED-4D49-42B6-AB363BC13766}"/>
          </ac:spMkLst>
        </pc:spChg>
        <pc:spChg chg="mod">
          <ac:chgData name="fhw22320529" userId="8b93e261-be6a-4e90-8d80-f98471e88ed0" providerId="ADAL" clId="{5ECA7CAF-A57B-8E4A-B562-025BD75D0BF8}" dt="2023-10-16T09:26:18.559" v="59" actId="14100"/>
          <ac:spMkLst>
            <pc:docMk/>
            <pc:sldMk cId="2619089612" sldId="319"/>
            <ac:spMk id="36" creationId="{0B9B2187-B48B-6A03-8EB5-F37124521AAA}"/>
          </ac:spMkLst>
        </pc:spChg>
        <pc:spChg chg="mod">
          <ac:chgData name="fhw22320529" userId="8b93e261-be6a-4e90-8d80-f98471e88ed0" providerId="ADAL" clId="{5ECA7CAF-A57B-8E4A-B562-025BD75D0BF8}" dt="2023-10-16T09:26:23.210" v="69" actId="1035"/>
          <ac:spMkLst>
            <pc:docMk/>
            <pc:sldMk cId="2619089612" sldId="319"/>
            <ac:spMk id="37" creationId="{225DA091-0151-B7D3-656B-5F798A263EA7}"/>
          </ac:spMkLst>
        </pc:spChg>
        <pc:spChg chg="mod">
          <ac:chgData name="fhw22320529" userId="8b93e261-be6a-4e90-8d80-f98471e88ed0" providerId="ADAL" clId="{5ECA7CAF-A57B-8E4A-B562-025BD75D0BF8}" dt="2023-10-16T09:26:32.928" v="72" actId="14100"/>
          <ac:spMkLst>
            <pc:docMk/>
            <pc:sldMk cId="2619089612" sldId="319"/>
            <ac:spMk id="40" creationId="{7A867578-F7AE-4505-94DB-B420F8F7A74D}"/>
          </ac:spMkLst>
        </pc:spChg>
        <pc:spChg chg="mod">
          <ac:chgData name="fhw22320529" userId="8b93e261-be6a-4e90-8d80-f98471e88ed0" providerId="ADAL" clId="{5ECA7CAF-A57B-8E4A-B562-025BD75D0BF8}" dt="2023-10-16T09:26:29.845" v="71" actId="1076"/>
          <ac:spMkLst>
            <pc:docMk/>
            <pc:sldMk cId="2619089612" sldId="319"/>
            <ac:spMk id="41" creationId="{4185CFF3-9863-BD81-C9E2-D9C532EFBB5B}"/>
          </ac:spMkLst>
        </pc:spChg>
        <pc:picChg chg="add mod">
          <ac:chgData name="fhw22320529" userId="8b93e261-be6a-4e90-8d80-f98471e88ed0" providerId="ADAL" clId="{5ECA7CAF-A57B-8E4A-B562-025BD75D0BF8}" dt="2023-10-16T09:13:41.119" v="58" actId="14100"/>
          <ac:picMkLst>
            <pc:docMk/>
            <pc:sldMk cId="2619089612" sldId="319"/>
            <ac:picMk id="9" creationId="{9604D277-13E6-7A0F-ABBE-EFF41DE7D84F}"/>
          </ac:picMkLst>
        </pc:picChg>
        <pc:picChg chg="del">
          <ac:chgData name="fhw22320529" userId="8b93e261-be6a-4e90-8d80-f98471e88ed0" providerId="ADAL" clId="{5ECA7CAF-A57B-8E4A-B562-025BD75D0BF8}" dt="2023-10-16T09:13:26.452" v="57" actId="478"/>
          <ac:picMkLst>
            <pc:docMk/>
            <pc:sldMk cId="2619089612" sldId="319"/>
            <ac:picMk id="18" creationId="{9BB65231-2713-9AFB-1AEB-B2FE1E758435}"/>
          </ac:picMkLst>
        </pc:picChg>
      </pc:sldChg>
      <pc:sldChg chg="addSp delSp modSp mod">
        <pc:chgData name="fhw22320529" userId="8b93e261-be6a-4e90-8d80-f98471e88ed0" providerId="ADAL" clId="{5ECA7CAF-A57B-8E4A-B562-025BD75D0BF8}" dt="2023-10-17T15:31:16.812" v="3928" actId="113"/>
        <pc:sldMkLst>
          <pc:docMk/>
          <pc:sldMk cId="582047224" sldId="320"/>
        </pc:sldMkLst>
        <pc:spChg chg="add del mod">
          <ac:chgData name="fhw22320529" userId="8b93e261-be6a-4e90-8d80-f98471e88ed0" providerId="ADAL" clId="{5ECA7CAF-A57B-8E4A-B562-025BD75D0BF8}" dt="2023-10-17T15:27:16.246" v="3877"/>
          <ac:spMkLst>
            <pc:docMk/>
            <pc:sldMk cId="582047224" sldId="320"/>
            <ac:spMk id="3" creationId="{B22B4599-7597-26E6-3257-49E079FA00AF}"/>
          </ac:spMkLst>
        </pc:spChg>
        <pc:spChg chg="mod">
          <ac:chgData name="fhw22320529" userId="8b93e261-be6a-4e90-8d80-f98471e88ed0" providerId="ADAL" clId="{5ECA7CAF-A57B-8E4A-B562-025BD75D0BF8}" dt="2023-10-17T15:31:16.812" v="3928" actId="113"/>
          <ac:spMkLst>
            <pc:docMk/>
            <pc:sldMk cId="582047224" sldId="320"/>
            <ac:spMk id="8" creationId="{779F404B-7443-3520-D406-540AB355F14A}"/>
          </ac:spMkLst>
        </pc:spChg>
      </pc:sldChg>
      <pc:sldChg chg="addSp delSp modSp mod">
        <pc:chgData name="fhw22320529" userId="8b93e261-be6a-4e90-8d80-f98471e88ed0" providerId="ADAL" clId="{5ECA7CAF-A57B-8E4A-B562-025BD75D0BF8}" dt="2023-10-17T11:40:05.687" v="3808" actId="478"/>
        <pc:sldMkLst>
          <pc:docMk/>
          <pc:sldMk cId="3097013568" sldId="322"/>
        </pc:sldMkLst>
        <pc:picChg chg="add del mod">
          <ac:chgData name="fhw22320529" userId="8b93e261-be6a-4e90-8d80-f98471e88ed0" providerId="ADAL" clId="{5ECA7CAF-A57B-8E4A-B562-025BD75D0BF8}" dt="2023-10-17T11:40:05.687" v="3808" actId="478"/>
          <ac:picMkLst>
            <pc:docMk/>
            <pc:sldMk cId="3097013568" sldId="322"/>
            <ac:picMk id="2" creationId="{2BA47827-2ACF-FB33-307D-C19067EC17D9}"/>
          </ac:picMkLst>
        </pc:picChg>
      </pc:sldChg>
      <pc:sldChg chg="modSp mod">
        <pc:chgData name="fhw22320529" userId="8b93e261-be6a-4e90-8d80-f98471e88ed0" providerId="ADAL" clId="{5ECA7CAF-A57B-8E4A-B562-025BD75D0BF8}" dt="2023-10-17T15:20:57.590" v="3850" actId="113"/>
        <pc:sldMkLst>
          <pc:docMk/>
          <pc:sldMk cId="2669051759" sldId="327"/>
        </pc:sldMkLst>
        <pc:spChg chg="mod">
          <ac:chgData name="fhw22320529" userId="8b93e261-be6a-4e90-8d80-f98471e88ed0" providerId="ADAL" clId="{5ECA7CAF-A57B-8E4A-B562-025BD75D0BF8}" dt="2023-10-17T15:20:57.590" v="3850" actId="113"/>
          <ac:spMkLst>
            <pc:docMk/>
            <pc:sldMk cId="2669051759" sldId="327"/>
            <ac:spMk id="8" creationId="{3616FA95-811B-6FD1-6A9B-806C1FEB9464}"/>
          </ac:spMkLst>
        </pc:spChg>
      </pc:sldChg>
      <pc:sldChg chg="addSp delSp modSp mod">
        <pc:chgData name="fhw22320529" userId="8b93e261-be6a-4e90-8d80-f98471e88ed0" providerId="ADAL" clId="{5ECA7CAF-A57B-8E4A-B562-025BD75D0BF8}" dt="2023-10-19T17:00:15.735" v="4153" actId="113"/>
        <pc:sldMkLst>
          <pc:docMk/>
          <pc:sldMk cId="1176767983" sldId="330"/>
        </pc:sldMkLst>
        <pc:spChg chg="mod">
          <ac:chgData name="fhw22320529" userId="8b93e261-be6a-4e90-8d80-f98471e88ed0" providerId="ADAL" clId="{5ECA7CAF-A57B-8E4A-B562-025BD75D0BF8}" dt="2023-10-16T19:03:51.268" v="3620" actId="20577"/>
          <ac:spMkLst>
            <pc:docMk/>
            <pc:sldMk cId="1176767983" sldId="330"/>
            <ac:spMk id="2" creationId="{B4FE2196-54B6-F3E2-6686-A0FC90353A7E}"/>
          </ac:spMkLst>
        </pc:spChg>
        <pc:spChg chg="add del mod">
          <ac:chgData name="fhw22320529" userId="8b93e261-be6a-4e90-8d80-f98471e88ed0" providerId="ADAL" clId="{5ECA7CAF-A57B-8E4A-B562-025BD75D0BF8}" dt="2023-10-19T17:00:15.735" v="4153" actId="113"/>
          <ac:spMkLst>
            <pc:docMk/>
            <pc:sldMk cId="1176767983" sldId="330"/>
            <ac:spMk id="3" creationId="{3159F075-8B03-E62F-32A7-8154B21D852C}"/>
          </ac:spMkLst>
        </pc:spChg>
        <pc:graphicFrameChg chg="add del mod">
          <ac:chgData name="fhw22320529" userId="8b93e261-be6a-4e90-8d80-f98471e88ed0" providerId="ADAL" clId="{5ECA7CAF-A57B-8E4A-B562-025BD75D0BF8}" dt="2023-10-16T19:04:14.520" v="3622" actId="12084"/>
          <ac:graphicFrameMkLst>
            <pc:docMk/>
            <pc:sldMk cId="1176767983" sldId="330"/>
            <ac:graphicFrameMk id="8" creationId="{164594A7-CC36-09A2-B97D-F9C1B6AADED6}"/>
          </ac:graphicFrameMkLst>
        </pc:graphicFrameChg>
        <pc:graphicFrameChg chg="add del mod">
          <ac:chgData name="fhw22320529" userId="8b93e261-be6a-4e90-8d80-f98471e88ed0" providerId="ADAL" clId="{5ECA7CAF-A57B-8E4A-B562-025BD75D0BF8}" dt="2023-10-16T19:05:13.730" v="3626" actId="12084"/>
          <ac:graphicFrameMkLst>
            <pc:docMk/>
            <pc:sldMk cId="1176767983" sldId="330"/>
            <ac:graphicFrameMk id="9" creationId="{4B7657B5-737A-BC7A-A255-ED1E0E44B5F1}"/>
          </ac:graphicFrameMkLst>
        </pc:graphicFrameChg>
        <pc:graphicFrameChg chg="add del mod">
          <ac:chgData name="fhw22320529" userId="8b93e261-be6a-4e90-8d80-f98471e88ed0" providerId="ADAL" clId="{5ECA7CAF-A57B-8E4A-B562-025BD75D0BF8}" dt="2023-10-16T19:10:47.772" v="3678" actId="12084"/>
          <ac:graphicFrameMkLst>
            <pc:docMk/>
            <pc:sldMk cId="1176767983" sldId="330"/>
            <ac:graphicFrameMk id="11" creationId="{71B346DB-8670-82D5-941C-32A86CE886E0}"/>
          </ac:graphicFrameMkLst>
        </pc:graphicFrameChg>
        <pc:graphicFrameChg chg="add del mod">
          <ac:chgData name="fhw22320529" userId="8b93e261-be6a-4e90-8d80-f98471e88ed0" providerId="ADAL" clId="{5ECA7CAF-A57B-8E4A-B562-025BD75D0BF8}" dt="2023-10-16T19:13:58.128" v="3704" actId="12084"/>
          <ac:graphicFrameMkLst>
            <pc:docMk/>
            <pc:sldMk cId="1176767983" sldId="330"/>
            <ac:graphicFrameMk id="12" creationId="{1B1C2881-E138-9B30-C4D1-C8589E94B132}"/>
          </ac:graphicFrameMkLst>
        </pc:graphicFrameChg>
        <pc:picChg chg="add del mod">
          <ac:chgData name="fhw22320529" userId="8b93e261-be6a-4e90-8d80-f98471e88ed0" providerId="ADAL" clId="{5ECA7CAF-A57B-8E4A-B562-025BD75D0BF8}" dt="2023-10-16T19:10:10.999" v="3676" actId="478"/>
          <ac:picMkLst>
            <pc:docMk/>
            <pc:sldMk cId="1176767983" sldId="330"/>
            <ac:picMk id="10" creationId="{6B3BCC71-CAB0-B02F-BBF1-3CAA8E114870}"/>
          </ac:picMkLst>
        </pc:picChg>
      </pc:sldChg>
      <pc:sldChg chg="modSp mod">
        <pc:chgData name="fhw22320529" userId="8b93e261-be6a-4e90-8d80-f98471e88ed0" providerId="ADAL" clId="{5ECA7CAF-A57B-8E4A-B562-025BD75D0BF8}" dt="2023-10-19T17:01:35.985" v="4167" actId="113"/>
        <pc:sldMkLst>
          <pc:docMk/>
          <pc:sldMk cId="1788893857" sldId="341"/>
        </pc:sldMkLst>
        <pc:spChg chg="mod">
          <ac:chgData name="fhw22320529" userId="8b93e261-be6a-4e90-8d80-f98471e88ed0" providerId="ADAL" clId="{5ECA7CAF-A57B-8E4A-B562-025BD75D0BF8}" dt="2023-10-16T13:31:13.301" v="2490" actId="20577"/>
          <ac:spMkLst>
            <pc:docMk/>
            <pc:sldMk cId="1788893857" sldId="341"/>
            <ac:spMk id="2" creationId="{46A33086-A78D-6EF2-7838-E344F0218BC1}"/>
          </ac:spMkLst>
        </pc:spChg>
        <pc:spChg chg="mod">
          <ac:chgData name="fhw22320529" userId="8b93e261-be6a-4e90-8d80-f98471e88ed0" providerId="ADAL" clId="{5ECA7CAF-A57B-8E4A-B562-025BD75D0BF8}" dt="2023-10-19T17:00:39.315" v="4158" actId="113"/>
          <ac:spMkLst>
            <pc:docMk/>
            <pc:sldMk cId="1788893857" sldId="341"/>
            <ac:spMk id="16" creationId="{350514AE-CB08-1BF5-0839-A4273F0D00D2}"/>
          </ac:spMkLst>
        </pc:spChg>
        <pc:spChg chg="mod">
          <ac:chgData name="fhw22320529" userId="8b93e261-be6a-4e90-8d80-f98471e88ed0" providerId="ADAL" clId="{5ECA7CAF-A57B-8E4A-B562-025BD75D0BF8}" dt="2023-10-19T17:00:59.177" v="4161" actId="113"/>
          <ac:spMkLst>
            <pc:docMk/>
            <pc:sldMk cId="1788893857" sldId="341"/>
            <ac:spMk id="23" creationId="{E4FEAC24-D2F2-7CC2-36AE-85C76E65A452}"/>
          </ac:spMkLst>
        </pc:spChg>
        <pc:spChg chg="mod">
          <ac:chgData name="fhw22320529" userId="8b93e261-be6a-4e90-8d80-f98471e88ed0" providerId="ADAL" clId="{5ECA7CAF-A57B-8E4A-B562-025BD75D0BF8}" dt="2023-10-19T17:01:19.529" v="4165" actId="113"/>
          <ac:spMkLst>
            <pc:docMk/>
            <pc:sldMk cId="1788893857" sldId="341"/>
            <ac:spMk id="30" creationId="{76A4D53C-6523-65C7-5A3D-92AEAD572901}"/>
          </ac:spMkLst>
        </pc:spChg>
        <pc:spChg chg="mod">
          <ac:chgData name="fhw22320529" userId="8b93e261-be6a-4e90-8d80-f98471e88ed0" providerId="ADAL" clId="{5ECA7CAF-A57B-8E4A-B562-025BD75D0BF8}" dt="2023-10-19T17:01:35.985" v="4167" actId="113"/>
          <ac:spMkLst>
            <pc:docMk/>
            <pc:sldMk cId="1788893857" sldId="341"/>
            <ac:spMk id="38" creationId="{F4DDF0B5-A659-5B70-E28E-32CE895717AB}"/>
          </ac:spMkLst>
        </pc:spChg>
      </pc:sldChg>
      <pc:sldChg chg="addSp modSp mod">
        <pc:chgData name="fhw22320529" userId="8b93e261-be6a-4e90-8d80-f98471e88ed0" providerId="ADAL" clId="{5ECA7CAF-A57B-8E4A-B562-025BD75D0BF8}" dt="2023-10-17T15:43:56.096" v="4008" actId="20577"/>
        <pc:sldMkLst>
          <pc:docMk/>
          <pc:sldMk cId="1204342257" sldId="362"/>
        </pc:sldMkLst>
        <pc:spChg chg="add mod">
          <ac:chgData name="fhw22320529" userId="8b93e261-be6a-4e90-8d80-f98471e88ed0" providerId="ADAL" clId="{5ECA7CAF-A57B-8E4A-B562-025BD75D0BF8}" dt="2023-10-17T15:43:56.096" v="4008" actId="20577"/>
          <ac:spMkLst>
            <pc:docMk/>
            <pc:sldMk cId="1204342257" sldId="362"/>
            <ac:spMk id="3" creationId="{78AEC600-541C-5561-2219-E2CE2308AA64}"/>
          </ac:spMkLst>
        </pc:spChg>
      </pc:sldChg>
      <pc:sldChg chg="new del">
        <pc:chgData name="fhw22320529" userId="8b93e261-be6a-4e90-8d80-f98471e88ed0" providerId="ADAL" clId="{5ECA7CAF-A57B-8E4A-B562-025BD75D0BF8}" dt="2023-10-16T08:23:38.565" v="1" actId="680"/>
        <pc:sldMkLst>
          <pc:docMk/>
          <pc:sldMk cId="1579425818" sldId="362"/>
        </pc:sldMkLst>
      </pc:sldChg>
      <pc:sldChg chg="addSp modSp mod">
        <pc:chgData name="fhw22320529" userId="8b93e261-be6a-4e90-8d80-f98471e88ed0" providerId="ADAL" clId="{5ECA7CAF-A57B-8E4A-B562-025BD75D0BF8}" dt="2023-10-17T15:52:11.533" v="4141" actId="1036"/>
        <pc:sldMkLst>
          <pc:docMk/>
          <pc:sldMk cId="1752648007" sldId="365"/>
        </pc:sldMkLst>
        <pc:spChg chg="add mod">
          <ac:chgData name="fhw22320529" userId="8b93e261-be6a-4e90-8d80-f98471e88ed0" providerId="ADAL" clId="{5ECA7CAF-A57B-8E4A-B562-025BD75D0BF8}" dt="2023-10-17T15:52:11.533" v="4141" actId="1036"/>
          <ac:spMkLst>
            <pc:docMk/>
            <pc:sldMk cId="1752648007" sldId="365"/>
            <ac:spMk id="2" creationId="{BF8A5165-6621-F2B3-6BE4-E116F0D7DB8E}"/>
          </ac:spMkLst>
        </pc:spChg>
      </pc:sldChg>
    </pc:docChg>
  </pc:docChgLst>
  <pc:docChgLst>
    <pc:chgData name="JanRud67" userId="S::janrud67@student.fh-westkueste.de::e03750ef-9d6b-41ce-93f4-a0b96c768197" providerId="AD" clId="Web-{FE5D77CE-1D27-4474-9DB5-0C82D8663245}"/>
    <pc:docChg chg="modSld">
      <pc:chgData name="JanRud67" userId="S::janrud67@student.fh-westkueste.de::e03750ef-9d6b-41ce-93f4-a0b96c768197" providerId="AD" clId="Web-{FE5D77CE-1D27-4474-9DB5-0C82D8663245}" dt="2023-10-17T10:33:34.069" v="6" actId="1076"/>
      <pc:docMkLst>
        <pc:docMk/>
      </pc:docMkLst>
      <pc:sldChg chg="addSp delSp modSp">
        <pc:chgData name="JanRud67" userId="S::janrud67@student.fh-westkueste.de::e03750ef-9d6b-41ce-93f4-a0b96c768197" providerId="AD" clId="Web-{FE5D77CE-1D27-4474-9DB5-0C82D8663245}" dt="2023-10-17T10:33:34.069" v="6" actId="1076"/>
        <pc:sldMkLst>
          <pc:docMk/>
          <pc:sldMk cId="2226441360" sldId="328"/>
        </pc:sldMkLst>
        <pc:graphicFrameChg chg="add mod">
          <ac:chgData name="JanRud67" userId="S::janrud67@student.fh-westkueste.de::e03750ef-9d6b-41ce-93f4-a0b96c768197" providerId="AD" clId="Web-{FE5D77CE-1D27-4474-9DB5-0C82D8663245}" dt="2023-10-17T10:33:34.069" v="6" actId="1076"/>
          <ac:graphicFrameMkLst>
            <pc:docMk/>
            <pc:sldMk cId="2226441360" sldId="328"/>
            <ac:graphicFrameMk id="3" creationId="{679800F2-B944-B80B-FB54-ED245D6A876E}"/>
          </ac:graphicFrameMkLst>
        </pc:graphicFrameChg>
        <pc:graphicFrameChg chg="del">
          <ac:chgData name="JanRud67" userId="S::janrud67@student.fh-westkueste.de::e03750ef-9d6b-41ce-93f4-a0b96c768197" providerId="AD" clId="Web-{FE5D77CE-1D27-4474-9DB5-0C82D8663245}" dt="2023-10-17T10:33:14.365" v="2"/>
          <ac:graphicFrameMkLst>
            <pc:docMk/>
            <pc:sldMk cId="2226441360" sldId="328"/>
            <ac:graphicFrameMk id="8" creationId="{25335F04-AF2D-225D-091B-90A2E5E6BD14}"/>
          </ac:graphicFrameMkLst>
        </pc:graphicFrameChg>
      </pc:sldChg>
    </pc:docChg>
  </pc:docChgLst>
  <pc:docChgLst>
    <pc:chgData name="JanEri14" userId="ea321e6f-a9b4-4544-8ae7-a495220778c5" providerId="ADAL" clId="{BB2BE024-E32F-4E3C-9FA3-E2875B3967A2}"/>
    <pc:docChg chg="undo custSel addSld delSld modSld sldOrd addSection delSection modSection">
      <pc:chgData name="JanEri14" userId="ea321e6f-a9b4-4544-8ae7-a495220778c5" providerId="ADAL" clId="{BB2BE024-E32F-4E3C-9FA3-E2875B3967A2}" dt="2023-10-29T10:45:34.748" v="3774" actId="1076"/>
      <pc:docMkLst>
        <pc:docMk/>
      </pc:docMkLst>
      <pc:sldChg chg="del">
        <pc:chgData name="JanEri14" userId="ea321e6f-a9b4-4544-8ae7-a495220778c5" providerId="ADAL" clId="{BB2BE024-E32F-4E3C-9FA3-E2875B3967A2}" dt="2023-10-27T15:55:03.610" v="19" actId="47"/>
        <pc:sldMkLst>
          <pc:docMk/>
          <pc:sldMk cId="885509496" sldId="256"/>
        </pc:sldMkLst>
      </pc:sldChg>
      <pc:sldChg chg="del">
        <pc:chgData name="JanEri14" userId="ea321e6f-a9b4-4544-8ae7-a495220778c5" providerId="ADAL" clId="{BB2BE024-E32F-4E3C-9FA3-E2875B3967A2}" dt="2023-10-27T15:55:03.610" v="19" actId="47"/>
        <pc:sldMkLst>
          <pc:docMk/>
          <pc:sldMk cId="2120779671" sldId="257"/>
        </pc:sldMkLst>
      </pc:sldChg>
      <pc:sldChg chg="del">
        <pc:chgData name="JanEri14" userId="ea321e6f-a9b4-4544-8ae7-a495220778c5" providerId="ADAL" clId="{BB2BE024-E32F-4E3C-9FA3-E2875B3967A2}" dt="2023-10-27T15:55:03.610" v="19" actId="47"/>
        <pc:sldMkLst>
          <pc:docMk/>
          <pc:sldMk cId="1122315815" sldId="258"/>
        </pc:sldMkLst>
      </pc:sldChg>
      <pc:sldChg chg="del">
        <pc:chgData name="JanEri14" userId="ea321e6f-a9b4-4544-8ae7-a495220778c5" providerId="ADAL" clId="{BB2BE024-E32F-4E3C-9FA3-E2875B3967A2}" dt="2023-10-27T15:55:03.610" v="19" actId="47"/>
        <pc:sldMkLst>
          <pc:docMk/>
          <pc:sldMk cId="2522314424" sldId="259"/>
        </pc:sldMkLst>
      </pc:sldChg>
      <pc:sldChg chg="del">
        <pc:chgData name="JanEri14" userId="ea321e6f-a9b4-4544-8ae7-a495220778c5" providerId="ADAL" clId="{BB2BE024-E32F-4E3C-9FA3-E2875B3967A2}" dt="2023-10-27T15:55:03.610" v="19" actId="47"/>
        <pc:sldMkLst>
          <pc:docMk/>
          <pc:sldMk cId="1055856665" sldId="260"/>
        </pc:sldMkLst>
      </pc:sldChg>
      <pc:sldChg chg="del">
        <pc:chgData name="JanEri14" userId="ea321e6f-a9b4-4544-8ae7-a495220778c5" providerId="ADAL" clId="{BB2BE024-E32F-4E3C-9FA3-E2875B3967A2}" dt="2023-10-27T15:55:03.610" v="19" actId="47"/>
        <pc:sldMkLst>
          <pc:docMk/>
          <pc:sldMk cId="3001416572" sldId="261"/>
        </pc:sldMkLst>
      </pc:sldChg>
      <pc:sldChg chg="del">
        <pc:chgData name="JanEri14" userId="ea321e6f-a9b4-4544-8ae7-a495220778c5" providerId="ADAL" clId="{BB2BE024-E32F-4E3C-9FA3-E2875B3967A2}" dt="2023-10-27T15:55:03.610" v="19" actId="47"/>
        <pc:sldMkLst>
          <pc:docMk/>
          <pc:sldMk cId="4247220353" sldId="262"/>
        </pc:sldMkLst>
      </pc:sldChg>
      <pc:sldChg chg="modSp mod">
        <pc:chgData name="JanEri14" userId="ea321e6f-a9b4-4544-8ae7-a495220778c5" providerId="ADAL" clId="{BB2BE024-E32F-4E3C-9FA3-E2875B3967A2}" dt="2023-10-27T18:24:02.977" v="2785" actId="20577"/>
        <pc:sldMkLst>
          <pc:docMk/>
          <pc:sldMk cId="2791746834" sldId="263"/>
        </pc:sldMkLst>
        <pc:spChg chg="mod">
          <ac:chgData name="JanEri14" userId="ea321e6f-a9b4-4544-8ae7-a495220778c5" providerId="ADAL" clId="{BB2BE024-E32F-4E3C-9FA3-E2875B3967A2}" dt="2023-10-27T18:24:02.977" v="2785" actId="20577"/>
          <ac:spMkLst>
            <pc:docMk/>
            <pc:sldMk cId="2791746834" sldId="263"/>
            <ac:spMk id="2" creationId="{00000000-0000-0000-0000-000000000000}"/>
          </ac:spMkLst>
        </pc:spChg>
      </pc:sldChg>
      <pc:sldChg chg="del">
        <pc:chgData name="JanEri14" userId="ea321e6f-a9b4-4544-8ae7-a495220778c5" providerId="ADAL" clId="{BB2BE024-E32F-4E3C-9FA3-E2875B3967A2}" dt="2023-10-27T15:55:03.610" v="19" actId="47"/>
        <pc:sldMkLst>
          <pc:docMk/>
          <pc:sldMk cId="371925568" sldId="264"/>
        </pc:sldMkLst>
      </pc:sldChg>
      <pc:sldChg chg="del">
        <pc:chgData name="JanEri14" userId="ea321e6f-a9b4-4544-8ae7-a495220778c5" providerId="ADAL" clId="{BB2BE024-E32F-4E3C-9FA3-E2875B3967A2}" dt="2023-10-27T15:55:03.610" v="19" actId="47"/>
        <pc:sldMkLst>
          <pc:docMk/>
          <pc:sldMk cId="735284018" sldId="265"/>
        </pc:sldMkLst>
      </pc:sldChg>
      <pc:sldChg chg="del">
        <pc:chgData name="JanEri14" userId="ea321e6f-a9b4-4544-8ae7-a495220778c5" providerId="ADAL" clId="{BB2BE024-E32F-4E3C-9FA3-E2875B3967A2}" dt="2023-10-27T15:55:03.610" v="19" actId="47"/>
        <pc:sldMkLst>
          <pc:docMk/>
          <pc:sldMk cId="4077785787" sldId="266"/>
        </pc:sldMkLst>
      </pc:sldChg>
      <pc:sldChg chg="modSp mod">
        <pc:chgData name="JanEri14" userId="ea321e6f-a9b4-4544-8ae7-a495220778c5" providerId="ADAL" clId="{BB2BE024-E32F-4E3C-9FA3-E2875B3967A2}" dt="2023-10-27T15:55:39.067" v="29" actId="20577"/>
        <pc:sldMkLst>
          <pc:docMk/>
          <pc:sldMk cId="3148940003" sldId="297"/>
        </pc:sldMkLst>
        <pc:spChg chg="mod">
          <ac:chgData name="JanEri14" userId="ea321e6f-a9b4-4544-8ae7-a495220778c5" providerId="ADAL" clId="{BB2BE024-E32F-4E3C-9FA3-E2875B3967A2}" dt="2023-10-27T15:55:39.067" v="29" actId="20577"/>
          <ac:spMkLst>
            <pc:docMk/>
            <pc:sldMk cId="3148940003" sldId="297"/>
            <ac:spMk id="16" creationId="{00000000-0000-0000-0000-000000000000}"/>
          </ac:spMkLst>
        </pc:spChg>
        <pc:spChg chg="mod">
          <ac:chgData name="JanEri14" userId="ea321e6f-a9b4-4544-8ae7-a495220778c5" providerId="ADAL" clId="{BB2BE024-E32F-4E3C-9FA3-E2875B3967A2}" dt="2023-10-27T15:55:36.142" v="28" actId="20577"/>
          <ac:spMkLst>
            <pc:docMk/>
            <pc:sldMk cId="3148940003" sldId="297"/>
            <ac:spMk id="17" creationId="{00000000-0000-0000-0000-000000000000}"/>
          </ac:spMkLst>
        </pc:spChg>
        <pc:spChg chg="mod">
          <ac:chgData name="JanEri14" userId="ea321e6f-a9b4-4544-8ae7-a495220778c5" providerId="ADAL" clId="{BB2BE024-E32F-4E3C-9FA3-E2875B3967A2}" dt="2023-10-27T15:55:34.563" v="27" actId="20577"/>
          <ac:spMkLst>
            <pc:docMk/>
            <pc:sldMk cId="3148940003" sldId="297"/>
            <ac:spMk id="19" creationId="{00000000-0000-0000-0000-000000000000}"/>
          </ac:spMkLst>
        </pc:spChg>
        <pc:spChg chg="mod">
          <ac:chgData name="JanEri14" userId="ea321e6f-a9b4-4544-8ae7-a495220778c5" providerId="ADAL" clId="{BB2BE024-E32F-4E3C-9FA3-E2875B3967A2}" dt="2023-10-27T15:55:30.929" v="24" actId="20577"/>
          <ac:spMkLst>
            <pc:docMk/>
            <pc:sldMk cId="3148940003" sldId="297"/>
            <ac:spMk id="22" creationId="{00000000-0000-0000-0000-000000000000}"/>
          </ac:spMkLst>
        </pc:spChg>
      </pc:sldChg>
      <pc:sldChg chg="add del">
        <pc:chgData name="JanEri14" userId="ea321e6f-a9b4-4544-8ae7-a495220778c5" providerId="ADAL" clId="{BB2BE024-E32F-4E3C-9FA3-E2875B3967A2}" dt="2023-10-27T15:54:16.424" v="6" actId="47"/>
        <pc:sldMkLst>
          <pc:docMk/>
          <pc:sldMk cId="3927998372" sldId="317"/>
        </pc:sldMkLst>
      </pc:sldChg>
      <pc:sldChg chg="del">
        <pc:chgData name="JanEri14" userId="ea321e6f-a9b4-4544-8ae7-a495220778c5" providerId="ADAL" clId="{BB2BE024-E32F-4E3C-9FA3-E2875B3967A2}" dt="2023-10-27T15:54:46.569" v="11" actId="47"/>
        <pc:sldMkLst>
          <pc:docMk/>
          <pc:sldMk cId="1802199850" sldId="318"/>
        </pc:sldMkLst>
      </pc:sldChg>
      <pc:sldChg chg="add del">
        <pc:chgData name="JanEri14" userId="ea321e6f-a9b4-4544-8ae7-a495220778c5" providerId="ADAL" clId="{BB2BE024-E32F-4E3C-9FA3-E2875B3967A2}" dt="2023-10-27T15:54:17.503" v="7" actId="47"/>
        <pc:sldMkLst>
          <pc:docMk/>
          <pc:sldMk cId="2619089612" sldId="319"/>
        </pc:sldMkLst>
      </pc:sldChg>
      <pc:sldChg chg="del">
        <pc:chgData name="JanEri14" userId="ea321e6f-a9b4-4544-8ae7-a495220778c5" providerId="ADAL" clId="{BB2BE024-E32F-4E3C-9FA3-E2875B3967A2}" dt="2023-10-27T15:54:46.569" v="11" actId="47"/>
        <pc:sldMkLst>
          <pc:docMk/>
          <pc:sldMk cId="582047224" sldId="320"/>
        </pc:sldMkLst>
      </pc:sldChg>
      <pc:sldChg chg="del">
        <pc:chgData name="JanEri14" userId="ea321e6f-a9b4-4544-8ae7-a495220778c5" providerId="ADAL" clId="{BB2BE024-E32F-4E3C-9FA3-E2875B3967A2}" dt="2023-10-27T15:55:28.014" v="23" actId="47"/>
        <pc:sldMkLst>
          <pc:docMk/>
          <pc:sldMk cId="3097013568" sldId="322"/>
        </pc:sldMkLst>
      </pc:sldChg>
      <pc:sldChg chg="del">
        <pc:chgData name="JanEri14" userId="ea321e6f-a9b4-4544-8ae7-a495220778c5" providerId="ADAL" clId="{BB2BE024-E32F-4E3C-9FA3-E2875B3967A2}" dt="2023-10-27T15:54:46.569" v="11" actId="47"/>
        <pc:sldMkLst>
          <pc:docMk/>
          <pc:sldMk cId="3524675133" sldId="324"/>
        </pc:sldMkLst>
      </pc:sldChg>
      <pc:sldChg chg="del">
        <pc:chgData name="JanEri14" userId="ea321e6f-a9b4-4544-8ae7-a495220778c5" providerId="ADAL" clId="{BB2BE024-E32F-4E3C-9FA3-E2875B3967A2}" dt="2023-10-27T15:54:46.569" v="11" actId="47"/>
        <pc:sldMkLst>
          <pc:docMk/>
          <pc:sldMk cId="2669051759" sldId="327"/>
        </pc:sldMkLst>
      </pc:sldChg>
      <pc:sldChg chg="del">
        <pc:chgData name="JanEri14" userId="ea321e6f-a9b4-4544-8ae7-a495220778c5" providerId="ADAL" clId="{BB2BE024-E32F-4E3C-9FA3-E2875B3967A2}" dt="2023-10-27T15:54:46.569" v="11" actId="47"/>
        <pc:sldMkLst>
          <pc:docMk/>
          <pc:sldMk cId="2226441360" sldId="328"/>
        </pc:sldMkLst>
      </pc:sldChg>
      <pc:sldChg chg="del">
        <pc:chgData name="JanEri14" userId="ea321e6f-a9b4-4544-8ae7-a495220778c5" providerId="ADAL" clId="{BB2BE024-E32F-4E3C-9FA3-E2875B3967A2}" dt="2023-10-27T15:54:19.914" v="9" actId="47"/>
        <pc:sldMkLst>
          <pc:docMk/>
          <pc:sldMk cId="1176767983" sldId="330"/>
        </pc:sldMkLst>
      </pc:sldChg>
      <pc:sldChg chg="del">
        <pc:chgData name="JanEri14" userId="ea321e6f-a9b4-4544-8ae7-a495220778c5" providerId="ADAL" clId="{BB2BE024-E32F-4E3C-9FA3-E2875B3967A2}" dt="2023-10-27T15:54:46.569" v="11" actId="47"/>
        <pc:sldMkLst>
          <pc:docMk/>
          <pc:sldMk cId="2355576244" sldId="331"/>
        </pc:sldMkLst>
      </pc:sldChg>
      <pc:sldChg chg="del">
        <pc:chgData name="JanEri14" userId="ea321e6f-a9b4-4544-8ae7-a495220778c5" providerId="ADAL" clId="{BB2BE024-E32F-4E3C-9FA3-E2875B3967A2}" dt="2023-10-27T15:54:46.569" v="11" actId="47"/>
        <pc:sldMkLst>
          <pc:docMk/>
          <pc:sldMk cId="3624439011" sldId="334"/>
        </pc:sldMkLst>
      </pc:sldChg>
      <pc:sldChg chg="del">
        <pc:chgData name="JanEri14" userId="ea321e6f-a9b4-4544-8ae7-a495220778c5" providerId="ADAL" clId="{BB2BE024-E32F-4E3C-9FA3-E2875B3967A2}" dt="2023-10-27T15:54:46.569" v="11" actId="47"/>
        <pc:sldMkLst>
          <pc:docMk/>
          <pc:sldMk cId="574875507" sldId="335"/>
        </pc:sldMkLst>
      </pc:sldChg>
      <pc:sldChg chg="del">
        <pc:chgData name="JanEri14" userId="ea321e6f-a9b4-4544-8ae7-a495220778c5" providerId="ADAL" clId="{BB2BE024-E32F-4E3C-9FA3-E2875B3967A2}" dt="2023-10-27T15:54:46.569" v="11" actId="47"/>
        <pc:sldMkLst>
          <pc:docMk/>
          <pc:sldMk cId="922827603" sldId="336"/>
        </pc:sldMkLst>
      </pc:sldChg>
      <pc:sldChg chg="del">
        <pc:chgData name="JanEri14" userId="ea321e6f-a9b4-4544-8ae7-a495220778c5" providerId="ADAL" clId="{BB2BE024-E32F-4E3C-9FA3-E2875B3967A2}" dt="2023-10-27T15:54:46.569" v="11" actId="47"/>
        <pc:sldMkLst>
          <pc:docMk/>
          <pc:sldMk cId="3674816059" sldId="339"/>
        </pc:sldMkLst>
      </pc:sldChg>
      <pc:sldChg chg="del">
        <pc:chgData name="JanEri14" userId="ea321e6f-a9b4-4544-8ae7-a495220778c5" providerId="ADAL" clId="{BB2BE024-E32F-4E3C-9FA3-E2875B3967A2}" dt="2023-10-27T15:54:46.569" v="11" actId="47"/>
        <pc:sldMkLst>
          <pc:docMk/>
          <pc:sldMk cId="1332053118" sldId="340"/>
        </pc:sldMkLst>
      </pc:sldChg>
      <pc:sldChg chg="add del">
        <pc:chgData name="JanEri14" userId="ea321e6f-a9b4-4544-8ae7-a495220778c5" providerId="ADAL" clId="{BB2BE024-E32F-4E3C-9FA3-E2875B3967A2}" dt="2023-10-27T15:54:19.320" v="8" actId="47"/>
        <pc:sldMkLst>
          <pc:docMk/>
          <pc:sldMk cId="1788893857" sldId="341"/>
        </pc:sldMkLst>
      </pc:sldChg>
      <pc:sldChg chg="del">
        <pc:chgData name="JanEri14" userId="ea321e6f-a9b4-4544-8ae7-a495220778c5" providerId="ADAL" clId="{BB2BE024-E32F-4E3C-9FA3-E2875B3967A2}" dt="2023-10-27T15:54:49.671" v="12" actId="47"/>
        <pc:sldMkLst>
          <pc:docMk/>
          <pc:sldMk cId="2694165896" sldId="342"/>
        </pc:sldMkLst>
      </pc:sldChg>
      <pc:sldChg chg="del">
        <pc:chgData name="JanEri14" userId="ea321e6f-a9b4-4544-8ae7-a495220778c5" providerId="ADAL" clId="{BB2BE024-E32F-4E3C-9FA3-E2875B3967A2}" dt="2023-10-27T15:55:02.365" v="18" actId="47"/>
        <pc:sldMkLst>
          <pc:docMk/>
          <pc:sldMk cId="193878591" sldId="343"/>
        </pc:sldMkLst>
      </pc:sldChg>
      <pc:sldChg chg="del">
        <pc:chgData name="JanEri14" userId="ea321e6f-a9b4-4544-8ae7-a495220778c5" providerId="ADAL" clId="{BB2BE024-E32F-4E3C-9FA3-E2875B3967A2}" dt="2023-10-27T15:55:02.365" v="18" actId="47"/>
        <pc:sldMkLst>
          <pc:docMk/>
          <pc:sldMk cId="2894647059" sldId="344"/>
        </pc:sldMkLst>
      </pc:sldChg>
      <pc:sldChg chg="del">
        <pc:chgData name="JanEri14" userId="ea321e6f-a9b4-4544-8ae7-a495220778c5" providerId="ADAL" clId="{BB2BE024-E32F-4E3C-9FA3-E2875B3967A2}" dt="2023-10-27T15:55:02.365" v="18" actId="47"/>
        <pc:sldMkLst>
          <pc:docMk/>
          <pc:sldMk cId="458860339" sldId="345"/>
        </pc:sldMkLst>
      </pc:sldChg>
      <pc:sldChg chg="del">
        <pc:chgData name="JanEri14" userId="ea321e6f-a9b4-4544-8ae7-a495220778c5" providerId="ADAL" clId="{BB2BE024-E32F-4E3C-9FA3-E2875B3967A2}" dt="2023-10-27T15:55:02.365" v="18" actId="47"/>
        <pc:sldMkLst>
          <pc:docMk/>
          <pc:sldMk cId="223838157" sldId="346"/>
        </pc:sldMkLst>
      </pc:sldChg>
      <pc:sldChg chg="del">
        <pc:chgData name="JanEri14" userId="ea321e6f-a9b4-4544-8ae7-a495220778c5" providerId="ADAL" clId="{BB2BE024-E32F-4E3C-9FA3-E2875B3967A2}" dt="2023-10-27T15:55:02.365" v="18" actId="47"/>
        <pc:sldMkLst>
          <pc:docMk/>
          <pc:sldMk cId="859148925" sldId="347"/>
        </pc:sldMkLst>
      </pc:sldChg>
      <pc:sldChg chg="del">
        <pc:chgData name="JanEri14" userId="ea321e6f-a9b4-4544-8ae7-a495220778c5" providerId="ADAL" clId="{BB2BE024-E32F-4E3C-9FA3-E2875B3967A2}" dt="2023-10-27T15:55:02.365" v="18" actId="47"/>
        <pc:sldMkLst>
          <pc:docMk/>
          <pc:sldMk cId="1463427970" sldId="348"/>
        </pc:sldMkLst>
      </pc:sldChg>
      <pc:sldChg chg="del">
        <pc:chgData name="JanEri14" userId="ea321e6f-a9b4-4544-8ae7-a495220778c5" providerId="ADAL" clId="{BB2BE024-E32F-4E3C-9FA3-E2875B3967A2}" dt="2023-10-27T15:55:02.365" v="18" actId="47"/>
        <pc:sldMkLst>
          <pc:docMk/>
          <pc:sldMk cId="2373289674" sldId="349"/>
        </pc:sldMkLst>
      </pc:sldChg>
      <pc:sldChg chg="del">
        <pc:chgData name="JanEri14" userId="ea321e6f-a9b4-4544-8ae7-a495220778c5" providerId="ADAL" clId="{BB2BE024-E32F-4E3C-9FA3-E2875B3967A2}" dt="2023-10-27T15:55:02.365" v="18" actId="47"/>
        <pc:sldMkLst>
          <pc:docMk/>
          <pc:sldMk cId="1007233819" sldId="350"/>
        </pc:sldMkLst>
      </pc:sldChg>
      <pc:sldChg chg="del">
        <pc:chgData name="JanEri14" userId="ea321e6f-a9b4-4544-8ae7-a495220778c5" providerId="ADAL" clId="{BB2BE024-E32F-4E3C-9FA3-E2875B3967A2}" dt="2023-10-27T15:55:02.365" v="18" actId="47"/>
        <pc:sldMkLst>
          <pc:docMk/>
          <pc:sldMk cId="1311231526" sldId="351"/>
        </pc:sldMkLst>
      </pc:sldChg>
      <pc:sldChg chg="del">
        <pc:chgData name="JanEri14" userId="ea321e6f-a9b4-4544-8ae7-a495220778c5" providerId="ADAL" clId="{BB2BE024-E32F-4E3C-9FA3-E2875B3967A2}" dt="2023-10-27T15:55:02.365" v="18" actId="47"/>
        <pc:sldMkLst>
          <pc:docMk/>
          <pc:sldMk cId="3667809533" sldId="352"/>
        </pc:sldMkLst>
      </pc:sldChg>
      <pc:sldChg chg="del">
        <pc:chgData name="JanEri14" userId="ea321e6f-a9b4-4544-8ae7-a495220778c5" providerId="ADAL" clId="{BB2BE024-E32F-4E3C-9FA3-E2875B3967A2}" dt="2023-10-27T15:55:02.365" v="18" actId="47"/>
        <pc:sldMkLst>
          <pc:docMk/>
          <pc:sldMk cId="4255526258" sldId="353"/>
        </pc:sldMkLst>
      </pc:sldChg>
      <pc:sldChg chg="del">
        <pc:chgData name="JanEri14" userId="ea321e6f-a9b4-4544-8ae7-a495220778c5" providerId="ADAL" clId="{BB2BE024-E32F-4E3C-9FA3-E2875B3967A2}" dt="2023-10-27T15:55:02.365" v="18" actId="47"/>
        <pc:sldMkLst>
          <pc:docMk/>
          <pc:sldMk cId="3744360188" sldId="354"/>
        </pc:sldMkLst>
      </pc:sldChg>
      <pc:sldChg chg="del">
        <pc:chgData name="JanEri14" userId="ea321e6f-a9b4-4544-8ae7-a495220778c5" providerId="ADAL" clId="{BB2BE024-E32F-4E3C-9FA3-E2875B3967A2}" dt="2023-10-27T15:55:02.365" v="18" actId="47"/>
        <pc:sldMkLst>
          <pc:docMk/>
          <pc:sldMk cId="1752432362" sldId="355"/>
        </pc:sldMkLst>
      </pc:sldChg>
      <pc:sldChg chg="del">
        <pc:chgData name="JanEri14" userId="ea321e6f-a9b4-4544-8ae7-a495220778c5" providerId="ADAL" clId="{BB2BE024-E32F-4E3C-9FA3-E2875B3967A2}" dt="2023-10-27T15:55:02.365" v="18" actId="47"/>
        <pc:sldMkLst>
          <pc:docMk/>
          <pc:sldMk cId="3009283451" sldId="356"/>
        </pc:sldMkLst>
      </pc:sldChg>
      <pc:sldChg chg="del">
        <pc:chgData name="JanEri14" userId="ea321e6f-a9b4-4544-8ae7-a495220778c5" providerId="ADAL" clId="{BB2BE024-E32F-4E3C-9FA3-E2875B3967A2}" dt="2023-10-27T15:55:02.365" v="18" actId="47"/>
        <pc:sldMkLst>
          <pc:docMk/>
          <pc:sldMk cId="3121014267" sldId="357"/>
        </pc:sldMkLst>
      </pc:sldChg>
      <pc:sldChg chg="del">
        <pc:chgData name="JanEri14" userId="ea321e6f-a9b4-4544-8ae7-a495220778c5" providerId="ADAL" clId="{BB2BE024-E32F-4E3C-9FA3-E2875B3967A2}" dt="2023-10-27T15:55:02.365" v="18" actId="47"/>
        <pc:sldMkLst>
          <pc:docMk/>
          <pc:sldMk cId="881709091" sldId="358"/>
        </pc:sldMkLst>
      </pc:sldChg>
      <pc:sldChg chg="addSp delSp modSp add del mod">
        <pc:chgData name="JanEri14" userId="ea321e6f-a9b4-4544-8ae7-a495220778c5" providerId="ADAL" clId="{BB2BE024-E32F-4E3C-9FA3-E2875B3967A2}" dt="2023-10-27T16:10:43.947" v="39" actId="20577"/>
        <pc:sldMkLst>
          <pc:docMk/>
          <pc:sldMk cId="2648272818" sldId="359"/>
        </pc:sldMkLst>
        <pc:spChg chg="mod">
          <ac:chgData name="JanEri14" userId="ea321e6f-a9b4-4544-8ae7-a495220778c5" providerId="ADAL" clId="{BB2BE024-E32F-4E3C-9FA3-E2875B3967A2}" dt="2023-10-27T16:10:43.947" v="39" actId="20577"/>
          <ac:spMkLst>
            <pc:docMk/>
            <pc:sldMk cId="2648272818" sldId="359"/>
            <ac:spMk id="5" creationId="{0EC00327-8DCD-5BCD-A1E6-049089F4A5AC}"/>
          </ac:spMkLst>
        </pc:spChg>
        <pc:picChg chg="add">
          <ac:chgData name="JanEri14" userId="ea321e6f-a9b4-4544-8ae7-a495220778c5" providerId="ADAL" clId="{BB2BE024-E32F-4E3C-9FA3-E2875B3967A2}" dt="2023-10-27T16:10:21.024" v="34" actId="22"/>
          <ac:picMkLst>
            <pc:docMk/>
            <pc:sldMk cId="2648272818" sldId="359"/>
            <ac:picMk id="3" creationId="{BF91010C-4BFC-1085-D316-2ABD2EBC1412}"/>
          </ac:picMkLst>
        </pc:picChg>
        <pc:picChg chg="del">
          <ac:chgData name="JanEri14" userId="ea321e6f-a9b4-4544-8ae7-a495220778c5" providerId="ADAL" clId="{BB2BE024-E32F-4E3C-9FA3-E2875B3967A2}" dt="2023-10-27T16:10:09.089" v="33" actId="478"/>
          <ac:picMkLst>
            <pc:docMk/>
            <pc:sldMk cId="2648272818" sldId="359"/>
            <ac:picMk id="9" creationId="{B352C8C5-3DBC-E8A7-A7CE-16AD6CDD994F}"/>
          </ac:picMkLst>
        </pc:picChg>
      </pc:sldChg>
      <pc:sldChg chg="addSp delSp modSp add del mod">
        <pc:chgData name="JanEri14" userId="ea321e6f-a9b4-4544-8ae7-a495220778c5" providerId="ADAL" clId="{BB2BE024-E32F-4E3C-9FA3-E2875B3967A2}" dt="2023-10-27T16:10:47.625" v="41" actId="20577"/>
        <pc:sldMkLst>
          <pc:docMk/>
          <pc:sldMk cId="2598543404" sldId="360"/>
        </pc:sldMkLst>
        <pc:spChg chg="mod">
          <ac:chgData name="JanEri14" userId="ea321e6f-a9b4-4544-8ae7-a495220778c5" providerId="ADAL" clId="{BB2BE024-E32F-4E3C-9FA3-E2875B3967A2}" dt="2023-10-27T16:10:47.625" v="41" actId="20577"/>
          <ac:spMkLst>
            <pc:docMk/>
            <pc:sldMk cId="2598543404" sldId="360"/>
            <ac:spMk id="5" creationId="{09EBAEBA-7DE2-2003-7501-D32828830981}"/>
          </ac:spMkLst>
        </pc:spChg>
        <pc:picChg chg="add">
          <ac:chgData name="JanEri14" userId="ea321e6f-a9b4-4544-8ae7-a495220778c5" providerId="ADAL" clId="{BB2BE024-E32F-4E3C-9FA3-E2875B3967A2}" dt="2023-10-27T16:10:38.261" v="36" actId="22"/>
          <ac:picMkLst>
            <pc:docMk/>
            <pc:sldMk cId="2598543404" sldId="360"/>
            <ac:picMk id="3" creationId="{BC28388F-99D1-2180-9C5E-15702837B34F}"/>
          </ac:picMkLst>
        </pc:picChg>
        <pc:picChg chg="del">
          <ac:chgData name="JanEri14" userId="ea321e6f-a9b4-4544-8ae7-a495220778c5" providerId="ADAL" clId="{BB2BE024-E32F-4E3C-9FA3-E2875B3967A2}" dt="2023-10-27T16:10:23.636" v="35" actId="478"/>
          <ac:picMkLst>
            <pc:docMk/>
            <pc:sldMk cId="2598543404" sldId="360"/>
            <ac:picMk id="9" creationId="{C644F9E1-8DD9-051F-8E1F-1F39D1D0E497}"/>
          </ac:picMkLst>
        </pc:picChg>
      </pc:sldChg>
      <pc:sldChg chg="add del">
        <pc:chgData name="JanEri14" userId="ea321e6f-a9b4-4544-8ae7-a495220778c5" providerId="ADAL" clId="{BB2BE024-E32F-4E3C-9FA3-E2875B3967A2}" dt="2023-10-27T16:10:41.371" v="37" actId="47"/>
        <pc:sldMkLst>
          <pc:docMk/>
          <pc:sldMk cId="2422640916" sldId="361"/>
        </pc:sldMkLst>
      </pc:sldChg>
      <pc:sldChg chg="del">
        <pc:chgData name="JanEri14" userId="ea321e6f-a9b4-4544-8ae7-a495220778c5" providerId="ADAL" clId="{BB2BE024-E32F-4E3C-9FA3-E2875B3967A2}" dt="2023-10-27T15:54:46.569" v="11" actId="47"/>
        <pc:sldMkLst>
          <pc:docMk/>
          <pc:sldMk cId="1204342257" sldId="362"/>
        </pc:sldMkLst>
      </pc:sldChg>
      <pc:sldChg chg="del">
        <pc:chgData name="JanEri14" userId="ea321e6f-a9b4-4544-8ae7-a495220778c5" providerId="ADAL" clId="{BB2BE024-E32F-4E3C-9FA3-E2875B3967A2}" dt="2023-10-27T15:54:58.728" v="16" actId="47"/>
        <pc:sldMkLst>
          <pc:docMk/>
          <pc:sldMk cId="1742750569" sldId="363"/>
        </pc:sldMkLst>
      </pc:sldChg>
      <pc:sldChg chg="del">
        <pc:chgData name="JanEri14" userId="ea321e6f-a9b4-4544-8ae7-a495220778c5" providerId="ADAL" clId="{BB2BE024-E32F-4E3C-9FA3-E2875B3967A2}" dt="2023-10-27T15:54:58.728" v="16" actId="47"/>
        <pc:sldMkLst>
          <pc:docMk/>
          <pc:sldMk cId="2880603665" sldId="364"/>
        </pc:sldMkLst>
      </pc:sldChg>
      <pc:sldChg chg="del">
        <pc:chgData name="JanEri14" userId="ea321e6f-a9b4-4544-8ae7-a495220778c5" providerId="ADAL" clId="{BB2BE024-E32F-4E3C-9FA3-E2875B3967A2}" dt="2023-10-27T15:54:46.569" v="11" actId="47"/>
        <pc:sldMkLst>
          <pc:docMk/>
          <pc:sldMk cId="1752648007" sldId="365"/>
        </pc:sldMkLst>
      </pc:sldChg>
      <pc:sldChg chg="del">
        <pc:chgData name="JanEri14" userId="ea321e6f-a9b4-4544-8ae7-a495220778c5" providerId="ADAL" clId="{BB2BE024-E32F-4E3C-9FA3-E2875B3967A2}" dt="2023-10-27T15:54:51.608" v="13" actId="47"/>
        <pc:sldMkLst>
          <pc:docMk/>
          <pc:sldMk cId="2383779809" sldId="367"/>
        </pc:sldMkLst>
      </pc:sldChg>
      <pc:sldChg chg="del">
        <pc:chgData name="JanEri14" userId="ea321e6f-a9b4-4544-8ae7-a495220778c5" providerId="ADAL" clId="{BB2BE024-E32F-4E3C-9FA3-E2875B3967A2}" dt="2023-10-27T15:54:51.608" v="13" actId="47"/>
        <pc:sldMkLst>
          <pc:docMk/>
          <pc:sldMk cId="573489196" sldId="368"/>
        </pc:sldMkLst>
      </pc:sldChg>
      <pc:sldChg chg="del">
        <pc:chgData name="JanEri14" userId="ea321e6f-a9b4-4544-8ae7-a495220778c5" providerId="ADAL" clId="{BB2BE024-E32F-4E3C-9FA3-E2875B3967A2}" dt="2023-10-27T15:54:51.608" v="13" actId="47"/>
        <pc:sldMkLst>
          <pc:docMk/>
          <pc:sldMk cId="2907260217" sldId="369"/>
        </pc:sldMkLst>
      </pc:sldChg>
      <pc:sldChg chg="del">
        <pc:chgData name="JanEri14" userId="ea321e6f-a9b4-4544-8ae7-a495220778c5" providerId="ADAL" clId="{BB2BE024-E32F-4E3C-9FA3-E2875B3967A2}" dt="2023-10-27T15:54:56.382" v="15" actId="47"/>
        <pc:sldMkLst>
          <pc:docMk/>
          <pc:sldMk cId="3995354178" sldId="371"/>
        </pc:sldMkLst>
      </pc:sldChg>
      <pc:sldChg chg="del">
        <pc:chgData name="JanEri14" userId="ea321e6f-a9b4-4544-8ae7-a495220778c5" providerId="ADAL" clId="{BB2BE024-E32F-4E3C-9FA3-E2875B3967A2}" dt="2023-10-27T15:54:56.382" v="15" actId="47"/>
        <pc:sldMkLst>
          <pc:docMk/>
          <pc:sldMk cId="598483280" sldId="372"/>
        </pc:sldMkLst>
      </pc:sldChg>
      <pc:sldChg chg="del">
        <pc:chgData name="JanEri14" userId="ea321e6f-a9b4-4544-8ae7-a495220778c5" providerId="ADAL" clId="{BB2BE024-E32F-4E3C-9FA3-E2875B3967A2}" dt="2023-10-27T15:54:56.382" v="15" actId="47"/>
        <pc:sldMkLst>
          <pc:docMk/>
          <pc:sldMk cId="596013715" sldId="373"/>
        </pc:sldMkLst>
      </pc:sldChg>
      <pc:sldChg chg="del">
        <pc:chgData name="JanEri14" userId="ea321e6f-a9b4-4544-8ae7-a495220778c5" providerId="ADAL" clId="{BB2BE024-E32F-4E3C-9FA3-E2875B3967A2}" dt="2023-10-27T15:54:56.382" v="15" actId="47"/>
        <pc:sldMkLst>
          <pc:docMk/>
          <pc:sldMk cId="1997465040" sldId="374"/>
        </pc:sldMkLst>
      </pc:sldChg>
      <pc:sldChg chg="del">
        <pc:chgData name="JanEri14" userId="ea321e6f-a9b4-4544-8ae7-a495220778c5" providerId="ADAL" clId="{BB2BE024-E32F-4E3C-9FA3-E2875B3967A2}" dt="2023-10-27T15:54:54.969" v="14" actId="47"/>
        <pc:sldMkLst>
          <pc:docMk/>
          <pc:sldMk cId="1203626844" sldId="375"/>
        </pc:sldMkLst>
      </pc:sldChg>
      <pc:sldChg chg="del">
        <pc:chgData name="JanEri14" userId="ea321e6f-a9b4-4544-8ae7-a495220778c5" providerId="ADAL" clId="{BB2BE024-E32F-4E3C-9FA3-E2875B3967A2}" dt="2023-10-27T15:55:03.610" v="19" actId="47"/>
        <pc:sldMkLst>
          <pc:docMk/>
          <pc:sldMk cId="2132163416" sldId="377"/>
        </pc:sldMkLst>
      </pc:sldChg>
      <pc:sldChg chg="del">
        <pc:chgData name="JanEri14" userId="ea321e6f-a9b4-4544-8ae7-a495220778c5" providerId="ADAL" clId="{BB2BE024-E32F-4E3C-9FA3-E2875B3967A2}" dt="2023-10-27T15:55:02.365" v="18" actId="47"/>
        <pc:sldMkLst>
          <pc:docMk/>
          <pc:sldMk cId="557102970" sldId="378"/>
        </pc:sldMkLst>
      </pc:sldChg>
      <pc:sldChg chg="del">
        <pc:chgData name="JanEri14" userId="ea321e6f-a9b4-4544-8ae7-a495220778c5" providerId="ADAL" clId="{BB2BE024-E32F-4E3C-9FA3-E2875B3967A2}" dt="2023-10-27T15:55:02.365" v="18" actId="47"/>
        <pc:sldMkLst>
          <pc:docMk/>
          <pc:sldMk cId="3587184805" sldId="1061"/>
        </pc:sldMkLst>
      </pc:sldChg>
      <pc:sldChg chg="del">
        <pc:chgData name="JanEri14" userId="ea321e6f-a9b4-4544-8ae7-a495220778c5" providerId="ADAL" clId="{BB2BE024-E32F-4E3C-9FA3-E2875B3967A2}" dt="2023-10-27T15:55:00.886" v="17" actId="47"/>
        <pc:sldMkLst>
          <pc:docMk/>
          <pc:sldMk cId="3880411909" sldId="1062"/>
        </pc:sldMkLst>
      </pc:sldChg>
      <pc:sldChg chg="del">
        <pc:chgData name="JanEri14" userId="ea321e6f-a9b4-4544-8ae7-a495220778c5" providerId="ADAL" clId="{BB2BE024-E32F-4E3C-9FA3-E2875B3967A2}" dt="2023-10-27T15:55:00.886" v="17" actId="47"/>
        <pc:sldMkLst>
          <pc:docMk/>
          <pc:sldMk cId="2293467756" sldId="1063"/>
        </pc:sldMkLst>
      </pc:sldChg>
      <pc:sldChg chg="del">
        <pc:chgData name="JanEri14" userId="ea321e6f-a9b4-4544-8ae7-a495220778c5" providerId="ADAL" clId="{BB2BE024-E32F-4E3C-9FA3-E2875B3967A2}" dt="2023-10-27T15:55:00.886" v="17" actId="47"/>
        <pc:sldMkLst>
          <pc:docMk/>
          <pc:sldMk cId="3066829894" sldId="1064"/>
        </pc:sldMkLst>
      </pc:sldChg>
      <pc:sldChg chg="del">
        <pc:chgData name="JanEri14" userId="ea321e6f-a9b4-4544-8ae7-a495220778c5" providerId="ADAL" clId="{BB2BE024-E32F-4E3C-9FA3-E2875B3967A2}" dt="2023-10-27T15:55:00.886" v="17" actId="47"/>
        <pc:sldMkLst>
          <pc:docMk/>
          <pc:sldMk cId="3096482214" sldId="1065"/>
        </pc:sldMkLst>
      </pc:sldChg>
      <pc:sldChg chg="del">
        <pc:chgData name="JanEri14" userId="ea321e6f-a9b4-4544-8ae7-a495220778c5" providerId="ADAL" clId="{BB2BE024-E32F-4E3C-9FA3-E2875B3967A2}" dt="2023-10-27T15:55:00.886" v="17" actId="47"/>
        <pc:sldMkLst>
          <pc:docMk/>
          <pc:sldMk cId="1617138573" sldId="1066"/>
        </pc:sldMkLst>
      </pc:sldChg>
      <pc:sldChg chg="del">
        <pc:chgData name="JanEri14" userId="ea321e6f-a9b4-4544-8ae7-a495220778c5" providerId="ADAL" clId="{BB2BE024-E32F-4E3C-9FA3-E2875B3967A2}" dt="2023-10-27T15:55:00.886" v="17" actId="47"/>
        <pc:sldMkLst>
          <pc:docMk/>
          <pc:sldMk cId="3754820474" sldId="1067"/>
        </pc:sldMkLst>
      </pc:sldChg>
      <pc:sldChg chg="del">
        <pc:chgData name="JanEri14" userId="ea321e6f-a9b4-4544-8ae7-a495220778c5" providerId="ADAL" clId="{BB2BE024-E32F-4E3C-9FA3-E2875B3967A2}" dt="2023-10-27T15:55:00.886" v="17" actId="47"/>
        <pc:sldMkLst>
          <pc:docMk/>
          <pc:sldMk cId="109463790" sldId="1068"/>
        </pc:sldMkLst>
      </pc:sldChg>
      <pc:sldChg chg="del">
        <pc:chgData name="JanEri14" userId="ea321e6f-a9b4-4544-8ae7-a495220778c5" providerId="ADAL" clId="{BB2BE024-E32F-4E3C-9FA3-E2875B3967A2}" dt="2023-10-27T15:55:00.886" v="17" actId="47"/>
        <pc:sldMkLst>
          <pc:docMk/>
          <pc:sldMk cId="708360021" sldId="1069"/>
        </pc:sldMkLst>
      </pc:sldChg>
      <pc:sldChg chg="del">
        <pc:chgData name="JanEri14" userId="ea321e6f-a9b4-4544-8ae7-a495220778c5" providerId="ADAL" clId="{BB2BE024-E32F-4E3C-9FA3-E2875B3967A2}" dt="2023-10-27T15:55:00.886" v="17" actId="47"/>
        <pc:sldMkLst>
          <pc:docMk/>
          <pc:sldMk cId="2413923312" sldId="1070"/>
        </pc:sldMkLst>
      </pc:sldChg>
      <pc:sldChg chg="del">
        <pc:chgData name="JanEri14" userId="ea321e6f-a9b4-4544-8ae7-a495220778c5" providerId="ADAL" clId="{BB2BE024-E32F-4E3C-9FA3-E2875B3967A2}" dt="2023-10-27T15:54:20.577" v="10" actId="47"/>
        <pc:sldMkLst>
          <pc:docMk/>
          <pc:sldMk cId="2636289103" sldId="1071"/>
        </pc:sldMkLst>
      </pc:sldChg>
      <pc:sldChg chg="del">
        <pc:chgData name="JanEri14" userId="ea321e6f-a9b4-4544-8ae7-a495220778c5" providerId="ADAL" clId="{BB2BE024-E32F-4E3C-9FA3-E2875B3967A2}" dt="2023-10-27T15:54:46.569" v="11" actId="47"/>
        <pc:sldMkLst>
          <pc:docMk/>
          <pc:sldMk cId="3398839119" sldId="1072"/>
        </pc:sldMkLst>
      </pc:sldChg>
      <pc:sldChg chg="del">
        <pc:chgData name="JanEri14" userId="ea321e6f-a9b4-4544-8ae7-a495220778c5" providerId="ADAL" clId="{BB2BE024-E32F-4E3C-9FA3-E2875B3967A2}" dt="2023-10-27T15:54:46.569" v="11" actId="47"/>
        <pc:sldMkLst>
          <pc:docMk/>
          <pc:sldMk cId="346588154" sldId="1073"/>
        </pc:sldMkLst>
      </pc:sldChg>
      <pc:sldChg chg="new del">
        <pc:chgData name="JanEri14" userId="ea321e6f-a9b4-4544-8ae7-a495220778c5" providerId="ADAL" clId="{BB2BE024-E32F-4E3C-9FA3-E2875B3967A2}" dt="2023-10-27T16:13:09.079" v="43" actId="47"/>
        <pc:sldMkLst>
          <pc:docMk/>
          <pc:sldMk cId="189959579" sldId="1075"/>
        </pc:sldMkLst>
      </pc:sldChg>
      <pc:sldChg chg="add del">
        <pc:chgData name="JanEri14" userId="ea321e6f-a9b4-4544-8ae7-a495220778c5" providerId="ADAL" clId="{BB2BE024-E32F-4E3C-9FA3-E2875B3967A2}" dt="2023-10-27T16:13:13.659" v="45" actId="47"/>
        <pc:sldMkLst>
          <pc:docMk/>
          <pc:sldMk cId="911222190" sldId="1075"/>
        </pc:sldMkLst>
      </pc:sldChg>
      <pc:sldChg chg="new del">
        <pc:chgData name="JanEri14" userId="ea321e6f-a9b4-4544-8ae7-a495220778c5" providerId="ADAL" clId="{BB2BE024-E32F-4E3C-9FA3-E2875B3967A2}" dt="2023-10-27T16:13:22.719" v="50" actId="47"/>
        <pc:sldMkLst>
          <pc:docMk/>
          <pc:sldMk cId="1914497400" sldId="1075"/>
        </pc:sldMkLst>
      </pc:sldChg>
      <pc:sldChg chg="addSp delSp modSp new mod ord">
        <pc:chgData name="JanEri14" userId="ea321e6f-a9b4-4544-8ae7-a495220778c5" providerId="ADAL" clId="{BB2BE024-E32F-4E3C-9FA3-E2875B3967A2}" dt="2023-10-27T16:18:30.041" v="330"/>
        <pc:sldMkLst>
          <pc:docMk/>
          <pc:sldMk cId="1719097392" sldId="1076"/>
        </pc:sldMkLst>
        <pc:spChg chg="mod">
          <ac:chgData name="JanEri14" userId="ea321e6f-a9b4-4544-8ae7-a495220778c5" providerId="ADAL" clId="{BB2BE024-E32F-4E3C-9FA3-E2875B3967A2}" dt="2023-10-27T16:15:20.903" v="194"/>
          <ac:spMkLst>
            <pc:docMk/>
            <pc:sldMk cId="1719097392" sldId="1076"/>
            <ac:spMk id="2" creationId="{24180A42-A439-7173-B87F-445DDABB3EBA}"/>
          </ac:spMkLst>
        </pc:spChg>
        <pc:spChg chg="del">
          <ac:chgData name="JanEri14" userId="ea321e6f-a9b4-4544-8ae7-a495220778c5" providerId="ADAL" clId="{BB2BE024-E32F-4E3C-9FA3-E2875B3967A2}" dt="2023-10-27T16:15:37.426" v="195" actId="478"/>
          <ac:spMkLst>
            <pc:docMk/>
            <pc:sldMk cId="1719097392" sldId="1076"/>
            <ac:spMk id="3" creationId="{19AC97CD-CF82-88C5-9B92-97E628CA41B5}"/>
          </ac:spMkLst>
        </pc:spChg>
        <pc:spChg chg="mod">
          <ac:chgData name="JanEri14" userId="ea321e6f-a9b4-4544-8ae7-a495220778c5" providerId="ADAL" clId="{BB2BE024-E32F-4E3C-9FA3-E2875B3967A2}" dt="2023-10-27T16:13:27.951" v="64" actId="20577"/>
          <ac:spMkLst>
            <pc:docMk/>
            <pc:sldMk cId="1719097392" sldId="1076"/>
            <ac:spMk id="5" creationId="{FD8313BF-890F-86A9-2CB1-049AD6D26927}"/>
          </ac:spMkLst>
        </pc:spChg>
        <pc:spChg chg="del">
          <ac:chgData name="JanEri14" userId="ea321e6f-a9b4-4544-8ae7-a495220778c5" providerId="ADAL" clId="{BB2BE024-E32F-4E3C-9FA3-E2875B3967A2}" dt="2023-10-27T16:15:52.516" v="200" actId="3680"/>
          <ac:spMkLst>
            <pc:docMk/>
            <pc:sldMk cId="1719097392" sldId="1076"/>
            <ac:spMk id="6" creationId="{33D50395-DC5C-F2D3-A63C-26CCE99F4D29}"/>
          </ac:spMkLst>
        </pc:spChg>
        <pc:spChg chg="del">
          <ac:chgData name="JanEri14" userId="ea321e6f-a9b4-4544-8ae7-a495220778c5" providerId="ADAL" clId="{BB2BE024-E32F-4E3C-9FA3-E2875B3967A2}" dt="2023-10-27T16:15:55.572" v="201" actId="3680"/>
          <ac:spMkLst>
            <pc:docMk/>
            <pc:sldMk cId="1719097392" sldId="1076"/>
            <ac:spMk id="7" creationId="{EDE48622-F6DC-3A12-6089-57727FD6C348}"/>
          </ac:spMkLst>
        </pc:spChg>
        <pc:spChg chg="add del">
          <ac:chgData name="JanEri14" userId="ea321e6f-a9b4-4544-8ae7-a495220778c5" providerId="ADAL" clId="{BB2BE024-E32F-4E3C-9FA3-E2875B3967A2}" dt="2023-10-27T16:15:39.817" v="197" actId="22"/>
          <ac:spMkLst>
            <pc:docMk/>
            <pc:sldMk cId="1719097392" sldId="1076"/>
            <ac:spMk id="9" creationId="{646A6F71-7EFC-CE4D-0BE1-7D14062AA92A}"/>
          </ac:spMkLst>
        </pc:spChg>
        <pc:spChg chg="add del">
          <ac:chgData name="JanEri14" userId="ea321e6f-a9b4-4544-8ae7-a495220778c5" providerId="ADAL" clId="{BB2BE024-E32F-4E3C-9FA3-E2875B3967A2}" dt="2023-10-27T16:15:44.081" v="199" actId="22"/>
          <ac:spMkLst>
            <pc:docMk/>
            <pc:sldMk cId="1719097392" sldId="1076"/>
            <ac:spMk id="11" creationId="{CD6D64A3-7760-2A8B-3154-425BBD692DEA}"/>
          </ac:spMkLst>
        </pc:spChg>
        <pc:spChg chg="add mod">
          <ac:chgData name="JanEri14" userId="ea321e6f-a9b4-4544-8ae7-a495220778c5" providerId="ADAL" clId="{BB2BE024-E32F-4E3C-9FA3-E2875B3967A2}" dt="2023-10-27T16:16:09.017" v="204" actId="478"/>
          <ac:spMkLst>
            <pc:docMk/>
            <pc:sldMk cId="1719097392" sldId="1076"/>
            <ac:spMk id="16" creationId="{945F9B10-EFC7-829C-38A0-FE75E42F743B}"/>
          </ac:spMkLst>
        </pc:spChg>
        <pc:spChg chg="add mod">
          <ac:chgData name="JanEri14" userId="ea321e6f-a9b4-4544-8ae7-a495220778c5" providerId="ADAL" clId="{BB2BE024-E32F-4E3C-9FA3-E2875B3967A2}" dt="2023-10-27T16:16:13.029" v="206" actId="478"/>
          <ac:spMkLst>
            <pc:docMk/>
            <pc:sldMk cId="1719097392" sldId="1076"/>
            <ac:spMk id="18" creationId="{79A04292-F118-21EE-7694-DD886B1A659F}"/>
          </ac:spMkLst>
        </pc:spChg>
        <pc:graphicFrameChg chg="add del mod ord modGraphic">
          <ac:chgData name="JanEri14" userId="ea321e6f-a9b4-4544-8ae7-a495220778c5" providerId="ADAL" clId="{BB2BE024-E32F-4E3C-9FA3-E2875B3967A2}" dt="2023-10-27T16:16:09.017" v="204" actId="478"/>
          <ac:graphicFrameMkLst>
            <pc:docMk/>
            <pc:sldMk cId="1719097392" sldId="1076"/>
            <ac:graphicFrameMk id="12" creationId="{1C7698F3-E4EF-34CB-77E5-AFD6D555C06A}"/>
          </ac:graphicFrameMkLst>
        </pc:graphicFrameChg>
        <pc:graphicFrameChg chg="add del mod ord modGraphic">
          <ac:chgData name="JanEri14" userId="ea321e6f-a9b4-4544-8ae7-a495220778c5" providerId="ADAL" clId="{BB2BE024-E32F-4E3C-9FA3-E2875B3967A2}" dt="2023-10-27T16:16:13.029" v="206" actId="478"/>
          <ac:graphicFrameMkLst>
            <pc:docMk/>
            <pc:sldMk cId="1719097392" sldId="1076"/>
            <ac:graphicFrameMk id="13" creationId="{9AF55BDE-FB40-92C6-49F8-0C2005238127}"/>
          </ac:graphicFrameMkLst>
        </pc:graphicFrameChg>
        <pc:graphicFrameChg chg="add mod modGraphic">
          <ac:chgData name="JanEri14" userId="ea321e6f-a9b4-4544-8ae7-a495220778c5" providerId="ADAL" clId="{BB2BE024-E32F-4E3C-9FA3-E2875B3967A2}" dt="2023-10-27T16:18:30.041" v="330"/>
          <ac:graphicFrameMkLst>
            <pc:docMk/>
            <pc:sldMk cId="1719097392" sldId="1076"/>
            <ac:graphicFrameMk id="14" creationId="{44E06C67-361A-0498-C59B-6812CF555ACF}"/>
          </ac:graphicFrameMkLst>
        </pc:graphicFrameChg>
      </pc:sldChg>
      <pc:sldChg chg="modSp add mod">
        <pc:chgData name="JanEri14" userId="ea321e6f-a9b4-4544-8ae7-a495220778c5" providerId="ADAL" clId="{BB2BE024-E32F-4E3C-9FA3-E2875B3967A2}" dt="2023-10-27T16:18:56.632" v="333" actId="20577"/>
        <pc:sldMkLst>
          <pc:docMk/>
          <pc:sldMk cId="1501084352" sldId="1077"/>
        </pc:sldMkLst>
        <pc:graphicFrameChg chg="modGraphic">
          <ac:chgData name="JanEri14" userId="ea321e6f-a9b4-4544-8ae7-a495220778c5" providerId="ADAL" clId="{BB2BE024-E32F-4E3C-9FA3-E2875B3967A2}" dt="2023-10-27T16:18:56.632" v="333" actId="20577"/>
          <ac:graphicFrameMkLst>
            <pc:docMk/>
            <pc:sldMk cId="1501084352" sldId="1077"/>
            <ac:graphicFrameMk id="14" creationId="{44E06C67-361A-0498-C59B-6812CF555ACF}"/>
          </ac:graphicFrameMkLst>
        </pc:graphicFrameChg>
      </pc:sldChg>
      <pc:sldChg chg="modSp add mod">
        <pc:chgData name="JanEri14" userId="ea321e6f-a9b4-4544-8ae7-a495220778c5" providerId="ADAL" clId="{BB2BE024-E32F-4E3C-9FA3-E2875B3967A2}" dt="2023-10-27T16:19:08.271" v="335"/>
        <pc:sldMkLst>
          <pc:docMk/>
          <pc:sldMk cId="1218183563" sldId="1078"/>
        </pc:sldMkLst>
        <pc:graphicFrameChg chg="mod modGraphic">
          <ac:chgData name="JanEri14" userId="ea321e6f-a9b4-4544-8ae7-a495220778c5" providerId="ADAL" clId="{BB2BE024-E32F-4E3C-9FA3-E2875B3967A2}" dt="2023-10-27T16:19:08.271" v="335"/>
          <ac:graphicFrameMkLst>
            <pc:docMk/>
            <pc:sldMk cId="1218183563" sldId="1078"/>
            <ac:graphicFrameMk id="14" creationId="{44E06C67-361A-0498-C59B-6812CF555ACF}"/>
          </ac:graphicFrameMkLst>
        </pc:graphicFrameChg>
      </pc:sldChg>
      <pc:sldChg chg="modSp add del">
        <pc:chgData name="JanEri14" userId="ea321e6f-a9b4-4544-8ae7-a495220778c5" providerId="ADAL" clId="{BB2BE024-E32F-4E3C-9FA3-E2875B3967A2}" dt="2023-10-28T20:38:34.634" v="3770" actId="47"/>
        <pc:sldMkLst>
          <pc:docMk/>
          <pc:sldMk cId="726557936" sldId="1079"/>
        </pc:sldMkLst>
        <pc:graphicFrameChg chg="mod">
          <ac:chgData name="JanEri14" userId="ea321e6f-a9b4-4544-8ae7-a495220778c5" providerId="ADAL" clId="{BB2BE024-E32F-4E3C-9FA3-E2875B3967A2}" dt="2023-10-27T17:09:27.235" v="348"/>
          <ac:graphicFrameMkLst>
            <pc:docMk/>
            <pc:sldMk cId="726557936" sldId="1079"/>
            <ac:graphicFrameMk id="14" creationId="{44E06C67-361A-0498-C59B-6812CF555ACF}"/>
          </ac:graphicFrameMkLst>
        </pc:graphicFrameChg>
      </pc:sldChg>
      <pc:sldChg chg="modSp add del">
        <pc:chgData name="JanEri14" userId="ea321e6f-a9b4-4544-8ae7-a495220778c5" providerId="ADAL" clId="{BB2BE024-E32F-4E3C-9FA3-E2875B3967A2}" dt="2023-10-28T20:38:33.787" v="3769" actId="47"/>
        <pc:sldMkLst>
          <pc:docMk/>
          <pc:sldMk cId="1499429850" sldId="1080"/>
        </pc:sldMkLst>
        <pc:graphicFrameChg chg="mod">
          <ac:chgData name="JanEri14" userId="ea321e6f-a9b4-4544-8ae7-a495220778c5" providerId="ADAL" clId="{BB2BE024-E32F-4E3C-9FA3-E2875B3967A2}" dt="2023-10-27T17:09:12.803" v="346"/>
          <ac:graphicFrameMkLst>
            <pc:docMk/>
            <pc:sldMk cId="1499429850" sldId="1080"/>
            <ac:graphicFrameMk id="14" creationId="{44E06C67-361A-0498-C59B-6812CF555ACF}"/>
          </ac:graphicFrameMkLst>
        </pc:graphicFrameChg>
      </pc:sldChg>
      <pc:sldChg chg="modSp add del">
        <pc:chgData name="JanEri14" userId="ea321e6f-a9b4-4544-8ae7-a495220778c5" providerId="ADAL" clId="{BB2BE024-E32F-4E3C-9FA3-E2875B3967A2}" dt="2023-10-28T20:38:32.840" v="3768" actId="47"/>
        <pc:sldMkLst>
          <pc:docMk/>
          <pc:sldMk cId="1279201460" sldId="1081"/>
        </pc:sldMkLst>
        <pc:graphicFrameChg chg="mod">
          <ac:chgData name="JanEri14" userId="ea321e6f-a9b4-4544-8ae7-a495220778c5" providerId="ADAL" clId="{BB2BE024-E32F-4E3C-9FA3-E2875B3967A2}" dt="2023-10-27T17:09:02.340" v="344"/>
          <ac:graphicFrameMkLst>
            <pc:docMk/>
            <pc:sldMk cId="1279201460" sldId="1081"/>
            <ac:graphicFrameMk id="14" creationId="{44E06C67-361A-0498-C59B-6812CF555ACF}"/>
          </ac:graphicFrameMkLst>
        </pc:graphicFrameChg>
      </pc:sldChg>
      <pc:sldChg chg="addSp delSp modSp add mod">
        <pc:chgData name="JanEri14" userId="ea321e6f-a9b4-4544-8ae7-a495220778c5" providerId="ADAL" clId="{BB2BE024-E32F-4E3C-9FA3-E2875B3967A2}" dt="2023-10-27T17:19:40.012" v="763" actId="1076"/>
        <pc:sldMkLst>
          <pc:docMk/>
          <pc:sldMk cId="80466009" sldId="1082"/>
        </pc:sldMkLst>
        <pc:spChg chg="mod">
          <ac:chgData name="JanEri14" userId="ea321e6f-a9b4-4544-8ae7-a495220778c5" providerId="ADAL" clId="{BB2BE024-E32F-4E3C-9FA3-E2875B3967A2}" dt="2023-10-27T17:16:39.790" v="725" actId="20577"/>
          <ac:spMkLst>
            <pc:docMk/>
            <pc:sldMk cId="80466009" sldId="1082"/>
            <ac:spMk id="2" creationId="{EF9FA0DC-7FDA-72E3-9942-5806E02CD31C}"/>
          </ac:spMkLst>
        </pc:spChg>
        <pc:spChg chg="del">
          <ac:chgData name="JanEri14" userId="ea321e6f-a9b4-4544-8ae7-a495220778c5" providerId="ADAL" clId="{BB2BE024-E32F-4E3C-9FA3-E2875B3967A2}" dt="2023-10-27T17:17:00.833" v="726" actId="478"/>
          <ac:spMkLst>
            <pc:docMk/>
            <pc:sldMk cId="80466009" sldId="1082"/>
            <ac:spMk id="3" creationId="{9D07081B-F8A2-435E-BFD2-6C5EDDA053CA}"/>
          </ac:spMkLst>
        </pc:spChg>
        <pc:spChg chg="mod">
          <ac:chgData name="JanEri14" userId="ea321e6f-a9b4-4544-8ae7-a495220778c5" providerId="ADAL" clId="{BB2BE024-E32F-4E3C-9FA3-E2875B3967A2}" dt="2023-10-27T17:14:43.593" v="381" actId="20577"/>
          <ac:spMkLst>
            <pc:docMk/>
            <pc:sldMk cId="80466009" sldId="1082"/>
            <ac:spMk id="5" creationId="{FBF335F3-72ED-F8D3-CEE6-D66701AC4294}"/>
          </ac:spMkLst>
        </pc:spChg>
        <pc:picChg chg="add mod">
          <ac:chgData name="JanEri14" userId="ea321e6f-a9b4-4544-8ae7-a495220778c5" providerId="ADAL" clId="{BB2BE024-E32F-4E3C-9FA3-E2875B3967A2}" dt="2023-10-27T17:19:19.224" v="757" actId="1076"/>
          <ac:picMkLst>
            <pc:docMk/>
            <pc:sldMk cId="80466009" sldId="1082"/>
            <ac:picMk id="9" creationId="{1D874B0E-9FE5-320D-C9F4-1CFCB974D24D}"/>
          </ac:picMkLst>
        </pc:picChg>
        <pc:picChg chg="add mod">
          <ac:chgData name="JanEri14" userId="ea321e6f-a9b4-4544-8ae7-a495220778c5" providerId="ADAL" clId="{BB2BE024-E32F-4E3C-9FA3-E2875B3967A2}" dt="2023-10-27T17:19:29.587" v="762" actId="1076"/>
          <ac:picMkLst>
            <pc:docMk/>
            <pc:sldMk cId="80466009" sldId="1082"/>
            <ac:picMk id="11" creationId="{B86F8C3A-A896-58DB-36E8-73D89A82BDFC}"/>
          </ac:picMkLst>
        </pc:picChg>
        <pc:picChg chg="add mod">
          <ac:chgData name="JanEri14" userId="ea321e6f-a9b4-4544-8ae7-a495220778c5" providerId="ADAL" clId="{BB2BE024-E32F-4E3C-9FA3-E2875B3967A2}" dt="2023-10-27T17:19:40.012" v="763" actId="1076"/>
          <ac:picMkLst>
            <pc:docMk/>
            <pc:sldMk cId="80466009" sldId="1082"/>
            <ac:picMk id="13" creationId="{4D389074-E532-1A77-982F-CC62812E490B}"/>
          </ac:picMkLst>
        </pc:picChg>
        <pc:picChg chg="add del mod">
          <ac:chgData name="JanEri14" userId="ea321e6f-a9b4-4544-8ae7-a495220778c5" providerId="ADAL" clId="{BB2BE024-E32F-4E3C-9FA3-E2875B3967A2}" dt="2023-10-27T17:18:49.318" v="747" actId="478"/>
          <ac:picMkLst>
            <pc:docMk/>
            <pc:sldMk cId="80466009" sldId="1082"/>
            <ac:picMk id="15" creationId="{91ABE3A6-1D7B-534E-2482-183A5DD9915B}"/>
          </ac:picMkLst>
        </pc:picChg>
        <pc:picChg chg="add del mod">
          <ac:chgData name="JanEri14" userId="ea321e6f-a9b4-4544-8ae7-a495220778c5" providerId="ADAL" clId="{BB2BE024-E32F-4E3C-9FA3-E2875B3967A2}" dt="2023-10-27T17:19:22.041" v="760" actId="478"/>
          <ac:picMkLst>
            <pc:docMk/>
            <pc:sldMk cId="80466009" sldId="1082"/>
            <ac:picMk id="17" creationId="{1AE58E6A-389B-399B-C653-0826DA7CDEE0}"/>
          </ac:picMkLst>
        </pc:picChg>
      </pc:sldChg>
      <pc:sldChg chg="new del">
        <pc:chgData name="JanEri14" userId="ea321e6f-a9b4-4544-8ae7-a495220778c5" providerId="ADAL" clId="{BB2BE024-E32F-4E3C-9FA3-E2875B3967A2}" dt="2023-10-27T17:14:13.978" v="355" actId="2696"/>
        <pc:sldMkLst>
          <pc:docMk/>
          <pc:sldMk cId="3933288762" sldId="1082"/>
        </pc:sldMkLst>
      </pc:sldChg>
      <pc:sldChg chg="addSp delSp modSp add mod">
        <pc:chgData name="JanEri14" userId="ea321e6f-a9b4-4544-8ae7-a495220778c5" providerId="ADAL" clId="{BB2BE024-E32F-4E3C-9FA3-E2875B3967A2}" dt="2023-10-27T17:30:12.841" v="1095" actId="478"/>
        <pc:sldMkLst>
          <pc:docMk/>
          <pc:sldMk cId="2125530571" sldId="1083"/>
        </pc:sldMkLst>
        <pc:spChg chg="add mod">
          <ac:chgData name="JanEri14" userId="ea321e6f-a9b4-4544-8ae7-a495220778c5" providerId="ADAL" clId="{BB2BE024-E32F-4E3C-9FA3-E2875B3967A2}" dt="2023-10-27T17:29:38.593" v="1044" actId="313"/>
          <ac:spMkLst>
            <pc:docMk/>
            <pc:sldMk cId="2125530571" sldId="1083"/>
            <ac:spMk id="3" creationId="{1C269660-D13D-C65F-2E91-C94040B6A753}"/>
          </ac:spMkLst>
        </pc:spChg>
        <pc:spChg chg="add mod">
          <ac:chgData name="JanEri14" userId="ea321e6f-a9b4-4544-8ae7-a495220778c5" providerId="ADAL" clId="{BB2BE024-E32F-4E3C-9FA3-E2875B3967A2}" dt="2023-10-27T17:20:37.414" v="812" actId="14100"/>
          <ac:spMkLst>
            <pc:docMk/>
            <pc:sldMk cId="2125530571" sldId="1083"/>
            <ac:spMk id="8" creationId="{1B61072F-8367-66F9-E647-1C5C6BEA476E}"/>
          </ac:spMkLst>
        </pc:spChg>
        <pc:spChg chg="add mod">
          <ac:chgData name="JanEri14" userId="ea321e6f-a9b4-4544-8ae7-a495220778c5" providerId="ADAL" clId="{BB2BE024-E32F-4E3C-9FA3-E2875B3967A2}" dt="2023-10-27T17:25:54.835" v="849" actId="790"/>
          <ac:spMkLst>
            <pc:docMk/>
            <pc:sldMk cId="2125530571" sldId="1083"/>
            <ac:spMk id="10" creationId="{06CC8CD4-DEEF-D395-04FD-14A5E8CC62EA}"/>
          </ac:spMkLst>
        </pc:spChg>
        <pc:spChg chg="add mod">
          <ac:chgData name="JanEri14" userId="ea321e6f-a9b4-4544-8ae7-a495220778c5" providerId="ADAL" clId="{BB2BE024-E32F-4E3C-9FA3-E2875B3967A2}" dt="2023-10-27T17:26:12.233" v="877" actId="20577"/>
          <ac:spMkLst>
            <pc:docMk/>
            <pc:sldMk cId="2125530571" sldId="1083"/>
            <ac:spMk id="12" creationId="{6C582DE2-480E-DF28-C309-55DC4884578C}"/>
          </ac:spMkLst>
        </pc:spChg>
        <pc:spChg chg="add mod">
          <ac:chgData name="JanEri14" userId="ea321e6f-a9b4-4544-8ae7-a495220778c5" providerId="ADAL" clId="{BB2BE024-E32F-4E3C-9FA3-E2875B3967A2}" dt="2023-10-27T17:27:02.656" v="921" actId="20577"/>
          <ac:spMkLst>
            <pc:docMk/>
            <pc:sldMk cId="2125530571" sldId="1083"/>
            <ac:spMk id="14" creationId="{B245A3C6-58D9-339C-1E1C-93964EB02A79}"/>
          </ac:spMkLst>
        </pc:spChg>
        <pc:spChg chg="add mod">
          <ac:chgData name="JanEri14" userId="ea321e6f-a9b4-4544-8ae7-a495220778c5" providerId="ADAL" clId="{BB2BE024-E32F-4E3C-9FA3-E2875B3967A2}" dt="2023-10-27T17:26:29.959" v="881" actId="1076"/>
          <ac:spMkLst>
            <pc:docMk/>
            <pc:sldMk cId="2125530571" sldId="1083"/>
            <ac:spMk id="15" creationId="{DBC4A62C-A65E-17B4-66AE-08EE393B313C}"/>
          </ac:spMkLst>
        </pc:spChg>
        <pc:spChg chg="add mod">
          <ac:chgData name="JanEri14" userId="ea321e6f-a9b4-4544-8ae7-a495220778c5" providerId="ADAL" clId="{BB2BE024-E32F-4E3C-9FA3-E2875B3967A2}" dt="2023-10-27T17:28:51.079" v="1030" actId="20577"/>
          <ac:spMkLst>
            <pc:docMk/>
            <pc:sldMk cId="2125530571" sldId="1083"/>
            <ac:spMk id="16" creationId="{9EB62EF6-BF06-8206-4815-E437EEC9EA79}"/>
          </ac:spMkLst>
        </pc:spChg>
        <pc:spChg chg="add mod">
          <ac:chgData name="JanEri14" userId="ea321e6f-a9b4-4544-8ae7-a495220778c5" providerId="ADAL" clId="{BB2BE024-E32F-4E3C-9FA3-E2875B3967A2}" dt="2023-10-27T17:28:46.049" v="1029" actId="404"/>
          <ac:spMkLst>
            <pc:docMk/>
            <pc:sldMk cId="2125530571" sldId="1083"/>
            <ac:spMk id="17" creationId="{14B2762B-CFEF-1737-0EA7-A67505288D77}"/>
          </ac:spMkLst>
        </pc:spChg>
        <pc:spChg chg="add mod">
          <ac:chgData name="JanEri14" userId="ea321e6f-a9b4-4544-8ae7-a495220778c5" providerId="ADAL" clId="{BB2BE024-E32F-4E3C-9FA3-E2875B3967A2}" dt="2023-10-27T17:29:49.715" v="1065" actId="20577"/>
          <ac:spMkLst>
            <pc:docMk/>
            <pc:sldMk cId="2125530571" sldId="1083"/>
            <ac:spMk id="18" creationId="{382FC539-5E4B-5F0A-3B87-30348693073C}"/>
          </ac:spMkLst>
        </pc:spChg>
        <pc:spChg chg="add mod">
          <ac:chgData name="JanEri14" userId="ea321e6f-a9b4-4544-8ae7-a495220778c5" providerId="ADAL" clId="{BB2BE024-E32F-4E3C-9FA3-E2875B3967A2}" dt="2023-10-27T17:29:59.619" v="1093" actId="20577"/>
          <ac:spMkLst>
            <pc:docMk/>
            <pc:sldMk cId="2125530571" sldId="1083"/>
            <ac:spMk id="19" creationId="{A1B17D7B-7638-D64D-21CA-563F92771FD5}"/>
          </ac:spMkLst>
        </pc:spChg>
        <pc:spChg chg="add del mod">
          <ac:chgData name="JanEri14" userId="ea321e6f-a9b4-4544-8ae7-a495220778c5" providerId="ADAL" clId="{BB2BE024-E32F-4E3C-9FA3-E2875B3967A2}" dt="2023-10-27T17:30:12.841" v="1095" actId="478"/>
          <ac:spMkLst>
            <pc:docMk/>
            <pc:sldMk cId="2125530571" sldId="1083"/>
            <ac:spMk id="20" creationId="{29402B1C-9360-1298-E130-4D3039BDBC0C}"/>
          </ac:spMkLst>
        </pc:spChg>
        <pc:picChg chg="del">
          <ac:chgData name="JanEri14" userId="ea321e6f-a9b4-4544-8ae7-a495220778c5" providerId="ADAL" clId="{BB2BE024-E32F-4E3C-9FA3-E2875B3967A2}" dt="2023-10-27T17:19:59.881" v="767" actId="478"/>
          <ac:picMkLst>
            <pc:docMk/>
            <pc:sldMk cId="2125530571" sldId="1083"/>
            <ac:picMk id="9" creationId="{1D874B0E-9FE5-320D-C9F4-1CFCB974D24D}"/>
          </ac:picMkLst>
        </pc:picChg>
        <pc:picChg chg="del">
          <ac:chgData name="JanEri14" userId="ea321e6f-a9b4-4544-8ae7-a495220778c5" providerId="ADAL" clId="{BB2BE024-E32F-4E3C-9FA3-E2875B3967A2}" dt="2023-10-27T17:19:59.135" v="766" actId="478"/>
          <ac:picMkLst>
            <pc:docMk/>
            <pc:sldMk cId="2125530571" sldId="1083"/>
            <ac:picMk id="11" creationId="{B86F8C3A-A896-58DB-36E8-73D89A82BDFC}"/>
          </ac:picMkLst>
        </pc:picChg>
        <pc:picChg chg="del">
          <ac:chgData name="JanEri14" userId="ea321e6f-a9b4-4544-8ae7-a495220778c5" providerId="ADAL" clId="{BB2BE024-E32F-4E3C-9FA3-E2875B3967A2}" dt="2023-10-27T17:19:58.800" v="765" actId="478"/>
          <ac:picMkLst>
            <pc:docMk/>
            <pc:sldMk cId="2125530571" sldId="1083"/>
            <ac:picMk id="13" creationId="{4D389074-E532-1A77-982F-CC62812E490B}"/>
          </ac:picMkLst>
        </pc:picChg>
      </pc:sldChg>
      <pc:sldChg chg="modSp add mod">
        <pc:chgData name="JanEri14" userId="ea321e6f-a9b4-4544-8ae7-a495220778c5" providerId="ADAL" clId="{BB2BE024-E32F-4E3C-9FA3-E2875B3967A2}" dt="2023-10-27T17:33:55.312" v="1520" actId="20577"/>
        <pc:sldMkLst>
          <pc:docMk/>
          <pc:sldMk cId="2366626046" sldId="1084"/>
        </pc:sldMkLst>
        <pc:spChg chg="mod">
          <ac:chgData name="JanEri14" userId="ea321e6f-a9b4-4544-8ae7-a495220778c5" providerId="ADAL" clId="{BB2BE024-E32F-4E3C-9FA3-E2875B3967A2}" dt="2023-10-27T17:30:31.807" v="1114" actId="14100"/>
          <ac:spMkLst>
            <pc:docMk/>
            <pc:sldMk cId="2366626046" sldId="1084"/>
            <ac:spMk id="3" creationId="{1C269660-D13D-C65F-2E91-C94040B6A753}"/>
          </ac:spMkLst>
        </pc:spChg>
        <pc:spChg chg="mod">
          <ac:chgData name="JanEri14" userId="ea321e6f-a9b4-4544-8ae7-a495220778c5" providerId="ADAL" clId="{BB2BE024-E32F-4E3C-9FA3-E2875B3967A2}" dt="2023-10-27T17:30:41.397" v="1126" actId="14100"/>
          <ac:spMkLst>
            <pc:docMk/>
            <pc:sldMk cId="2366626046" sldId="1084"/>
            <ac:spMk id="8" creationId="{1B61072F-8367-66F9-E647-1C5C6BEA476E}"/>
          </ac:spMkLst>
        </pc:spChg>
        <pc:spChg chg="mod">
          <ac:chgData name="JanEri14" userId="ea321e6f-a9b4-4544-8ae7-a495220778c5" providerId="ADAL" clId="{BB2BE024-E32F-4E3C-9FA3-E2875B3967A2}" dt="2023-10-27T17:32:43.867" v="1260" actId="20577"/>
          <ac:spMkLst>
            <pc:docMk/>
            <pc:sldMk cId="2366626046" sldId="1084"/>
            <ac:spMk id="10" creationId="{06CC8CD4-DEEF-D395-04FD-14A5E8CC62EA}"/>
          </ac:spMkLst>
        </pc:spChg>
        <pc:spChg chg="mod">
          <ac:chgData name="JanEri14" userId="ea321e6f-a9b4-4544-8ae7-a495220778c5" providerId="ADAL" clId="{BB2BE024-E32F-4E3C-9FA3-E2875B3967A2}" dt="2023-10-27T17:32:49.736" v="1271" actId="20577"/>
          <ac:spMkLst>
            <pc:docMk/>
            <pc:sldMk cId="2366626046" sldId="1084"/>
            <ac:spMk id="12" creationId="{6C582DE2-480E-DF28-C309-55DC4884578C}"/>
          </ac:spMkLst>
        </pc:spChg>
        <pc:spChg chg="mod">
          <ac:chgData name="JanEri14" userId="ea321e6f-a9b4-4544-8ae7-a495220778c5" providerId="ADAL" clId="{BB2BE024-E32F-4E3C-9FA3-E2875B3967A2}" dt="2023-10-27T17:33:34.019" v="1467" actId="20577"/>
          <ac:spMkLst>
            <pc:docMk/>
            <pc:sldMk cId="2366626046" sldId="1084"/>
            <ac:spMk id="14" creationId="{B245A3C6-58D9-339C-1E1C-93964EB02A79}"/>
          </ac:spMkLst>
        </pc:spChg>
        <pc:spChg chg="mod">
          <ac:chgData name="JanEri14" userId="ea321e6f-a9b4-4544-8ae7-a495220778c5" providerId="ADAL" clId="{BB2BE024-E32F-4E3C-9FA3-E2875B3967A2}" dt="2023-10-27T17:33:55.312" v="1520" actId="20577"/>
          <ac:spMkLst>
            <pc:docMk/>
            <pc:sldMk cId="2366626046" sldId="1084"/>
            <ac:spMk id="15" creationId="{DBC4A62C-A65E-17B4-66AE-08EE393B313C}"/>
          </ac:spMkLst>
        </pc:spChg>
        <pc:spChg chg="mod">
          <ac:chgData name="JanEri14" userId="ea321e6f-a9b4-4544-8ae7-a495220778c5" providerId="ADAL" clId="{BB2BE024-E32F-4E3C-9FA3-E2875B3967A2}" dt="2023-10-27T17:31:29.743" v="1137" actId="20577"/>
          <ac:spMkLst>
            <pc:docMk/>
            <pc:sldMk cId="2366626046" sldId="1084"/>
            <ac:spMk id="16" creationId="{9EB62EF6-BF06-8206-4815-E437EEC9EA79}"/>
          </ac:spMkLst>
        </pc:spChg>
        <pc:spChg chg="mod">
          <ac:chgData name="JanEri14" userId="ea321e6f-a9b4-4544-8ae7-a495220778c5" providerId="ADAL" clId="{BB2BE024-E32F-4E3C-9FA3-E2875B3967A2}" dt="2023-10-27T17:31:35.681" v="1161" actId="20577"/>
          <ac:spMkLst>
            <pc:docMk/>
            <pc:sldMk cId="2366626046" sldId="1084"/>
            <ac:spMk id="17" creationId="{14B2762B-CFEF-1737-0EA7-A67505288D77}"/>
          </ac:spMkLst>
        </pc:spChg>
        <pc:spChg chg="mod">
          <ac:chgData name="JanEri14" userId="ea321e6f-a9b4-4544-8ae7-a495220778c5" providerId="ADAL" clId="{BB2BE024-E32F-4E3C-9FA3-E2875B3967A2}" dt="2023-10-27T17:31:42.029" v="1184" actId="20577"/>
          <ac:spMkLst>
            <pc:docMk/>
            <pc:sldMk cId="2366626046" sldId="1084"/>
            <ac:spMk id="18" creationId="{382FC539-5E4B-5F0A-3B87-30348693073C}"/>
          </ac:spMkLst>
        </pc:spChg>
        <pc:spChg chg="mod">
          <ac:chgData name="JanEri14" userId="ea321e6f-a9b4-4544-8ae7-a495220778c5" providerId="ADAL" clId="{BB2BE024-E32F-4E3C-9FA3-E2875B3967A2}" dt="2023-10-27T17:32:31.298" v="1227" actId="20577"/>
          <ac:spMkLst>
            <pc:docMk/>
            <pc:sldMk cId="2366626046" sldId="1084"/>
            <ac:spMk id="19" creationId="{A1B17D7B-7638-D64D-21CA-563F92771FD5}"/>
          </ac:spMkLst>
        </pc:spChg>
      </pc:sldChg>
      <pc:sldChg chg="modSp add mod">
        <pc:chgData name="JanEri14" userId="ea321e6f-a9b4-4544-8ae7-a495220778c5" providerId="ADAL" clId="{BB2BE024-E32F-4E3C-9FA3-E2875B3967A2}" dt="2023-10-27T17:36:42.124" v="1888" actId="20577"/>
        <pc:sldMkLst>
          <pc:docMk/>
          <pc:sldMk cId="2230391168" sldId="1085"/>
        </pc:sldMkLst>
        <pc:spChg chg="mod">
          <ac:chgData name="JanEri14" userId="ea321e6f-a9b4-4544-8ae7-a495220778c5" providerId="ADAL" clId="{BB2BE024-E32F-4E3C-9FA3-E2875B3967A2}" dt="2023-10-27T17:34:34.103" v="1546" actId="20577"/>
          <ac:spMkLst>
            <pc:docMk/>
            <pc:sldMk cId="2230391168" sldId="1085"/>
            <ac:spMk id="3" creationId="{1C269660-D13D-C65F-2E91-C94040B6A753}"/>
          </ac:spMkLst>
        </pc:spChg>
        <pc:spChg chg="mod">
          <ac:chgData name="JanEri14" userId="ea321e6f-a9b4-4544-8ae7-a495220778c5" providerId="ADAL" clId="{BB2BE024-E32F-4E3C-9FA3-E2875B3967A2}" dt="2023-10-27T17:34:51.784" v="1586" actId="20577"/>
          <ac:spMkLst>
            <pc:docMk/>
            <pc:sldMk cId="2230391168" sldId="1085"/>
            <ac:spMk id="8" creationId="{1B61072F-8367-66F9-E647-1C5C6BEA476E}"/>
          </ac:spMkLst>
        </pc:spChg>
        <pc:spChg chg="mod">
          <ac:chgData name="JanEri14" userId="ea321e6f-a9b4-4544-8ae7-a495220778c5" providerId="ADAL" clId="{BB2BE024-E32F-4E3C-9FA3-E2875B3967A2}" dt="2023-10-27T17:36:11.532" v="1767" actId="20577"/>
          <ac:spMkLst>
            <pc:docMk/>
            <pc:sldMk cId="2230391168" sldId="1085"/>
            <ac:spMk id="10" creationId="{06CC8CD4-DEEF-D395-04FD-14A5E8CC62EA}"/>
          </ac:spMkLst>
        </pc:spChg>
        <pc:spChg chg="mod">
          <ac:chgData name="JanEri14" userId="ea321e6f-a9b4-4544-8ae7-a495220778c5" providerId="ADAL" clId="{BB2BE024-E32F-4E3C-9FA3-E2875B3967A2}" dt="2023-10-27T17:36:23.510" v="1819" actId="20577"/>
          <ac:spMkLst>
            <pc:docMk/>
            <pc:sldMk cId="2230391168" sldId="1085"/>
            <ac:spMk id="12" creationId="{6C582DE2-480E-DF28-C309-55DC4884578C}"/>
          </ac:spMkLst>
        </pc:spChg>
        <pc:spChg chg="mod">
          <ac:chgData name="JanEri14" userId="ea321e6f-a9b4-4544-8ae7-a495220778c5" providerId="ADAL" clId="{BB2BE024-E32F-4E3C-9FA3-E2875B3967A2}" dt="2023-10-27T17:36:30.769" v="1847" actId="20577"/>
          <ac:spMkLst>
            <pc:docMk/>
            <pc:sldMk cId="2230391168" sldId="1085"/>
            <ac:spMk id="14" creationId="{B245A3C6-58D9-339C-1E1C-93964EB02A79}"/>
          </ac:spMkLst>
        </pc:spChg>
        <pc:spChg chg="mod">
          <ac:chgData name="JanEri14" userId="ea321e6f-a9b4-4544-8ae7-a495220778c5" providerId="ADAL" clId="{BB2BE024-E32F-4E3C-9FA3-E2875B3967A2}" dt="2023-10-27T17:36:42.124" v="1888" actId="20577"/>
          <ac:spMkLst>
            <pc:docMk/>
            <pc:sldMk cId="2230391168" sldId="1085"/>
            <ac:spMk id="15" creationId="{DBC4A62C-A65E-17B4-66AE-08EE393B313C}"/>
          </ac:spMkLst>
        </pc:spChg>
        <pc:spChg chg="mod">
          <ac:chgData name="JanEri14" userId="ea321e6f-a9b4-4544-8ae7-a495220778c5" providerId="ADAL" clId="{BB2BE024-E32F-4E3C-9FA3-E2875B3967A2}" dt="2023-10-27T17:35:03.397" v="1606" actId="20577"/>
          <ac:spMkLst>
            <pc:docMk/>
            <pc:sldMk cId="2230391168" sldId="1085"/>
            <ac:spMk id="16" creationId="{9EB62EF6-BF06-8206-4815-E437EEC9EA79}"/>
          </ac:spMkLst>
        </pc:spChg>
        <pc:spChg chg="mod">
          <ac:chgData name="JanEri14" userId="ea321e6f-a9b4-4544-8ae7-a495220778c5" providerId="ADAL" clId="{BB2BE024-E32F-4E3C-9FA3-E2875B3967A2}" dt="2023-10-27T17:35:16.014" v="1642" actId="20577"/>
          <ac:spMkLst>
            <pc:docMk/>
            <pc:sldMk cId="2230391168" sldId="1085"/>
            <ac:spMk id="17" creationId="{14B2762B-CFEF-1737-0EA7-A67505288D77}"/>
          </ac:spMkLst>
        </pc:spChg>
        <pc:spChg chg="mod">
          <ac:chgData name="JanEri14" userId="ea321e6f-a9b4-4544-8ae7-a495220778c5" providerId="ADAL" clId="{BB2BE024-E32F-4E3C-9FA3-E2875B3967A2}" dt="2023-10-27T17:35:40.578" v="1708" actId="20577"/>
          <ac:spMkLst>
            <pc:docMk/>
            <pc:sldMk cId="2230391168" sldId="1085"/>
            <ac:spMk id="18" creationId="{382FC539-5E4B-5F0A-3B87-30348693073C}"/>
          </ac:spMkLst>
        </pc:spChg>
        <pc:spChg chg="mod">
          <ac:chgData name="JanEri14" userId="ea321e6f-a9b4-4544-8ae7-a495220778c5" providerId="ADAL" clId="{BB2BE024-E32F-4E3C-9FA3-E2875B3967A2}" dt="2023-10-27T17:36:04.351" v="1749" actId="20577"/>
          <ac:spMkLst>
            <pc:docMk/>
            <pc:sldMk cId="2230391168" sldId="1085"/>
            <ac:spMk id="19" creationId="{A1B17D7B-7638-D64D-21CA-563F92771FD5}"/>
          </ac:spMkLst>
        </pc:spChg>
      </pc:sldChg>
      <pc:sldChg chg="addSp delSp modSp add del mod ord">
        <pc:chgData name="JanEri14" userId="ea321e6f-a9b4-4544-8ae7-a495220778c5" providerId="ADAL" clId="{BB2BE024-E32F-4E3C-9FA3-E2875B3967A2}" dt="2023-10-28T20:38:27.506" v="3767" actId="47"/>
        <pc:sldMkLst>
          <pc:docMk/>
          <pc:sldMk cId="2503341480" sldId="1086"/>
        </pc:sldMkLst>
        <pc:spChg chg="del">
          <ac:chgData name="JanEri14" userId="ea321e6f-a9b4-4544-8ae7-a495220778c5" providerId="ADAL" clId="{BB2BE024-E32F-4E3C-9FA3-E2875B3967A2}" dt="2023-10-27T17:40:56.090" v="1952" actId="478"/>
          <ac:spMkLst>
            <pc:docMk/>
            <pc:sldMk cId="2503341480" sldId="1086"/>
            <ac:spMk id="3" creationId="{2356AC31-8CEA-08DC-DFF4-CE277F00F394}"/>
          </ac:spMkLst>
        </pc:spChg>
        <pc:spChg chg="mod">
          <ac:chgData name="JanEri14" userId="ea321e6f-a9b4-4544-8ae7-a495220778c5" providerId="ADAL" clId="{BB2BE024-E32F-4E3C-9FA3-E2875B3967A2}" dt="2023-10-27T17:40:52.289" v="1951" actId="20577"/>
          <ac:spMkLst>
            <pc:docMk/>
            <pc:sldMk cId="2503341480" sldId="1086"/>
            <ac:spMk id="5" creationId="{52BB5656-55B8-68C2-7755-E8A94F7F46A5}"/>
          </ac:spMkLst>
        </pc:spChg>
        <pc:spChg chg="del">
          <ac:chgData name="JanEri14" userId="ea321e6f-a9b4-4544-8ae7-a495220778c5" providerId="ADAL" clId="{BB2BE024-E32F-4E3C-9FA3-E2875B3967A2}" dt="2023-10-27T17:42:08.485" v="1953" actId="1032"/>
          <ac:spMkLst>
            <pc:docMk/>
            <pc:sldMk cId="2503341480" sldId="1086"/>
            <ac:spMk id="6" creationId="{3EFAF751-903E-4129-336E-17E08F30F6E9}"/>
          </ac:spMkLst>
        </pc:spChg>
        <pc:spChg chg="add mod">
          <ac:chgData name="JanEri14" userId="ea321e6f-a9b4-4544-8ae7-a495220778c5" providerId="ADAL" clId="{BB2BE024-E32F-4E3C-9FA3-E2875B3967A2}" dt="2023-10-27T17:42:10.831" v="1954" actId="21"/>
          <ac:spMkLst>
            <pc:docMk/>
            <pc:sldMk cId="2503341480" sldId="1086"/>
            <ac:spMk id="10" creationId="{8699A373-6606-EB71-29AA-2E6BF603FD32}"/>
          </ac:spMkLst>
        </pc:spChg>
        <pc:spChg chg="add mod">
          <ac:chgData name="JanEri14" userId="ea321e6f-a9b4-4544-8ae7-a495220778c5" providerId="ADAL" clId="{BB2BE024-E32F-4E3C-9FA3-E2875B3967A2}" dt="2023-10-27T17:47:32.763" v="2056" actId="14100"/>
          <ac:spMkLst>
            <pc:docMk/>
            <pc:sldMk cId="2503341480" sldId="1086"/>
            <ac:spMk id="14" creationId="{EDD0B9A3-95C2-6DA2-AF8C-47E1757A80CF}"/>
          </ac:spMkLst>
        </pc:spChg>
        <pc:spChg chg="add mod">
          <ac:chgData name="JanEri14" userId="ea321e6f-a9b4-4544-8ae7-a495220778c5" providerId="ADAL" clId="{BB2BE024-E32F-4E3C-9FA3-E2875B3967A2}" dt="2023-10-27T17:51:29.411" v="2285" actId="14100"/>
          <ac:spMkLst>
            <pc:docMk/>
            <pc:sldMk cId="2503341480" sldId="1086"/>
            <ac:spMk id="15" creationId="{82DBE367-F516-152F-166F-068BC4476F1B}"/>
          </ac:spMkLst>
        </pc:spChg>
        <pc:spChg chg="add del mod">
          <ac:chgData name="JanEri14" userId="ea321e6f-a9b4-4544-8ae7-a495220778c5" providerId="ADAL" clId="{BB2BE024-E32F-4E3C-9FA3-E2875B3967A2}" dt="2023-10-27T17:45:40.264" v="2015" actId="478"/>
          <ac:spMkLst>
            <pc:docMk/>
            <pc:sldMk cId="2503341480" sldId="1086"/>
            <ac:spMk id="16" creationId="{6FBBA923-1A57-FF34-D92E-D131B80C7756}"/>
          </ac:spMkLst>
        </pc:spChg>
        <pc:spChg chg="add del mod">
          <ac:chgData name="JanEri14" userId="ea321e6f-a9b4-4544-8ae7-a495220778c5" providerId="ADAL" clId="{BB2BE024-E32F-4E3C-9FA3-E2875B3967A2}" dt="2023-10-27T17:45:50.642" v="2019" actId="478"/>
          <ac:spMkLst>
            <pc:docMk/>
            <pc:sldMk cId="2503341480" sldId="1086"/>
            <ac:spMk id="17" creationId="{E6BBB846-9823-3303-3A7D-4853F57FFE01}"/>
          </ac:spMkLst>
        </pc:spChg>
        <pc:spChg chg="add mod">
          <ac:chgData name="JanEri14" userId="ea321e6f-a9b4-4544-8ae7-a495220778c5" providerId="ADAL" clId="{BB2BE024-E32F-4E3C-9FA3-E2875B3967A2}" dt="2023-10-27T17:47:23.582" v="2053" actId="14100"/>
          <ac:spMkLst>
            <pc:docMk/>
            <pc:sldMk cId="2503341480" sldId="1086"/>
            <ac:spMk id="18" creationId="{1A7C61E0-2C6B-0EFE-F1C7-5DA1D34E8719}"/>
          </ac:spMkLst>
        </pc:spChg>
        <pc:spChg chg="add mod">
          <ac:chgData name="JanEri14" userId="ea321e6f-a9b4-4544-8ae7-a495220778c5" providerId="ADAL" clId="{BB2BE024-E32F-4E3C-9FA3-E2875B3967A2}" dt="2023-10-27T17:51:55.379" v="2290" actId="14100"/>
          <ac:spMkLst>
            <pc:docMk/>
            <pc:sldMk cId="2503341480" sldId="1086"/>
            <ac:spMk id="19" creationId="{9B367849-4CE4-A6A6-7B32-935306D20ACF}"/>
          </ac:spMkLst>
        </pc:spChg>
        <pc:spChg chg="add mod">
          <ac:chgData name="JanEri14" userId="ea321e6f-a9b4-4544-8ae7-a495220778c5" providerId="ADAL" clId="{BB2BE024-E32F-4E3C-9FA3-E2875B3967A2}" dt="2023-10-27T17:51:52.504" v="2289" actId="14100"/>
          <ac:spMkLst>
            <pc:docMk/>
            <pc:sldMk cId="2503341480" sldId="1086"/>
            <ac:spMk id="20" creationId="{5FB07491-CE5C-4AE9-9E20-EEF601B1D593}"/>
          </ac:spMkLst>
        </pc:spChg>
        <pc:spChg chg="add mod">
          <ac:chgData name="JanEri14" userId="ea321e6f-a9b4-4544-8ae7-a495220778c5" providerId="ADAL" clId="{BB2BE024-E32F-4E3C-9FA3-E2875B3967A2}" dt="2023-10-27T17:46:50.487" v="2040" actId="1076"/>
          <ac:spMkLst>
            <pc:docMk/>
            <pc:sldMk cId="2503341480" sldId="1086"/>
            <ac:spMk id="21" creationId="{FDEC7836-F2C9-4E8E-78E1-30E109396463}"/>
          </ac:spMkLst>
        </pc:spChg>
        <pc:spChg chg="add mod">
          <ac:chgData name="JanEri14" userId="ea321e6f-a9b4-4544-8ae7-a495220778c5" providerId="ADAL" clId="{BB2BE024-E32F-4E3C-9FA3-E2875B3967A2}" dt="2023-10-27T17:47:08.485" v="2048" actId="20577"/>
          <ac:spMkLst>
            <pc:docMk/>
            <pc:sldMk cId="2503341480" sldId="1086"/>
            <ac:spMk id="22" creationId="{781488C6-341B-C34C-FD42-65F053F167F7}"/>
          </ac:spMkLst>
        </pc:spChg>
        <pc:spChg chg="add mod">
          <ac:chgData name="JanEri14" userId="ea321e6f-a9b4-4544-8ae7-a495220778c5" providerId="ADAL" clId="{BB2BE024-E32F-4E3C-9FA3-E2875B3967A2}" dt="2023-10-27T17:47:10.411" v="2050" actId="20577"/>
          <ac:spMkLst>
            <pc:docMk/>
            <pc:sldMk cId="2503341480" sldId="1086"/>
            <ac:spMk id="23" creationId="{70A7F464-B772-9D40-3CD1-0D7B2B2F555A}"/>
          </ac:spMkLst>
        </pc:spChg>
        <pc:spChg chg="add mod">
          <ac:chgData name="JanEri14" userId="ea321e6f-a9b4-4544-8ae7-a495220778c5" providerId="ADAL" clId="{BB2BE024-E32F-4E3C-9FA3-E2875B3967A2}" dt="2023-10-27T17:47:12.259" v="2052" actId="20577"/>
          <ac:spMkLst>
            <pc:docMk/>
            <pc:sldMk cId="2503341480" sldId="1086"/>
            <ac:spMk id="24" creationId="{180C165A-5CDB-6D46-9B6E-ED01BF7E47B0}"/>
          </ac:spMkLst>
        </pc:spChg>
        <pc:spChg chg="add mod ord">
          <ac:chgData name="JanEri14" userId="ea321e6f-a9b4-4544-8ae7-a495220778c5" providerId="ADAL" clId="{BB2BE024-E32F-4E3C-9FA3-E2875B3967A2}" dt="2023-10-27T17:48:07.040" v="2062" actId="167"/>
          <ac:spMkLst>
            <pc:docMk/>
            <pc:sldMk cId="2503341480" sldId="1086"/>
            <ac:spMk id="25" creationId="{1F86D3B1-AD46-9DF1-1895-E1F8DCFC04D8}"/>
          </ac:spMkLst>
        </pc:spChg>
        <pc:spChg chg="add mod">
          <ac:chgData name="JanEri14" userId="ea321e6f-a9b4-4544-8ae7-a495220778c5" providerId="ADAL" clId="{BB2BE024-E32F-4E3C-9FA3-E2875B3967A2}" dt="2023-10-27T17:49:55.482" v="2152" actId="20577"/>
          <ac:spMkLst>
            <pc:docMk/>
            <pc:sldMk cId="2503341480" sldId="1086"/>
            <ac:spMk id="26" creationId="{4F9E6A49-3403-945C-03E9-10C401189F18}"/>
          </ac:spMkLst>
        </pc:spChg>
        <pc:spChg chg="add mod">
          <ac:chgData name="JanEri14" userId="ea321e6f-a9b4-4544-8ae7-a495220778c5" providerId="ADAL" clId="{BB2BE024-E32F-4E3C-9FA3-E2875B3967A2}" dt="2023-10-27T17:50:03.256" v="2170" actId="20577"/>
          <ac:spMkLst>
            <pc:docMk/>
            <pc:sldMk cId="2503341480" sldId="1086"/>
            <ac:spMk id="27" creationId="{60E47910-D43C-F584-C613-D2D8534E46D0}"/>
          </ac:spMkLst>
        </pc:spChg>
        <pc:spChg chg="add mod">
          <ac:chgData name="JanEri14" userId="ea321e6f-a9b4-4544-8ae7-a495220778c5" providerId="ADAL" clId="{BB2BE024-E32F-4E3C-9FA3-E2875B3967A2}" dt="2023-10-27T17:50:23.120" v="2213" actId="20577"/>
          <ac:spMkLst>
            <pc:docMk/>
            <pc:sldMk cId="2503341480" sldId="1086"/>
            <ac:spMk id="28" creationId="{AA7F2369-A9C8-C301-4F20-B2A052245F54}"/>
          </ac:spMkLst>
        </pc:spChg>
        <pc:spChg chg="add mod">
          <ac:chgData name="JanEri14" userId="ea321e6f-a9b4-4544-8ae7-a495220778c5" providerId="ADAL" clId="{BB2BE024-E32F-4E3C-9FA3-E2875B3967A2}" dt="2023-10-27T17:50:44.029" v="2276" actId="20577"/>
          <ac:spMkLst>
            <pc:docMk/>
            <pc:sldMk cId="2503341480" sldId="1086"/>
            <ac:spMk id="29" creationId="{C991396F-5C2F-8AE7-7944-CE353FF29276}"/>
          </ac:spMkLst>
        </pc:spChg>
        <pc:spChg chg="add mod">
          <ac:chgData name="JanEri14" userId="ea321e6f-a9b4-4544-8ae7-a495220778c5" providerId="ADAL" clId="{BB2BE024-E32F-4E3C-9FA3-E2875B3967A2}" dt="2023-10-27T17:51:02.560" v="2278" actId="20577"/>
          <ac:spMkLst>
            <pc:docMk/>
            <pc:sldMk cId="2503341480" sldId="1086"/>
            <ac:spMk id="30" creationId="{9196B711-B4BA-FA97-5DC1-DFB9149DFC59}"/>
          </ac:spMkLst>
        </pc:spChg>
        <pc:spChg chg="add mod">
          <ac:chgData name="JanEri14" userId="ea321e6f-a9b4-4544-8ae7-a495220778c5" providerId="ADAL" clId="{BB2BE024-E32F-4E3C-9FA3-E2875B3967A2}" dt="2023-10-27T17:51:08.235" v="2280" actId="1076"/>
          <ac:spMkLst>
            <pc:docMk/>
            <pc:sldMk cId="2503341480" sldId="1086"/>
            <ac:spMk id="31" creationId="{9E5B8548-4823-0766-8D82-EBE957AD04B0}"/>
          </ac:spMkLst>
        </pc:spChg>
        <pc:spChg chg="add mod">
          <ac:chgData name="JanEri14" userId="ea321e6f-a9b4-4544-8ae7-a495220778c5" providerId="ADAL" clId="{BB2BE024-E32F-4E3C-9FA3-E2875B3967A2}" dt="2023-10-27T17:51:14.849" v="2282" actId="1076"/>
          <ac:spMkLst>
            <pc:docMk/>
            <pc:sldMk cId="2503341480" sldId="1086"/>
            <ac:spMk id="32" creationId="{E32B0B81-62CB-2F72-8A8C-0B2E8C66C330}"/>
          </ac:spMkLst>
        </pc:spChg>
        <pc:spChg chg="add mod">
          <ac:chgData name="JanEri14" userId="ea321e6f-a9b4-4544-8ae7-a495220778c5" providerId="ADAL" clId="{BB2BE024-E32F-4E3C-9FA3-E2875B3967A2}" dt="2023-10-27T17:51:19.248" v="2284" actId="1076"/>
          <ac:spMkLst>
            <pc:docMk/>
            <pc:sldMk cId="2503341480" sldId="1086"/>
            <ac:spMk id="33" creationId="{E42A9FE8-86CB-59FA-A507-019030739EC1}"/>
          </ac:spMkLst>
        </pc:spChg>
        <pc:spChg chg="add mod">
          <ac:chgData name="JanEri14" userId="ea321e6f-a9b4-4544-8ae7-a495220778c5" providerId="ADAL" clId="{BB2BE024-E32F-4E3C-9FA3-E2875B3967A2}" dt="2023-10-27T18:01:23.813" v="2378" actId="1076"/>
          <ac:spMkLst>
            <pc:docMk/>
            <pc:sldMk cId="2503341480" sldId="1086"/>
            <ac:spMk id="38" creationId="{83D0DF44-80F1-0A60-44F3-F5DE44C2BAAB}"/>
          </ac:spMkLst>
        </pc:spChg>
        <pc:graphicFrameChg chg="add del modGraphic">
          <ac:chgData name="JanEri14" userId="ea321e6f-a9b4-4544-8ae7-a495220778c5" providerId="ADAL" clId="{BB2BE024-E32F-4E3C-9FA3-E2875B3967A2}" dt="2023-10-27T17:42:10.831" v="1954" actId="21"/>
          <ac:graphicFrameMkLst>
            <pc:docMk/>
            <pc:sldMk cId="2503341480" sldId="1086"/>
            <ac:graphicFrameMk id="8" creationId="{EA9F9F31-D04F-4C0A-DD09-54FD93BC379F}"/>
          </ac:graphicFrameMkLst>
        </pc:graphicFrameChg>
        <pc:graphicFrameChg chg="add del mod">
          <ac:chgData name="JanEri14" userId="ea321e6f-a9b4-4544-8ae7-a495220778c5" providerId="ADAL" clId="{BB2BE024-E32F-4E3C-9FA3-E2875B3967A2}" dt="2023-10-27T17:44:40.844" v="2006" actId="478"/>
          <ac:graphicFrameMkLst>
            <pc:docMk/>
            <pc:sldMk cId="2503341480" sldId="1086"/>
            <ac:graphicFrameMk id="11" creationId="{5FD45D08-55FE-3D9D-607A-ECCD3C45DAE7}"/>
          </ac:graphicFrameMkLst>
        </pc:graphicFrameChg>
        <pc:graphicFrameChg chg="add del mod">
          <ac:chgData name="JanEri14" userId="ea321e6f-a9b4-4544-8ae7-a495220778c5" providerId="ADAL" clId="{BB2BE024-E32F-4E3C-9FA3-E2875B3967A2}" dt="2023-10-27T17:44:38.331" v="2005" actId="478"/>
          <ac:graphicFrameMkLst>
            <pc:docMk/>
            <pc:sldMk cId="2503341480" sldId="1086"/>
            <ac:graphicFrameMk id="12" creationId="{356415ED-5FFD-93DD-B0D2-A99D7F1A0E6E}"/>
          </ac:graphicFrameMkLst>
        </pc:graphicFrameChg>
        <pc:graphicFrameChg chg="add del mod modGraphic">
          <ac:chgData name="JanEri14" userId="ea321e6f-a9b4-4544-8ae7-a495220778c5" providerId="ADAL" clId="{BB2BE024-E32F-4E3C-9FA3-E2875B3967A2}" dt="2023-10-27T17:44:34.705" v="2003" actId="478"/>
          <ac:graphicFrameMkLst>
            <pc:docMk/>
            <pc:sldMk cId="2503341480" sldId="1086"/>
            <ac:graphicFrameMk id="13" creationId="{A18BDC26-AFF1-A879-66EF-685A37A3DA78}"/>
          </ac:graphicFrameMkLst>
        </pc:graphicFrameChg>
        <pc:picChg chg="add del mod">
          <ac:chgData name="JanEri14" userId="ea321e6f-a9b4-4544-8ae7-a495220778c5" providerId="ADAL" clId="{BB2BE024-E32F-4E3C-9FA3-E2875B3967A2}" dt="2023-10-27T17:53:16.857" v="2303" actId="478"/>
          <ac:picMkLst>
            <pc:docMk/>
            <pc:sldMk cId="2503341480" sldId="1086"/>
            <ac:picMk id="35" creationId="{04109AF0-4BA5-5EC4-6337-1023A558CE03}"/>
          </ac:picMkLst>
        </pc:picChg>
        <pc:picChg chg="add del mod">
          <ac:chgData name="JanEri14" userId="ea321e6f-a9b4-4544-8ae7-a495220778c5" providerId="ADAL" clId="{BB2BE024-E32F-4E3C-9FA3-E2875B3967A2}" dt="2023-10-27T17:53:38.108" v="2307" actId="478"/>
          <ac:picMkLst>
            <pc:docMk/>
            <pc:sldMk cId="2503341480" sldId="1086"/>
            <ac:picMk id="37" creationId="{45AF01A2-262E-1703-E179-C3AABDAC72DC}"/>
          </ac:picMkLst>
        </pc:picChg>
      </pc:sldChg>
      <pc:sldChg chg="new del">
        <pc:chgData name="JanEri14" userId="ea321e6f-a9b4-4544-8ae7-a495220778c5" providerId="ADAL" clId="{BB2BE024-E32F-4E3C-9FA3-E2875B3967A2}" dt="2023-10-27T17:40:28.047" v="1890" actId="2696"/>
        <pc:sldMkLst>
          <pc:docMk/>
          <pc:sldMk cId="3400957007" sldId="1086"/>
        </pc:sldMkLst>
      </pc:sldChg>
      <pc:sldChg chg="modSp new mod">
        <pc:chgData name="JanEri14" userId="ea321e6f-a9b4-4544-8ae7-a495220778c5" providerId="ADAL" clId="{BB2BE024-E32F-4E3C-9FA3-E2875B3967A2}" dt="2023-10-27T18:04:33.141" v="2391" actId="20577"/>
        <pc:sldMkLst>
          <pc:docMk/>
          <pc:sldMk cId="3302010504" sldId="1087"/>
        </pc:sldMkLst>
        <pc:spChg chg="mod">
          <ac:chgData name="JanEri14" userId="ea321e6f-a9b4-4544-8ae7-a495220778c5" providerId="ADAL" clId="{BB2BE024-E32F-4E3C-9FA3-E2875B3967A2}" dt="2023-10-27T18:04:33.141" v="2391" actId="20577"/>
          <ac:spMkLst>
            <pc:docMk/>
            <pc:sldMk cId="3302010504" sldId="1087"/>
            <ac:spMk id="5" creationId="{CCE3D28E-B509-6C72-D628-72B55F2583EF}"/>
          </ac:spMkLst>
        </pc:spChg>
      </pc:sldChg>
      <pc:sldChg chg="modSp new del mod">
        <pc:chgData name="JanEri14" userId="ea321e6f-a9b4-4544-8ae7-a495220778c5" providerId="ADAL" clId="{BB2BE024-E32F-4E3C-9FA3-E2875B3967A2}" dt="2023-10-27T18:23:39.078" v="2782" actId="47"/>
        <pc:sldMkLst>
          <pc:docMk/>
          <pc:sldMk cId="1794705923" sldId="1088"/>
        </pc:sldMkLst>
        <pc:spChg chg="mod">
          <ac:chgData name="JanEri14" userId="ea321e6f-a9b4-4544-8ae7-a495220778c5" providerId="ADAL" clId="{BB2BE024-E32F-4E3C-9FA3-E2875B3967A2}" dt="2023-10-27T18:05:07.736" v="2409" actId="20577"/>
          <ac:spMkLst>
            <pc:docMk/>
            <pc:sldMk cId="1794705923" sldId="1088"/>
            <ac:spMk id="2" creationId="{7592F10E-3319-982A-9FAA-CA0C82205F52}"/>
          </ac:spMkLst>
        </pc:spChg>
      </pc:sldChg>
      <pc:sldChg chg="addSp delSp modSp add mod ord">
        <pc:chgData name="JanEri14" userId="ea321e6f-a9b4-4544-8ae7-a495220778c5" providerId="ADAL" clId="{BB2BE024-E32F-4E3C-9FA3-E2875B3967A2}" dt="2023-10-27T18:13:11.022" v="2779"/>
        <pc:sldMkLst>
          <pc:docMk/>
          <pc:sldMk cId="3258655641" sldId="1089"/>
        </pc:sldMkLst>
        <pc:spChg chg="mod">
          <ac:chgData name="JanEri14" userId="ea321e6f-a9b4-4544-8ae7-a495220778c5" providerId="ADAL" clId="{BB2BE024-E32F-4E3C-9FA3-E2875B3967A2}" dt="2023-10-27T18:05:15.850" v="2425" actId="20577"/>
          <ac:spMkLst>
            <pc:docMk/>
            <pc:sldMk cId="3258655641" sldId="1089"/>
            <ac:spMk id="2" creationId="{7592F10E-3319-982A-9FAA-CA0C82205F52}"/>
          </ac:spMkLst>
        </pc:spChg>
        <pc:spChg chg="del">
          <ac:chgData name="JanEri14" userId="ea321e6f-a9b4-4544-8ae7-a495220778c5" providerId="ADAL" clId="{BB2BE024-E32F-4E3C-9FA3-E2875B3967A2}" dt="2023-10-27T18:05:29.773" v="2426" actId="478"/>
          <ac:spMkLst>
            <pc:docMk/>
            <pc:sldMk cId="3258655641" sldId="1089"/>
            <ac:spMk id="3" creationId="{C29D557E-D1A2-8A91-BC2E-B3854B25B71C}"/>
          </ac:spMkLst>
        </pc:spChg>
        <pc:spChg chg="add mod">
          <ac:chgData name="JanEri14" userId="ea321e6f-a9b4-4544-8ae7-a495220778c5" providerId="ADAL" clId="{BB2BE024-E32F-4E3C-9FA3-E2875B3967A2}" dt="2023-10-27T18:10:50.779" v="2768" actId="1076"/>
          <ac:spMkLst>
            <pc:docMk/>
            <pc:sldMk cId="3258655641" sldId="1089"/>
            <ac:spMk id="8" creationId="{DD5A3493-BAFA-F77D-E38D-FBD74587382B}"/>
          </ac:spMkLst>
        </pc:spChg>
        <pc:spChg chg="add mod">
          <ac:chgData name="JanEri14" userId="ea321e6f-a9b4-4544-8ae7-a495220778c5" providerId="ADAL" clId="{BB2BE024-E32F-4E3C-9FA3-E2875B3967A2}" dt="2023-10-27T18:12:50.734" v="2775" actId="1076"/>
          <ac:spMkLst>
            <pc:docMk/>
            <pc:sldMk cId="3258655641" sldId="1089"/>
            <ac:spMk id="9" creationId="{E5D08DF7-B38E-DDF0-52DA-8E7D823F86BD}"/>
          </ac:spMkLst>
        </pc:spChg>
        <pc:spChg chg="add mod">
          <ac:chgData name="JanEri14" userId="ea321e6f-a9b4-4544-8ae7-a495220778c5" providerId="ADAL" clId="{BB2BE024-E32F-4E3C-9FA3-E2875B3967A2}" dt="2023-10-27T18:10:53.116" v="2770" actId="1076"/>
          <ac:spMkLst>
            <pc:docMk/>
            <pc:sldMk cId="3258655641" sldId="1089"/>
            <ac:spMk id="10" creationId="{49D0C121-2421-879D-8277-569A09F43E5C}"/>
          </ac:spMkLst>
        </pc:spChg>
        <pc:spChg chg="add mod">
          <ac:chgData name="JanEri14" userId="ea321e6f-a9b4-4544-8ae7-a495220778c5" providerId="ADAL" clId="{BB2BE024-E32F-4E3C-9FA3-E2875B3967A2}" dt="2023-10-27T18:10:15.002" v="2734" actId="790"/>
          <ac:spMkLst>
            <pc:docMk/>
            <pc:sldMk cId="3258655641" sldId="1089"/>
            <ac:spMk id="11" creationId="{55558E81-9FBC-65F7-8637-BA50A0F4A0B5}"/>
          </ac:spMkLst>
        </pc:spChg>
        <pc:spChg chg="add mod">
          <ac:chgData name="JanEri14" userId="ea321e6f-a9b4-4544-8ae7-a495220778c5" providerId="ADAL" clId="{BB2BE024-E32F-4E3C-9FA3-E2875B3967A2}" dt="2023-10-27T18:10:18.410" v="2735" actId="790"/>
          <ac:spMkLst>
            <pc:docMk/>
            <pc:sldMk cId="3258655641" sldId="1089"/>
            <ac:spMk id="12" creationId="{1FA311F4-C39D-37A3-24A0-7EA813FC1E47}"/>
          </ac:spMkLst>
        </pc:spChg>
        <pc:spChg chg="add mod">
          <ac:chgData name="JanEri14" userId="ea321e6f-a9b4-4544-8ae7-a495220778c5" providerId="ADAL" clId="{BB2BE024-E32F-4E3C-9FA3-E2875B3967A2}" dt="2023-10-27T18:11:06.929" v="2773" actId="1076"/>
          <ac:spMkLst>
            <pc:docMk/>
            <pc:sldMk cId="3258655641" sldId="1089"/>
            <ac:spMk id="19" creationId="{E7FCB222-A557-084D-BC85-BE9410F901C1}"/>
          </ac:spMkLst>
        </pc:spChg>
        <pc:spChg chg="add mod">
          <ac:chgData name="JanEri14" userId="ea321e6f-a9b4-4544-8ae7-a495220778c5" providerId="ADAL" clId="{BB2BE024-E32F-4E3C-9FA3-E2875B3967A2}" dt="2023-10-27T18:10:49.657" v="2767" actId="1076"/>
          <ac:spMkLst>
            <pc:docMk/>
            <pc:sldMk cId="3258655641" sldId="1089"/>
            <ac:spMk id="24" creationId="{43ADECAC-93C4-9DB7-D929-B64E670716DE}"/>
          </ac:spMkLst>
        </pc:spChg>
        <pc:spChg chg="add mod">
          <ac:chgData name="JanEri14" userId="ea321e6f-a9b4-4544-8ae7-a495220778c5" providerId="ADAL" clId="{BB2BE024-E32F-4E3C-9FA3-E2875B3967A2}" dt="2023-10-27T18:10:41.105" v="2764" actId="14100"/>
          <ac:spMkLst>
            <pc:docMk/>
            <pc:sldMk cId="3258655641" sldId="1089"/>
            <ac:spMk id="27" creationId="{0AB54B37-19A5-6575-C661-E0E1A65B1277}"/>
          </ac:spMkLst>
        </pc:spChg>
        <pc:cxnChg chg="add mod">
          <ac:chgData name="JanEri14" userId="ea321e6f-a9b4-4544-8ae7-a495220778c5" providerId="ADAL" clId="{BB2BE024-E32F-4E3C-9FA3-E2875B3967A2}" dt="2023-10-27T18:10:53.116" v="2770" actId="1076"/>
          <ac:cxnSpMkLst>
            <pc:docMk/>
            <pc:sldMk cId="3258655641" sldId="1089"/>
            <ac:cxnSpMk id="14" creationId="{5725BCA5-15E7-9245-0672-EDB8AE5BB990}"/>
          </ac:cxnSpMkLst>
        </pc:cxnChg>
        <pc:cxnChg chg="add mod">
          <ac:chgData name="JanEri14" userId="ea321e6f-a9b4-4544-8ae7-a495220778c5" providerId="ADAL" clId="{BB2BE024-E32F-4E3C-9FA3-E2875B3967A2}" dt="2023-10-27T18:10:53.116" v="2770" actId="1076"/>
          <ac:cxnSpMkLst>
            <pc:docMk/>
            <pc:sldMk cId="3258655641" sldId="1089"/>
            <ac:cxnSpMk id="16" creationId="{5BA9CA79-74DD-BD75-48BB-F950CDD0441F}"/>
          </ac:cxnSpMkLst>
        </pc:cxnChg>
        <pc:cxnChg chg="add mod">
          <ac:chgData name="JanEri14" userId="ea321e6f-a9b4-4544-8ae7-a495220778c5" providerId="ADAL" clId="{BB2BE024-E32F-4E3C-9FA3-E2875B3967A2}" dt="2023-10-27T18:08:31.291" v="2620" actId="13822"/>
          <ac:cxnSpMkLst>
            <pc:docMk/>
            <pc:sldMk cId="3258655641" sldId="1089"/>
            <ac:cxnSpMk id="18" creationId="{401B5614-B321-1651-BB39-E04BD467A7FE}"/>
          </ac:cxnSpMkLst>
        </pc:cxnChg>
        <pc:cxnChg chg="add mod">
          <ac:chgData name="JanEri14" userId="ea321e6f-a9b4-4544-8ae7-a495220778c5" providerId="ADAL" clId="{BB2BE024-E32F-4E3C-9FA3-E2875B3967A2}" dt="2023-10-27T18:11:06.929" v="2773" actId="1076"/>
          <ac:cxnSpMkLst>
            <pc:docMk/>
            <pc:sldMk cId="3258655641" sldId="1089"/>
            <ac:cxnSpMk id="21" creationId="{0BB722E1-8C75-4377-A93C-26B7C8BDF2D5}"/>
          </ac:cxnSpMkLst>
        </pc:cxnChg>
        <pc:cxnChg chg="add mod">
          <ac:chgData name="JanEri14" userId="ea321e6f-a9b4-4544-8ae7-a495220778c5" providerId="ADAL" clId="{BB2BE024-E32F-4E3C-9FA3-E2875B3967A2}" dt="2023-10-27T18:10:50.779" v="2768" actId="1076"/>
          <ac:cxnSpMkLst>
            <pc:docMk/>
            <pc:sldMk cId="3258655641" sldId="1089"/>
            <ac:cxnSpMk id="26" creationId="{8A3C8D63-C432-A52D-0059-BD6C94CB840D}"/>
          </ac:cxnSpMkLst>
        </pc:cxnChg>
        <pc:cxnChg chg="add mod">
          <ac:chgData name="JanEri14" userId="ea321e6f-a9b4-4544-8ae7-a495220778c5" providerId="ADAL" clId="{BB2BE024-E32F-4E3C-9FA3-E2875B3967A2}" dt="2023-10-27T18:11:03.613" v="2772" actId="13822"/>
          <ac:cxnSpMkLst>
            <pc:docMk/>
            <pc:sldMk cId="3258655641" sldId="1089"/>
            <ac:cxnSpMk id="39" creationId="{E741AE53-58D6-2891-A774-352207CC5936}"/>
          </ac:cxnSpMkLst>
        </pc:cxnChg>
      </pc:sldChg>
      <pc:sldChg chg="addSp delSp modSp add mod">
        <pc:chgData name="JanEri14" userId="ea321e6f-a9b4-4544-8ae7-a495220778c5" providerId="ADAL" clId="{BB2BE024-E32F-4E3C-9FA3-E2875B3967A2}" dt="2023-10-28T19:35:19.628" v="3136" actId="1076"/>
        <pc:sldMkLst>
          <pc:docMk/>
          <pc:sldMk cId="2594762006" sldId="1090"/>
        </pc:sldMkLst>
        <pc:spChg chg="mod">
          <ac:chgData name="JanEri14" userId="ea321e6f-a9b4-4544-8ae7-a495220778c5" providerId="ADAL" clId="{BB2BE024-E32F-4E3C-9FA3-E2875B3967A2}" dt="2023-10-28T19:30:11.623" v="3119"/>
          <ac:spMkLst>
            <pc:docMk/>
            <pc:sldMk cId="2594762006" sldId="1090"/>
            <ac:spMk id="2" creationId="{24180A42-A439-7173-B87F-445DDABB3EBA}"/>
          </ac:spMkLst>
        </pc:spChg>
        <pc:spChg chg="mod">
          <ac:chgData name="JanEri14" userId="ea321e6f-a9b4-4544-8ae7-a495220778c5" providerId="ADAL" clId="{BB2BE024-E32F-4E3C-9FA3-E2875B3967A2}" dt="2023-10-28T19:27:37.150" v="2799" actId="20577"/>
          <ac:spMkLst>
            <pc:docMk/>
            <pc:sldMk cId="2594762006" sldId="1090"/>
            <ac:spMk id="5" creationId="{FD8313BF-890F-86A9-2CB1-049AD6D26927}"/>
          </ac:spMkLst>
        </pc:spChg>
        <pc:spChg chg="add ord">
          <ac:chgData name="JanEri14" userId="ea321e6f-a9b4-4544-8ae7-a495220778c5" providerId="ADAL" clId="{BB2BE024-E32F-4E3C-9FA3-E2875B3967A2}" dt="2023-10-28T19:34:54.249" v="3130" actId="167"/>
          <ac:spMkLst>
            <pc:docMk/>
            <pc:sldMk cId="2594762006" sldId="1090"/>
            <ac:spMk id="9" creationId="{83662E1E-EDD5-B1A5-65C2-65A8BEB50973}"/>
          </ac:spMkLst>
        </pc:spChg>
        <pc:graphicFrameChg chg="del">
          <ac:chgData name="JanEri14" userId="ea321e6f-a9b4-4544-8ae7-a495220778c5" providerId="ADAL" clId="{BB2BE024-E32F-4E3C-9FA3-E2875B3967A2}" dt="2023-10-28T19:27:33.539" v="2789" actId="478"/>
          <ac:graphicFrameMkLst>
            <pc:docMk/>
            <pc:sldMk cId="2594762006" sldId="1090"/>
            <ac:graphicFrameMk id="14" creationId="{44E06C67-361A-0498-C59B-6812CF555ACF}"/>
          </ac:graphicFrameMkLst>
        </pc:graphicFrameChg>
        <pc:picChg chg="add del mod">
          <ac:chgData name="JanEri14" userId="ea321e6f-a9b4-4544-8ae7-a495220778c5" providerId="ADAL" clId="{BB2BE024-E32F-4E3C-9FA3-E2875B3967A2}" dt="2023-10-28T19:34:29.050" v="3125" actId="478"/>
          <ac:picMkLst>
            <pc:docMk/>
            <pc:sldMk cId="2594762006" sldId="1090"/>
            <ac:picMk id="6" creationId="{DAA433C1-CD9B-DAE6-01AB-62AD5F2BE076}"/>
          </ac:picMkLst>
        </pc:picChg>
        <pc:picChg chg="add mod">
          <ac:chgData name="JanEri14" userId="ea321e6f-a9b4-4544-8ae7-a495220778c5" providerId="ADAL" clId="{BB2BE024-E32F-4E3C-9FA3-E2875B3967A2}" dt="2023-10-28T19:35:19.628" v="3136" actId="1076"/>
          <ac:picMkLst>
            <pc:docMk/>
            <pc:sldMk cId="2594762006" sldId="1090"/>
            <ac:picMk id="8" creationId="{9DEE8696-0192-DB35-A471-BD45AB253E64}"/>
          </ac:picMkLst>
        </pc:picChg>
      </pc:sldChg>
      <pc:sldChg chg="addSp delSp modSp add mod">
        <pc:chgData name="JanEri14" userId="ea321e6f-a9b4-4544-8ae7-a495220778c5" providerId="ADAL" clId="{BB2BE024-E32F-4E3C-9FA3-E2875B3967A2}" dt="2023-10-28T19:36:18.976" v="3148" actId="14100"/>
        <pc:sldMkLst>
          <pc:docMk/>
          <pc:sldMk cId="2622350375" sldId="1091"/>
        </pc:sldMkLst>
        <pc:spChg chg="mod">
          <ac:chgData name="JanEri14" userId="ea321e6f-a9b4-4544-8ae7-a495220778c5" providerId="ADAL" clId="{BB2BE024-E32F-4E3C-9FA3-E2875B3967A2}" dt="2023-10-28T19:36:18.976" v="3148" actId="14100"/>
          <ac:spMkLst>
            <pc:docMk/>
            <pc:sldMk cId="2622350375" sldId="1091"/>
            <ac:spMk id="9" creationId="{83662E1E-EDD5-B1A5-65C2-65A8BEB50973}"/>
          </ac:spMkLst>
        </pc:spChg>
        <pc:picChg chg="add mod">
          <ac:chgData name="JanEri14" userId="ea321e6f-a9b4-4544-8ae7-a495220778c5" providerId="ADAL" clId="{BB2BE024-E32F-4E3C-9FA3-E2875B3967A2}" dt="2023-10-28T19:36:11.871" v="3146" actId="1076"/>
          <ac:picMkLst>
            <pc:docMk/>
            <pc:sldMk cId="2622350375" sldId="1091"/>
            <ac:picMk id="6" creationId="{437505D7-6348-F2AA-8408-14F7D93A8D8E}"/>
          </ac:picMkLst>
        </pc:picChg>
        <pc:picChg chg="del">
          <ac:chgData name="JanEri14" userId="ea321e6f-a9b4-4544-8ae7-a495220778c5" providerId="ADAL" clId="{BB2BE024-E32F-4E3C-9FA3-E2875B3967A2}" dt="2023-10-28T19:35:34.017" v="3138" actId="478"/>
          <ac:picMkLst>
            <pc:docMk/>
            <pc:sldMk cId="2622350375" sldId="1091"/>
            <ac:picMk id="8" creationId="{9DEE8696-0192-DB35-A471-BD45AB253E64}"/>
          </ac:picMkLst>
        </pc:picChg>
      </pc:sldChg>
      <pc:sldChg chg="addSp delSp modSp add mod">
        <pc:chgData name="JanEri14" userId="ea321e6f-a9b4-4544-8ae7-a495220778c5" providerId="ADAL" clId="{BB2BE024-E32F-4E3C-9FA3-E2875B3967A2}" dt="2023-10-28T19:36:58.677" v="3153" actId="14100"/>
        <pc:sldMkLst>
          <pc:docMk/>
          <pc:sldMk cId="2535376068" sldId="1092"/>
        </pc:sldMkLst>
        <pc:picChg chg="del">
          <ac:chgData name="JanEri14" userId="ea321e6f-a9b4-4544-8ae7-a495220778c5" providerId="ADAL" clId="{BB2BE024-E32F-4E3C-9FA3-E2875B3967A2}" dt="2023-10-28T19:36:50.112" v="3150" actId="478"/>
          <ac:picMkLst>
            <pc:docMk/>
            <pc:sldMk cId="2535376068" sldId="1092"/>
            <ac:picMk id="6" creationId="{437505D7-6348-F2AA-8408-14F7D93A8D8E}"/>
          </ac:picMkLst>
        </pc:picChg>
        <pc:picChg chg="add mod">
          <ac:chgData name="JanEri14" userId="ea321e6f-a9b4-4544-8ae7-a495220778c5" providerId="ADAL" clId="{BB2BE024-E32F-4E3C-9FA3-E2875B3967A2}" dt="2023-10-28T19:36:58.677" v="3153" actId="14100"/>
          <ac:picMkLst>
            <pc:docMk/>
            <pc:sldMk cId="2535376068" sldId="1092"/>
            <ac:picMk id="7" creationId="{E2196569-0B1C-731A-1E9C-103D4EB0425B}"/>
          </ac:picMkLst>
        </pc:picChg>
      </pc:sldChg>
      <pc:sldChg chg="addSp delSp modSp add mod">
        <pc:chgData name="JanEri14" userId="ea321e6f-a9b4-4544-8ae7-a495220778c5" providerId="ADAL" clId="{BB2BE024-E32F-4E3C-9FA3-E2875B3967A2}" dt="2023-10-28T19:37:57.777" v="3164" actId="14100"/>
        <pc:sldMkLst>
          <pc:docMk/>
          <pc:sldMk cId="1388155010" sldId="1093"/>
        </pc:sldMkLst>
        <pc:picChg chg="add mod">
          <ac:chgData name="JanEri14" userId="ea321e6f-a9b4-4544-8ae7-a495220778c5" providerId="ADAL" clId="{BB2BE024-E32F-4E3C-9FA3-E2875B3967A2}" dt="2023-10-28T19:37:57.777" v="3164" actId="14100"/>
          <ac:picMkLst>
            <pc:docMk/>
            <pc:sldMk cId="1388155010" sldId="1093"/>
            <ac:picMk id="6" creationId="{192D9A07-6CC1-F33D-7202-D167E41FB549}"/>
          </ac:picMkLst>
        </pc:picChg>
        <pc:picChg chg="del">
          <ac:chgData name="JanEri14" userId="ea321e6f-a9b4-4544-8ae7-a495220778c5" providerId="ADAL" clId="{BB2BE024-E32F-4E3C-9FA3-E2875B3967A2}" dt="2023-10-28T19:37:10.329" v="3156" actId="478"/>
          <ac:picMkLst>
            <pc:docMk/>
            <pc:sldMk cId="1388155010" sldId="1093"/>
            <ac:picMk id="7" creationId="{E2196569-0B1C-731A-1E9C-103D4EB0425B}"/>
          </ac:picMkLst>
        </pc:picChg>
      </pc:sldChg>
      <pc:sldChg chg="addSp delSp modSp add mod">
        <pc:chgData name="JanEri14" userId="ea321e6f-a9b4-4544-8ae7-a495220778c5" providerId="ADAL" clId="{BB2BE024-E32F-4E3C-9FA3-E2875B3967A2}" dt="2023-10-28T19:38:35.610" v="3167" actId="14100"/>
        <pc:sldMkLst>
          <pc:docMk/>
          <pc:sldMk cId="1401110902" sldId="1094"/>
        </pc:sldMkLst>
        <pc:picChg chg="add mod">
          <ac:chgData name="JanEri14" userId="ea321e6f-a9b4-4544-8ae7-a495220778c5" providerId="ADAL" clId="{BB2BE024-E32F-4E3C-9FA3-E2875B3967A2}" dt="2023-10-28T19:38:35.610" v="3167" actId="14100"/>
          <ac:picMkLst>
            <pc:docMk/>
            <pc:sldMk cId="1401110902" sldId="1094"/>
            <ac:picMk id="6" creationId="{EFCE7C9E-8474-3B49-3409-43498BC735DD}"/>
          </ac:picMkLst>
        </pc:picChg>
        <pc:picChg chg="del">
          <ac:chgData name="JanEri14" userId="ea321e6f-a9b4-4544-8ae7-a495220778c5" providerId="ADAL" clId="{BB2BE024-E32F-4E3C-9FA3-E2875B3967A2}" dt="2023-10-28T19:37:11.611" v="3157" actId="478"/>
          <ac:picMkLst>
            <pc:docMk/>
            <pc:sldMk cId="1401110902" sldId="1094"/>
            <ac:picMk id="7" creationId="{E2196569-0B1C-731A-1E9C-103D4EB0425B}"/>
          </ac:picMkLst>
        </pc:picChg>
      </pc:sldChg>
      <pc:sldChg chg="addSp modSp add mod">
        <pc:chgData name="JanEri14" userId="ea321e6f-a9b4-4544-8ae7-a495220778c5" providerId="ADAL" clId="{BB2BE024-E32F-4E3C-9FA3-E2875B3967A2}" dt="2023-10-28T19:39:02.398" v="3170" actId="14100"/>
        <pc:sldMkLst>
          <pc:docMk/>
          <pc:sldMk cId="2456652186" sldId="1095"/>
        </pc:sldMkLst>
        <pc:picChg chg="add mod">
          <ac:chgData name="JanEri14" userId="ea321e6f-a9b4-4544-8ae7-a495220778c5" providerId="ADAL" clId="{BB2BE024-E32F-4E3C-9FA3-E2875B3967A2}" dt="2023-10-28T19:39:02.398" v="3170" actId="14100"/>
          <ac:picMkLst>
            <pc:docMk/>
            <pc:sldMk cId="2456652186" sldId="1095"/>
            <ac:picMk id="6" creationId="{8CF415CB-53D5-11DC-BA38-DCB7BE1E2BF9}"/>
          </ac:picMkLst>
        </pc:picChg>
      </pc:sldChg>
      <pc:sldChg chg="addSp modSp add mod">
        <pc:chgData name="JanEri14" userId="ea321e6f-a9b4-4544-8ae7-a495220778c5" providerId="ADAL" clId="{BB2BE024-E32F-4E3C-9FA3-E2875B3967A2}" dt="2023-10-28T19:39:33.531" v="3173" actId="14100"/>
        <pc:sldMkLst>
          <pc:docMk/>
          <pc:sldMk cId="1191728802" sldId="1096"/>
        </pc:sldMkLst>
        <pc:picChg chg="add mod">
          <ac:chgData name="JanEri14" userId="ea321e6f-a9b4-4544-8ae7-a495220778c5" providerId="ADAL" clId="{BB2BE024-E32F-4E3C-9FA3-E2875B3967A2}" dt="2023-10-28T19:39:33.531" v="3173" actId="14100"/>
          <ac:picMkLst>
            <pc:docMk/>
            <pc:sldMk cId="1191728802" sldId="1096"/>
            <ac:picMk id="6" creationId="{6C0AC072-9CE3-33D4-C6F5-333B8D891395}"/>
          </ac:picMkLst>
        </pc:picChg>
      </pc:sldChg>
      <pc:sldChg chg="addSp modSp add mod">
        <pc:chgData name="JanEri14" userId="ea321e6f-a9b4-4544-8ae7-a495220778c5" providerId="ADAL" clId="{BB2BE024-E32F-4E3C-9FA3-E2875B3967A2}" dt="2023-10-28T19:40:22.057" v="3176" actId="14100"/>
        <pc:sldMkLst>
          <pc:docMk/>
          <pc:sldMk cId="2479115192" sldId="1097"/>
        </pc:sldMkLst>
        <pc:picChg chg="add mod">
          <ac:chgData name="JanEri14" userId="ea321e6f-a9b4-4544-8ae7-a495220778c5" providerId="ADAL" clId="{BB2BE024-E32F-4E3C-9FA3-E2875B3967A2}" dt="2023-10-28T19:40:22.057" v="3176" actId="14100"/>
          <ac:picMkLst>
            <pc:docMk/>
            <pc:sldMk cId="2479115192" sldId="1097"/>
            <ac:picMk id="6" creationId="{C3F5B63B-3637-B4D2-5CFF-3382683732CD}"/>
          </ac:picMkLst>
        </pc:picChg>
      </pc:sldChg>
      <pc:sldChg chg="addSp modSp add mod">
        <pc:chgData name="JanEri14" userId="ea321e6f-a9b4-4544-8ae7-a495220778c5" providerId="ADAL" clId="{BB2BE024-E32F-4E3C-9FA3-E2875B3967A2}" dt="2023-10-28T19:41:01.529" v="3182" actId="14100"/>
        <pc:sldMkLst>
          <pc:docMk/>
          <pc:sldMk cId="2717923213" sldId="1098"/>
        </pc:sldMkLst>
        <pc:picChg chg="add mod">
          <ac:chgData name="JanEri14" userId="ea321e6f-a9b4-4544-8ae7-a495220778c5" providerId="ADAL" clId="{BB2BE024-E32F-4E3C-9FA3-E2875B3967A2}" dt="2023-10-28T19:41:01.529" v="3182" actId="14100"/>
          <ac:picMkLst>
            <pc:docMk/>
            <pc:sldMk cId="2717923213" sldId="1098"/>
            <ac:picMk id="6" creationId="{52205ED5-1F2B-5A81-BBAD-F1A643C8A8E7}"/>
          </ac:picMkLst>
        </pc:picChg>
      </pc:sldChg>
      <pc:sldChg chg="addSp modSp add mod">
        <pc:chgData name="JanEri14" userId="ea321e6f-a9b4-4544-8ae7-a495220778c5" providerId="ADAL" clId="{BB2BE024-E32F-4E3C-9FA3-E2875B3967A2}" dt="2023-10-28T19:41:33.048" v="3185" actId="14100"/>
        <pc:sldMkLst>
          <pc:docMk/>
          <pc:sldMk cId="924929014" sldId="1099"/>
        </pc:sldMkLst>
        <pc:picChg chg="add mod">
          <ac:chgData name="JanEri14" userId="ea321e6f-a9b4-4544-8ae7-a495220778c5" providerId="ADAL" clId="{BB2BE024-E32F-4E3C-9FA3-E2875B3967A2}" dt="2023-10-28T19:41:33.048" v="3185" actId="14100"/>
          <ac:picMkLst>
            <pc:docMk/>
            <pc:sldMk cId="924929014" sldId="1099"/>
            <ac:picMk id="6" creationId="{E9EC9F8B-AB24-D50B-828C-0FA0308C38DA}"/>
          </ac:picMkLst>
        </pc:picChg>
      </pc:sldChg>
      <pc:sldChg chg="addSp modSp add mod">
        <pc:chgData name="JanEri14" userId="ea321e6f-a9b4-4544-8ae7-a495220778c5" providerId="ADAL" clId="{BB2BE024-E32F-4E3C-9FA3-E2875B3967A2}" dt="2023-10-28T19:42:09.199" v="3188" actId="14100"/>
        <pc:sldMkLst>
          <pc:docMk/>
          <pc:sldMk cId="3290350761" sldId="1100"/>
        </pc:sldMkLst>
        <pc:picChg chg="add mod">
          <ac:chgData name="JanEri14" userId="ea321e6f-a9b4-4544-8ae7-a495220778c5" providerId="ADAL" clId="{BB2BE024-E32F-4E3C-9FA3-E2875B3967A2}" dt="2023-10-28T19:42:09.199" v="3188" actId="14100"/>
          <ac:picMkLst>
            <pc:docMk/>
            <pc:sldMk cId="3290350761" sldId="1100"/>
            <ac:picMk id="6" creationId="{CDDFCF01-504F-0E3A-C295-042856164296}"/>
          </ac:picMkLst>
        </pc:picChg>
      </pc:sldChg>
      <pc:sldChg chg="addSp modSp add mod">
        <pc:chgData name="JanEri14" userId="ea321e6f-a9b4-4544-8ae7-a495220778c5" providerId="ADAL" clId="{BB2BE024-E32F-4E3C-9FA3-E2875B3967A2}" dt="2023-10-28T19:42:43.576" v="3192" actId="14100"/>
        <pc:sldMkLst>
          <pc:docMk/>
          <pc:sldMk cId="1165467387" sldId="1101"/>
        </pc:sldMkLst>
        <pc:picChg chg="add mod">
          <ac:chgData name="JanEri14" userId="ea321e6f-a9b4-4544-8ae7-a495220778c5" providerId="ADAL" clId="{BB2BE024-E32F-4E3C-9FA3-E2875B3967A2}" dt="2023-10-28T19:42:43.576" v="3192" actId="14100"/>
          <ac:picMkLst>
            <pc:docMk/>
            <pc:sldMk cId="1165467387" sldId="1101"/>
            <ac:picMk id="6" creationId="{925209C6-006D-2D84-83D0-F452873C5A8B}"/>
          </ac:picMkLst>
        </pc:picChg>
      </pc:sldChg>
      <pc:sldChg chg="addSp modSp add mod">
        <pc:chgData name="JanEri14" userId="ea321e6f-a9b4-4544-8ae7-a495220778c5" providerId="ADAL" clId="{BB2BE024-E32F-4E3C-9FA3-E2875B3967A2}" dt="2023-10-28T19:43:22.710" v="3199" actId="14100"/>
        <pc:sldMkLst>
          <pc:docMk/>
          <pc:sldMk cId="3739392293" sldId="1102"/>
        </pc:sldMkLst>
        <pc:picChg chg="add mod">
          <ac:chgData name="JanEri14" userId="ea321e6f-a9b4-4544-8ae7-a495220778c5" providerId="ADAL" clId="{BB2BE024-E32F-4E3C-9FA3-E2875B3967A2}" dt="2023-10-28T19:43:22.710" v="3199" actId="14100"/>
          <ac:picMkLst>
            <pc:docMk/>
            <pc:sldMk cId="3739392293" sldId="1102"/>
            <ac:picMk id="6" creationId="{B75628FC-2F4D-A3E2-D675-3665491F1FAE}"/>
          </ac:picMkLst>
        </pc:picChg>
      </pc:sldChg>
      <pc:sldChg chg="addSp modSp add mod">
        <pc:chgData name="JanEri14" userId="ea321e6f-a9b4-4544-8ae7-a495220778c5" providerId="ADAL" clId="{BB2BE024-E32F-4E3C-9FA3-E2875B3967A2}" dt="2023-10-28T19:44:06.033" v="3202" actId="14100"/>
        <pc:sldMkLst>
          <pc:docMk/>
          <pc:sldMk cId="2757695241" sldId="1103"/>
        </pc:sldMkLst>
        <pc:picChg chg="add mod">
          <ac:chgData name="JanEri14" userId="ea321e6f-a9b4-4544-8ae7-a495220778c5" providerId="ADAL" clId="{BB2BE024-E32F-4E3C-9FA3-E2875B3967A2}" dt="2023-10-28T19:44:06.033" v="3202" actId="14100"/>
          <ac:picMkLst>
            <pc:docMk/>
            <pc:sldMk cId="2757695241" sldId="1103"/>
            <ac:picMk id="6" creationId="{62BAA542-61BC-D5F0-FAD2-DF53A72490EF}"/>
          </ac:picMkLst>
        </pc:picChg>
      </pc:sldChg>
      <pc:sldChg chg="addSp modSp add mod">
        <pc:chgData name="JanEri14" userId="ea321e6f-a9b4-4544-8ae7-a495220778c5" providerId="ADAL" clId="{BB2BE024-E32F-4E3C-9FA3-E2875B3967A2}" dt="2023-10-28T19:44:30.770" v="3205" actId="14100"/>
        <pc:sldMkLst>
          <pc:docMk/>
          <pc:sldMk cId="1387619430" sldId="1104"/>
        </pc:sldMkLst>
        <pc:picChg chg="add mod">
          <ac:chgData name="JanEri14" userId="ea321e6f-a9b4-4544-8ae7-a495220778c5" providerId="ADAL" clId="{BB2BE024-E32F-4E3C-9FA3-E2875B3967A2}" dt="2023-10-28T19:44:30.770" v="3205" actId="14100"/>
          <ac:picMkLst>
            <pc:docMk/>
            <pc:sldMk cId="1387619430" sldId="1104"/>
            <ac:picMk id="6" creationId="{07B1EBC8-BC02-AB10-7A14-51E859E2AB7F}"/>
          </ac:picMkLst>
        </pc:picChg>
      </pc:sldChg>
      <pc:sldChg chg="addSp modSp add mod">
        <pc:chgData name="JanEri14" userId="ea321e6f-a9b4-4544-8ae7-a495220778c5" providerId="ADAL" clId="{BB2BE024-E32F-4E3C-9FA3-E2875B3967A2}" dt="2023-10-28T19:45:46.921" v="3214" actId="14100"/>
        <pc:sldMkLst>
          <pc:docMk/>
          <pc:sldMk cId="1220424663" sldId="1105"/>
        </pc:sldMkLst>
        <pc:picChg chg="add mod">
          <ac:chgData name="JanEri14" userId="ea321e6f-a9b4-4544-8ae7-a495220778c5" providerId="ADAL" clId="{BB2BE024-E32F-4E3C-9FA3-E2875B3967A2}" dt="2023-10-28T19:45:46.921" v="3214" actId="14100"/>
          <ac:picMkLst>
            <pc:docMk/>
            <pc:sldMk cId="1220424663" sldId="1105"/>
            <ac:picMk id="6" creationId="{55FCF4D7-EE1A-AE5C-8B33-3CAD667D9E9E}"/>
          </ac:picMkLst>
        </pc:picChg>
      </pc:sldChg>
      <pc:sldChg chg="addSp modSp add mod">
        <pc:chgData name="JanEri14" userId="ea321e6f-a9b4-4544-8ae7-a495220778c5" providerId="ADAL" clId="{BB2BE024-E32F-4E3C-9FA3-E2875B3967A2}" dt="2023-10-28T19:46:25.975" v="3218" actId="14100"/>
        <pc:sldMkLst>
          <pc:docMk/>
          <pc:sldMk cId="3478039950" sldId="1106"/>
        </pc:sldMkLst>
        <pc:picChg chg="add mod">
          <ac:chgData name="JanEri14" userId="ea321e6f-a9b4-4544-8ae7-a495220778c5" providerId="ADAL" clId="{BB2BE024-E32F-4E3C-9FA3-E2875B3967A2}" dt="2023-10-28T19:46:25.975" v="3218" actId="14100"/>
          <ac:picMkLst>
            <pc:docMk/>
            <pc:sldMk cId="3478039950" sldId="1106"/>
            <ac:picMk id="6" creationId="{45A1C649-464C-79F0-F28B-D7C02D93C6C9}"/>
          </ac:picMkLst>
        </pc:picChg>
      </pc:sldChg>
      <pc:sldChg chg="addSp modSp add mod ord">
        <pc:chgData name="JanEri14" userId="ea321e6f-a9b4-4544-8ae7-a495220778c5" providerId="ADAL" clId="{BB2BE024-E32F-4E3C-9FA3-E2875B3967A2}" dt="2023-10-28T19:45:13.970" v="3211"/>
        <pc:sldMkLst>
          <pc:docMk/>
          <pc:sldMk cId="2886352237" sldId="1107"/>
        </pc:sldMkLst>
        <pc:picChg chg="add mod">
          <ac:chgData name="JanEri14" userId="ea321e6f-a9b4-4544-8ae7-a495220778c5" providerId="ADAL" clId="{BB2BE024-E32F-4E3C-9FA3-E2875B3967A2}" dt="2023-10-28T19:45:12.609" v="3209" actId="14100"/>
          <ac:picMkLst>
            <pc:docMk/>
            <pc:sldMk cId="2886352237" sldId="1107"/>
            <ac:picMk id="6" creationId="{E64E20B0-65F9-D8F3-D6F7-08F05BA3CE9A}"/>
          </ac:picMkLst>
        </pc:picChg>
      </pc:sldChg>
      <pc:sldChg chg="addSp modSp add mod">
        <pc:chgData name="JanEri14" userId="ea321e6f-a9b4-4544-8ae7-a495220778c5" providerId="ADAL" clId="{BB2BE024-E32F-4E3C-9FA3-E2875B3967A2}" dt="2023-10-28T19:46:57.926" v="3221" actId="14100"/>
        <pc:sldMkLst>
          <pc:docMk/>
          <pc:sldMk cId="3685873746" sldId="1108"/>
        </pc:sldMkLst>
        <pc:picChg chg="add mod">
          <ac:chgData name="JanEri14" userId="ea321e6f-a9b4-4544-8ae7-a495220778c5" providerId="ADAL" clId="{BB2BE024-E32F-4E3C-9FA3-E2875B3967A2}" dt="2023-10-28T19:46:57.926" v="3221" actId="14100"/>
          <ac:picMkLst>
            <pc:docMk/>
            <pc:sldMk cId="3685873746" sldId="1108"/>
            <ac:picMk id="6" creationId="{9F63D70F-5C76-1EFD-BA2F-54555E63F286}"/>
          </ac:picMkLst>
        </pc:picChg>
      </pc:sldChg>
      <pc:sldChg chg="addSp delSp modSp add mod">
        <pc:chgData name="JanEri14" userId="ea321e6f-a9b4-4544-8ae7-a495220778c5" providerId="ADAL" clId="{BB2BE024-E32F-4E3C-9FA3-E2875B3967A2}" dt="2023-10-28T19:47:50.568" v="3230" actId="14100"/>
        <pc:sldMkLst>
          <pc:docMk/>
          <pc:sldMk cId="196171203" sldId="1109"/>
        </pc:sldMkLst>
        <pc:picChg chg="del">
          <ac:chgData name="JanEri14" userId="ea321e6f-a9b4-4544-8ae7-a495220778c5" providerId="ADAL" clId="{BB2BE024-E32F-4E3C-9FA3-E2875B3967A2}" dt="2023-10-28T19:47:02.775" v="3223" actId="478"/>
          <ac:picMkLst>
            <pc:docMk/>
            <pc:sldMk cId="196171203" sldId="1109"/>
            <ac:picMk id="6" creationId="{9F63D70F-5C76-1EFD-BA2F-54555E63F286}"/>
          </ac:picMkLst>
        </pc:picChg>
        <pc:picChg chg="add mod">
          <ac:chgData name="JanEri14" userId="ea321e6f-a9b4-4544-8ae7-a495220778c5" providerId="ADAL" clId="{BB2BE024-E32F-4E3C-9FA3-E2875B3967A2}" dt="2023-10-28T19:47:50.568" v="3230" actId="14100"/>
          <ac:picMkLst>
            <pc:docMk/>
            <pc:sldMk cId="196171203" sldId="1109"/>
            <ac:picMk id="7" creationId="{DA77FF71-E0B3-AF0E-48C2-5BF5050998CC}"/>
          </ac:picMkLst>
        </pc:picChg>
      </pc:sldChg>
      <pc:sldChg chg="addSp modSp add mod">
        <pc:chgData name="JanEri14" userId="ea321e6f-a9b4-4544-8ae7-a495220778c5" providerId="ADAL" clId="{BB2BE024-E32F-4E3C-9FA3-E2875B3967A2}" dt="2023-10-28T19:48:19.694" v="3233" actId="14100"/>
        <pc:sldMkLst>
          <pc:docMk/>
          <pc:sldMk cId="3771377149" sldId="1110"/>
        </pc:sldMkLst>
        <pc:picChg chg="add mod">
          <ac:chgData name="JanEri14" userId="ea321e6f-a9b4-4544-8ae7-a495220778c5" providerId="ADAL" clId="{BB2BE024-E32F-4E3C-9FA3-E2875B3967A2}" dt="2023-10-28T19:48:19.694" v="3233" actId="14100"/>
          <ac:picMkLst>
            <pc:docMk/>
            <pc:sldMk cId="3771377149" sldId="1110"/>
            <ac:picMk id="6" creationId="{A7DA55AB-6D6D-9695-0C5D-2B1FE78E440B}"/>
          </ac:picMkLst>
        </pc:picChg>
      </pc:sldChg>
      <pc:sldChg chg="addSp modSp add mod">
        <pc:chgData name="JanEri14" userId="ea321e6f-a9b4-4544-8ae7-a495220778c5" providerId="ADAL" clId="{BB2BE024-E32F-4E3C-9FA3-E2875B3967A2}" dt="2023-10-28T19:48:50.432" v="3236" actId="14100"/>
        <pc:sldMkLst>
          <pc:docMk/>
          <pc:sldMk cId="227470284" sldId="1111"/>
        </pc:sldMkLst>
        <pc:picChg chg="add mod">
          <ac:chgData name="JanEri14" userId="ea321e6f-a9b4-4544-8ae7-a495220778c5" providerId="ADAL" clId="{BB2BE024-E32F-4E3C-9FA3-E2875B3967A2}" dt="2023-10-28T19:48:50.432" v="3236" actId="14100"/>
          <ac:picMkLst>
            <pc:docMk/>
            <pc:sldMk cId="227470284" sldId="1111"/>
            <ac:picMk id="6" creationId="{79C7D04D-E937-A0E6-A132-A017ADECFBC3}"/>
          </ac:picMkLst>
        </pc:picChg>
      </pc:sldChg>
      <pc:sldChg chg="addSp modSp add mod">
        <pc:chgData name="JanEri14" userId="ea321e6f-a9b4-4544-8ae7-a495220778c5" providerId="ADAL" clId="{BB2BE024-E32F-4E3C-9FA3-E2875B3967A2}" dt="2023-10-28T19:49:17.204" v="3239" actId="14100"/>
        <pc:sldMkLst>
          <pc:docMk/>
          <pc:sldMk cId="1197186348" sldId="1112"/>
        </pc:sldMkLst>
        <pc:picChg chg="add mod">
          <ac:chgData name="JanEri14" userId="ea321e6f-a9b4-4544-8ae7-a495220778c5" providerId="ADAL" clId="{BB2BE024-E32F-4E3C-9FA3-E2875B3967A2}" dt="2023-10-28T19:49:17.204" v="3239" actId="14100"/>
          <ac:picMkLst>
            <pc:docMk/>
            <pc:sldMk cId="1197186348" sldId="1112"/>
            <ac:picMk id="6" creationId="{0D2BC2E2-7532-C90D-DD69-BDC48F3933E7}"/>
          </ac:picMkLst>
        </pc:picChg>
      </pc:sldChg>
      <pc:sldChg chg="addSp modSp add mod">
        <pc:chgData name="JanEri14" userId="ea321e6f-a9b4-4544-8ae7-a495220778c5" providerId="ADAL" clId="{BB2BE024-E32F-4E3C-9FA3-E2875B3967A2}" dt="2023-10-28T19:50:39.635" v="3260" actId="14100"/>
        <pc:sldMkLst>
          <pc:docMk/>
          <pc:sldMk cId="1234663187" sldId="1113"/>
        </pc:sldMkLst>
        <pc:picChg chg="add mod">
          <ac:chgData name="JanEri14" userId="ea321e6f-a9b4-4544-8ae7-a495220778c5" providerId="ADAL" clId="{BB2BE024-E32F-4E3C-9FA3-E2875B3967A2}" dt="2023-10-28T19:50:39.635" v="3260" actId="14100"/>
          <ac:picMkLst>
            <pc:docMk/>
            <pc:sldMk cId="1234663187" sldId="1113"/>
            <ac:picMk id="6" creationId="{3F7A7FA6-8358-DD9A-EAB6-3AF83AF880A7}"/>
          </ac:picMkLst>
        </pc:picChg>
      </pc:sldChg>
      <pc:sldChg chg="addSp modSp add mod">
        <pc:chgData name="JanEri14" userId="ea321e6f-a9b4-4544-8ae7-a495220778c5" providerId="ADAL" clId="{BB2BE024-E32F-4E3C-9FA3-E2875B3967A2}" dt="2023-10-28T19:51:04.049" v="3263" actId="14100"/>
        <pc:sldMkLst>
          <pc:docMk/>
          <pc:sldMk cId="4069112230" sldId="1114"/>
        </pc:sldMkLst>
        <pc:picChg chg="add mod">
          <ac:chgData name="JanEri14" userId="ea321e6f-a9b4-4544-8ae7-a495220778c5" providerId="ADAL" clId="{BB2BE024-E32F-4E3C-9FA3-E2875B3967A2}" dt="2023-10-28T19:51:04.049" v="3263" actId="14100"/>
          <ac:picMkLst>
            <pc:docMk/>
            <pc:sldMk cId="4069112230" sldId="1114"/>
            <ac:picMk id="6" creationId="{F39C9A2B-A9B5-E06D-414C-0E50B03E8F68}"/>
          </ac:picMkLst>
        </pc:picChg>
      </pc:sldChg>
      <pc:sldChg chg="addSp modSp add mod">
        <pc:chgData name="JanEri14" userId="ea321e6f-a9b4-4544-8ae7-a495220778c5" providerId="ADAL" clId="{BB2BE024-E32F-4E3C-9FA3-E2875B3967A2}" dt="2023-10-28T19:51:27.963" v="3266" actId="14100"/>
        <pc:sldMkLst>
          <pc:docMk/>
          <pc:sldMk cId="3873449816" sldId="1115"/>
        </pc:sldMkLst>
        <pc:picChg chg="add mod">
          <ac:chgData name="JanEri14" userId="ea321e6f-a9b4-4544-8ae7-a495220778c5" providerId="ADAL" clId="{BB2BE024-E32F-4E3C-9FA3-E2875B3967A2}" dt="2023-10-28T19:51:27.963" v="3266" actId="14100"/>
          <ac:picMkLst>
            <pc:docMk/>
            <pc:sldMk cId="3873449816" sldId="1115"/>
            <ac:picMk id="6" creationId="{161EE7EA-0512-6010-E572-E302023BA15B}"/>
          </ac:picMkLst>
        </pc:picChg>
      </pc:sldChg>
      <pc:sldChg chg="addSp modSp add mod">
        <pc:chgData name="JanEri14" userId="ea321e6f-a9b4-4544-8ae7-a495220778c5" providerId="ADAL" clId="{BB2BE024-E32F-4E3C-9FA3-E2875B3967A2}" dt="2023-10-28T19:51:50.359" v="3270" actId="14100"/>
        <pc:sldMkLst>
          <pc:docMk/>
          <pc:sldMk cId="2328190052" sldId="1116"/>
        </pc:sldMkLst>
        <pc:picChg chg="add mod">
          <ac:chgData name="JanEri14" userId="ea321e6f-a9b4-4544-8ae7-a495220778c5" providerId="ADAL" clId="{BB2BE024-E32F-4E3C-9FA3-E2875B3967A2}" dt="2023-10-28T19:51:50.359" v="3270" actId="14100"/>
          <ac:picMkLst>
            <pc:docMk/>
            <pc:sldMk cId="2328190052" sldId="1116"/>
            <ac:picMk id="6" creationId="{48BC51B1-C3DB-42F6-789C-79FCD7CF7C11}"/>
          </ac:picMkLst>
        </pc:picChg>
      </pc:sldChg>
      <pc:sldChg chg="addSp modSp add mod">
        <pc:chgData name="JanEri14" userId="ea321e6f-a9b4-4544-8ae7-a495220778c5" providerId="ADAL" clId="{BB2BE024-E32F-4E3C-9FA3-E2875B3967A2}" dt="2023-10-28T19:52:21.084" v="3273" actId="14100"/>
        <pc:sldMkLst>
          <pc:docMk/>
          <pc:sldMk cId="525303409" sldId="1117"/>
        </pc:sldMkLst>
        <pc:picChg chg="add mod">
          <ac:chgData name="JanEri14" userId="ea321e6f-a9b4-4544-8ae7-a495220778c5" providerId="ADAL" clId="{BB2BE024-E32F-4E3C-9FA3-E2875B3967A2}" dt="2023-10-28T19:52:21.084" v="3273" actId="14100"/>
          <ac:picMkLst>
            <pc:docMk/>
            <pc:sldMk cId="525303409" sldId="1117"/>
            <ac:picMk id="6" creationId="{4FE697AA-B272-BB9E-A778-8310CF6D17E8}"/>
          </ac:picMkLst>
        </pc:picChg>
      </pc:sldChg>
      <pc:sldChg chg="addSp modSp add mod">
        <pc:chgData name="JanEri14" userId="ea321e6f-a9b4-4544-8ae7-a495220778c5" providerId="ADAL" clId="{BB2BE024-E32F-4E3C-9FA3-E2875B3967A2}" dt="2023-10-28T19:53:16.864" v="3276" actId="14100"/>
        <pc:sldMkLst>
          <pc:docMk/>
          <pc:sldMk cId="2419523446" sldId="1118"/>
        </pc:sldMkLst>
        <pc:picChg chg="add mod">
          <ac:chgData name="JanEri14" userId="ea321e6f-a9b4-4544-8ae7-a495220778c5" providerId="ADAL" clId="{BB2BE024-E32F-4E3C-9FA3-E2875B3967A2}" dt="2023-10-28T19:53:16.864" v="3276" actId="14100"/>
          <ac:picMkLst>
            <pc:docMk/>
            <pc:sldMk cId="2419523446" sldId="1118"/>
            <ac:picMk id="6" creationId="{9901942F-AE4F-C729-404C-4A950BCF8D60}"/>
          </ac:picMkLst>
        </pc:picChg>
      </pc:sldChg>
      <pc:sldChg chg="addSp modSp add mod">
        <pc:chgData name="JanEri14" userId="ea321e6f-a9b4-4544-8ae7-a495220778c5" providerId="ADAL" clId="{BB2BE024-E32F-4E3C-9FA3-E2875B3967A2}" dt="2023-10-28T19:53:39.675" v="3279" actId="14100"/>
        <pc:sldMkLst>
          <pc:docMk/>
          <pc:sldMk cId="2076714699" sldId="1119"/>
        </pc:sldMkLst>
        <pc:picChg chg="add mod">
          <ac:chgData name="JanEri14" userId="ea321e6f-a9b4-4544-8ae7-a495220778c5" providerId="ADAL" clId="{BB2BE024-E32F-4E3C-9FA3-E2875B3967A2}" dt="2023-10-28T19:53:39.675" v="3279" actId="14100"/>
          <ac:picMkLst>
            <pc:docMk/>
            <pc:sldMk cId="2076714699" sldId="1119"/>
            <ac:picMk id="6" creationId="{6F1C0453-ED9E-8DCB-6E9E-E496255217B5}"/>
          </ac:picMkLst>
        </pc:picChg>
      </pc:sldChg>
      <pc:sldChg chg="addSp modSp add mod">
        <pc:chgData name="JanEri14" userId="ea321e6f-a9b4-4544-8ae7-a495220778c5" providerId="ADAL" clId="{BB2BE024-E32F-4E3C-9FA3-E2875B3967A2}" dt="2023-10-28T19:54:01.458" v="3282" actId="14100"/>
        <pc:sldMkLst>
          <pc:docMk/>
          <pc:sldMk cId="59161605" sldId="1120"/>
        </pc:sldMkLst>
        <pc:picChg chg="add mod">
          <ac:chgData name="JanEri14" userId="ea321e6f-a9b4-4544-8ae7-a495220778c5" providerId="ADAL" clId="{BB2BE024-E32F-4E3C-9FA3-E2875B3967A2}" dt="2023-10-28T19:54:01.458" v="3282" actId="14100"/>
          <ac:picMkLst>
            <pc:docMk/>
            <pc:sldMk cId="59161605" sldId="1120"/>
            <ac:picMk id="6" creationId="{5EF3AABE-3B5C-79E0-8205-B15AF2B8FF05}"/>
          </ac:picMkLst>
        </pc:picChg>
      </pc:sldChg>
      <pc:sldChg chg="addSp modSp add mod">
        <pc:chgData name="JanEri14" userId="ea321e6f-a9b4-4544-8ae7-a495220778c5" providerId="ADAL" clId="{BB2BE024-E32F-4E3C-9FA3-E2875B3967A2}" dt="2023-10-28T19:54:32.539" v="3285" actId="14100"/>
        <pc:sldMkLst>
          <pc:docMk/>
          <pc:sldMk cId="4103095037" sldId="1121"/>
        </pc:sldMkLst>
        <pc:picChg chg="add mod">
          <ac:chgData name="JanEri14" userId="ea321e6f-a9b4-4544-8ae7-a495220778c5" providerId="ADAL" clId="{BB2BE024-E32F-4E3C-9FA3-E2875B3967A2}" dt="2023-10-28T19:54:32.539" v="3285" actId="14100"/>
          <ac:picMkLst>
            <pc:docMk/>
            <pc:sldMk cId="4103095037" sldId="1121"/>
            <ac:picMk id="6" creationId="{2014AAB7-6019-795B-4FBC-C40924AE606F}"/>
          </ac:picMkLst>
        </pc:picChg>
      </pc:sldChg>
      <pc:sldChg chg="addSp modSp add mod">
        <pc:chgData name="JanEri14" userId="ea321e6f-a9b4-4544-8ae7-a495220778c5" providerId="ADAL" clId="{BB2BE024-E32F-4E3C-9FA3-E2875B3967A2}" dt="2023-10-28T19:55:08.180" v="3288" actId="14100"/>
        <pc:sldMkLst>
          <pc:docMk/>
          <pc:sldMk cId="3398791143" sldId="1122"/>
        </pc:sldMkLst>
        <pc:picChg chg="add mod">
          <ac:chgData name="JanEri14" userId="ea321e6f-a9b4-4544-8ae7-a495220778c5" providerId="ADAL" clId="{BB2BE024-E32F-4E3C-9FA3-E2875B3967A2}" dt="2023-10-28T19:55:08.180" v="3288" actId="14100"/>
          <ac:picMkLst>
            <pc:docMk/>
            <pc:sldMk cId="3398791143" sldId="1122"/>
            <ac:picMk id="6" creationId="{B40B4BE9-4BCF-9233-C1EC-42436C08CBD3}"/>
          </ac:picMkLst>
        </pc:picChg>
      </pc:sldChg>
      <pc:sldChg chg="add del">
        <pc:chgData name="JanEri14" userId="ea321e6f-a9b4-4544-8ae7-a495220778c5" providerId="ADAL" clId="{BB2BE024-E32F-4E3C-9FA3-E2875B3967A2}" dt="2023-10-28T19:55:09.271" v="3289" actId="47"/>
        <pc:sldMkLst>
          <pc:docMk/>
          <pc:sldMk cId="1483371740" sldId="1123"/>
        </pc:sldMkLst>
      </pc:sldChg>
      <pc:sldChg chg="add del">
        <pc:chgData name="JanEri14" userId="ea321e6f-a9b4-4544-8ae7-a495220778c5" providerId="ADAL" clId="{BB2BE024-E32F-4E3C-9FA3-E2875B3967A2}" dt="2023-10-28T19:55:10.124" v="3290" actId="47"/>
        <pc:sldMkLst>
          <pc:docMk/>
          <pc:sldMk cId="4026938416" sldId="1124"/>
        </pc:sldMkLst>
      </pc:sldChg>
      <pc:sldChg chg="addSp modSp add mod ord">
        <pc:chgData name="JanEri14" userId="ea321e6f-a9b4-4544-8ae7-a495220778c5" providerId="ADAL" clId="{BB2BE024-E32F-4E3C-9FA3-E2875B3967A2}" dt="2023-10-28T19:50:12.205" v="3256"/>
        <pc:sldMkLst>
          <pc:docMk/>
          <pc:sldMk cId="3558282617" sldId="1125"/>
        </pc:sldMkLst>
        <pc:picChg chg="add mod">
          <ac:chgData name="JanEri14" userId="ea321e6f-a9b4-4544-8ae7-a495220778c5" providerId="ADAL" clId="{BB2BE024-E32F-4E3C-9FA3-E2875B3967A2}" dt="2023-10-28T19:50:10.498" v="3254" actId="14100"/>
          <ac:picMkLst>
            <pc:docMk/>
            <pc:sldMk cId="3558282617" sldId="1125"/>
            <ac:picMk id="6" creationId="{EE7AB9F8-4819-C7D4-5431-D2CD00AB4E40}"/>
          </ac:picMkLst>
        </pc:picChg>
      </pc:sldChg>
      <pc:sldChg chg="addSp delSp modSp add mod">
        <pc:chgData name="JanEri14" userId="ea321e6f-a9b4-4544-8ae7-a495220778c5" providerId="ADAL" clId="{BB2BE024-E32F-4E3C-9FA3-E2875B3967A2}" dt="2023-10-29T10:45:34.748" v="3774" actId="1076"/>
        <pc:sldMkLst>
          <pc:docMk/>
          <pc:sldMk cId="3760203483" sldId="1126"/>
        </pc:sldMkLst>
        <pc:spChg chg="mod">
          <ac:chgData name="JanEri14" userId="ea321e6f-a9b4-4544-8ae7-a495220778c5" providerId="ADAL" clId="{BB2BE024-E32F-4E3C-9FA3-E2875B3967A2}" dt="2023-10-28T20:36:14.663" v="3718" actId="20577"/>
          <ac:spMkLst>
            <pc:docMk/>
            <pc:sldMk cId="3760203483" sldId="1126"/>
            <ac:spMk id="2" creationId="{24180A42-A439-7173-B87F-445DDABB3EBA}"/>
          </ac:spMkLst>
        </pc:spChg>
        <pc:spChg chg="mod">
          <ac:chgData name="JanEri14" userId="ea321e6f-a9b4-4544-8ae7-a495220778c5" providerId="ADAL" clId="{BB2BE024-E32F-4E3C-9FA3-E2875B3967A2}" dt="2023-10-28T20:32:48.600" v="3317" actId="20577"/>
          <ac:spMkLst>
            <pc:docMk/>
            <pc:sldMk cId="3760203483" sldId="1126"/>
            <ac:spMk id="5" creationId="{FD8313BF-890F-86A9-2CB1-049AD6D26927}"/>
          </ac:spMkLst>
        </pc:spChg>
        <pc:spChg chg="del">
          <ac:chgData name="JanEri14" userId="ea321e6f-a9b4-4544-8ae7-a495220778c5" providerId="ADAL" clId="{BB2BE024-E32F-4E3C-9FA3-E2875B3967A2}" dt="2023-10-28T20:32:41.636" v="3295" actId="478"/>
          <ac:spMkLst>
            <pc:docMk/>
            <pc:sldMk cId="3760203483" sldId="1126"/>
            <ac:spMk id="9" creationId="{83662E1E-EDD5-B1A5-65C2-65A8BEB50973}"/>
          </ac:spMkLst>
        </pc:spChg>
        <pc:picChg chg="add del mod">
          <ac:chgData name="JanEri14" userId="ea321e6f-a9b4-4544-8ae7-a495220778c5" providerId="ADAL" clId="{BB2BE024-E32F-4E3C-9FA3-E2875B3967A2}" dt="2023-10-29T10:45:29.808" v="3771" actId="478"/>
          <ac:picMkLst>
            <pc:docMk/>
            <pc:sldMk cId="3760203483" sldId="1126"/>
            <ac:picMk id="6" creationId="{3769517A-4FD0-0EF8-A894-38D0E58E6FC6}"/>
          </ac:picMkLst>
        </pc:picChg>
        <pc:picChg chg="add mod">
          <ac:chgData name="JanEri14" userId="ea321e6f-a9b4-4544-8ae7-a495220778c5" providerId="ADAL" clId="{BB2BE024-E32F-4E3C-9FA3-E2875B3967A2}" dt="2023-10-29T10:45:34.748" v="3774" actId="1076"/>
          <ac:picMkLst>
            <pc:docMk/>
            <pc:sldMk cId="3760203483" sldId="1126"/>
            <ac:picMk id="7" creationId="{B2650EE7-FBC5-04FB-A5CC-B895BDAAB9F6}"/>
          </ac:picMkLst>
        </pc:picChg>
        <pc:picChg chg="del">
          <ac:chgData name="JanEri14" userId="ea321e6f-a9b4-4544-8ae7-a495220778c5" providerId="ADAL" clId="{BB2BE024-E32F-4E3C-9FA3-E2875B3967A2}" dt="2023-10-28T20:32:41.300" v="3294" actId="478"/>
          <ac:picMkLst>
            <pc:docMk/>
            <pc:sldMk cId="3760203483" sldId="1126"/>
            <ac:picMk id="8" creationId="{9DEE8696-0192-DB35-A471-BD45AB253E64}"/>
          </ac:picMkLst>
        </pc:picChg>
      </pc:sldChg>
      <pc:sldChg chg="addSp delSp modSp add mod">
        <pc:chgData name="JanEri14" userId="ea321e6f-a9b4-4544-8ae7-a495220778c5" providerId="ADAL" clId="{BB2BE024-E32F-4E3C-9FA3-E2875B3967A2}" dt="2023-10-28T20:37:01.013" v="3739" actId="20577"/>
        <pc:sldMkLst>
          <pc:docMk/>
          <pc:sldMk cId="1000353809" sldId="1127"/>
        </pc:sldMkLst>
        <pc:spChg chg="add mod">
          <ac:chgData name="JanEri14" userId="ea321e6f-a9b4-4544-8ae7-a495220778c5" providerId="ADAL" clId="{BB2BE024-E32F-4E3C-9FA3-E2875B3967A2}" dt="2023-10-28T20:37:01.013" v="3739" actId="20577"/>
          <ac:spMkLst>
            <pc:docMk/>
            <pc:sldMk cId="1000353809" sldId="1127"/>
            <ac:spMk id="8" creationId="{7705763B-C84A-C007-BBEB-34BAF50163D3}"/>
          </ac:spMkLst>
        </pc:spChg>
        <pc:spChg chg="mod">
          <ac:chgData name="JanEri14" userId="ea321e6f-a9b4-4544-8ae7-a495220778c5" providerId="ADAL" clId="{BB2BE024-E32F-4E3C-9FA3-E2875B3967A2}" dt="2023-10-28T20:36:51.755" v="3733" actId="404"/>
          <ac:spMkLst>
            <pc:docMk/>
            <pc:sldMk cId="1000353809" sldId="1127"/>
            <ac:spMk id="16" creationId="{945F9B10-EFC7-829C-38A0-FE75E42F743B}"/>
          </ac:spMkLst>
        </pc:spChg>
        <pc:picChg chg="del">
          <ac:chgData name="JanEri14" userId="ea321e6f-a9b4-4544-8ae7-a495220778c5" providerId="ADAL" clId="{BB2BE024-E32F-4E3C-9FA3-E2875B3967A2}" dt="2023-10-28T20:36:38.050" v="3723" actId="478"/>
          <ac:picMkLst>
            <pc:docMk/>
            <pc:sldMk cId="1000353809" sldId="1127"/>
            <ac:picMk id="6" creationId="{3769517A-4FD0-0EF8-A894-38D0E58E6FC6}"/>
          </ac:picMkLst>
        </pc:picChg>
        <pc:picChg chg="add mod">
          <ac:chgData name="JanEri14" userId="ea321e6f-a9b4-4544-8ae7-a495220778c5" providerId="ADAL" clId="{BB2BE024-E32F-4E3C-9FA3-E2875B3967A2}" dt="2023-10-28T20:36:43.236" v="3726" actId="1076"/>
          <ac:picMkLst>
            <pc:docMk/>
            <pc:sldMk cId="1000353809" sldId="1127"/>
            <ac:picMk id="7" creationId="{19D85B5E-65B5-5605-E6C7-4146392A9843}"/>
          </ac:picMkLst>
        </pc:picChg>
      </pc:sldChg>
      <pc:sldChg chg="add del">
        <pc:chgData name="JanEri14" userId="ea321e6f-a9b4-4544-8ae7-a495220778c5" providerId="ADAL" clId="{BB2BE024-E32F-4E3C-9FA3-E2875B3967A2}" dt="2023-10-28T20:33:06.867" v="3319" actId="47"/>
        <pc:sldMkLst>
          <pc:docMk/>
          <pc:sldMk cId="3872071651" sldId="1127"/>
        </pc:sldMkLst>
      </pc:sldChg>
      <pc:sldChg chg="addSp delSp modSp add mod">
        <pc:chgData name="JanEri14" userId="ea321e6f-a9b4-4544-8ae7-a495220778c5" providerId="ADAL" clId="{BB2BE024-E32F-4E3C-9FA3-E2875B3967A2}" dt="2023-10-28T20:37:24.987" v="3758" actId="1076"/>
        <pc:sldMkLst>
          <pc:docMk/>
          <pc:sldMk cId="3578256024" sldId="1128"/>
        </pc:sldMkLst>
        <pc:spChg chg="mod">
          <ac:chgData name="JanEri14" userId="ea321e6f-a9b4-4544-8ae7-a495220778c5" providerId="ADAL" clId="{BB2BE024-E32F-4E3C-9FA3-E2875B3967A2}" dt="2023-10-28T20:37:06.901" v="3750" actId="20577"/>
          <ac:spMkLst>
            <pc:docMk/>
            <pc:sldMk cId="3578256024" sldId="1128"/>
            <ac:spMk id="8" creationId="{7705763B-C84A-C007-BBEB-34BAF50163D3}"/>
          </ac:spMkLst>
        </pc:spChg>
        <pc:picChg chg="add mod">
          <ac:chgData name="JanEri14" userId="ea321e6f-a9b4-4544-8ae7-a495220778c5" providerId="ADAL" clId="{BB2BE024-E32F-4E3C-9FA3-E2875B3967A2}" dt="2023-10-28T20:37:24.987" v="3758" actId="1076"/>
          <ac:picMkLst>
            <pc:docMk/>
            <pc:sldMk cId="3578256024" sldId="1128"/>
            <ac:picMk id="6" creationId="{C925B36B-1476-5191-4344-7082C4A1D78C}"/>
          </ac:picMkLst>
        </pc:picChg>
        <pc:picChg chg="del">
          <ac:chgData name="JanEri14" userId="ea321e6f-a9b4-4544-8ae7-a495220778c5" providerId="ADAL" clId="{BB2BE024-E32F-4E3C-9FA3-E2875B3967A2}" dt="2023-10-28T20:37:14.975" v="3751" actId="478"/>
          <ac:picMkLst>
            <pc:docMk/>
            <pc:sldMk cId="3578256024" sldId="1128"/>
            <ac:picMk id="7" creationId="{19D85B5E-65B5-5605-E6C7-4146392A9843}"/>
          </ac:picMkLst>
        </pc:picChg>
      </pc:sldChg>
      <pc:sldChg chg="addSp delSp modSp add mod ord">
        <pc:chgData name="JanEri14" userId="ea321e6f-a9b4-4544-8ae7-a495220778c5" providerId="ADAL" clId="{BB2BE024-E32F-4E3C-9FA3-E2875B3967A2}" dt="2023-10-28T20:38:18.078" v="3766"/>
        <pc:sldMkLst>
          <pc:docMk/>
          <pc:sldMk cId="1542976176" sldId="1129"/>
        </pc:sldMkLst>
        <pc:spChg chg="del">
          <ac:chgData name="JanEri14" userId="ea321e6f-a9b4-4544-8ae7-a495220778c5" providerId="ADAL" clId="{BB2BE024-E32F-4E3C-9FA3-E2875B3967A2}" dt="2023-10-28T20:38:09.986" v="3762" actId="478"/>
          <ac:spMkLst>
            <pc:docMk/>
            <pc:sldMk cId="1542976176" sldId="1129"/>
            <ac:spMk id="8" creationId="{7705763B-C84A-C007-BBEB-34BAF50163D3}"/>
          </ac:spMkLst>
        </pc:spChg>
        <pc:spChg chg="mod">
          <ac:chgData name="JanEri14" userId="ea321e6f-a9b4-4544-8ae7-a495220778c5" providerId="ADAL" clId="{BB2BE024-E32F-4E3C-9FA3-E2875B3967A2}" dt="2023-10-28T20:38:18.078" v="3766"/>
          <ac:spMkLst>
            <pc:docMk/>
            <pc:sldMk cId="1542976176" sldId="1129"/>
            <ac:spMk id="16" creationId="{945F9B10-EFC7-829C-38A0-FE75E42F743B}"/>
          </ac:spMkLst>
        </pc:spChg>
        <pc:picChg chg="add mod">
          <ac:chgData name="JanEri14" userId="ea321e6f-a9b4-4544-8ae7-a495220778c5" providerId="ADAL" clId="{BB2BE024-E32F-4E3C-9FA3-E2875B3967A2}" dt="2023-10-28T20:38:13.352" v="3765" actId="1076"/>
          <ac:picMkLst>
            <pc:docMk/>
            <pc:sldMk cId="1542976176" sldId="1129"/>
            <ac:picMk id="6" creationId="{3109CC05-9A8F-797C-AD98-6108A0CA473C}"/>
          </ac:picMkLst>
        </pc:picChg>
        <pc:picChg chg="del">
          <ac:chgData name="JanEri14" userId="ea321e6f-a9b4-4544-8ae7-a495220778c5" providerId="ADAL" clId="{BB2BE024-E32F-4E3C-9FA3-E2875B3967A2}" dt="2023-10-28T20:38:10.506" v="3763" actId="478"/>
          <ac:picMkLst>
            <pc:docMk/>
            <pc:sldMk cId="1542976176" sldId="1129"/>
            <ac:picMk id="7" creationId="{19D85B5E-65B5-5605-E6C7-4146392A9843}"/>
          </ac:picMkLst>
        </pc:picChg>
      </pc:sldChg>
      <pc:sldMasterChg chg="delSldLayout">
        <pc:chgData name="JanEri14" userId="ea321e6f-a9b4-4544-8ae7-a495220778c5" providerId="ADAL" clId="{BB2BE024-E32F-4E3C-9FA3-E2875B3967A2}" dt="2023-10-27T15:54:58.728" v="16" actId="47"/>
        <pc:sldMasterMkLst>
          <pc:docMk/>
          <pc:sldMasterMk cId="1070981886" sldId="2147483656"/>
        </pc:sldMasterMkLst>
        <pc:sldLayoutChg chg="del">
          <pc:chgData name="JanEri14" userId="ea321e6f-a9b4-4544-8ae7-a495220778c5" providerId="ADAL" clId="{BB2BE024-E32F-4E3C-9FA3-E2875B3967A2}" dt="2023-10-27T15:54:58.728" v="16" actId="47"/>
          <pc:sldLayoutMkLst>
            <pc:docMk/>
            <pc:sldMasterMk cId="1070981886" sldId="2147483656"/>
            <pc:sldLayoutMk cId="460810971" sldId="2147483664"/>
          </pc:sldLayoutMkLst>
        </pc:sldLayoutChg>
      </pc:sldMasterChg>
    </pc:docChg>
  </pc:docChgLst>
  <pc:docChgLst>
    <pc:chgData name="JanEri14" userId="ea321e6f-a9b4-4544-8ae7-a495220778c5" providerId="ADAL" clId="{BD4C8E82-642C-4B17-AD4C-B620D670EFD5}"/>
    <pc:docChg chg="custSel addSld delSld modSld modSection">
      <pc:chgData name="JanEri14" userId="ea321e6f-a9b4-4544-8ae7-a495220778c5" providerId="ADAL" clId="{BD4C8E82-642C-4B17-AD4C-B620D670EFD5}" dt="2023-11-19T11:47:51.455" v="45" actId="478"/>
      <pc:docMkLst>
        <pc:docMk/>
      </pc:docMkLst>
      <pc:sldChg chg="addSp delSp modSp add del mod delTag modNotes">
        <pc:chgData name="JanEri14" userId="ea321e6f-a9b4-4544-8ae7-a495220778c5" providerId="ADAL" clId="{BD4C8E82-642C-4B17-AD4C-B620D670EFD5}" dt="2023-11-19T11:44:48.931" v="23" actId="47"/>
        <pc:sldMkLst>
          <pc:docMk/>
          <pc:sldMk cId="3549773025" sldId="413"/>
        </pc:sldMkLst>
        <pc:spChg chg="mod">
          <ac:chgData name="JanEri14" userId="ea321e6f-a9b4-4544-8ae7-a495220778c5" providerId="ADAL" clId="{BD4C8E82-642C-4B17-AD4C-B620D670EFD5}" dt="2023-11-19T11:43:49.866" v="1"/>
          <ac:spMkLst>
            <pc:docMk/>
            <pc:sldMk cId="3549773025" sldId="413"/>
            <ac:spMk id="2" creationId="{00000000-0000-0000-0000-000000000000}"/>
          </ac:spMkLst>
        </pc:spChg>
        <pc:spChg chg="add del mod">
          <ac:chgData name="JanEri14" userId="ea321e6f-a9b4-4544-8ae7-a495220778c5" providerId="ADAL" clId="{BD4C8E82-642C-4B17-AD4C-B620D670EFD5}" dt="2023-11-19T11:43:53.057" v="6" actId="478"/>
          <ac:spMkLst>
            <pc:docMk/>
            <pc:sldMk cId="3549773025" sldId="413"/>
            <ac:spMk id="3" creationId="{58D5EF95-2C47-DFAC-D9BB-BB8CC94F88C2}"/>
          </ac:spMkLst>
        </pc:spChg>
        <pc:spChg chg="add mod">
          <ac:chgData name="JanEri14" userId="ea321e6f-a9b4-4544-8ae7-a495220778c5" providerId="ADAL" clId="{BD4C8E82-642C-4B17-AD4C-B620D670EFD5}" dt="2023-11-19T11:43:49.866" v="1"/>
          <ac:spMkLst>
            <pc:docMk/>
            <pc:sldMk cId="3549773025" sldId="413"/>
            <ac:spMk id="28" creationId="{998F6C4C-10AF-DFF4-7542-F59406EB2654}"/>
          </ac:spMkLst>
        </pc:spChg>
        <pc:spChg chg="add mod">
          <ac:chgData name="JanEri14" userId="ea321e6f-a9b4-4544-8ae7-a495220778c5" providerId="ADAL" clId="{BD4C8E82-642C-4B17-AD4C-B620D670EFD5}" dt="2023-11-19T11:43:49.866" v="1"/>
          <ac:spMkLst>
            <pc:docMk/>
            <pc:sldMk cId="3549773025" sldId="413"/>
            <ac:spMk id="29" creationId="{B4B43B9A-45C1-E7D3-61A5-BC0A8C4C76DF}"/>
          </ac:spMkLst>
        </pc:spChg>
        <pc:spChg chg="add mod">
          <ac:chgData name="JanEri14" userId="ea321e6f-a9b4-4544-8ae7-a495220778c5" providerId="ADAL" clId="{BD4C8E82-642C-4B17-AD4C-B620D670EFD5}" dt="2023-11-19T11:43:49.866" v="1"/>
          <ac:spMkLst>
            <pc:docMk/>
            <pc:sldMk cId="3549773025" sldId="413"/>
            <ac:spMk id="30" creationId="{4DA527E6-3BA7-DA5B-0FE2-0F1DEB86D5FE}"/>
          </ac:spMkLst>
        </pc:spChg>
      </pc:sldChg>
      <pc:sldChg chg="addSp delSp modSp add del mod delTag modNotes">
        <pc:chgData name="JanEri14" userId="ea321e6f-a9b4-4544-8ae7-a495220778c5" providerId="ADAL" clId="{BD4C8E82-642C-4B17-AD4C-B620D670EFD5}" dt="2023-11-19T11:44:46.242" v="21" actId="47"/>
        <pc:sldMkLst>
          <pc:docMk/>
          <pc:sldMk cId="2660172723" sldId="414"/>
        </pc:sldMkLst>
        <pc:spChg chg="mod">
          <ac:chgData name="JanEri14" userId="ea321e6f-a9b4-4544-8ae7-a495220778c5" providerId="ADAL" clId="{BD4C8E82-642C-4B17-AD4C-B620D670EFD5}" dt="2023-11-19T11:43:54.698" v="8"/>
          <ac:spMkLst>
            <pc:docMk/>
            <pc:sldMk cId="2660172723" sldId="414"/>
            <ac:spMk id="2" creationId="{00000000-0000-0000-0000-000000000000}"/>
          </ac:spMkLst>
        </pc:spChg>
        <pc:spChg chg="add del mod">
          <ac:chgData name="JanEri14" userId="ea321e6f-a9b4-4544-8ae7-a495220778c5" providerId="ADAL" clId="{BD4C8E82-642C-4B17-AD4C-B620D670EFD5}" dt="2023-11-19T11:43:56.486" v="13" actId="478"/>
          <ac:spMkLst>
            <pc:docMk/>
            <pc:sldMk cId="2660172723" sldId="414"/>
            <ac:spMk id="3" creationId="{235A17B3-3CA9-ECB9-1AF6-868A5BFC3457}"/>
          </ac:spMkLst>
        </pc:spChg>
        <pc:spChg chg="add mod">
          <ac:chgData name="JanEri14" userId="ea321e6f-a9b4-4544-8ae7-a495220778c5" providerId="ADAL" clId="{BD4C8E82-642C-4B17-AD4C-B620D670EFD5}" dt="2023-11-19T11:43:54.698" v="8"/>
          <ac:spMkLst>
            <pc:docMk/>
            <pc:sldMk cId="2660172723" sldId="414"/>
            <ac:spMk id="12" creationId="{21B7B094-D702-5AA0-4D51-D27FA977427F}"/>
          </ac:spMkLst>
        </pc:spChg>
        <pc:spChg chg="add mod">
          <ac:chgData name="JanEri14" userId="ea321e6f-a9b4-4544-8ae7-a495220778c5" providerId="ADAL" clId="{BD4C8E82-642C-4B17-AD4C-B620D670EFD5}" dt="2023-11-19T11:43:54.698" v="8"/>
          <ac:spMkLst>
            <pc:docMk/>
            <pc:sldMk cId="2660172723" sldId="414"/>
            <ac:spMk id="13" creationId="{BB48C800-3721-1EDC-03BD-2ECFE0B454E1}"/>
          </ac:spMkLst>
        </pc:spChg>
        <pc:spChg chg="add mod">
          <ac:chgData name="JanEri14" userId="ea321e6f-a9b4-4544-8ae7-a495220778c5" providerId="ADAL" clId="{BD4C8E82-642C-4B17-AD4C-B620D670EFD5}" dt="2023-11-19T11:43:54.698" v="8"/>
          <ac:spMkLst>
            <pc:docMk/>
            <pc:sldMk cId="2660172723" sldId="414"/>
            <ac:spMk id="14" creationId="{BF69A151-E43D-9649-DDAE-C01E7B4ED3FD}"/>
          </ac:spMkLst>
        </pc:spChg>
      </pc:sldChg>
      <pc:sldChg chg="addSp delSp modSp add del mod delTag modNotes">
        <pc:chgData name="JanEri14" userId="ea321e6f-a9b4-4544-8ae7-a495220778c5" providerId="ADAL" clId="{BD4C8E82-642C-4B17-AD4C-B620D670EFD5}" dt="2023-11-19T11:44:48.024" v="22" actId="47"/>
        <pc:sldMkLst>
          <pc:docMk/>
          <pc:sldMk cId="2693390113" sldId="672"/>
        </pc:sldMkLst>
        <pc:spChg chg="add del mod">
          <ac:chgData name="JanEri14" userId="ea321e6f-a9b4-4544-8ae7-a495220778c5" providerId="ADAL" clId="{BD4C8E82-642C-4B17-AD4C-B620D670EFD5}" dt="2023-11-19T11:44:03.767" v="20" actId="478"/>
          <ac:spMkLst>
            <pc:docMk/>
            <pc:sldMk cId="2693390113" sldId="672"/>
            <ac:spMk id="2" creationId="{E1916B19-547B-D6F9-F3EC-C78648938198}"/>
          </ac:spMkLst>
        </pc:spChg>
        <pc:spChg chg="mod">
          <ac:chgData name="JanEri14" userId="ea321e6f-a9b4-4544-8ae7-a495220778c5" providerId="ADAL" clId="{BD4C8E82-642C-4B17-AD4C-B620D670EFD5}" dt="2023-11-19T11:44:01.520" v="15"/>
          <ac:spMkLst>
            <pc:docMk/>
            <pc:sldMk cId="2693390113" sldId="672"/>
            <ac:spMk id="3" creationId="{C0B01F07-62BE-4F9B-944C-2763E67B527E}"/>
          </ac:spMkLst>
        </pc:spChg>
        <pc:spChg chg="add mod">
          <ac:chgData name="JanEri14" userId="ea321e6f-a9b4-4544-8ae7-a495220778c5" providerId="ADAL" clId="{BD4C8E82-642C-4B17-AD4C-B620D670EFD5}" dt="2023-11-19T11:44:01.520" v="15"/>
          <ac:spMkLst>
            <pc:docMk/>
            <pc:sldMk cId="2693390113" sldId="672"/>
            <ac:spMk id="4" creationId="{9E011057-D4A2-891B-F3C6-D0CE54ACEB94}"/>
          </ac:spMkLst>
        </pc:spChg>
        <pc:spChg chg="add mod">
          <ac:chgData name="JanEri14" userId="ea321e6f-a9b4-4544-8ae7-a495220778c5" providerId="ADAL" clId="{BD4C8E82-642C-4B17-AD4C-B620D670EFD5}" dt="2023-11-19T11:44:01.520" v="15"/>
          <ac:spMkLst>
            <pc:docMk/>
            <pc:sldMk cId="2693390113" sldId="672"/>
            <ac:spMk id="6" creationId="{F1638278-9127-55CA-40D6-81EAB49038D7}"/>
          </ac:spMkLst>
        </pc:spChg>
        <pc:spChg chg="add mod">
          <ac:chgData name="JanEri14" userId="ea321e6f-a9b4-4544-8ae7-a495220778c5" providerId="ADAL" clId="{BD4C8E82-642C-4B17-AD4C-B620D670EFD5}" dt="2023-11-19T11:44:01.520" v="15"/>
          <ac:spMkLst>
            <pc:docMk/>
            <pc:sldMk cId="2693390113" sldId="672"/>
            <ac:spMk id="7" creationId="{1B2FDF45-1581-820C-1CC3-1A20DC9AD23F}"/>
          </ac:spMkLst>
        </pc:spChg>
        <pc:graphicFrameChg chg="mod">
          <ac:chgData name="JanEri14" userId="ea321e6f-a9b4-4544-8ae7-a495220778c5" providerId="ADAL" clId="{BD4C8E82-642C-4B17-AD4C-B620D670EFD5}" dt="2023-11-19T11:44:01.459" v="14"/>
          <ac:graphicFrameMkLst>
            <pc:docMk/>
            <pc:sldMk cId="2693390113" sldId="672"/>
            <ac:graphicFrameMk id="5" creationId="{52298DAB-A045-427D-87E6-C552BE0335FA}"/>
          </ac:graphicFrameMkLst>
        </pc:graphicFrameChg>
      </pc:sldChg>
      <pc:sldChg chg="delSp modSp mod">
        <pc:chgData name="JanEri14" userId="ea321e6f-a9b4-4544-8ae7-a495220778c5" providerId="ADAL" clId="{BD4C8E82-642C-4B17-AD4C-B620D670EFD5}" dt="2023-11-19T11:47:51.455" v="45" actId="478"/>
        <pc:sldMkLst>
          <pc:docMk/>
          <pc:sldMk cId="3495691204" sldId="1086"/>
        </pc:sldMkLst>
        <pc:spChg chg="mod">
          <ac:chgData name="JanEri14" userId="ea321e6f-a9b4-4544-8ae7-a495220778c5" providerId="ADAL" clId="{BD4C8E82-642C-4B17-AD4C-B620D670EFD5}" dt="2023-11-19T11:47:49.801" v="44"/>
          <ac:spMkLst>
            <pc:docMk/>
            <pc:sldMk cId="3495691204" sldId="1086"/>
            <ac:spMk id="2" creationId="{63A9E631-C3CF-C0B6-7312-6A7882EC6615}"/>
          </ac:spMkLst>
        </pc:spChg>
        <pc:spChg chg="del">
          <ac:chgData name="JanEri14" userId="ea321e6f-a9b4-4544-8ae7-a495220778c5" providerId="ADAL" clId="{BD4C8E82-642C-4B17-AD4C-B620D670EFD5}" dt="2023-11-19T11:47:51.455" v="45" actId="478"/>
          <ac:spMkLst>
            <pc:docMk/>
            <pc:sldMk cId="3495691204" sldId="1086"/>
            <ac:spMk id="3" creationId="{07BCD9F3-F62F-2EC3-73AE-363103DCF9C9}"/>
          </ac:spMkLst>
        </pc:spChg>
        <pc:spChg chg="mod">
          <ac:chgData name="JanEri14" userId="ea321e6f-a9b4-4544-8ae7-a495220778c5" providerId="ADAL" clId="{BD4C8E82-642C-4B17-AD4C-B620D670EFD5}" dt="2023-11-19T11:47:43.665" v="43" actId="20577"/>
          <ac:spMkLst>
            <pc:docMk/>
            <pc:sldMk cId="3495691204" sldId="1086"/>
            <ac:spMk id="5" creationId="{58B1BB54-CF1D-7D09-8E4A-1895E65188C1}"/>
          </ac:spMkLst>
        </pc:spChg>
      </pc:sldChg>
      <pc:sldMasterChg chg="delSldLayout">
        <pc:chgData name="JanEri14" userId="ea321e6f-a9b4-4544-8ae7-a495220778c5" providerId="ADAL" clId="{BD4C8E82-642C-4B17-AD4C-B620D670EFD5}" dt="2023-11-19T11:44:01.522" v="16" actId="2696"/>
        <pc:sldMasterMkLst>
          <pc:docMk/>
          <pc:sldMasterMk cId="1070981886" sldId="2147483656"/>
        </pc:sldMasterMkLst>
        <pc:sldLayoutChg chg="del">
          <pc:chgData name="JanEri14" userId="ea321e6f-a9b4-4544-8ae7-a495220778c5" providerId="ADAL" clId="{BD4C8E82-642C-4B17-AD4C-B620D670EFD5}" dt="2023-11-19T11:44:01.522" v="16" actId="2696"/>
          <pc:sldLayoutMkLst>
            <pc:docMk/>
            <pc:sldMasterMk cId="1070981886" sldId="2147483656"/>
            <pc:sldLayoutMk cId="252338426" sldId="2147483664"/>
          </pc:sldLayoutMkLst>
        </pc:sldLayoutChg>
        <pc:sldLayoutChg chg="del">
          <pc:chgData name="JanEri14" userId="ea321e6f-a9b4-4544-8ae7-a495220778c5" providerId="ADAL" clId="{BD4C8E82-642C-4B17-AD4C-B620D670EFD5}" dt="2023-11-19T11:43:54.699" v="9" actId="2696"/>
          <pc:sldLayoutMkLst>
            <pc:docMk/>
            <pc:sldMasterMk cId="1070981886" sldId="2147483656"/>
            <pc:sldLayoutMk cId="1574839617" sldId="2147483664"/>
          </pc:sldLayoutMkLst>
        </pc:sldLayoutChg>
        <pc:sldLayoutChg chg="del">
          <pc:chgData name="JanEri14" userId="ea321e6f-a9b4-4544-8ae7-a495220778c5" providerId="ADAL" clId="{BD4C8E82-642C-4B17-AD4C-B620D670EFD5}" dt="2023-11-19T11:43:49.873" v="2" actId="2696"/>
          <pc:sldLayoutMkLst>
            <pc:docMk/>
            <pc:sldMasterMk cId="1070981886" sldId="2147483656"/>
            <pc:sldLayoutMk cId="1762897931" sldId="2147483664"/>
          </pc:sldLayoutMkLst>
        </pc:sldLayoutChg>
      </pc:sldMasterChg>
    </pc:docChg>
  </pc:docChgLst>
  <pc:docChgLst>
    <pc:chgData name="JanEri14" userId="ea321e6f-a9b4-4544-8ae7-a495220778c5" providerId="ADAL" clId="{20DC7F66-A675-4514-8EB5-A8ADBD398BBA}"/>
    <pc:docChg chg="delSld modSld modSection">
      <pc:chgData name="JanEri14" userId="ea321e6f-a9b4-4544-8ae7-a495220778c5" providerId="ADAL" clId="{20DC7F66-A675-4514-8EB5-A8ADBD398BBA}" dt="2023-11-25T14:41:34.903" v="53" actId="20577"/>
      <pc:docMkLst>
        <pc:docMk/>
      </pc:docMkLst>
      <pc:sldChg chg="del">
        <pc:chgData name="JanEri14" userId="ea321e6f-a9b4-4544-8ae7-a495220778c5" providerId="ADAL" clId="{20DC7F66-A675-4514-8EB5-A8ADBD398BBA}" dt="2023-11-25T14:34:46.046" v="1" actId="47"/>
        <pc:sldMkLst>
          <pc:docMk/>
          <pc:sldMk cId="3532490573" sldId="753"/>
        </pc:sldMkLst>
      </pc:sldChg>
      <pc:sldChg chg="del">
        <pc:chgData name="JanEri14" userId="ea321e6f-a9b4-4544-8ae7-a495220778c5" providerId="ADAL" clId="{20DC7F66-A675-4514-8EB5-A8ADBD398BBA}" dt="2023-11-25T14:34:45.595" v="0" actId="47"/>
        <pc:sldMkLst>
          <pc:docMk/>
          <pc:sldMk cId="3495691204" sldId="1086"/>
        </pc:sldMkLst>
      </pc:sldChg>
      <pc:sldChg chg="del">
        <pc:chgData name="JanEri14" userId="ea321e6f-a9b4-4544-8ae7-a495220778c5" providerId="ADAL" clId="{20DC7F66-A675-4514-8EB5-A8ADBD398BBA}" dt="2023-11-25T14:34:46.484" v="2" actId="47"/>
        <pc:sldMkLst>
          <pc:docMk/>
          <pc:sldMk cId="493410457" sldId="1087"/>
        </pc:sldMkLst>
      </pc:sldChg>
      <pc:sldChg chg="modNotesTx">
        <pc:chgData name="JanEri14" userId="ea321e6f-a9b4-4544-8ae7-a495220778c5" providerId="ADAL" clId="{20DC7F66-A675-4514-8EB5-A8ADBD398BBA}" dt="2023-11-25T14:41:34.903" v="53" actId="20577"/>
        <pc:sldMkLst>
          <pc:docMk/>
          <pc:sldMk cId="1105770311" sldId="1088"/>
        </pc:sldMkLst>
      </pc:sldChg>
    </pc:docChg>
  </pc:docChgLst>
  <pc:docChgLst>
    <pc:chgData name="JanRud67" userId="S::janrud67@student.fh-westkueste.de::e03750ef-9d6b-41ce-93f4-a0b96c768197" providerId="AD" clId="Web-{61F11ECE-D86B-4946-84F2-DDC4B4CF85A9}"/>
    <pc:docChg chg="mod modSld sldOrd">
      <pc:chgData name="JanRud67" userId="S::janrud67@student.fh-westkueste.de::e03750ef-9d6b-41ce-93f4-a0b96c768197" providerId="AD" clId="Web-{61F11ECE-D86B-4946-84F2-DDC4B4CF85A9}" dt="2023-10-17T10:03:37.334" v="22"/>
      <pc:docMkLst>
        <pc:docMk/>
      </pc:docMkLst>
      <pc:sldChg chg="modSp">
        <pc:chgData name="JanRud67" userId="S::janrud67@student.fh-westkueste.de::e03750ef-9d6b-41ce-93f4-a0b96c768197" providerId="AD" clId="Web-{61F11ECE-D86B-4946-84F2-DDC4B4CF85A9}" dt="2023-10-17T09:37:37.361" v="4" actId="20577"/>
        <pc:sldMkLst>
          <pc:docMk/>
          <pc:sldMk cId="3927998372" sldId="317"/>
        </pc:sldMkLst>
        <pc:spChg chg="mod">
          <ac:chgData name="JanRud67" userId="S::janrud67@student.fh-westkueste.de::e03750ef-9d6b-41ce-93f4-a0b96c768197" providerId="AD" clId="Web-{61F11ECE-D86B-4946-84F2-DDC4B4CF85A9}" dt="2023-10-17T09:37:37.361" v="4" actId="20577"/>
          <ac:spMkLst>
            <pc:docMk/>
            <pc:sldMk cId="3927998372" sldId="317"/>
            <ac:spMk id="3" creationId="{B87522F2-F44D-F2F3-BF69-173EC36F37AC}"/>
          </ac:spMkLst>
        </pc:spChg>
      </pc:sldChg>
      <pc:sldChg chg="addCm modCm">
        <pc:chgData name="JanRud67" userId="S::janrud67@student.fh-westkueste.de::e03750ef-9d6b-41ce-93f4-a0b96c768197" providerId="AD" clId="Web-{61F11ECE-D86B-4946-84F2-DDC4B4CF85A9}" dt="2023-10-17T09:49:56.893" v="9"/>
        <pc:sldMkLst>
          <pc:docMk/>
          <pc:sldMk cId="1802199850" sldId="318"/>
        </pc:sldMkLst>
        <pc:extLst>
          <p:ext xmlns:p="http://schemas.openxmlformats.org/presentationml/2006/main" uri="{D6D511B9-2390-475A-947B-AFAB55BFBCF1}">
            <pc226:cmChg xmlns:pc226="http://schemas.microsoft.com/office/powerpoint/2022/06/main/command" chg="add">
              <pc226:chgData name="JanRud67" userId="S::janrud67@student.fh-westkueste.de::e03750ef-9d6b-41ce-93f4-a0b96c768197" providerId="AD" clId="Web-{61F11ECE-D86B-4946-84F2-DDC4B4CF85A9}" dt="2023-10-17T09:46:14.450" v="7"/>
              <pc2:cmMkLst xmlns:pc2="http://schemas.microsoft.com/office/powerpoint/2019/9/main/command">
                <pc:docMk/>
                <pc:sldMk cId="1802199850" sldId="318"/>
                <pc2:cmMk id="{16177390-03E9-4D4D-B223-87AF601309F9}"/>
              </pc2:cmMkLst>
            </pc226:cmChg>
            <pc226:cmChg xmlns:pc226="http://schemas.microsoft.com/office/powerpoint/2022/06/main/command" chg="add mod">
              <pc226:chgData name="JanRud67" userId="S::janrud67@student.fh-westkueste.de::e03750ef-9d6b-41ce-93f4-a0b96c768197" providerId="AD" clId="Web-{61F11ECE-D86B-4946-84F2-DDC4B4CF85A9}" dt="2023-10-17T09:49:56.893" v="9"/>
              <pc2:cmMkLst xmlns:pc2="http://schemas.microsoft.com/office/powerpoint/2019/9/main/command">
                <pc:docMk/>
                <pc:sldMk cId="1802199850" sldId="318"/>
                <pc2:cmMk id="{59D4FF9A-BBD4-4C67-BB00-C3DC056E3FC6}"/>
              </pc2:cmMkLst>
            </pc226:cmChg>
          </p:ext>
        </pc:extLst>
      </pc:sldChg>
      <pc:sldChg chg="modSp addCm">
        <pc:chgData name="JanRud67" userId="S::janrud67@student.fh-westkueste.de::e03750ef-9d6b-41ce-93f4-a0b96c768197" providerId="AD" clId="Web-{61F11ECE-D86B-4946-84F2-DDC4B4CF85A9}" dt="2023-10-17T09:52:10.146" v="12"/>
        <pc:sldMkLst>
          <pc:docMk/>
          <pc:sldMk cId="3097013568" sldId="322"/>
        </pc:sldMkLst>
        <pc:picChg chg="mod">
          <ac:chgData name="JanRud67" userId="S::janrud67@student.fh-westkueste.de::e03750ef-9d6b-41ce-93f4-a0b96c768197" providerId="AD" clId="Web-{61F11ECE-D86B-4946-84F2-DDC4B4CF85A9}" dt="2023-10-17T09:50:28.113" v="11" actId="1076"/>
          <ac:picMkLst>
            <pc:docMk/>
            <pc:sldMk cId="3097013568" sldId="322"/>
            <ac:picMk id="2" creationId="{2BA47827-2ACF-FB33-307D-C19067EC17D9}"/>
          </ac:picMkLst>
        </pc:picChg>
        <pc:extLst>
          <p:ext xmlns:p="http://schemas.openxmlformats.org/presentationml/2006/main" uri="{D6D511B9-2390-475A-947B-AFAB55BFBCF1}">
            <pc226:cmChg xmlns:pc226="http://schemas.microsoft.com/office/powerpoint/2022/06/main/command" chg="add">
              <pc226:chgData name="JanRud67" userId="S::janrud67@student.fh-westkueste.de::e03750ef-9d6b-41ce-93f4-a0b96c768197" providerId="AD" clId="Web-{61F11ECE-D86B-4946-84F2-DDC4B4CF85A9}" dt="2023-10-17T09:52:10.146" v="12"/>
              <pc2:cmMkLst xmlns:pc2="http://schemas.microsoft.com/office/powerpoint/2019/9/main/command">
                <pc:docMk/>
                <pc:sldMk cId="3097013568" sldId="322"/>
                <pc2:cmMk id="{DF21C249-E5A7-4DB7-8431-4FD2E07A298A}"/>
              </pc2:cmMkLst>
            </pc226:cmChg>
          </p:ext>
        </pc:extLst>
      </pc:sldChg>
      <pc:sldChg chg="addCm modCm">
        <pc:chgData name="JanRud67" userId="S::janrud67@student.fh-westkueste.de::e03750ef-9d6b-41ce-93f4-a0b96c768197" providerId="AD" clId="Web-{61F11ECE-D86B-4946-84F2-DDC4B4CF85A9}" dt="2023-10-17T09:56:16.886" v="14"/>
        <pc:sldMkLst>
          <pc:docMk/>
          <pc:sldMk cId="3524675133" sldId="324"/>
        </pc:sldMkLst>
        <pc:extLst>
          <p:ext xmlns:p="http://schemas.openxmlformats.org/presentationml/2006/main" uri="{D6D511B9-2390-475A-947B-AFAB55BFBCF1}">
            <pc226:cmChg xmlns:pc226="http://schemas.microsoft.com/office/powerpoint/2022/06/main/command" chg="add mod">
              <pc226:chgData name="JanRud67" userId="S::janrud67@student.fh-westkueste.de::e03750ef-9d6b-41ce-93f4-a0b96c768197" providerId="AD" clId="Web-{61F11ECE-D86B-4946-84F2-DDC4B4CF85A9}" dt="2023-10-17T09:56:16.886" v="14"/>
              <pc2:cmMkLst xmlns:pc2="http://schemas.microsoft.com/office/powerpoint/2019/9/main/command">
                <pc:docMk/>
                <pc:sldMk cId="3524675133" sldId="324"/>
                <pc2:cmMk id="{76791C9C-9BE5-4DE9-B281-21121CF2302F}"/>
              </pc2:cmMkLst>
            </pc226:cmChg>
          </p:ext>
        </pc:extLst>
      </pc:sldChg>
      <pc:sldChg chg="addCm delCm">
        <pc:chgData name="JanRud67" userId="S::janrud67@student.fh-westkueste.de::e03750ef-9d6b-41ce-93f4-a0b96c768197" providerId="AD" clId="Web-{61F11ECE-D86B-4946-84F2-DDC4B4CF85A9}" dt="2023-10-17T09:59:09.203" v="17"/>
        <pc:sldMkLst>
          <pc:docMk/>
          <pc:sldMk cId="3624439011" sldId="334"/>
        </pc:sldMkLst>
        <pc:extLst>
          <p:ext xmlns:p="http://schemas.openxmlformats.org/presentationml/2006/main" uri="{D6D511B9-2390-475A-947B-AFAB55BFBCF1}">
            <pc226:cmChg xmlns:pc226="http://schemas.microsoft.com/office/powerpoint/2022/06/main/command" chg="add del">
              <pc226:chgData name="JanRud67" userId="S::janrud67@student.fh-westkueste.de::e03750ef-9d6b-41ce-93f4-a0b96c768197" providerId="AD" clId="Web-{61F11ECE-D86B-4946-84F2-DDC4B4CF85A9}" dt="2023-10-17T09:59:09.203" v="17"/>
              <pc2:cmMkLst xmlns:pc2="http://schemas.microsoft.com/office/powerpoint/2019/9/main/command">
                <pc:docMk/>
                <pc:sldMk cId="3624439011" sldId="334"/>
                <pc2:cmMk id="{C24E8CFA-3881-49CC-9BD4-879CAAEB0868}"/>
              </pc2:cmMkLst>
            </pc226:cmChg>
          </p:ext>
        </pc:extLst>
      </pc:sldChg>
      <pc:sldChg chg="addCm">
        <pc:chgData name="JanRud67" userId="S::janrud67@student.fh-westkueste.de::e03750ef-9d6b-41ce-93f4-a0b96c768197" providerId="AD" clId="Web-{61F11ECE-D86B-4946-84F2-DDC4B4CF85A9}" dt="2023-10-17T10:03:37.334" v="22"/>
        <pc:sldMkLst>
          <pc:docMk/>
          <pc:sldMk cId="922827603" sldId="336"/>
        </pc:sldMkLst>
        <pc:extLst>
          <p:ext xmlns:p="http://schemas.openxmlformats.org/presentationml/2006/main" uri="{D6D511B9-2390-475A-947B-AFAB55BFBCF1}">
            <pc226:cmChg xmlns:pc226="http://schemas.microsoft.com/office/powerpoint/2022/06/main/command" chg="add">
              <pc226:chgData name="JanRud67" userId="S::janrud67@student.fh-westkueste.de::e03750ef-9d6b-41ce-93f4-a0b96c768197" providerId="AD" clId="Web-{61F11ECE-D86B-4946-84F2-DDC4B4CF85A9}" dt="2023-10-17T10:03:37.334" v="22"/>
              <pc2:cmMkLst xmlns:pc2="http://schemas.microsoft.com/office/powerpoint/2019/9/main/command">
                <pc:docMk/>
                <pc:sldMk cId="922827603" sldId="336"/>
                <pc2:cmMk id="{584DAD3C-EB80-483C-98F5-2B32CA793797}"/>
              </pc2:cmMkLst>
            </pc226:cmChg>
          </p:ext>
        </pc:extLst>
      </pc:sldChg>
      <pc:sldChg chg="ord addCm">
        <pc:chgData name="JanRud67" userId="S::janrud67@student.fh-westkueste.de::e03750ef-9d6b-41ce-93f4-a0b96c768197" providerId="AD" clId="Web-{61F11ECE-D86B-4946-84F2-DDC4B4CF85A9}" dt="2023-10-17T10:01:29.753" v="20"/>
        <pc:sldMkLst>
          <pc:docMk/>
          <pc:sldMk cId="3674816059" sldId="339"/>
        </pc:sldMkLst>
        <pc:extLst>
          <p:ext xmlns:p="http://schemas.openxmlformats.org/presentationml/2006/main" uri="{D6D511B9-2390-475A-947B-AFAB55BFBCF1}">
            <pc226:cmChg xmlns:pc226="http://schemas.microsoft.com/office/powerpoint/2022/06/main/command" chg="add">
              <pc226:chgData name="JanRud67" userId="S::janrud67@student.fh-westkueste.de::e03750ef-9d6b-41ce-93f4-a0b96c768197" providerId="AD" clId="Web-{61F11ECE-D86B-4946-84F2-DDC4B4CF85A9}" dt="2023-10-17T10:01:29.753" v="20"/>
              <pc2:cmMkLst xmlns:pc2="http://schemas.microsoft.com/office/powerpoint/2019/9/main/command">
                <pc:docMk/>
                <pc:sldMk cId="3674816059" sldId="339"/>
                <pc2:cmMk id="{B650E114-0BAC-489D-8F3A-AC98C9183340}"/>
              </pc2:cmMkLst>
            </pc226:cmChg>
            <pc226:cmChg xmlns:pc226="http://schemas.microsoft.com/office/powerpoint/2022/06/main/command" chg="add">
              <pc226:chgData name="JanRud67" userId="S::janrud67@student.fh-westkueste.de::e03750ef-9d6b-41ce-93f4-a0b96c768197" providerId="AD" clId="Web-{61F11ECE-D86B-4946-84F2-DDC4B4CF85A9}" dt="2023-10-17T10:00:01.766" v="18"/>
              <pc2:cmMkLst xmlns:pc2="http://schemas.microsoft.com/office/powerpoint/2019/9/main/command">
                <pc:docMk/>
                <pc:sldMk cId="3674816059" sldId="339"/>
                <pc2:cmMk id="{0852B431-5026-4E52-8A06-07ACAAB567BF}"/>
              </pc2:cmMkLst>
            </pc226:cmChg>
            <pc226:cmChg xmlns:pc226="http://schemas.microsoft.com/office/powerpoint/2022/06/main/command" chg="add">
              <pc226:chgData name="JanRud67" userId="S::janrud67@student.fh-westkueste.de::e03750ef-9d6b-41ce-93f4-a0b96c768197" providerId="AD" clId="Web-{61F11ECE-D86B-4946-84F2-DDC4B4CF85A9}" dt="2023-10-17T09:58:17.670" v="16"/>
              <pc2:cmMkLst xmlns:pc2="http://schemas.microsoft.com/office/powerpoint/2019/9/main/command">
                <pc:docMk/>
                <pc:sldMk cId="3674816059" sldId="339"/>
                <pc2:cmMk id="{32407E56-677D-4001-BD7E-5C408DFBBF1D}"/>
              </pc2:cmMkLst>
            </pc226:cmChg>
          </p:ext>
        </pc:extLst>
      </pc:sldChg>
      <pc:sldChg chg="modSp">
        <pc:chgData name="JanRud67" userId="S::janrud67@student.fh-westkueste.de::e03750ef-9d6b-41ce-93f4-a0b96c768197" providerId="AD" clId="Web-{61F11ECE-D86B-4946-84F2-DDC4B4CF85A9}" dt="2023-10-17T10:02:35.817" v="21" actId="14100"/>
        <pc:sldMkLst>
          <pc:docMk/>
          <pc:sldMk cId="1332053118" sldId="340"/>
        </pc:sldMkLst>
        <pc:spChg chg="mod">
          <ac:chgData name="JanRud67" userId="S::janrud67@student.fh-westkueste.de::e03750ef-9d6b-41ce-93f4-a0b96c768197" providerId="AD" clId="Web-{61F11ECE-D86B-4946-84F2-DDC4B4CF85A9}" dt="2023-10-17T10:02:35.817" v="21" actId="14100"/>
          <ac:spMkLst>
            <pc:docMk/>
            <pc:sldMk cId="1332053118" sldId="340"/>
            <ac:spMk id="34" creationId="{4819BD01-FEB8-2998-D57A-98FD10B69491}"/>
          </ac:spMkLst>
        </pc:spChg>
      </pc:sldChg>
      <pc:sldChg chg="addCm">
        <pc:chgData name="JanRud67" userId="S::janrud67@student.fh-westkueste.de::e03750ef-9d6b-41ce-93f4-a0b96c768197" providerId="AD" clId="Web-{61F11ECE-D86B-4946-84F2-DDC4B4CF85A9}" dt="2023-10-17T09:41:46.929" v="6"/>
        <pc:sldMkLst>
          <pc:docMk/>
          <pc:sldMk cId="1788893857" sldId="341"/>
        </pc:sldMkLst>
        <pc:extLst>
          <p:ext xmlns:p="http://schemas.openxmlformats.org/presentationml/2006/main" uri="{D6D511B9-2390-475A-947B-AFAB55BFBCF1}">
            <pc226:cmChg xmlns:pc226="http://schemas.microsoft.com/office/powerpoint/2022/06/main/command" chg="add">
              <pc226:chgData name="JanRud67" userId="S::janrud67@student.fh-westkueste.de::e03750ef-9d6b-41ce-93f4-a0b96c768197" providerId="AD" clId="Web-{61F11ECE-D86B-4946-84F2-DDC4B4CF85A9}" dt="2023-10-17T09:41:46.929" v="6"/>
              <pc2:cmMkLst xmlns:pc2="http://schemas.microsoft.com/office/powerpoint/2019/9/main/command">
                <pc:docMk/>
                <pc:sldMk cId="1788893857" sldId="341"/>
                <pc2:cmMk id="{9CBE3D80-16AE-4ACE-B7C6-9F4C9C89591D}"/>
              </pc2:cmMkLst>
            </pc226:cmChg>
          </p:ext>
        </pc:extLst>
      </pc:sldChg>
    </pc:docChg>
  </pc:docChgLst>
  <pc:docChgLst>
    <pc:chgData name="JanEri14" userId="ea321e6f-a9b4-4544-8ae7-a495220778c5" providerId="ADAL" clId="{75E9F343-156F-44A3-8D79-43DE71F6494F}"/>
    <pc:docChg chg="undo custSel delSld modSld sldOrd addSection modSection">
      <pc:chgData name="JanEri14" userId="ea321e6f-a9b4-4544-8ae7-a495220778c5" providerId="ADAL" clId="{75E9F343-156F-44A3-8D79-43DE71F6494F}" dt="2023-11-05T13:36:52.151" v="1411" actId="14100"/>
      <pc:docMkLst>
        <pc:docMk/>
      </pc:docMkLst>
      <pc:sldChg chg="ord">
        <pc:chgData name="JanEri14" userId="ea321e6f-a9b4-4544-8ae7-a495220778c5" providerId="ADAL" clId="{75E9F343-156F-44A3-8D79-43DE71F6494F}" dt="2023-11-05T13:06:24.408" v="690"/>
        <pc:sldMkLst>
          <pc:docMk/>
          <pc:sldMk cId="1918179014" sldId="1074"/>
        </pc:sldMkLst>
      </pc:sldChg>
      <pc:sldChg chg="del">
        <pc:chgData name="JanEri14" userId="ea321e6f-a9b4-4544-8ae7-a495220778c5" providerId="ADAL" clId="{75E9F343-156F-44A3-8D79-43DE71F6494F}" dt="2023-11-05T12:29:04.961" v="0" actId="47"/>
        <pc:sldMkLst>
          <pc:docMk/>
          <pc:sldMk cId="80466009" sldId="1082"/>
        </pc:sldMkLst>
      </pc:sldChg>
      <pc:sldChg chg="del">
        <pc:chgData name="JanEri14" userId="ea321e6f-a9b4-4544-8ae7-a495220778c5" providerId="ADAL" clId="{75E9F343-156F-44A3-8D79-43DE71F6494F}" dt="2023-11-05T12:29:05.586" v="1" actId="47"/>
        <pc:sldMkLst>
          <pc:docMk/>
          <pc:sldMk cId="2125530571" sldId="1083"/>
        </pc:sldMkLst>
      </pc:sldChg>
      <pc:sldChg chg="del">
        <pc:chgData name="JanEri14" userId="ea321e6f-a9b4-4544-8ae7-a495220778c5" providerId="ADAL" clId="{75E9F343-156F-44A3-8D79-43DE71F6494F}" dt="2023-11-05T12:29:06.311" v="2" actId="47"/>
        <pc:sldMkLst>
          <pc:docMk/>
          <pc:sldMk cId="2366626046" sldId="1084"/>
        </pc:sldMkLst>
      </pc:sldChg>
      <pc:sldChg chg="addSp delSp modSp mod ord">
        <pc:chgData name="JanEri14" userId="ea321e6f-a9b4-4544-8ae7-a495220778c5" providerId="ADAL" clId="{75E9F343-156F-44A3-8D79-43DE71F6494F}" dt="2023-11-05T13:36:52.151" v="1411" actId="14100"/>
        <pc:sldMkLst>
          <pc:docMk/>
          <pc:sldMk cId="2230391168" sldId="1085"/>
        </pc:sldMkLst>
        <pc:spChg chg="mod">
          <ac:chgData name="JanEri14" userId="ea321e6f-a9b4-4544-8ae7-a495220778c5" providerId="ADAL" clId="{75E9F343-156F-44A3-8D79-43DE71F6494F}" dt="2023-11-05T12:55:07.993" v="367" actId="20577"/>
          <ac:spMkLst>
            <pc:docMk/>
            <pc:sldMk cId="2230391168" sldId="1085"/>
            <ac:spMk id="2" creationId="{EF9FA0DC-7FDA-72E3-9942-5806E02CD31C}"/>
          </ac:spMkLst>
        </pc:spChg>
        <pc:spChg chg="del">
          <ac:chgData name="JanEri14" userId="ea321e6f-a9b4-4544-8ae7-a495220778c5" providerId="ADAL" clId="{75E9F343-156F-44A3-8D79-43DE71F6494F}" dt="2023-11-05T12:36:50.167" v="4" actId="478"/>
          <ac:spMkLst>
            <pc:docMk/>
            <pc:sldMk cId="2230391168" sldId="1085"/>
            <ac:spMk id="3" creationId="{1C269660-D13D-C65F-2E91-C94040B6A753}"/>
          </ac:spMkLst>
        </pc:spChg>
        <pc:spChg chg="mod">
          <ac:chgData name="JanEri14" userId="ea321e6f-a9b4-4544-8ae7-a495220778c5" providerId="ADAL" clId="{75E9F343-156F-44A3-8D79-43DE71F6494F}" dt="2023-11-05T12:37:03.501" v="32" actId="20577"/>
          <ac:spMkLst>
            <pc:docMk/>
            <pc:sldMk cId="2230391168" sldId="1085"/>
            <ac:spMk id="5" creationId="{FBF335F3-72ED-F8D3-CEE6-D66701AC4294}"/>
          </ac:spMkLst>
        </pc:spChg>
        <pc:spChg chg="del">
          <ac:chgData name="JanEri14" userId="ea321e6f-a9b4-4544-8ae7-a495220778c5" providerId="ADAL" clId="{75E9F343-156F-44A3-8D79-43DE71F6494F}" dt="2023-11-05T12:36:56.307" v="13" actId="478"/>
          <ac:spMkLst>
            <pc:docMk/>
            <pc:sldMk cId="2230391168" sldId="1085"/>
            <ac:spMk id="8" creationId="{1B61072F-8367-66F9-E647-1C5C6BEA476E}"/>
          </ac:spMkLst>
        </pc:spChg>
        <pc:spChg chg="del">
          <ac:chgData name="JanEri14" userId="ea321e6f-a9b4-4544-8ae7-a495220778c5" providerId="ADAL" clId="{75E9F343-156F-44A3-8D79-43DE71F6494F}" dt="2023-11-05T12:36:53.206" v="9" actId="478"/>
          <ac:spMkLst>
            <pc:docMk/>
            <pc:sldMk cId="2230391168" sldId="1085"/>
            <ac:spMk id="10" creationId="{06CC8CD4-DEEF-D395-04FD-14A5E8CC62EA}"/>
          </ac:spMkLst>
        </pc:spChg>
        <pc:spChg chg="del">
          <ac:chgData name="JanEri14" userId="ea321e6f-a9b4-4544-8ae7-a495220778c5" providerId="ADAL" clId="{75E9F343-156F-44A3-8D79-43DE71F6494F}" dt="2023-11-05T12:36:53.797" v="10" actId="478"/>
          <ac:spMkLst>
            <pc:docMk/>
            <pc:sldMk cId="2230391168" sldId="1085"/>
            <ac:spMk id="12" creationId="{6C582DE2-480E-DF28-C309-55DC4884578C}"/>
          </ac:spMkLst>
        </pc:spChg>
        <pc:spChg chg="add mod">
          <ac:chgData name="JanEri14" userId="ea321e6f-a9b4-4544-8ae7-a495220778c5" providerId="ADAL" clId="{75E9F343-156F-44A3-8D79-43DE71F6494F}" dt="2023-11-05T13:05:07.515" v="683" actId="20577"/>
          <ac:spMkLst>
            <pc:docMk/>
            <pc:sldMk cId="2230391168" sldId="1085"/>
            <ac:spMk id="13" creationId="{8AB56A73-D957-C8E6-3574-052AF3D3BA28}"/>
          </ac:spMkLst>
        </pc:spChg>
        <pc:spChg chg="del">
          <ac:chgData name="JanEri14" userId="ea321e6f-a9b4-4544-8ae7-a495220778c5" providerId="ADAL" clId="{75E9F343-156F-44A3-8D79-43DE71F6494F}" dt="2023-11-05T12:36:54.200" v="11" actId="478"/>
          <ac:spMkLst>
            <pc:docMk/>
            <pc:sldMk cId="2230391168" sldId="1085"/>
            <ac:spMk id="14" creationId="{B245A3C6-58D9-339C-1E1C-93964EB02A79}"/>
          </ac:spMkLst>
        </pc:spChg>
        <pc:spChg chg="del">
          <ac:chgData name="JanEri14" userId="ea321e6f-a9b4-4544-8ae7-a495220778c5" providerId="ADAL" clId="{75E9F343-156F-44A3-8D79-43DE71F6494F}" dt="2023-11-05T12:36:54.783" v="12" actId="478"/>
          <ac:spMkLst>
            <pc:docMk/>
            <pc:sldMk cId="2230391168" sldId="1085"/>
            <ac:spMk id="15" creationId="{DBC4A62C-A65E-17B4-66AE-08EE393B313C}"/>
          </ac:spMkLst>
        </pc:spChg>
        <pc:spChg chg="del">
          <ac:chgData name="JanEri14" userId="ea321e6f-a9b4-4544-8ae7-a495220778c5" providerId="ADAL" clId="{75E9F343-156F-44A3-8D79-43DE71F6494F}" dt="2023-11-05T12:36:48.982" v="3" actId="478"/>
          <ac:spMkLst>
            <pc:docMk/>
            <pc:sldMk cId="2230391168" sldId="1085"/>
            <ac:spMk id="16" creationId="{9EB62EF6-BF06-8206-4815-E437EEC9EA79}"/>
          </ac:spMkLst>
        </pc:spChg>
        <pc:spChg chg="del">
          <ac:chgData name="JanEri14" userId="ea321e6f-a9b4-4544-8ae7-a495220778c5" providerId="ADAL" clId="{75E9F343-156F-44A3-8D79-43DE71F6494F}" dt="2023-11-05T12:36:50.887" v="5" actId="478"/>
          <ac:spMkLst>
            <pc:docMk/>
            <pc:sldMk cId="2230391168" sldId="1085"/>
            <ac:spMk id="17" creationId="{14B2762B-CFEF-1737-0EA7-A67505288D77}"/>
          </ac:spMkLst>
        </pc:spChg>
        <pc:spChg chg="del mod">
          <ac:chgData name="JanEri14" userId="ea321e6f-a9b4-4544-8ae7-a495220778c5" providerId="ADAL" clId="{75E9F343-156F-44A3-8D79-43DE71F6494F}" dt="2023-11-05T12:36:52.650" v="8" actId="478"/>
          <ac:spMkLst>
            <pc:docMk/>
            <pc:sldMk cId="2230391168" sldId="1085"/>
            <ac:spMk id="18" creationId="{382FC539-5E4B-5F0A-3B87-30348693073C}"/>
          </ac:spMkLst>
        </pc:spChg>
        <pc:spChg chg="del">
          <ac:chgData name="JanEri14" userId="ea321e6f-a9b4-4544-8ae7-a495220778c5" providerId="ADAL" clId="{75E9F343-156F-44A3-8D79-43DE71F6494F}" dt="2023-11-05T12:36:52.058" v="7" actId="478"/>
          <ac:spMkLst>
            <pc:docMk/>
            <pc:sldMk cId="2230391168" sldId="1085"/>
            <ac:spMk id="19" creationId="{A1B17D7B-7638-D64D-21CA-563F92771FD5}"/>
          </ac:spMkLst>
        </pc:spChg>
        <pc:spChg chg="add mod">
          <ac:chgData name="JanEri14" userId="ea321e6f-a9b4-4544-8ae7-a495220778c5" providerId="ADAL" clId="{75E9F343-156F-44A3-8D79-43DE71F6494F}" dt="2023-11-05T13:00:09.922" v="521" actId="20577"/>
          <ac:spMkLst>
            <pc:docMk/>
            <pc:sldMk cId="2230391168" sldId="1085"/>
            <ac:spMk id="20" creationId="{332313F4-3559-2864-28A5-994487723FD8}"/>
          </ac:spMkLst>
        </pc:spChg>
        <pc:spChg chg="add mod">
          <ac:chgData name="JanEri14" userId="ea321e6f-a9b4-4544-8ae7-a495220778c5" providerId="ADAL" clId="{75E9F343-156F-44A3-8D79-43DE71F6494F}" dt="2023-11-05T13:02:01.681" v="568" actId="790"/>
          <ac:spMkLst>
            <pc:docMk/>
            <pc:sldMk cId="2230391168" sldId="1085"/>
            <ac:spMk id="21" creationId="{2659069C-FE2A-845F-9195-43DDD59C54FE}"/>
          </ac:spMkLst>
        </pc:spChg>
        <pc:spChg chg="add mod">
          <ac:chgData name="JanEri14" userId="ea321e6f-a9b4-4544-8ae7-a495220778c5" providerId="ADAL" clId="{75E9F343-156F-44A3-8D79-43DE71F6494F}" dt="2023-11-05T13:02:15.252" v="591" actId="20577"/>
          <ac:spMkLst>
            <pc:docMk/>
            <pc:sldMk cId="2230391168" sldId="1085"/>
            <ac:spMk id="22" creationId="{E6EA5CC0-2428-F103-DC4B-8840FFD7692D}"/>
          </ac:spMkLst>
        </pc:spChg>
        <pc:spChg chg="add mod">
          <ac:chgData name="JanEri14" userId="ea321e6f-a9b4-4544-8ae7-a495220778c5" providerId="ADAL" clId="{75E9F343-156F-44A3-8D79-43DE71F6494F}" dt="2023-11-05T13:02:30.084" v="612" actId="20577"/>
          <ac:spMkLst>
            <pc:docMk/>
            <pc:sldMk cId="2230391168" sldId="1085"/>
            <ac:spMk id="23" creationId="{D33B2D1C-589E-A525-5EB4-A2D16BD13F0D}"/>
          </ac:spMkLst>
        </pc:spChg>
        <pc:spChg chg="add mod">
          <ac:chgData name="JanEri14" userId="ea321e6f-a9b4-4544-8ae7-a495220778c5" providerId="ADAL" clId="{75E9F343-156F-44A3-8D79-43DE71F6494F}" dt="2023-11-05T13:02:44.754" v="632" actId="20577"/>
          <ac:spMkLst>
            <pc:docMk/>
            <pc:sldMk cId="2230391168" sldId="1085"/>
            <ac:spMk id="24" creationId="{0B8E8F31-7BCA-F07D-2CF4-28D0B525B1DA}"/>
          </ac:spMkLst>
        </pc:spChg>
        <pc:spChg chg="add mod">
          <ac:chgData name="JanEri14" userId="ea321e6f-a9b4-4544-8ae7-a495220778c5" providerId="ADAL" clId="{75E9F343-156F-44A3-8D79-43DE71F6494F}" dt="2023-11-05T13:04:30.584" v="642" actId="20577"/>
          <ac:spMkLst>
            <pc:docMk/>
            <pc:sldMk cId="2230391168" sldId="1085"/>
            <ac:spMk id="25" creationId="{788C576C-2177-CEE7-F10F-94FC6C86314F}"/>
          </ac:spMkLst>
        </pc:spChg>
        <pc:spChg chg="add mod">
          <ac:chgData name="JanEri14" userId="ea321e6f-a9b4-4544-8ae7-a495220778c5" providerId="ADAL" clId="{75E9F343-156F-44A3-8D79-43DE71F6494F}" dt="2023-11-05T13:04:49.049" v="674" actId="20577"/>
          <ac:spMkLst>
            <pc:docMk/>
            <pc:sldMk cId="2230391168" sldId="1085"/>
            <ac:spMk id="26" creationId="{01CA68F3-3FC5-07A3-F6AC-6E732A4D4A12}"/>
          </ac:spMkLst>
        </pc:spChg>
        <pc:spChg chg="add mod">
          <ac:chgData name="JanEri14" userId="ea321e6f-a9b4-4544-8ae7-a495220778c5" providerId="ADAL" clId="{75E9F343-156F-44A3-8D79-43DE71F6494F}" dt="2023-11-05T13:10:57.715" v="698" actId="207"/>
          <ac:spMkLst>
            <pc:docMk/>
            <pc:sldMk cId="2230391168" sldId="1085"/>
            <ac:spMk id="27" creationId="{55BD233B-6FB3-0D2B-AE5F-F4A136DAA1C6}"/>
          </ac:spMkLst>
        </pc:spChg>
        <pc:spChg chg="add del mod">
          <ac:chgData name="JanEri14" userId="ea321e6f-a9b4-4544-8ae7-a495220778c5" providerId="ADAL" clId="{75E9F343-156F-44A3-8D79-43DE71F6494F}" dt="2023-11-05T13:10:58.275" v="700"/>
          <ac:spMkLst>
            <pc:docMk/>
            <pc:sldMk cId="2230391168" sldId="1085"/>
            <ac:spMk id="28" creationId="{B589632E-A515-378B-0130-AC95CFD3A525}"/>
          </ac:spMkLst>
        </pc:spChg>
        <pc:spChg chg="add del mod ord">
          <ac:chgData name="JanEri14" userId="ea321e6f-a9b4-4544-8ae7-a495220778c5" providerId="ADAL" clId="{75E9F343-156F-44A3-8D79-43DE71F6494F}" dt="2023-11-05T13:20:48.497" v="782" actId="1076"/>
          <ac:spMkLst>
            <pc:docMk/>
            <pc:sldMk cId="2230391168" sldId="1085"/>
            <ac:spMk id="29" creationId="{9890F7B2-07DF-73AD-96B7-651AF9114FA5}"/>
          </ac:spMkLst>
        </pc:spChg>
        <pc:spChg chg="add del mod ord">
          <ac:chgData name="JanEri14" userId="ea321e6f-a9b4-4544-8ae7-a495220778c5" providerId="ADAL" clId="{75E9F343-156F-44A3-8D79-43DE71F6494F}" dt="2023-11-05T13:20:42.198" v="779" actId="21"/>
          <ac:spMkLst>
            <pc:docMk/>
            <pc:sldMk cId="2230391168" sldId="1085"/>
            <ac:spMk id="30" creationId="{016F1FD8-551A-DFDC-4C64-7FDF01F94D03}"/>
          </ac:spMkLst>
        </pc:spChg>
        <pc:spChg chg="add mod">
          <ac:chgData name="JanEri14" userId="ea321e6f-a9b4-4544-8ae7-a495220778c5" providerId="ADAL" clId="{75E9F343-156F-44A3-8D79-43DE71F6494F}" dt="2023-11-05T13:22:43.484" v="909" actId="1076"/>
          <ac:spMkLst>
            <pc:docMk/>
            <pc:sldMk cId="2230391168" sldId="1085"/>
            <ac:spMk id="39" creationId="{70846BEE-652E-B60F-DFCE-B5DC9C20DE78}"/>
          </ac:spMkLst>
        </pc:spChg>
        <pc:spChg chg="add mod">
          <ac:chgData name="JanEri14" userId="ea321e6f-a9b4-4544-8ae7-a495220778c5" providerId="ADAL" clId="{75E9F343-156F-44A3-8D79-43DE71F6494F}" dt="2023-11-05T13:23:09.226" v="914" actId="1076"/>
          <ac:spMkLst>
            <pc:docMk/>
            <pc:sldMk cId="2230391168" sldId="1085"/>
            <ac:spMk id="40" creationId="{07F088B3-5CD8-6D68-C37B-0FDD55FE4443}"/>
          </ac:spMkLst>
        </pc:spChg>
        <pc:spChg chg="add mod">
          <ac:chgData name="JanEri14" userId="ea321e6f-a9b4-4544-8ae7-a495220778c5" providerId="ADAL" clId="{75E9F343-156F-44A3-8D79-43DE71F6494F}" dt="2023-11-05T13:24:45.183" v="1007" actId="1076"/>
          <ac:spMkLst>
            <pc:docMk/>
            <pc:sldMk cId="2230391168" sldId="1085"/>
            <ac:spMk id="49" creationId="{C03A3755-BB1C-76E5-F842-D438A067DBD3}"/>
          </ac:spMkLst>
        </pc:spChg>
        <pc:spChg chg="add mod">
          <ac:chgData name="JanEri14" userId="ea321e6f-a9b4-4544-8ae7-a495220778c5" providerId="ADAL" clId="{75E9F343-156F-44A3-8D79-43DE71F6494F}" dt="2023-11-05T13:24:41.614" v="1006" actId="1076"/>
          <ac:spMkLst>
            <pc:docMk/>
            <pc:sldMk cId="2230391168" sldId="1085"/>
            <ac:spMk id="50" creationId="{068FD2B7-98DB-6C0B-F5F7-344E74F7B5C2}"/>
          </ac:spMkLst>
        </pc:spChg>
        <pc:spChg chg="add mod">
          <ac:chgData name="JanEri14" userId="ea321e6f-a9b4-4544-8ae7-a495220778c5" providerId="ADAL" clId="{75E9F343-156F-44A3-8D79-43DE71F6494F}" dt="2023-11-05T13:25:06.248" v="1012" actId="1076"/>
          <ac:spMkLst>
            <pc:docMk/>
            <pc:sldMk cId="2230391168" sldId="1085"/>
            <ac:spMk id="55" creationId="{754D8956-D421-E51A-4F01-765C441ACAEA}"/>
          </ac:spMkLst>
        </pc:spChg>
        <pc:spChg chg="add mod">
          <ac:chgData name="JanEri14" userId="ea321e6f-a9b4-4544-8ae7-a495220778c5" providerId="ADAL" clId="{75E9F343-156F-44A3-8D79-43DE71F6494F}" dt="2023-11-05T13:26:02.344" v="1092" actId="20577"/>
          <ac:spMkLst>
            <pc:docMk/>
            <pc:sldMk cId="2230391168" sldId="1085"/>
            <ac:spMk id="58" creationId="{B3B1841A-3EE1-91CA-05A5-5938044CDC40}"/>
          </ac:spMkLst>
        </pc:spChg>
        <pc:spChg chg="add mod">
          <ac:chgData name="JanEri14" userId="ea321e6f-a9b4-4544-8ae7-a495220778c5" providerId="ADAL" clId="{75E9F343-156F-44A3-8D79-43DE71F6494F}" dt="2023-11-05T13:28:10.543" v="1171" actId="14100"/>
          <ac:spMkLst>
            <pc:docMk/>
            <pc:sldMk cId="2230391168" sldId="1085"/>
            <ac:spMk id="59" creationId="{0A3B84C3-DEAD-B451-5512-50C1E502E330}"/>
          </ac:spMkLst>
        </pc:spChg>
        <pc:spChg chg="add mod">
          <ac:chgData name="JanEri14" userId="ea321e6f-a9b4-4544-8ae7-a495220778c5" providerId="ADAL" clId="{75E9F343-156F-44A3-8D79-43DE71F6494F}" dt="2023-11-05T13:28:07.812" v="1170" actId="1076"/>
          <ac:spMkLst>
            <pc:docMk/>
            <pc:sldMk cId="2230391168" sldId="1085"/>
            <ac:spMk id="60" creationId="{ABB2540E-0951-988B-82FB-8EC8D2102286}"/>
          </ac:spMkLst>
        </pc:spChg>
        <pc:spChg chg="add mod">
          <ac:chgData name="JanEri14" userId="ea321e6f-a9b4-4544-8ae7-a495220778c5" providerId="ADAL" clId="{75E9F343-156F-44A3-8D79-43DE71F6494F}" dt="2023-11-05T13:28:32.124" v="1174" actId="14100"/>
          <ac:spMkLst>
            <pc:docMk/>
            <pc:sldMk cId="2230391168" sldId="1085"/>
            <ac:spMk id="64" creationId="{AB198D46-2D9F-81FC-EA4C-D35695FE4E8B}"/>
          </ac:spMkLst>
        </pc:spChg>
        <pc:spChg chg="add mod">
          <ac:chgData name="JanEri14" userId="ea321e6f-a9b4-4544-8ae7-a495220778c5" providerId="ADAL" clId="{75E9F343-156F-44A3-8D79-43DE71F6494F}" dt="2023-11-05T13:33:33.778" v="1245" actId="20577"/>
          <ac:spMkLst>
            <pc:docMk/>
            <pc:sldMk cId="2230391168" sldId="1085"/>
            <ac:spMk id="65" creationId="{C9207B86-B24F-BEEE-6201-F0D81E0C58E5}"/>
          </ac:spMkLst>
        </pc:spChg>
        <pc:spChg chg="add mod">
          <ac:chgData name="JanEri14" userId="ea321e6f-a9b4-4544-8ae7-a495220778c5" providerId="ADAL" clId="{75E9F343-156F-44A3-8D79-43DE71F6494F}" dt="2023-11-05T13:35:43.736" v="1332" actId="1076"/>
          <ac:spMkLst>
            <pc:docMk/>
            <pc:sldMk cId="2230391168" sldId="1085"/>
            <ac:spMk id="68" creationId="{587C9F4E-C46A-163E-202A-6BE6846056AB}"/>
          </ac:spMkLst>
        </pc:spChg>
        <pc:spChg chg="add mod">
          <ac:chgData name="JanEri14" userId="ea321e6f-a9b4-4544-8ae7-a495220778c5" providerId="ADAL" clId="{75E9F343-156F-44A3-8D79-43DE71F6494F}" dt="2023-11-05T13:36:13.287" v="1339" actId="1076"/>
          <ac:spMkLst>
            <pc:docMk/>
            <pc:sldMk cId="2230391168" sldId="1085"/>
            <ac:spMk id="69" creationId="{04085AEB-ED98-CF13-5DA4-0BBF85B78235}"/>
          </ac:spMkLst>
        </pc:spChg>
        <pc:spChg chg="add mod">
          <ac:chgData name="JanEri14" userId="ea321e6f-a9b4-4544-8ae7-a495220778c5" providerId="ADAL" clId="{75E9F343-156F-44A3-8D79-43DE71F6494F}" dt="2023-11-05T13:36:52.151" v="1411" actId="14100"/>
          <ac:spMkLst>
            <pc:docMk/>
            <pc:sldMk cId="2230391168" sldId="1085"/>
            <ac:spMk id="73" creationId="{5D46A8C3-F757-84B9-1220-19AF3299E87F}"/>
          </ac:spMkLst>
        </pc:spChg>
        <pc:spChg chg="add mod">
          <ac:chgData name="JanEri14" userId="ea321e6f-a9b4-4544-8ae7-a495220778c5" providerId="ADAL" clId="{75E9F343-156F-44A3-8D79-43DE71F6494F}" dt="2023-11-05T13:36:49.648" v="1410" actId="1076"/>
          <ac:spMkLst>
            <pc:docMk/>
            <pc:sldMk cId="2230391168" sldId="1085"/>
            <ac:spMk id="74" creationId="{53472238-437F-B124-CB41-9777533FC38A}"/>
          </ac:spMkLst>
        </pc:spChg>
        <pc:picChg chg="add del mod">
          <ac:chgData name="JanEri14" userId="ea321e6f-a9b4-4544-8ae7-a495220778c5" providerId="ADAL" clId="{75E9F343-156F-44A3-8D79-43DE71F6494F}" dt="2023-11-05T12:43:37.322" v="112" actId="478"/>
          <ac:picMkLst>
            <pc:docMk/>
            <pc:sldMk cId="2230391168" sldId="1085"/>
            <ac:picMk id="11" creationId="{12B61B1F-FDE7-A292-550C-C0B8AB7497F3}"/>
          </ac:picMkLst>
        </pc:picChg>
        <pc:cxnChg chg="add mod">
          <ac:chgData name="JanEri14" userId="ea321e6f-a9b4-4544-8ae7-a495220778c5" providerId="ADAL" clId="{75E9F343-156F-44A3-8D79-43DE71F6494F}" dt="2023-11-05T13:20:48.497" v="782" actId="1076"/>
          <ac:cxnSpMkLst>
            <pc:docMk/>
            <pc:sldMk cId="2230391168" sldId="1085"/>
            <ac:cxnSpMk id="32" creationId="{33ABF9D3-66B8-88E2-3F76-C423FE66C49E}"/>
          </ac:cxnSpMkLst>
        </pc:cxnChg>
        <pc:cxnChg chg="add mod">
          <ac:chgData name="JanEri14" userId="ea321e6f-a9b4-4544-8ae7-a495220778c5" providerId="ADAL" clId="{75E9F343-156F-44A3-8D79-43DE71F6494F}" dt="2023-11-05T13:23:09.226" v="914" actId="1076"/>
          <ac:cxnSpMkLst>
            <pc:docMk/>
            <pc:sldMk cId="2230391168" sldId="1085"/>
            <ac:cxnSpMk id="43" creationId="{FBFFD200-1143-DF8E-C8D4-E4A165032447}"/>
          </ac:cxnSpMkLst>
        </pc:cxnChg>
        <pc:cxnChg chg="add mod">
          <ac:chgData name="JanEri14" userId="ea321e6f-a9b4-4544-8ae7-a495220778c5" providerId="ADAL" clId="{75E9F343-156F-44A3-8D79-43DE71F6494F}" dt="2023-11-05T13:24:41.614" v="1006" actId="1076"/>
          <ac:cxnSpMkLst>
            <pc:docMk/>
            <pc:sldMk cId="2230391168" sldId="1085"/>
            <ac:cxnSpMk id="53" creationId="{E87DD5D4-50D5-FCB9-7647-F566FAE05772}"/>
          </ac:cxnSpMkLst>
        </pc:cxnChg>
        <pc:cxnChg chg="add mod">
          <ac:chgData name="JanEri14" userId="ea321e6f-a9b4-4544-8ae7-a495220778c5" providerId="ADAL" clId="{75E9F343-156F-44A3-8D79-43DE71F6494F}" dt="2023-11-05T13:25:13.921" v="1015" actId="208"/>
          <ac:cxnSpMkLst>
            <pc:docMk/>
            <pc:sldMk cId="2230391168" sldId="1085"/>
            <ac:cxnSpMk id="57" creationId="{1F3A0EA4-381B-8889-68DF-CC19726622AE}"/>
          </ac:cxnSpMkLst>
        </pc:cxnChg>
        <pc:cxnChg chg="add mod">
          <ac:chgData name="JanEri14" userId="ea321e6f-a9b4-4544-8ae7-a495220778c5" providerId="ADAL" clId="{75E9F343-156F-44A3-8D79-43DE71F6494F}" dt="2023-11-05T13:28:10.543" v="1171" actId="14100"/>
          <ac:cxnSpMkLst>
            <pc:docMk/>
            <pc:sldMk cId="2230391168" sldId="1085"/>
            <ac:cxnSpMk id="62" creationId="{4D6B9A53-C698-01DC-CC3A-615C989F0385}"/>
          </ac:cxnSpMkLst>
        </pc:cxnChg>
        <pc:cxnChg chg="add mod">
          <ac:chgData name="JanEri14" userId="ea321e6f-a9b4-4544-8ae7-a495220778c5" providerId="ADAL" clId="{75E9F343-156F-44A3-8D79-43DE71F6494F}" dt="2023-11-05T13:29:57.346" v="1176" actId="208"/>
          <ac:cxnSpMkLst>
            <pc:docMk/>
            <pc:sldMk cId="2230391168" sldId="1085"/>
            <ac:cxnSpMk id="67" creationId="{C3824E4E-C5A7-7D90-B4BF-8BBA8315FB26}"/>
          </ac:cxnSpMkLst>
        </pc:cxnChg>
        <pc:cxnChg chg="add mod">
          <ac:chgData name="JanEri14" userId="ea321e6f-a9b4-4544-8ae7-a495220778c5" providerId="ADAL" clId="{75E9F343-156F-44A3-8D79-43DE71F6494F}" dt="2023-11-05T13:36:13.287" v="1339" actId="1076"/>
          <ac:cxnSpMkLst>
            <pc:docMk/>
            <pc:sldMk cId="2230391168" sldId="1085"/>
            <ac:cxnSpMk id="71" creationId="{DCE6E861-7761-6116-B94B-C35FDE820B23}"/>
          </ac:cxnSpMkLst>
        </pc:cxnChg>
        <pc:cxnChg chg="add mod">
          <ac:chgData name="JanEri14" userId="ea321e6f-a9b4-4544-8ae7-a495220778c5" providerId="ADAL" clId="{75E9F343-156F-44A3-8D79-43DE71F6494F}" dt="2023-11-05T13:36:52.151" v="1411" actId="14100"/>
          <ac:cxnSpMkLst>
            <pc:docMk/>
            <pc:sldMk cId="2230391168" sldId="1085"/>
            <ac:cxnSpMk id="77" creationId="{432D7EEC-AFB6-CF34-B08A-01B513D3C1E0}"/>
          </ac:cxnSpMkLst>
        </pc:cxnChg>
      </pc:sldChg>
    </pc:docChg>
  </pc:docChgLst>
  <pc:docChgLst>
    <pc:chgData name="JanEri14" userId="ea321e6f-a9b4-4544-8ae7-a495220778c5" providerId="ADAL" clId="{62E153A0-4EEC-471D-AD27-B717656558C3}"/>
    <pc:docChg chg="undo custSel addSld modSld sldOrd addSection modSection">
      <pc:chgData name="JanEri14" userId="ea321e6f-a9b4-4544-8ae7-a495220778c5" providerId="ADAL" clId="{62E153A0-4EEC-471D-AD27-B717656558C3}" dt="2023-10-19T18:51:26.536" v="1659" actId="20577"/>
      <pc:docMkLst>
        <pc:docMk/>
      </pc:docMkLst>
      <pc:sldChg chg="modSp mod">
        <pc:chgData name="JanEri14" userId="ea321e6f-a9b4-4544-8ae7-a495220778c5" providerId="ADAL" clId="{62E153A0-4EEC-471D-AD27-B717656558C3}" dt="2023-10-17T15:39:48.443" v="1627" actId="20577"/>
        <pc:sldMkLst>
          <pc:docMk/>
          <pc:sldMk cId="3148940003" sldId="297"/>
        </pc:sldMkLst>
        <pc:spChg chg="mod">
          <ac:chgData name="JanEri14" userId="ea321e6f-a9b4-4544-8ae7-a495220778c5" providerId="ADAL" clId="{62E153A0-4EEC-471D-AD27-B717656558C3}" dt="2023-10-17T15:39:48.443" v="1627" actId="20577"/>
          <ac:spMkLst>
            <pc:docMk/>
            <pc:sldMk cId="3148940003" sldId="297"/>
            <ac:spMk id="22" creationId="{00000000-0000-0000-0000-000000000000}"/>
          </ac:spMkLst>
        </pc:spChg>
      </pc:sldChg>
      <pc:sldChg chg="modSp mod addCm modCm">
        <pc:chgData name="JanEri14" userId="ea321e6f-a9b4-4544-8ae7-a495220778c5" providerId="ADAL" clId="{62E153A0-4EEC-471D-AD27-B717656558C3}" dt="2023-10-17T15:00:19.672" v="1074" actId="404"/>
        <pc:sldMkLst>
          <pc:docMk/>
          <pc:sldMk cId="3927998372" sldId="317"/>
        </pc:sldMkLst>
        <pc:spChg chg="mod">
          <ac:chgData name="JanEri14" userId="ea321e6f-a9b4-4544-8ae7-a495220778c5" providerId="ADAL" clId="{62E153A0-4EEC-471D-AD27-B717656558C3}" dt="2023-10-17T13:43:32.902" v="1000"/>
          <ac:spMkLst>
            <pc:docMk/>
            <pc:sldMk cId="3927998372" sldId="317"/>
            <ac:spMk id="2" creationId="{3E9D195C-296B-0F7E-EB54-BF6CC44A9E10}"/>
          </ac:spMkLst>
        </pc:spChg>
        <pc:spChg chg="mod">
          <ac:chgData name="JanEri14" userId="ea321e6f-a9b4-4544-8ae7-a495220778c5" providerId="ADAL" clId="{62E153A0-4EEC-471D-AD27-B717656558C3}" dt="2023-10-13T17:24:19.434" v="70" actId="20577"/>
          <ac:spMkLst>
            <pc:docMk/>
            <pc:sldMk cId="3927998372" sldId="317"/>
            <ac:spMk id="3" creationId="{B87522F2-F44D-F2F3-BF69-173EC36F37AC}"/>
          </ac:spMkLst>
        </pc:spChg>
        <pc:spChg chg="mod">
          <ac:chgData name="JanEri14" userId="ea321e6f-a9b4-4544-8ae7-a495220778c5" providerId="ADAL" clId="{62E153A0-4EEC-471D-AD27-B717656558C3}" dt="2023-10-17T15:00:19.672" v="1074" actId="404"/>
          <ac:spMkLst>
            <pc:docMk/>
            <pc:sldMk cId="3927998372" sldId="317"/>
            <ac:spMk id="6" creationId="{E7188A8B-4900-B2A0-BC5A-DF7E30292B58}"/>
          </ac:spMkLst>
        </pc:spChg>
        <pc:extLst>
          <p:ext xmlns:p="http://schemas.openxmlformats.org/presentationml/2006/main" uri="{D6D511B9-2390-475A-947B-AFAB55BFBCF1}">
            <pc226:cmChg xmlns:pc226="http://schemas.microsoft.com/office/powerpoint/2022/06/main/command" chg="add mod">
              <pc226:chgData name="JanEri14" userId="ea321e6f-a9b4-4544-8ae7-a495220778c5" providerId="ADAL" clId="{62E153A0-4EEC-471D-AD27-B717656558C3}" dt="2023-10-17T15:00:13.658" v="1070" actId="20577"/>
              <pc2:cmMkLst xmlns:pc2="http://schemas.microsoft.com/office/powerpoint/2019/9/main/command">
                <pc:docMk/>
                <pc:sldMk cId="3927998372" sldId="317"/>
                <pc2:cmMk id="{11C1D657-FA32-4329-8D76-E1CA1CCFF61B}"/>
              </pc2:cmMkLst>
            </pc226:cmChg>
          </p:ext>
        </pc:extLst>
      </pc:sldChg>
      <pc:sldChg chg="modSp mod modNotesTx">
        <pc:chgData name="JanEri14" userId="ea321e6f-a9b4-4544-8ae7-a495220778c5" providerId="ADAL" clId="{62E153A0-4EEC-471D-AD27-B717656558C3}" dt="2023-10-17T13:42:41.091" v="998" actId="20577"/>
        <pc:sldMkLst>
          <pc:docMk/>
          <pc:sldMk cId="1802199850" sldId="318"/>
        </pc:sldMkLst>
        <pc:spChg chg="mod">
          <ac:chgData name="JanEri14" userId="ea321e6f-a9b4-4544-8ae7-a495220778c5" providerId="ADAL" clId="{62E153A0-4EEC-471D-AD27-B717656558C3}" dt="2023-10-16T16:59:02.345" v="963" actId="20577"/>
          <ac:spMkLst>
            <pc:docMk/>
            <pc:sldMk cId="1802199850" sldId="318"/>
            <ac:spMk id="2" creationId="{89A4EEAA-6D96-95E6-86DC-37C1BED3C4F5}"/>
          </ac:spMkLst>
        </pc:spChg>
        <pc:spChg chg="mod">
          <ac:chgData name="JanEri14" userId="ea321e6f-a9b4-4544-8ae7-a495220778c5" providerId="ADAL" clId="{62E153A0-4EEC-471D-AD27-B717656558C3}" dt="2023-10-17T13:42:41.091" v="998" actId="20577"/>
          <ac:spMkLst>
            <pc:docMk/>
            <pc:sldMk cId="1802199850" sldId="318"/>
            <ac:spMk id="5" creationId="{BEF244CB-66C2-D195-0641-589C5F9C1CFB}"/>
          </ac:spMkLst>
        </pc:spChg>
      </pc:sldChg>
      <pc:sldChg chg="addSp modSp mod">
        <pc:chgData name="JanEri14" userId="ea321e6f-a9b4-4544-8ae7-a495220778c5" providerId="ADAL" clId="{62E153A0-4EEC-471D-AD27-B717656558C3}" dt="2023-10-17T13:46:10.175" v="1067" actId="20577"/>
        <pc:sldMkLst>
          <pc:docMk/>
          <pc:sldMk cId="2619089612" sldId="319"/>
        </pc:sldMkLst>
        <pc:spChg chg="mod">
          <ac:chgData name="JanEri14" userId="ea321e6f-a9b4-4544-8ae7-a495220778c5" providerId="ADAL" clId="{62E153A0-4EEC-471D-AD27-B717656558C3}" dt="2023-10-17T13:46:10.175" v="1067" actId="20577"/>
          <ac:spMkLst>
            <pc:docMk/>
            <pc:sldMk cId="2619089612" sldId="319"/>
            <ac:spMk id="2" creationId="{3CFE2866-A69F-B61B-AEB8-186B79D6FF27}"/>
          </ac:spMkLst>
        </pc:spChg>
        <pc:picChg chg="mod">
          <ac:chgData name="JanEri14" userId="ea321e6f-a9b4-4544-8ae7-a495220778c5" providerId="ADAL" clId="{62E153A0-4EEC-471D-AD27-B717656558C3}" dt="2023-10-16T14:54:06.008" v="359" actId="1076"/>
          <ac:picMkLst>
            <pc:docMk/>
            <pc:sldMk cId="2619089612" sldId="319"/>
            <ac:picMk id="3" creationId="{A3894867-47A7-2BCA-0C31-222E3EA731E3}"/>
          </ac:picMkLst>
        </pc:picChg>
        <pc:picChg chg="mod">
          <ac:chgData name="JanEri14" userId="ea321e6f-a9b4-4544-8ae7-a495220778c5" providerId="ADAL" clId="{62E153A0-4EEC-471D-AD27-B717656558C3}" dt="2023-10-16T14:53:51.971" v="357" actId="14100"/>
          <ac:picMkLst>
            <pc:docMk/>
            <pc:sldMk cId="2619089612" sldId="319"/>
            <ac:picMk id="15" creationId="{D23D214D-803A-243E-6A59-3EF4DB8BA633}"/>
          </ac:picMkLst>
        </pc:picChg>
        <pc:picChg chg="add mod modCrop">
          <ac:chgData name="JanEri14" userId="ea321e6f-a9b4-4544-8ae7-a495220778c5" providerId="ADAL" clId="{62E153A0-4EEC-471D-AD27-B717656558C3}" dt="2023-10-17T13:43:01.090" v="999" actId="1076"/>
          <ac:picMkLst>
            <pc:docMk/>
            <pc:sldMk cId="2619089612" sldId="319"/>
            <ac:picMk id="20" creationId="{A0A62ED9-257A-948E-862E-942DC2709552}"/>
          </ac:picMkLst>
        </pc:picChg>
      </pc:sldChg>
      <pc:sldChg chg="addSp modSp mod modNotesTx">
        <pc:chgData name="JanEri14" userId="ea321e6f-a9b4-4544-8ae7-a495220778c5" providerId="ADAL" clId="{62E153A0-4EEC-471D-AD27-B717656558C3}" dt="2023-10-17T15:31:19.056" v="1595" actId="20577"/>
        <pc:sldMkLst>
          <pc:docMk/>
          <pc:sldMk cId="582047224" sldId="320"/>
        </pc:sldMkLst>
        <pc:spChg chg="mod">
          <ac:chgData name="JanEri14" userId="ea321e6f-a9b4-4544-8ae7-a495220778c5" providerId="ADAL" clId="{62E153A0-4EEC-471D-AD27-B717656558C3}" dt="2023-10-17T13:35:28.296" v="975"/>
          <ac:spMkLst>
            <pc:docMk/>
            <pc:sldMk cId="582047224" sldId="320"/>
            <ac:spMk id="2" creationId="{38A38C48-F551-60A1-E7AC-64A52A7F2C12}"/>
          </ac:spMkLst>
        </pc:spChg>
        <pc:spChg chg="add mod">
          <ac:chgData name="JanEri14" userId="ea321e6f-a9b4-4544-8ae7-a495220778c5" providerId="ADAL" clId="{62E153A0-4EEC-471D-AD27-B717656558C3}" dt="2023-10-17T15:31:19.056" v="1595" actId="20577"/>
          <ac:spMkLst>
            <pc:docMk/>
            <pc:sldMk cId="582047224" sldId="320"/>
            <ac:spMk id="8" creationId="{779F404B-7443-3520-D406-540AB355F14A}"/>
          </ac:spMkLst>
        </pc:spChg>
        <pc:picChg chg="mod">
          <ac:chgData name="JanEri14" userId="ea321e6f-a9b4-4544-8ae7-a495220778c5" providerId="ADAL" clId="{62E153A0-4EEC-471D-AD27-B717656558C3}" dt="2023-10-17T15:26:27.575" v="1370" actId="1076"/>
          <ac:picMkLst>
            <pc:docMk/>
            <pc:sldMk cId="582047224" sldId="320"/>
            <ac:picMk id="9" creationId="{24950644-3F17-DEA8-35F2-86570CFF92BD}"/>
          </ac:picMkLst>
        </pc:picChg>
      </pc:sldChg>
      <pc:sldChg chg="modSp mod modNotesTx">
        <pc:chgData name="JanEri14" userId="ea321e6f-a9b4-4544-8ae7-a495220778c5" providerId="ADAL" clId="{62E153A0-4EEC-471D-AD27-B717656558C3}" dt="2023-10-16T15:18:33.417" v="389" actId="20577"/>
        <pc:sldMkLst>
          <pc:docMk/>
          <pc:sldMk cId="3097013568" sldId="322"/>
        </pc:sldMkLst>
        <pc:spChg chg="mod">
          <ac:chgData name="JanEri14" userId="ea321e6f-a9b4-4544-8ae7-a495220778c5" providerId="ADAL" clId="{62E153A0-4EEC-471D-AD27-B717656558C3}" dt="2023-10-13T17:30:27.886" v="111" actId="20577"/>
          <ac:spMkLst>
            <pc:docMk/>
            <pc:sldMk cId="3097013568" sldId="322"/>
            <ac:spMk id="3" creationId="{EF71B37B-0FAD-1EE7-67A2-0573BA8BBD43}"/>
          </ac:spMkLst>
        </pc:spChg>
        <pc:spChg chg="mod">
          <ac:chgData name="JanEri14" userId="ea321e6f-a9b4-4544-8ae7-a495220778c5" providerId="ADAL" clId="{62E153A0-4EEC-471D-AD27-B717656558C3}" dt="2023-10-15T11:19:38.039" v="314" actId="20577"/>
          <ac:spMkLst>
            <pc:docMk/>
            <pc:sldMk cId="3097013568" sldId="322"/>
            <ac:spMk id="5" creationId="{D6E65293-AF5A-1E1F-AE9D-35E6E33CAA15}"/>
          </ac:spMkLst>
        </pc:spChg>
      </pc:sldChg>
      <pc:sldChg chg="modSp mod">
        <pc:chgData name="JanEri14" userId="ea321e6f-a9b4-4544-8ae7-a495220778c5" providerId="ADAL" clId="{62E153A0-4EEC-471D-AD27-B717656558C3}" dt="2023-10-13T17:41:34.538" v="302" actId="20577"/>
        <pc:sldMkLst>
          <pc:docMk/>
          <pc:sldMk cId="1402220539" sldId="323"/>
        </pc:sldMkLst>
        <pc:spChg chg="mod">
          <ac:chgData name="JanEri14" userId="ea321e6f-a9b4-4544-8ae7-a495220778c5" providerId="ADAL" clId="{62E153A0-4EEC-471D-AD27-B717656558C3}" dt="2023-10-13T17:41:34.538" v="302" actId="20577"/>
          <ac:spMkLst>
            <pc:docMk/>
            <pc:sldMk cId="1402220539" sldId="323"/>
            <ac:spMk id="3" creationId="{321BC30B-07B7-84DA-94E6-477BEFD40BC2}"/>
          </ac:spMkLst>
        </pc:spChg>
      </pc:sldChg>
      <pc:sldChg chg="modSp mod modNotesTx">
        <pc:chgData name="JanEri14" userId="ea321e6f-a9b4-4544-8ae7-a495220778c5" providerId="ADAL" clId="{62E153A0-4EEC-471D-AD27-B717656558C3}" dt="2023-10-17T13:36:56.426" v="980" actId="20577"/>
        <pc:sldMkLst>
          <pc:docMk/>
          <pc:sldMk cId="3524675133" sldId="324"/>
        </pc:sldMkLst>
        <pc:spChg chg="mod">
          <ac:chgData name="JanEri14" userId="ea321e6f-a9b4-4544-8ae7-a495220778c5" providerId="ADAL" clId="{62E153A0-4EEC-471D-AD27-B717656558C3}" dt="2023-10-17T13:36:56.426" v="980" actId="20577"/>
          <ac:spMkLst>
            <pc:docMk/>
            <pc:sldMk cId="3524675133" sldId="324"/>
            <ac:spMk id="2" creationId="{5906ABD2-70D0-FD9C-E4C7-81A1E91EAD70}"/>
          </ac:spMkLst>
        </pc:spChg>
        <pc:spChg chg="mod">
          <ac:chgData name="JanEri14" userId="ea321e6f-a9b4-4544-8ae7-a495220778c5" providerId="ADAL" clId="{62E153A0-4EEC-471D-AD27-B717656558C3}" dt="2023-10-13T17:30:57.662" v="126" actId="20577"/>
          <ac:spMkLst>
            <pc:docMk/>
            <pc:sldMk cId="3524675133" sldId="324"/>
            <ac:spMk id="3" creationId="{A00C7A72-B8D8-D4B9-6A38-0FA20A1EE383}"/>
          </ac:spMkLst>
        </pc:spChg>
        <pc:spChg chg="mod">
          <ac:chgData name="JanEri14" userId="ea321e6f-a9b4-4544-8ae7-a495220778c5" providerId="ADAL" clId="{62E153A0-4EEC-471D-AD27-B717656558C3}" dt="2023-10-17T13:36:36.081" v="978" actId="20577"/>
          <ac:spMkLst>
            <pc:docMk/>
            <pc:sldMk cId="3524675133" sldId="324"/>
            <ac:spMk id="5" creationId="{F9F9AED1-AC1A-DA47-7AC0-B87D77ED626A}"/>
          </ac:spMkLst>
        </pc:spChg>
      </pc:sldChg>
      <pc:sldChg chg="modSp mod">
        <pc:chgData name="JanEri14" userId="ea321e6f-a9b4-4544-8ae7-a495220778c5" providerId="ADAL" clId="{62E153A0-4EEC-471D-AD27-B717656558C3}" dt="2023-10-13T17:32:22.091" v="186" actId="20577"/>
        <pc:sldMkLst>
          <pc:docMk/>
          <pc:sldMk cId="3639002349" sldId="325"/>
        </pc:sldMkLst>
        <pc:spChg chg="mod">
          <ac:chgData name="JanEri14" userId="ea321e6f-a9b4-4544-8ae7-a495220778c5" providerId="ADAL" clId="{62E153A0-4EEC-471D-AD27-B717656558C3}" dt="2023-10-13T17:32:22.091" v="186" actId="20577"/>
          <ac:spMkLst>
            <pc:docMk/>
            <pc:sldMk cId="3639002349" sldId="325"/>
            <ac:spMk id="3" creationId="{59958482-7D1B-4D44-6174-328F3C5CE0E4}"/>
          </ac:spMkLst>
        </pc:spChg>
      </pc:sldChg>
      <pc:sldChg chg="addSp delSp modSp mod modNotesTx">
        <pc:chgData name="JanEri14" userId="ea321e6f-a9b4-4544-8ae7-a495220778c5" providerId="ADAL" clId="{62E153A0-4EEC-471D-AD27-B717656558C3}" dt="2023-10-17T15:20:11.589" v="1369" actId="113"/>
        <pc:sldMkLst>
          <pc:docMk/>
          <pc:sldMk cId="2669051759" sldId="327"/>
        </pc:sldMkLst>
        <pc:spChg chg="mod">
          <ac:chgData name="JanEri14" userId="ea321e6f-a9b4-4544-8ae7-a495220778c5" providerId="ADAL" clId="{62E153A0-4EEC-471D-AD27-B717656558C3}" dt="2023-10-17T15:19:47.787" v="1365" actId="1076"/>
          <ac:spMkLst>
            <pc:docMk/>
            <pc:sldMk cId="2669051759" sldId="327"/>
            <ac:spMk id="2" creationId="{829E3DBC-EECC-A778-4556-B15C2B0A5D09}"/>
          </ac:spMkLst>
        </pc:spChg>
        <pc:spChg chg="add del mod">
          <ac:chgData name="JanEri14" userId="ea321e6f-a9b4-4544-8ae7-a495220778c5" providerId="ADAL" clId="{62E153A0-4EEC-471D-AD27-B717656558C3}" dt="2023-10-17T15:16:11.924" v="1317"/>
          <ac:spMkLst>
            <pc:docMk/>
            <pc:sldMk cId="2669051759" sldId="327"/>
            <ac:spMk id="3" creationId="{579921A0-2A63-23E6-551B-ABBBEA2C5294}"/>
          </ac:spMkLst>
        </pc:spChg>
        <pc:spChg chg="mod">
          <ac:chgData name="JanEri14" userId="ea321e6f-a9b4-4544-8ae7-a495220778c5" providerId="ADAL" clId="{62E153A0-4EEC-471D-AD27-B717656558C3}" dt="2023-10-16T16:57:37.320" v="917" actId="20577"/>
          <ac:spMkLst>
            <pc:docMk/>
            <pc:sldMk cId="2669051759" sldId="327"/>
            <ac:spMk id="5" creationId="{C374FB08-729E-1847-6AB0-2A1CD84AAD72}"/>
          </ac:spMkLst>
        </pc:spChg>
        <pc:spChg chg="add mod">
          <ac:chgData name="JanEri14" userId="ea321e6f-a9b4-4544-8ae7-a495220778c5" providerId="ADAL" clId="{62E153A0-4EEC-471D-AD27-B717656558C3}" dt="2023-10-17T15:20:11.589" v="1369" actId="113"/>
          <ac:spMkLst>
            <pc:docMk/>
            <pc:sldMk cId="2669051759" sldId="327"/>
            <ac:spMk id="8" creationId="{3616FA95-811B-6FD1-6A9B-806C1FEB9464}"/>
          </ac:spMkLst>
        </pc:spChg>
        <pc:spChg chg="del mod">
          <ac:chgData name="JanEri14" userId="ea321e6f-a9b4-4544-8ae7-a495220778c5" providerId="ADAL" clId="{62E153A0-4EEC-471D-AD27-B717656558C3}" dt="2023-10-16T16:57:02.857" v="902" actId="478"/>
          <ac:spMkLst>
            <pc:docMk/>
            <pc:sldMk cId="2669051759" sldId="327"/>
            <ac:spMk id="8" creationId="{E32FCB6B-1DB1-2BD5-8AF7-6EF1E3658E92}"/>
          </ac:spMkLst>
        </pc:spChg>
        <pc:grpChg chg="mod">
          <ac:chgData name="JanEri14" userId="ea321e6f-a9b4-4544-8ae7-a495220778c5" providerId="ADAL" clId="{62E153A0-4EEC-471D-AD27-B717656558C3}" dt="2023-10-17T15:19:11.908" v="1360" actId="1076"/>
          <ac:grpSpMkLst>
            <pc:docMk/>
            <pc:sldMk cId="2669051759" sldId="327"/>
            <ac:grpSpMk id="77" creationId="{C5924631-47D9-563D-C7E0-4104690B4FBE}"/>
          </ac:grpSpMkLst>
        </pc:grpChg>
      </pc:sldChg>
      <pc:sldChg chg="addSp modSp mod">
        <pc:chgData name="JanEri14" userId="ea321e6f-a9b4-4544-8ae7-a495220778c5" providerId="ADAL" clId="{62E153A0-4EEC-471D-AD27-B717656558C3}" dt="2023-10-17T15:06:28.618" v="1312" actId="1076"/>
        <pc:sldMkLst>
          <pc:docMk/>
          <pc:sldMk cId="2226441360" sldId="328"/>
        </pc:sldMkLst>
        <pc:spChg chg="mod">
          <ac:chgData name="JanEri14" userId="ea321e6f-a9b4-4544-8ae7-a495220778c5" providerId="ADAL" clId="{62E153A0-4EEC-471D-AD27-B717656558C3}" dt="2023-10-17T13:40:53.627" v="995" actId="20577"/>
          <ac:spMkLst>
            <pc:docMk/>
            <pc:sldMk cId="2226441360" sldId="328"/>
            <ac:spMk id="2" creationId="{76411BE9-62AF-0884-AED8-8B0AF62CBBD6}"/>
          </ac:spMkLst>
        </pc:spChg>
        <pc:spChg chg="mod">
          <ac:chgData name="JanEri14" userId="ea321e6f-a9b4-4544-8ae7-a495220778c5" providerId="ADAL" clId="{62E153A0-4EEC-471D-AD27-B717656558C3}" dt="2023-10-17T15:06:21.474" v="1310" actId="1076"/>
          <ac:spMkLst>
            <pc:docMk/>
            <pc:sldMk cId="2226441360" sldId="328"/>
            <ac:spMk id="9" creationId="{F41D8103-566A-E737-7D6A-DD9649FC9144}"/>
          </ac:spMkLst>
        </pc:spChg>
        <pc:spChg chg="add mod">
          <ac:chgData name="JanEri14" userId="ea321e6f-a9b4-4544-8ae7-a495220778c5" providerId="ADAL" clId="{62E153A0-4EEC-471D-AD27-B717656558C3}" dt="2023-10-17T15:06:28.618" v="1312" actId="1076"/>
          <ac:spMkLst>
            <pc:docMk/>
            <pc:sldMk cId="2226441360" sldId="328"/>
            <ac:spMk id="10" creationId="{6FA941DB-1010-2A28-28B3-094CB4F9CAE9}"/>
          </ac:spMkLst>
        </pc:spChg>
        <pc:spChg chg="add mod">
          <ac:chgData name="JanEri14" userId="ea321e6f-a9b4-4544-8ae7-a495220778c5" providerId="ADAL" clId="{62E153A0-4EEC-471D-AD27-B717656558C3}" dt="2023-10-17T15:06:06.004" v="1308" actId="20577"/>
          <ac:spMkLst>
            <pc:docMk/>
            <pc:sldMk cId="2226441360" sldId="328"/>
            <ac:spMk id="11" creationId="{39BE2948-437B-D08C-AA1F-68A5B2A96968}"/>
          </ac:spMkLst>
        </pc:spChg>
      </pc:sldChg>
      <pc:sldChg chg="modSp mod">
        <pc:chgData name="JanEri14" userId="ea321e6f-a9b4-4544-8ae7-a495220778c5" providerId="ADAL" clId="{62E153A0-4EEC-471D-AD27-B717656558C3}" dt="2023-10-17T13:32:58.252" v="966"/>
        <pc:sldMkLst>
          <pc:docMk/>
          <pc:sldMk cId="1176767983" sldId="330"/>
        </pc:sldMkLst>
        <pc:spChg chg="mod">
          <ac:chgData name="JanEri14" userId="ea321e6f-a9b4-4544-8ae7-a495220778c5" providerId="ADAL" clId="{62E153A0-4EEC-471D-AD27-B717656558C3}" dt="2023-10-17T13:32:58.252" v="966"/>
          <ac:spMkLst>
            <pc:docMk/>
            <pc:sldMk cId="1176767983" sldId="330"/>
            <ac:spMk id="2" creationId="{B4FE2196-54B6-F3E2-6686-A0FC90353A7E}"/>
          </ac:spMkLst>
        </pc:spChg>
      </pc:sldChg>
      <pc:sldChg chg="modSp mod modNotesTx">
        <pc:chgData name="JanEri14" userId="ea321e6f-a9b4-4544-8ae7-a495220778c5" providerId="ADAL" clId="{62E153A0-4EEC-471D-AD27-B717656558C3}" dt="2023-10-17T13:36:28.931" v="977" actId="20577"/>
        <pc:sldMkLst>
          <pc:docMk/>
          <pc:sldMk cId="2355576244" sldId="331"/>
        </pc:sldMkLst>
        <pc:spChg chg="mod">
          <ac:chgData name="JanEri14" userId="ea321e6f-a9b4-4544-8ae7-a495220778c5" providerId="ADAL" clId="{62E153A0-4EEC-471D-AD27-B717656558C3}" dt="2023-10-17T13:36:28.931" v="977" actId="20577"/>
          <ac:spMkLst>
            <pc:docMk/>
            <pc:sldMk cId="2355576244" sldId="331"/>
            <ac:spMk id="2" creationId="{2521373C-32EE-25D6-257F-12143A4CB3F7}"/>
          </ac:spMkLst>
        </pc:spChg>
        <pc:spChg chg="mod">
          <ac:chgData name="JanEri14" userId="ea321e6f-a9b4-4544-8ae7-a495220778c5" providerId="ADAL" clId="{62E153A0-4EEC-471D-AD27-B717656558C3}" dt="2023-10-15T11:32:01.021" v="318" actId="14100"/>
          <ac:spMkLst>
            <pc:docMk/>
            <pc:sldMk cId="2355576244" sldId="331"/>
            <ac:spMk id="30" creationId="{469495C7-D390-0D10-CDE9-23415333005E}"/>
          </ac:spMkLst>
        </pc:spChg>
      </pc:sldChg>
      <pc:sldChg chg="modSp mod modNotesTx">
        <pc:chgData name="JanEri14" userId="ea321e6f-a9b4-4544-8ae7-a495220778c5" providerId="ADAL" clId="{62E153A0-4EEC-471D-AD27-B717656558C3}" dt="2023-10-17T13:37:24.393" v="981"/>
        <pc:sldMkLst>
          <pc:docMk/>
          <pc:sldMk cId="3624439011" sldId="334"/>
        </pc:sldMkLst>
        <pc:spChg chg="mod">
          <ac:chgData name="JanEri14" userId="ea321e6f-a9b4-4544-8ae7-a495220778c5" providerId="ADAL" clId="{62E153A0-4EEC-471D-AD27-B717656558C3}" dt="2023-10-17T13:37:24.393" v="981"/>
          <ac:spMkLst>
            <pc:docMk/>
            <pc:sldMk cId="3624439011" sldId="334"/>
            <ac:spMk id="2" creationId="{5906ABD2-70D0-FD9C-E4C7-81A1E91EAD70}"/>
          </ac:spMkLst>
        </pc:spChg>
      </pc:sldChg>
      <pc:sldChg chg="modSp mod">
        <pc:chgData name="JanEri14" userId="ea321e6f-a9b4-4544-8ae7-a495220778c5" providerId="ADAL" clId="{62E153A0-4EEC-471D-AD27-B717656558C3}" dt="2023-10-17T13:37:38.842" v="983"/>
        <pc:sldMkLst>
          <pc:docMk/>
          <pc:sldMk cId="574875507" sldId="335"/>
        </pc:sldMkLst>
        <pc:spChg chg="mod">
          <ac:chgData name="JanEri14" userId="ea321e6f-a9b4-4544-8ae7-a495220778c5" providerId="ADAL" clId="{62E153A0-4EEC-471D-AD27-B717656558C3}" dt="2023-10-17T13:37:38.842" v="983"/>
          <ac:spMkLst>
            <pc:docMk/>
            <pc:sldMk cId="574875507" sldId="335"/>
            <ac:spMk id="2" creationId="{5906ABD2-70D0-FD9C-E4C7-81A1E91EAD70}"/>
          </ac:spMkLst>
        </pc:spChg>
        <pc:spChg chg="mod">
          <ac:chgData name="JanEri14" userId="ea321e6f-a9b4-4544-8ae7-a495220778c5" providerId="ADAL" clId="{62E153A0-4EEC-471D-AD27-B717656558C3}" dt="2023-10-15T11:15:40.821" v="312" actId="20577"/>
          <ac:spMkLst>
            <pc:docMk/>
            <pc:sldMk cId="574875507" sldId="335"/>
            <ac:spMk id="5" creationId="{F9F9AED1-AC1A-DA47-7AC0-B87D77ED626A}"/>
          </ac:spMkLst>
        </pc:spChg>
      </pc:sldChg>
      <pc:sldChg chg="modSp mod">
        <pc:chgData name="JanEri14" userId="ea321e6f-a9b4-4544-8ae7-a495220778c5" providerId="ADAL" clId="{62E153A0-4EEC-471D-AD27-B717656558C3}" dt="2023-10-19T18:51:26.536" v="1659" actId="20577"/>
        <pc:sldMkLst>
          <pc:docMk/>
          <pc:sldMk cId="922827603" sldId="336"/>
        </pc:sldMkLst>
        <pc:spChg chg="mod">
          <ac:chgData name="JanEri14" userId="ea321e6f-a9b4-4544-8ae7-a495220778c5" providerId="ADAL" clId="{62E153A0-4EEC-471D-AD27-B717656558C3}" dt="2023-10-19T18:51:26.536" v="1659" actId="20577"/>
          <ac:spMkLst>
            <pc:docMk/>
            <pc:sldMk cId="922827603" sldId="336"/>
            <ac:spMk id="2" creationId="{318C4205-4AD7-2886-D957-1A6345FF81B9}"/>
          </ac:spMkLst>
        </pc:spChg>
      </pc:sldChg>
      <pc:sldChg chg="modSp mod">
        <pc:chgData name="JanEri14" userId="ea321e6f-a9b4-4544-8ae7-a495220778c5" providerId="ADAL" clId="{62E153A0-4EEC-471D-AD27-B717656558C3}" dt="2023-10-15T11:37:13.663" v="320" actId="1076"/>
        <pc:sldMkLst>
          <pc:docMk/>
          <pc:sldMk cId="3088635774" sldId="337"/>
        </pc:sldMkLst>
        <pc:spChg chg="mod">
          <ac:chgData name="JanEri14" userId="ea321e6f-a9b4-4544-8ae7-a495220778c5" providerId="ADAL" clId="{62E153A0-4EEC-471D-AD27-B717656558C3}" dt="2023-10-15T11:37:13.663" v="320" actId="1076"/>
          <ac:spMkLst>
            <pc:docMk/>
            <pc:sldMk cId="3088635774" sldId="337"/>
            <ac:spMk id="34" creationId="{4819BD01-FEB8-2998-D57A-98FD10B69491}"/>
          </ac:spMkLst>
        </pc:spChg>
      </pc:sldChg>
      <pc:sldChg chg="modSp mod modNotesTx">
        <pc:chgData name="JanEri14" userId="ea321e6f-a9b4-4544-8ae7-a495220778c5" providerId="ADAL" clId="{62E153A0-4EEC-471D-AD27-B717656558C3}" dt="2023-10-17T13:37:33.364" v="982"/>
        <pc:sldMkLst>
          <pc:docMk/>
          <pc:sldMk cId="3674816059" sldId="339"/>
        </pc:sldMkLst>
        <pc:spChg chg="mod">
          <ac:chgData name="JanEri14" userId="ea321e6f-a9b4-4544-8ae7-a495220778c5" providerId="ADAL" clId="{62E153A0-4EEC-471D-AD27-B717656558C3}" dt="2023-10-17T13:37:33.364" v="982"/>
          <ac:spMkLst>
            <pc:docMk/>
            <pc:sldMk cId="3674816059" sldId="339"/>
            <ac:spMk id="2" creationId="{156FD766-2EC5-3016-69B5-D6F8796353B4}"/>
          </ac:spMkLst>
        </pc:spChg>
      </pc:sldChg>
      <pc:sldChg chg="modSp mod">
        <pc:chgData name="JanEri14" userId="ea321e6f-a9b4-4544-8ae7-a495220778c5" providerId="ADAL" clId="{62E153A0-4EEC-471D-AD27-B717656558C3}" dt="2023-10-17T13:39:30.408" v="989" actId="20577"/>
        <pc:sldMkLst>
          <pc:docMk/>
          <pc:sldMk cId="1332053118" sldId="340"/>
        </pc:sldMkLst>
        <pc:spChg chg="mod">
          <ac:chgData name="JanEri14" userId="ea321e6f-a9b4-4544-8ae7-a495220778c5" providerId="ADAL" clId="{62E153A0-4EEC-471D-AD27-B717656558C3}" dt="2023-10-17T13:39:30.408" v="989" actId="20577"/>
          <ac:spMkLst>
            <pc:docMk/>
            <pc:sldMk cId="1332053118" sldId="340"/>
            <ac:spMk id="2" creationId="{1010524F-2A73-7C75-4A1A-924CE9CB7B52}"/>
          </ac:spMkLst>
        </pc:spChg>
      </pc:sldChg>
      <pc:sldChg chg="modSp mod">
        <pc:chgData name="JanEri14" userId="ea321e6f-a9b4-4544-8ae7-a495220778c5" providerId="ADAL" clId="{62E153A0-4EEC-471D-AD27-B717656558C3}" dt="2023-10-17T13:33:04.445" v="967" actId="20577"/>
        <pc:sldMkLst>
          <pc:docMk/>
          <pc:sldMk cId="1788893857" sldId="341"/>
        </pc:sldMkLst>
        <pc:spChg chg="mod">
          <ac:chgData name="JanEri14" userId="ea321e6f-a9b4-4544-8ae7-a495220778c5" providerId="ADAL" clId="{62E153A0-4EEC-471D-AD27-B717656558C3}" dt="2023-10-17T13:33:04.445" v="967" actId="20577"/>
          <ac:spMkLst>
            <pc:docMk/>
            <pc:sldMk cId="1788893857" sldId="341"/>
            <ac:spMk id="2" creationId="{46A33086-A78D-6EF2-7838-E344F0218BC1}"/>
          </ac:spMkLst>
        </pc:spChg>
      </pc:sldChg>
      <pc:sldChg chg="modSp mod">
        <pc:chgData name="JanEri14" userId="ea321e6f-a9b4-4544-8ae7-a495220778c5" providerId="ADAL" clId="{62E153A0-4EEC-471D-AD27-B717656558C3}" dt="2023-10-17T15:45:35.258" v="1651" actId="20577"/>
        <pc:sldMkLst>
          <pc:docMk/>
          <pc:sldMk cId="1204342257" sldId="362"/>
        </pc:sldMkLst>
        <pc:spChg chg="mod">
          <ac:chgData name="JanEri14" userId="ea321e6f-a9b4-4544-8ae7-a495220778c5" providerId="ADAL" clId="{62E153A0-4EEC-471D-AD27-B717656558C3}" dt="2023-10-17T13:38:27.034" v="984"/>
          <ac:spMkLst>
            <pc:docMk/>
            <pc:sldMk cId="1204342257" sldId="362"/>
            <ac:spMk id="2" creationId="{E8E9310C-AF8F-0DCD-D269-F390E6BCA246}"/>
          </ac:spMkLst>
        </pc:spChg>
        <pc:spChg chg="mod">
          <ac:chgData name="JanEri14" userId="ea321e6f-a9b4-4544-8ae7-a495220778c5" providerId="ADAL" clId="{62E153A0-4EEC-471D-AD27-B717656558C3}" dt="2023-10-17T15:45:35.258" v="1651" actId="20577"/>
          <ac:spMkLst>
            <pc:docMk/>
            <pc:sldMk cId="1204342257" sldId="362"/>
            <ac:spMk id="3" creationId="{78AEC600-541C-5561-2219-E2CE2308AA64}"/>
          </ac:spMkLst>
        </pc:spChg>
      </pc:sldChg>
      <pc:sldChg chg="modSp new mod">
        <pc:chgData name="JanEri14" userId="ea321e6f-a9b4-4544-8ae7-a495220778c5" providerId="ADAL" clId="{62E153A0-4EEC-471D-AD27-B717656558C3}" dt="2023-10-16T16:28:06.616" v="422" actId="20577"/>
        <pc:sldMkLst>
          <pc:docMk/>
          <pc:sldMk cId="3670225622" sldId="370"/>
        </pc:sldMkLst>
        <pc:spChg chg="mod">
          <ac:chgData name="JanEri14" userId="ea321e6f-a9b4-4544-8ae7-a495220778c5" providerId="ADAL" clId="{62E153A0-4EEC-471D-AD27-B717656558C3}" dt="2023-10-16T16:28:06.616" v="422" actId="20577"/>
          <ac:spMkLst>
            <pc:docMk/>
            <pc:sldMk cId="3670225622" sldId="370"/>
            <ac:spMk id="2" creationId="{4885B40B-4B1A-D0E1-C52A-2EF498C812A2}"/>
          </ac:spMkLst>
        </pc:spChg>
      </pc:sldChg>
      <pc:sldChg chg="addSp delSp modSp add mod">
        <pc:chgData name="JanEri14" userId="ea321e6f-a9b4-4544-8ae7-a495220778c5" providerId="ADAL" clId="{62E153A0-4EEC-471D-AD27-B717656558C3}" dt="2023-10-16T16:55:58.147" v="901" actId="13822"/>
        <pc:sldMkLst>
          <pc:docMk/>
          <pc:sldMk cId="4033112458" sldId="375"/>
        </pc:sldMkLst>
        <pc:spChg chg="mod">
          <ac:chgData name="JanEri14" userId="ea321e6f-a9b4-4544-8ae7-a495220778c5" providerId="ADAL" clId="{62E153A0-4EEC-471D-AD27-B717656558C3}" dt="2023-10-16T16:54:32.622" v="860"/>
          <ac:spMkLst>
            <pc:docMk/>
            <pc:sldMk cId="4033112458" sldId="375"/>
            <ac:spMk id="2" creationId="{4885B40B-4B1A-D0E1-C52A-2EF498C812A2}"/>
          </ac:spMkLst>
        </pc:spChg>
        <pc:spChg chg="del">
          <ac:chgData name="JanEri14" userId="ea321e6f-a9b4-4544-8ae7-a495220778c5" providerId="ADAL" clId="{62E153A0-4EEC-471D-AD27-B717656558C3}" dt="2023-10-16T16:47:10.054" v="434" actId="478"/>
          <ac:spMkLst>
            <pc:docMk/>
            <pc:sldMk cId="4033112458" sldId="375"/>
            <ac:spMk id="3" creationId="{EA376199-376D-E130-322F-9D20A75D9325}"/>
          </ac:spMkLst>
        </pc:spChg>
        <pc:spChg chg="mod">
          <ac:chgData name="JanEri14" userId="ea321e6f-a9b4-4544-8ae7-a495220778c5" providerId="ADAL" clId="{62E153A0-4EEC-471D-AD27-B717656558C3}" dt="2023-10-16T16:54:36.680" v="870" actId="20577"/>
          <ac:spMkLst>
            <pc:docMk/>
            <pc:sldMk cId="4033112458" sldId="375"/>
            <ac:spMk id="5" creationId="{57EA53C3-3F1D-3F71-757C-7DE247AC58FE}"/>
          </ac:spMkLst>
        </pc:spChg>
        <pc:spChg chg="add mod">
          <ac:chgData name="JanEri14" userId="ea321e6f-a9b4-4544-8ae7-a495220778c5" providerId="ADAL" clId="{62E153A0-4EEC-471D-AD27-B717656558C3}" dt="2023-10-16T16:49:27.357" v="493" actId="1076"/>
          <ac:spMkLst>
            <pc:docMk/>
            <pc:sldMk cId="4033112458" sldId="375"/>
            <ac:spMk id="8" creationId="{5E2DB327-07B8-5D6E-A93E-7371A1844885}"/>
          </ac:spMkLst>
        </pc:spChg>
        <pc:spChg chg="add mod">
          <ac:chgData name="JanEri14" userId="ea321e6f-a9b4-4544-8ae7-a495220778c5" providerId="ADAL" clId="{62E153A0-4EEC-471D-AD27-B717656558C3}" dt="2023-10-16T16:51:46.519" v="683" actId="1076"/>
          <ac:spMkLst>
            <pc:docMk/>
            <pc:sldMk cId="4033112458" sldId="375"/>
            <ac:spMk id="9" creationId="{D42310E5-365F-D9AA-0DF1-D5AF93B9ADCD}"/>
          </ac:spMkLst>
        </pc:spChg>
        <pc:spChg chg="add mod">
          <ac:chgData name="JanEri14" userId="ea321e6f-a9b4-4544-8ae7-a495220778c5" providerId="ADAL" clId="{62E153A0-4EEC-471D-AD27-B717656558C3}" dt="2023-10-16T16:51:48.863" v="684" actId="1076"/>
          <ac:spMkLst>
            <pc:docMk/>
            <pc:sldMk cId="4033112458" sldId="375"/>
            <ac:spMk id="10" creationId="{487B72BA-25FE-6794-6E9D-F2158F521542}"/>
          </ac:spMkLst>
        </pc:spChg>
        <pc:spChg chg="add del mod">
          <ac:chgData name="JanEri14" userId="ea321e6f-a9b4-4544-8ae7-a495220778c5" providerId="ADAL" clId="{62E153A0-4EEC-471D-AD27-B717656558C3}" dt="2023-10-16T16:50:01.503" v="549" actId="478"/>
          <ac:spMkLst>
            <pc:docMk/>
            <pc:sldMk cId="4033112458" sldId="375"/>
            <ac:spMk id="11" creationId="{930A46C6-CD48-3EF5-5DF9-BF8C565BD005}"/>
          </ac:spMkLst>
        </pc:spChg>
        <pc:spChg chg="add mod">
          <ac:chgData name="JanEri14" userId="ea321e6f-a9b4-4544-8ae7-a495220778c5" providerId="ADAL" clId="{62E153A0-4EEC-471D-AD27-B717656558C3}" dt="2023-10-16T16:51:09.679" v="650" actId="14100"/>
          <ac:spMkLst>
            <pc:docMk/>
            <pc:sldMk cId="4033112458" sldId="375"/>
            <ac:spMk id="12" creationId="{B70DA8CA-D176-0369-7FD3-EAFFBCF77D11}"/>
          </ac:spMkLst>
        </pc:spChg>
        <pc:spChg chg="add mod">
          <ac:chgData name="JanEri14" userId="ea321e6f-a9b4-4544-8ae7-a495220778c5" providerId="ADAL" clId="{62E153A0-4EEC-471D-AD27-B717656558C3}" dt="2023-10-16T16:51:12.573" v="651" actId="1076"/>
          <ac:spMkLst>
            <pc:docMk/>
            <pc:sldMk cId="4033112458" sldId="375"/>
            <ac:spMk id="13" creationId="{FBD2F447-A07F-27EA-F257-E85D18BA2857}"/>
          </ac:spMkLst>
        </pc:spChg>
        <pc:spChg chg="add mod">
          <ac:chgData name="JanEri14" userId="ea321e6f-a9b4-4544-8ae7-a495220778c5" providerId="ADAL" clId="{62E153A0-4EEC-471D-AD27-B717656558C3}" dt="2023-10-16T16:51:14.812" v="652" actId="1076"/>
          <ac:spMkLst>
            <pc:docMk/>
            <pc:sldMk cId="4033112458" sldId="375"/>
            <ac:spMk id="14" creationId="{94E83C71-E404-57B6-0746-016066A3737A}"/>
          </ac:spMkLst>
        </pc:spChg>
        <pc:spChg chg="add mod">
          <ac:chgData name="JanEri14" userId="ea321e6f-a9b4-4544-8ae7-a495220778c5" providerId="ADAL" clId="{62E153A0-4EEC-471D-AD27-B717656558C3}" dt="2023-10-16T16:55:58.147" v="901" actId="13822"/>
          <ac:spMkLst>
            <pc:docMk/>
            <pc:sldMk cId="4033112458" sldId="375"/>
            <ac:spMk id="15" creationId="{F8886834-0EFE-2D3C-69D6-68F5E52C09A5}"/>
          </ac:spMkLst>
        </pc:spChg>
        <pc:spChg chg="add mod">
          <ac:chgData name="JanEri14" userId="ea321e6f-a9b4-4544-8ae7-a495220778c5" providerId="ADAL" clId="{62E153A0-4EEC-471D-AD27-B717656558C3}" dt="2023-10-16T16:52:16.676" v="714" actId="20577"/>
          <ac:spMkLst>
            <pc:docMk/>
            <pc:sldMk cId="4033112458" sldId="375"/>
            <ac:spMk id="16" creationId="{F68DC3E8-F1FC-5D31-2BFE-37155719E82A}"/>
          </ac:spMkLst>
        </pc:spChg>
        <pc:spChg chg="add mod">
          <ac:chgData name="JanEri14" userId="ea321e6f-a9b4-4544-8ae7-a495220778c5" providerId="ADAL" clId="{62E153A0-4EEC-471D-AD27-B717656558C3}" dt="2023-10-16T16:52:27.393" v="757" actId="14100"/>
          <ac:spMkLst>
            <pc:docMk/>
            <pc:sldMk cId="4033112458" sldId="375"/>
            <ac:spMk id="17" creationId="{493C0CEE-18AC-898B-1091-5422A798E827}"/>
          </ac:spMkLst>
        </pc:spChg>
        <pc:spChg chg="add mod">
          <ac:chgData name="JanEri14" userId="ea321e6f-a9b4-4544-8ae7-a495220778c5" providerId="ADAL" clId="{62E153A0-4EEC-471D-AD27-B717656558C3}" dt="2023-10-16T16:52:39.512" v="781" actId="1076"/>
          <ac:spMkLst>
            <pc:docMk/>
            <pc:sldMk cId="4033112458" sldId="375"/>
            <ac:spMk id="18" creationId="{9D42AF47-0FA5-FAFB-F9E3-992B765E61DD}"/>
          </ac:spMkLst>
        </pc:spChg>
        <pc:spChg chg="add del mod">
          <ac:chgData name="JanEri14" userId="ea321e6f-a9b4-4544-8ae7-a495220778c5" providerId="ADAL" clId="{62E153A0-4EEC-471D-AD27-B717656558C3}" dt="2023-10-16T16:52:37.047" v="780" actId="478"/>
          <ac:spMkLst>
            <pc:docMk/>
            <pc:sldMk cId="4033112458" sldId="375"/>
            <ac:spMk id="19" creationId="{37B92313-6C41-C912-F66F-D43B32145152}"/>
          </ac:spMkLst>
        </pc:spChg>
        <pc:spChg chg="add mod">
          <ac:chgData name="JanEri14" userId="ea321e6f-a9b4-4544-8ae7-a495220778c5" providerId="ADAL" clId="{62E153A0-4EEC-471D-AD27-B717656558C3}" dt="2023-10-16T16:52:50.629" v="809" actId="20577"/>
          <ac:spMkLst>
            <pc:docMk/>
            <pc:sldMk cId="4033112458" sldId="375"/>
            <ac:spMk id="20" creationId="{64344FD6-3450-C36B-6CA2-8B16924F1F64}"/>
          </ac:spMkLst>
        </pc:spChg>
        <pc:spChg chg="add mod">
          <ac:chgData name="JanEri14" userId="ea321e6f-a9b4-4544-8ae7-a495220778c5" providerId="ADAL" clId="{62E153A0-4EEC-471D-AD27-B717656558C3}" dt="2023-10-16T16:52:56.660" v="830" actId="20577"/>
          <ac:spMkLst>
            <pc:docMk/>
            <pc:sldMk cId="4033112458" sldId="375"/>
            <ac:spMk id="21" creationId="{A182B185-2E6D-B670-A84D-1425123B758B}"/>
          </ac:spMkLst>
        </pc:spChg>
        <pc:spChg chg="add mod">
          <ac:chgData name="JanEri14" userId="ea321e6f-a9b4-4544-8ae7-a495220778c5" providerId="ADAL" clId="{62E153A0-4EEC-471D-AD27-B717656558C3}" dt="2023-10-16T16:54:49.385" v="873" actId="1076"/>
          <ac:spMkLst>
            <pc:docMk/>
            <pc:sldMk cId="4033112458" sldId="375"/>
            <ac:spMk id="22" creationId="{11AE36B7-92EF-1E11-5938-224F481357E1}"/>
          </ac:spMkLst>
        </pc:spChg>
        <pc:spChg chg="add del mod">
          <ac:chgData name="JanEri14" userId="ea321e6f-a9b4-4544-8ae7-a495220778c5" providerId="ADAL" clId="{62E153A0-4EEC-471D-AD27-B717656558C3}" dt="2023-10-16T16:53:29.241" v="853" actId="478"/>
          <ac:spMkLst>
            <pc:docMk/>
            <pc:sldMk cId="4033112458" sldId="375"/>
            <ac:spMk id="23" creationId="{F060161A-054C-89A7-48E3-98A421D5E44D}"/>
          </ac:spMkLst>
        </pc:spChg>
        <pc:spChg chg="add mod">
          <ac:chgData name="JanEri14" userId="ea321e6f-a9b4-4544-8ae7-a495220778c5" providerId="ADAL" clId="{62E153A0-4EEC-471D-AD27-B717656558C3}" dt="2023-10-16T16:55:06.448" v="882" actId="1076"/>
          <ac:spMkLst>
            <pc:docMk/>
            <pc:sldMk cId="4033112458" sldId="375"/>
            <ac:spMk id="24" creationId="{0DCC53FC-F100-2CEE-7430-F5E38E151B0C}"/>
          </ac:spMkLst>
        </pc:spChg>
        <pc:spChg chg="add del mod">
          <ac:chgData name="JanEri14" userId="ea321e6f-a9b4-4544-8ae7-a495220778c5" providerId="ADAL" clId="{62E153A0-4EEC-471D-AD27-B717656558C3}" dt="2023-10-16T16:55:27.374" v="886" actId="478"/>
          <ac:spMkLst>
            <pc:docMk/>
            <pc:sldMk cId="4033112458" sldId="375"/>
            <ac:spMk id="25" creationId="{FB294922-EA4B-498D-3B5D-C5EA04751986}"/>
          </ac:spMkLst>
        </pc:spChg>
        <pc:spChg chg="add mod">
          <ac:chgData name="JanEri14" userId="ea321e6f-a9b4-4544-8ae7-a495220778c5" providerId="ADAL" clId="{62E153A0-4EEC-471D-AD27-B717656558C3}" dt="2023-10-16T16:55:35.554" v="890" actId="1076"/>
          <ac:spMkLst>
            <pc:docMk/>
            <pc:sldMk cId="4033112458" sldId="375"/>
            <ac:spMk id="26" creationId="{D9ACA198-24F7-AF7D-1EF5-77449D1CF12F}"/>
          </ac:spMkLst>
        </pc:spChg>
        <pc:spChg chg="add mod">
          <ac:chgData name="JanEri14" userId="ea321e6f-a9b4-4544-8ae7-a495220778c5" providerId="ADAL" clId="{62E153A0-4EEC-471D-AD27-B717656558C3}" dt="2023-10-16T16:55:42.558" v="894" actId="1076"/>
          <ac:spMkLst>
            <pc:docMk/>
            <pc:sldMk cId="4033112458" sldId="375"/>
            <ac:spMk id="27" creationId="{7E7EA03A-0BBB-1450-1024-EF78F8C62192}"/>
          </ac:spMkLst>
        </pc:spChg>
      </pc:sldChg>
      <pc:sldChg chg="modSp mod">
        <pc:chgData name="JanEri14" userId="ea321e6f-a9b4-4544-8ae7-a495220778c5" providerId="ADAL" clId="{62E153A0-4EEC-471D-AD27-B717656558C3}" dt="2023-10-17T15:39:43.422" v="1621" actId="20577"/>
        <pc:sldMkLst>
          <pc:docMk/>
          <pc:sldMk cId="2636289103" sldId="1071"/>
        </pc:sldMkLst>
        <pc:spChg chg="mod">
          <ac:chgData name="JanEri14" userId="ea321e6f-a9b4-4544-8ae7-a495220778c5" providerId="ADAL" clId="{62E153A0-4EEC-471D-AD27-B717656558C3}" dt="2023-10-17T15:39:43.422" v="1621" actId="20577"/>
          <ac:spMkLst>
            <pc:docMk/>
            <pc:sldMk cId="2636289103" sldId="1071"/>
            <ac:spMk id="22" creationId="{00000000-0000-0000-0000-000000000000}"/>
          </ac:spMkLst>
        </pc:spChg>
      </pc:sldChg>
      <pc:sldChg chg="modSp mod">
        <pc:chgData name="JanEri14" userId="ea321e6f-a9b4-4544-8ae7-a495220778c5" providerId="ADAL" clId="{62E153A0-4EEC-471D-AD27-B717656558C3}" dt="2023-10-17T15:39:37.961" v="1613" actId="20577"/>
        <pc:sldMkLst>
          <pc:docMk/>
          <pc:sldMk cId="3398839119" sldId="1072"/>
        </pc:sldMkLst>
        <pc:spChg chg="mod">
          <ac:chgData name="JanEri14" userId="ea321e6f-a9b4-4544-8ae7-a495220778c5" providerId="ADAL" clId="{62E153A0-4EEC-471D-AD27-B717656558C3}" dt="2023-10-17T15:39:37.961" v="1613" actId="20577"/>
          <ac:spMkLst>
            <pc:docMk/>
            <pc:sldMk cId="3398839119" sldId="1072"/>
            <ac:spMk id="22" creationId="{00000000-0000-0000-0000-000000000000}"/>
          </ac:spMkLst>
        </pc:spChg>
      </pc:sldChg>
      <pc:sldChg chg="modSp mod ord">
        <pc:chgData name="JanEri14" userId="ea321e6f-a9b4-4544-8ae7-a495220778c5" providerId="ADAL" clId="{62E153A0-4EEC-471D-AD27-B717656558C3}" dt="2023-10-17T15:39:31.807" v="1605" actId="20577"/>
        <pc:sldMkLst>
          <pc:docMk/>
          <pc:sldMk cId="346588154" sldId="1073"/>
        </pc:sldMkLst>
        <pc:spChg chg="mod">
          <ac:chgData name="JanEri14" userId="ea321e6f-a9b4-4544-8ae7-a495220778c5" providerId="ADAL" clId="{62E153A0-4EEC-471D-AD27-B717656558C3}" dt="2023-10-17T15:39:31.807" v="1605" actId="20577"/>
          <ac:spMkLst>
            <pc:docMk/>
            <pc:sldMk cId="346588154" sldId="1073"/>
            <ac:spMk id="22" creationId="{00000000-0000-0000-0000-000000000000}"/>
          </ac:spMkLst>
        </pc:spChg>
      </pc:sldChg>
    </pc:docChg>
  </pc:docChgLst>
  <pc:docChgLst>
    <pc:chgData name="KlaSch23" userId="af01d902-f81e-4bcd-8d25-195841bb9bd0" providerId="ADAL" clId="{130DB200-CC37-4CB0-9CB7-6B4CEEE70D4C}"/>
    <pc:docChg chg="addSld modSld sldOrd">
      <pc:chgData name="KlaSch23" userId="af01d902-f81e-4bcd-8d25-195841bb9bd0" providerId="ADAL" clId="{130DB200-CC37-4CB0-9CB7-6B4CEEE70D4C}" dt="2023-12-03T16:54:18.426" v="350"/>
      <pc:docMkLst>
        <pc:docMk/>
      </pc:docMkLst>
      <pc:sldChg chg="addCm modCm">
        <pc:chgData name="KlaSch23" userId="af01d902-f81e-4bcd-8d25-195841bb9bd0" providerId="ADAL" clId="{130DB200-CC37-4CB0-9CB7-6B4CEEE70D4C}" dt="2023-11-29T12:48:17.314" v="322"/>
        <pc:sldMkLst>
          <pc:docMk/>
          <pc:sldMk cId="894086320" sldId="265"/>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48:17.314" v="322"/>
              <pc2:cmMkLst xmlns:pc2="http://schemas.microsoft.com/office/powerpoint/2019/9/main/command">
                <pc:docMk/>
                <pc:sldMk cId="894086320" sldId="265"/>
                <pc2:cmMk id="{38DC8A6D-6ED8-44F0-9EA1-F557411D9F1A}"/>
              </pc2:cmMkLst>
              <pc226:cmRplyChg chg="add">
                <pc226:chgData name="KlaSch23" userId="af01d902-f81e-4bcd-8d25-195841bb9bd0" providerId="ADAL" clId="{130DB200-CC37-4CB0-9CB7-6B4CEEE70D4C}" dt="2023-11-29T12:48:17.314" v="322"/>
                <pc2:cmRplyMkLst xmlns:pc2="http://schemas.microsoft.com/office/powerpoint/2019/9/main/command">
                  <pc:docMk/>
                  <pc:sldMk cId="894086320" sldId="265"/>
                  <pc2:cmMk id="{38DC8A6D-6ED8-44F0-9EA1-F557411D9F1A}"/>
                  <pc2:cmRplyMk id="{DDADF428-F62B-4077-8C9A-B87ABA1EE012}"/>
                </pc2:cmRplyMkLst>
              </pc226:cmRplyChg>
            </pc226:cmChg>
          </p:ext>
        </pc:extLst>
      </pc:sldChg>
      <pc:sldChg chg="addCm modCm">
        <pc:chgData name="KlaSch23" userId="af01d902-f81e-4bcd-8d25-195841bb9bd0" providerId="ADAL" clId="{130DB200-CC37-4CB0-9CB7-6B4CEEE70D4C}" dt="2023-11-29T13:07:12.317" v="334"/>
        <pc:sldMkLst>
          <pc:docMk/>
          <pc:sldMk cId="2428482573" sldId="269"/>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3:07:12.317" v="334"/>
              <pc2:cmMkLst xmlns:pc2="http://schemas.microsoft.com/office/powerpoint/2019/9/main/command">
                <pc:docMk/>
                <pc:sldMk cId="2428482573" sldId="269"/>
                <pc2:cmMk id="{0C9B2A00-0D73-4397-AA77-DF5329DE6A3D}"/>
              </pc2:cmMkLst>
              <pc226:cmRplyChg chg="add">
                <pc226:chgData name="KlaSch23" userId="af01d902-f81e-4bcd-8d25-195841bb9bd0" providerId="ADAL" clId="{130DB200-CC37-4CB0-9CB7-6B4CEEE70D4C}" dt="2023-11-29T13:07:12.317" v="334"/>
                <pc2:cmRplyMkLst xmlns:pc2="http://schemas.microsoft.com/office/powerpoint/2019/9/main/command">
                  <pc:docMk/>
                  <pc:sldMk cId="2428482573" sldId="269"/>
                  <pc2:cmMk id="{0C9B2A00-0D73-4397-AA77-DF5329DE6A3D}"/>
                  <pc2:cmRplyMk id="{BA329688-0A34-403C-AB60-05AD33C45680}"/>
                </pc2:cmRplyMkLst>
              </pc226:cmRplyChg>
              <pc226:cmRplyChg chg="add">
                <pc226:chgData name="KlaSch23" userId="af01d902-f81e-4bcd-8d25-195841bb9bd0" providerId="ADAL" clId="{130DB200-CC37-4CB0-9CB7-6B4CEEE70D4C}" dt="2023-11-29T13:06:52.691" v="333"/>
                <pc2:cmRplyMkLst xmlns:pc2="http://schemas.microsoft.com/office/powerpoint/2019/9/main/command">
                  <pc:docMk/>
                  <pc:sldMk cId="2428482573" sldId="269"/>
                  <pc2:cmMk id="{0C9B2A00-0D73-4397-AA77-DF5329DE6A3D}"/>
                  <pc2:cmRplyMk id="{04A959A9-DD64-4FCC-9B8A-2650D8163EA7}"/>
                </pc2:cmRplyMkLst>
              </pc226:cmRplyChg>
            </pc226:cmChg>
          </p:ext>
        </pc:extLst>
      </pc:sldChg>
      <pc:sldChg chg="add">
        <pc:chgData name="KlaSch23" userId="af01d902-f81e-4bcd-8d25-195841bb9bd0" providerId="ADAL" clId="{130DB200-CC37-4CB0-9CB7-6B4CEEE70D4C}" dt="2023-11-26T13:10:47.866" v="0"/>
        <pc:sldMkLst>
          <pc:docMk/>
          <pc:sldMk cId="3325992894" sldId="298"/>
        </pc:sldMkLst>
      </pc:sldChg>
      <pc:sldChg chg="add">
        <pc:chgData name="KlaSch23" userId="af01d902-f81e-4bcd-8d25-195841bb9bd0" providerId="ADAL" clId="{130DB200-CC37-4CB0-9CB7-6B4CEEE70D4C}" dt="2023-12-03T16:51:42.973" v="335"/>
        <pc:sldMkLst>
          <pc:docMk/>
          <pc:sldMk cId="1842489692" sldId="299"/>
        </pc:sldMkLst>
      </pc:sldChg>
      <pc:sldChg chg="add">
        <pc:chgData name="KlaSch23" userId="af01d902-f81e-4bcd-8d25-195841bb9bd0" providerId="ADAL" clId="{130DB200-CC37-4CB0-9CB7-6B4CEEE70D4C}" dt="2023-12-03T16:52:07.797" v="337"/>
        <pc:sldMkLst>
          <pc:docMk/>
          <pc:sldMk cId="3112231943" sldId="301"/>
        </pc:sldMkLst>
      </pc:sldChg>
      <pc:sldChg chg="add">
        <pc:chgData name="KlaSch23" userId="af01d902-f81e-4bcd-8d25-195841bb9bd0" providerId="ADAL" clId="{130DB200-CC37-4CB0-9CB7-6B4CEEE70D4C}" dt="2023-12-03T16:52:43.481" v="341"/>
        <pc:sldMkLst>
          <pc:docMk/>
          <pc:sldMk cId="3538073082" sldId="304"/>
        </pc:sldMkLst>
      </pc:sldChg>
      <pc:sldChg chg="add">
        <pc:chgData name="KlaSch23" userId="af01d902-f81e-4bcd-8d25-195841bb9bd0" providerId="ADAL" clId="{130DB200-CC37-4CB0-9CB7-6B4CEEE70D4C}" dt="2023-12-03T16:53:06.273" v="343"/>
        <pc:sldMkLst>
          <pc:docMk/>
          <pc:sldMk cId="1315196008" sldId="305"/>
        </pc:sldMkLst>
      </pc:sldChg>
      <pc:sldChg chg="modSp add mod">
        <pc:chgData name="KlaSch23" userId="af01d902-f81e-4bcd-8d25-195841bb9bd0" providerId="ADAL" clId="{130DB200-CC37-4CB0-9CB7-6B4CEEE70D4C}" dt="2023-11-26T13:12:42.095" v="24" actId="20577"/>
        <pc:sldMkLst>
          <pc:docMk/>
          <pc:sldMk cId="3171126581" sldId="326"/>
        </pc:sldMkLst>
        <pc:spChg chg="mod">
          <ac:chgData name="KlaSch23" userId="af01d902-f81e-4bcd-8d25-195841bb9bd0" providerId="ADAL" clId="{130DB200-CC37-4CB0-9CB7-6B4CEEE70D4C}" dt="2023-11-26T13:12:42.095" v="24" actId="20577"/>
          <ac:spMkLst>
            <pc:docMk/>
            <pc:sldMk cId="3171126581" sldId="326"/>
            <ac:spMk id="5" creationId="{4EACA37F-FFE3-8984-E5A9-A320EC849846}"/>
          </ac:spMkLst>
        </pc:spChg>
      </pc:sldChg>
      <pc:sldChg chg="modSp add mod">
        <pc:chgData name="KlaSch23" userId="af01d902-f81e-4bcd-8d25-195841bb9bd0" providerId="ADAL" clId="{130DB200-CC37-4CB0-9CB7-6B4CEEE70D4C}" dt="2023-11-26T13:16:35.847" v="301" actId="1076"/>
        <pc:sldMkLst>
          <pc:docMk/>
          <pc:sldMk cId="1756451472" sldId="327"/>
        </pc:sldMkLst>
        <pc:spChg chg="mod">
          <ac:chgData name="KlaSch23" userId="af01d902-f81e-4bcd-8d25-195841bb9bd0" providerId="ADAL" clId="{130DB200-CC37-4CB0-9CB7-6B4CEEE70D4C}" dt="2023-11-26T13:16:35.847" v="301" actId="1076"/>
          <ac:spMkLst>
            <pc:docMk/>
            <pc:sldMk cId="1756451472" sldId="327"/>
            <ac:spMk id="2" creationId="{A1DF0E6F-C3F4-D46E-003E-5432322C8E82}"/>
          </ac:spMkLst>
        </pc:spChg>
        <pc:spChg chg="mod">
          <ac:chgData name="KlaSch23" userId="af01d902-f81e-4bcd-8d25-195841bb9bd0" providerId="ADAL" clId="{130DB200-CC37-4CB0-9CB7-6B4CEEE70D4C}" dt="2023-11-26T13:12:48.073" v="33" actId="20577"/>
          <ac:spMkLst>
            <pc:docMk/>
            <pc:sldMk cId="1756451472" sldId="327"/>
            <ac:spMk id="5" creationId="{4EACA37F-FFE3-8984-E5A9-A320EC849846}"/>
          </ac:spMkLst>
        </pc:spChg>
      </pc:sldChg>
      <pc:sldChg chg="modSp add mod">
        <pc:chgData name="KlaSch23" userId="af01d902-f81e-4bcd-8d25-195841bb9bd0" providerId="ADAL" clId="{130DB200-CC37-4CB0-9CB7-6B4CEEE70D4C}" dt="2023-11-26T13:12:54.984" v="41" actId="20577"/>
        <pc:sldMkLst>
          <pc:docMk/>
          <pc:sldMk cId="427710910" sldId="328"/>
        </pc:sldMkLst>
        <pc:spChg chg="mod">
          <ac:chgData name="KlaSch23" userId="af01d902-f81e-4bcd-8d25-195841bb9bd0" providerId="ADAL" clId="{130DB200-CC37-4CB0-9CB7-6B4CEEE70D4C}" dt="2023-11-26T13:12:54.984" v="41" actId="20577"/>
          <ac:spMkLst>
            <pc:docMk/>
            <pc:sldMk cId="427710910" sldId="328"/>
            <ac:spMk id="5" creationId="{4EACA37F-FFE3-8984-E5A9-A320EC849846}"/>
          </ac:spMkLst>
        </pc:spChg>
      </pc:sldChg>
      <pc:sldChg chg="modSp add mod">
        <pc:chgData name="KlaSch23" userId="af01d902-f81e-4bcd-8d25-195841bb9bd0" providerId="ADAL" clId="{130DB200-CC37-4CB0-9CB7-6B4CEEE70D4C}" dt="2023-11-26T13:15:30.617" v="237" actId="20577"/>
        <pc:sldMkLst>
          <pc:docMk/>
          <pc:sldMk cId="2228710995" sldId="329"/>
        </pc:sldMkLst>
        <pc:spChg chg="mod">
          <ac:chgData name="KlaSch23" userId="af01d902-f81e-4bcd-8d25-195841bb9bd0" providerId="ADAL" clId="{130DB200-CC37-4CB0-9CB7-6B4CEEE70D4C}" dt="2023-11-26T13:15:30.617" v="237" actId="20577"/>
          <ac:spMkLst>
            <pc:docMk/>
            <pc:sldMk cId="2228710995" sldId="329"/>
            <ac:spMk id="2" creationId="{22C9523E-D717-AD0E-1122-66548140387A}"/>
          </ac:spMkLst>
        </pc:spChg>
        <pc:spChg chg="mod">
          <ac:chgData name="KlaSch23" userId="af01d902-f81e-4bcd-8d25-195841bb9bd0" providerId="ADAL" clId="{130DB200-CC37-4CB0-9CB7-6B4CEEE70D4C}" dt="2023-11-26T13:13:05.312" v="54" actId="20577"/>
          <ac:spMkLst>
            <pc:docMk/>
            <pc:sldMk cId="2228710995" sldId="329"/>
            <ac:spMk id="5" creationId="{8CBD945B-62AC-F6B7-A50B-E75058685A09}"/>
          </ac:spMkLst>
        </pc:spChg>
      </pc:sldChg>
      <pc:sldChg chg="modSp add mod">
        <pc:chgData name="KlaSch23" userId="af01d902-f81e-4bcd-8d25-195841bb9bd0" providerId="ADAL" clId="{130DB200-CC37-4CB0-9CB7-6B4CEEE70D4C}" dt="2023-11-26T13:15:45.778" v="272" actId="20577"/>
        <pc:sldMkLst>
          <pc:docMk/>
          <pc:sldMk cId="227244431" sldId="330"/>
        </pc:sldMkLst>
        <pc:spChg chg="mod">
          <ac:chgData name="KlaSch23" userId="af01d902-f81e-4bcd-8d25-195841bb9bd0" providerId="ADAL" clId="{130DB200-CC37-4CB0-9CB7-6B4CEEE70D4C}" dt="2023-11-26T13:15:45.778" v="272" actId="20577"/>
          <ac:spMkLst>
            <pc:docMk/>
            <pc:sldMk cId="227244431" sldId="330"/>
            <ac:spMk id="2" creationId="{A6BAF063-F980-ECEE-1C56-38D372F83427}"/>
          </ac:spMkLst>
        </pc:spChg>
        <pc:spChg chg="mod">
          <ac:chgData name="KlaSch23" userId="af01d902-f81e-4bcd-8d25-195841bb9bd0" providerId="ADAL" clId="{130DB200-CC37-4CB0-9CB7-6B4CEEE70D4C}" dt="2023-11-26T13:13:14.281" v="63" actId="20577"/>
          <ac:spMkLst>
            <pc:docMk/>
            <pc:sldMk cId="227244431" sldId="330"/>
            <ac:spMk id="5" creationId="{158362F9-0723-58E6-D535-C437773D1D15}"/>
          </ac:spMkLst>
        </pc:spChg>
      </pc:sldChg>
      <pc:sldChg chg="modSp add mod">
        <pc:chgData name="KlaSch23" userId="af01d902-f81e-4bcd-8d25-195841bb9bd0" providerId="ADAL" clId="{130DB200-CC37-4CB0-9CB7-6B4CEEE70D4C}" dt="2023-11-26T13:15:59.449" v="299" actId="20577"/>
        <pc:sldMkLst>
          <pc:docMk/>
          <pc:sldMk cId="976266061" sldId="331"/>
        </pc:sldMkLst>
        <pc:spChg chg="mod">
          <ac:chgData name="KlaSch23" userId="af01d902-f81e-4bcd-8d25-195841bb9bd0" providerId="ADAL" clId="{130DB200-CC37-4CB0-9CB7-6B4CEEE70D4C}" dt="2023-11-26T13:15:59.449" v="299" actId="20577"/>
          <ac:spMkLst>
            <pc:docMk/>
            <pc:sldMk cId="976266061" sldId="331"/>
            <ac:spMk id="2" creationId="{A6BAF063-F980-ECEE-1C56-38D372F83427}"/>
          </ac:spMkLst>
        </pc:spChg>
        <pc:spChg chg="mod">
          <ac:chgData name="KlaSch23" userId="af01d902-f81e-4bcd-8d25-195841bb9bd0" providerId="ADAL" clId="{130DB200-CC37-4CB0-9CB7-6B4CEEE70D4C}" dt="2023-11-26T13:13:20.606" v="72" actId="20577"/>
          <ac:spMkLst>
            <pc:docMk/>
            <pc:sldMk cId="976266061" sldId="331"/>
            <ac:spMk id="5" creationId="{158362F9-0723-58E6-D535-C437773D1D15}"/>
          </ac:spMkLst>
        </pc:spChg>
      </pc:sldChg>
      <pc:sldChg chg="add">
        <pc:chgData name="KlaSch23" userId="af01d902-f81e-4bcd-8d25-195841bb9bd0" providerId="ADAL" clId="{130DB200-CC37-4CB0-9CB7-6B4CEEE70D4C}" dt="2023-11-26T13:10:58.060" v="1"/>
        <pc:sldMkLst>
          <pc:docMk/>
          <pc:sldMk cId="665063421" sldId="332"/>
        </pc:sldMkLst>
      </pc:sldChg>
      <pc:sldChg chg="add">
        <pc:chgData name="KlaSch23" userId="af01d902-f81e-4bcd-8d25-195841bb9bd0" providerId="ADAL" clId="{130DB200-CC37-4CB0-9CB7-6B4CEEE70D4C}" dt="2023-11-26T13:11:02.688" v="2"/>
        <pc:sldMkLst>
          <pc:docMk/>
          <pc:sldMk cId="2460039943" sldId="333"/>
        </pc:sldMkLst>
      </pc:sldChg>
      <pc:sldChg chg="add">
        <pc:chgData name="KlaSch23" userId="af01d902-f81e-4bcd-8d25-195841bb9bd0" providerId="ADAL" clId="{130DB200-CC37-4CB0-9CB7-6B4CEEE70D4C}" dt="2023-11-26T13:11:07.948" v="3"/>
        <pc:sldMkLst>
          <pc:docMk/>
          <pc:sldMk cId="3171582156" sldId="334"/>
        </pc:sldMkLst>
      </pc:sldChg>
      <pc:sldChg chg="add">
        <pc:chgData name="KlaSch23" userId="af01d902-f81e-4bcd-8d25-195841bb9bd0" providerId="ADAL" clId="{130DB200-CC37-4CB0-9CB7-6B4CEEE70D4C}" dt="2023-11-26T13:11:14.810" v="4"/>
        <pc:sldMkLst>
          <pc:docMk/>
          <pc:sldMk cId="1516572586" sldId="336"/>
        </pc:sldMkLst>
      </pc:sldChg>
      <pc:sldChg chg="add">
        <pc:chgData name="KlaSch23" userId="af01d902-f81e-4bcd-8d25-195841bb9bd0" providerId="ADAL" clId="{130DB200-CC37-4CB0-9CB7-6B4CEEE70D4C}" dt="2023-11-26T13:11:19.533" v="5"/>
        <pc:sldMkLst>
          <pc:docMk/>
          <pc:sldMk cId="2255038222" sldId="337"/>
        </pc:sldMkLst>
      </pc:sldChg>
      <pc:sldChg chg="addCm">
        <pc:chgData name="KlaSch23" userId="af01d902-f81e-4bcd-8d25-195841bb9bd0" providerId="ADAL" clId="{130DB200-CC37-4CB0-9CB7-6B4CEEE70D4C}" dt="2023-11-29T12:45:37.009" v="316"/>
        <pc:sldMkLst>
          <pc:docMk/>
          <pc:sldMk cId="4005470106" sldId="397"/>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45:37.009" v="316"/>
              <pc2:cmMkLst xmlns:pc2="http://schemas.microsoft.com/office/powerpoint/2019/9/main/command">
                <pc:docMk/>
                <pc:sldMk cId="4005470106" sldId="397"/>
                <pc2:cmMk id="{F819AD87-C4B0-4EC0-8842-31489EDB9E6A}"/>
              </pc2:cmMkLst>
            </pc226:cmChg>
          </p:ext>
        </pc:extLst>
      </pc:sldChg>
      <pc:sldChg chg="addCm">
        <pc:chgData name="KlaSch23" userId="af01d902-f81e-4bcd-8d25-195841bb9bd0" providerId="ADAL" clId="{130DB200-CC37-4CB0-9CB7-6B4CEEE70D4C}" dt="2023-11-29T12:46:03.689" v="317"/>
        <pc:sldMkLst>
          <pc:docMk/>
          <pc:sldMk cId="3734341024" sldId="401"/>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46:03.689" v="317"/>
              <pc2:cmMkLst xmlns:pc2="http://schemas.microsoft.com/office/powerpoint/2019/9/main/command">
                <pc:docMk/>
                <pc:sldMk cId="3734341024" sldId="401"/>
                <pc2:cmMk id="{25A1124D-66EF-4490-8BB7-BF86834EF0B3}"/>
              </pc2:cmMkLst>
            </pc226:cmChg>
          </p:ext>
        </pc:extLst>
      </pc:sldChg>
      <pc:sldChg chg="addCm modCm">
        <pc:chgData name="KlaSch23" userId="af01d902-f81e-4bcd-8d25-195841bb9bd0" providerId="ADAL" clId="{130DB200-CC37-4CB0-9CB7-6B4CEEE70D4C}" dt="2023-11-29T12:53:38.833" v="325"/>
        <pc:sldMkLst>
          <pc:docMk/>
          <pc:sldMk cId="2352799563" sldId="542"/>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53:38.833" v="325"/>
              <pc2:cmMkLst xmlns:pc2="http://schemas.microsoft.com/office/powerpoint/2019/9/main/command">
                <pc:docMk/>
                <pc:sldMk cId="2352799563" sldId="542"/>
                <pc2:cmMk id="{3110755B-AD79-4B20-8A20-D959413791C3}"/>
              </pc2:cmMkLst>
              <pc226:cmRplyChg chg="add">
                <pc226:chgData name="KlaSch23" userId="af01d902-f81e-4bcd-8d25-195841bb9bd0" providerId="ADAL" clId="{130DB200-CC37-4CB0-9CB7-6B4CEEE70D4C}" dt="2023-11-29T12:53:38.833" v="325"/>
                <pc2:cmRplyMkLst xmlns:pc2="http://schemas.microsoft.com/office/powerpoint/2019/9/main/command">
                  <pc:docMk/>
                  <pc:sldMk cId="2352799563" sldId="542"/>
                  <pc2:cmMk id="{3110755B-AD79-4B20-8A20-D959413791C3}"/>
                  <pc2:cmRplyMk id="{39A9BF15-CBD9-4940-AB2A-83CECE3B1613}"/>
                </pc2:cmRplyMkLst>
              </pc226:cmRplyChg>
              <pc226:cmRplyChg chg="add">
                <pc226:chgData name="KlaSch23" userId="af01d902-f81e-4bcd-8d25-195841bb9bd0" providerId="ADAL" clId="{130DB200-CC37-4CB0-9CB7-6B4CEEE70D4C}" dt="2023-11-29T12:51:58.294" v="324"/>
                <pc2:cmRplyMkLst xmlns:pc2="http://schemas.microsoft.com/office/powerpoint/2019/9/main/command">
                  <pc:docMk/>
                  <pc:sldMk cId="2352799563" sldId="542"/>
                  <pc2:cmMk id="{3110755B-AD79-4B20-8A20-D959413791C3}"/>
                  <pc2:cmRplyMk id="{F2FB89E2-F764-4839-B053-33B12BA6ED20}"/>
                </pc2:cmRplyMkLst>
              </pc226:cmRplyChg>
            </pc226:cmChg>
          </p:ext>
        </pc:extLst>
      </pc:sldChg>
      <pc:sldChg chg="addCm modCm">
        <pc:chgData name="KlaSch23" userId="af01d902-f81e-4bcd-8d25-195841bb9bd0" providerId="ADAL" clId="{130DB200-CC37-4CB0-9CB7-6B4CEEE70D4C}" dt="2023-11-29T13:05:28.757" v="331"/>
        <pc:sldMkLst>
          <pc:docMk/>
          <pc:sldMk cId="449866283" sldId="764"/>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3:05:28.757" v="331"/>
              <pc2:cmMkLst xmlns:pc2="http://schemas.microsoft.com/office/powerpoint/2019/9/main/command">
                <pc:docMk/>
                <pc:sldMk cId="449866283" sldId="764"/>
                <pc2:cmMk id="{16D44ED6-2708-4553-BEF6-09C459B2ABFB}"/>
              </pc2:cmMkLst>
              <pc226:cmRplyChg chg="add">
                <pc226:chgData name="KlaSch23" userId="af01d902-f81e-4bcd-8d25-195841bb9bd0" providerId="ADAL" clId="{130DB200-CC37-4CB0-9CB7-6B4CEEE70D4C}" dt="2023-11-29T13:05:28.757" v="331"/>
                <pc2:cmRplyMkLst xmlns:pc2="http://schemas.microsoft.com/office/powerpoint/2019/9/main/command">
                  <pc:docMk/>
                  <pc:sldMk cId="449866283" sldId="764"/>
                  <pc2:cmMk id="{16D44ED6-2708-4553-BEF6-09C459B2ABFB}"/>
                  <pc2:cmRplyMk id="{B2D0906D-E0EA-42FF-83D2-ACEEF5A81397}"/>
                </pc2:cmRplyMkLst>
              </pc226:cmRplyChg>
              <pc226:cmRplyChg chg="add">
                <pc226:chgData name="KlaSch23" userId="af01d902-f81e-4bcd-8d25-195841bb9bd0" providerId="ADAL" clId="{130DB200-CC37-4CB0-9CB7-6B4CEEE70D4C}" dt="2023-11-29T13:05:12.935" v="330"/>
                <pc2:cmRplyMkLst xmlns:pc2="http://schemas.microsoft.com/office/powerpoint/2019/9/main/command">
                  <pc:docMk/>
                  <pc:sldMk cId="449866283" sldId="764"/>
                  <pc2:cmMk id="{16D44ED6-2708-4553-BEF6-09C459B2ABFB}"/>
                  <pc2:cmRplyMk id="{16B8D4BC-4F98-43B0-A2A0-B1E20F433DFB}"/>
                </pc2:cmRplyMkLst>
              </pc226:cmRplyChg>
            </pc226:cmChg>
          </p:ext>
        </pc:extLst>
      </pc:sldChg>
      <pc:sldChg chg="addCm modCm">
        <pc:chgData name="KlaSch23" userId="af01d902-f81e-4bcd-8d25-195841bb9bd0" providerId="ADAL" clId="{130DB200-CC37-4CB0-9CB7-6B4CEEE70D4C}" dt="2023-11-29T12:23:39.768" v="305"/>
        <pc:sldMkLst>
          <pc:docMk/>
          <pc:sldMk cId="1581556713" sldId="776"/>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23:39.768" v="305"/>
              <pc2:cmMkLst xmlns:pc2="http://schemas.microsoft.com/office/powerpoint/2019/9/main/command">
                <pc:docMk/>
                <pc:sldMk cId="1581556713" sldId="776"/>
                <pc2:cmMk id="{1BFDAA0D-6CB8-4070-BC01-466B9CAE423D}"/>
              </pc2:cmMkLst>
              <pc226:cmRplyChg chg="add">
                <pc226:chgData name="KlaSch23" userId="af01d902-f81e-4bcd-8d25-195841bb9bd0" providerId="ADAL" clId="{130DB200-CC37-4CB0-9CB7-6B4CEEE70D4C}" dt="2023-11-29T12:22:39.052" v="303"/>
                <pc2:cmRplyMkLst xmlns:pc2="http://schemas.microsoft.com/office/powerpoint/2019/9/main/command">
                  <pc:docMk/>
                  <pc:sldMk cId="1581556713" sldId="776"/>
                  <pc2:cmMk id="{1BFDAA0D-6CB8-4070-BC01-466B9CAE423D}"/>
                  <pc2:cmRplyMk id="{77CC4745-00C9-4140-A440-E61618745F0B}"/>
                </pc2:cmRplyMkLst>
              </pc226:cmRplyChg>
              <pc226:cmRplyChg chg="add">
                <pc226:chgData name="KlaSch23" userId="af01d902-f81e-4bcd-8d25-195841bb9bd0" providerId="ADAL" clId="{130DB200-CC37-4CB0-9CB7-6B4CEEE70D4C}" dt="2023-11-29T12:23:39.768" v="305"/>
                <pc2:cmRplyMkLst xmlns:pc2="http://schemas.microsoft.com/office/powerpoint/2019/9/main/command">
                  <pc:docMk/>
                  <pc:sldMk cId="1581556713" sldId="776"/>
                  <pc2:cmMk id="{1BFDAA0D-6CB8-4070-BC01-466B9CAE423D}"/>
                  <pc2:cmRplyMk id="{6A23E246-5A97-49E7-882A-F07AB1F6CBF9}"/>
                </pc2:cmRplyMkLst>
              </pc226:cmRplyChg>
              <pc226:cmRplyChg chg="add">
                <pc226:chgData name="KlaSch23" userId="af01d902-f81e-4bcd-8d25-195841bb9bd0" providerId="ADAL" clId="{130DB200-CC37-4CB0-9CB7-6B4CEEE70D4C}" dt="2023-11-29T12:22:51.318" v="304"/>
                <pc2:cmRplyMkLst xmlns:pc2="http://schemas.microsoft.com/office/powerpoint/2019/9/main/command">
                  <pc:docMk/>
                  <pc:sldMk cId="1581556713" sldId="776"/>
                  <pc2:cmMk id="{1BFDAA0D-6CB8-4070-BC01-466B9CAE423D}"/>
                  <pc2:cmRplyMk id="{3C9ADEE8-E0B5-440C-A411-B780A8E642DA}"/>
                </pc2:cmRplyMkLst>
              </pc226:cmRplyChg>
            </pc226:cmChg>
          </p:ext>
        </pc:extLst>
      </pc:sldChg>
      <pc:sldChg chg="addCm modCm">
        <pc:chgData name="KlaSch23" userId="af01d902-f81e-4bcd-8d25-195841bb9bd0" providerId="ADAL" clId="{130DB200-CC37-4CB0-9CB7-6B4CEEE70D4C}" dt="2023-11-29T12:39:24.419" v="312"/>
        <pc:sldMkLst>
          <pc:docMk/>
          <pc:sldMk cId="3682167214" sldId="777"/>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39:24.419" v="312"/>
              <pc2:cmMkLst xmlns:pc2="http://schemas.microsoft.com/office/powerpoint/2019/9/main/command">
                <pc:docMk/>
                <pc:sldMk cId="3682167214" sldId="777"/>
                <pc2:cmMk id="{EDE1567B-236A-46FD-8BC5-AEAC92F60824}"/>
              </pc2:cmMkLst>
              <pc226:cmRplyChg chg="add">
                <pc226:chgData name="KlaSch23" userId="af01d902-f81e-4bcd-8d25-195841bb9bd0" providerId="ADAL" clId="{130DB200-CC37-4CB0-9CB7-6B4CEEE70D4C}" dt="2023-11-29T12:39:24.419" v="312"/>
                <pc2:cmRplyMkLst xmlns:pc2="http://schemas.microsoft.com/office/powerpoint/2019/9/main/command">
                  <pc:docMk/>
                  <pc:sldMk cId="3682167214" sldId="777"/>
                  <pc2:cmMk id="{EDE1567B-236A-46FD-8BC5-AEAC92F60824}"/>
                  <pc2:cmRplyMk id="{AF438601-D2D4-4B24-B2F8-B86B8473C49E}"/>
                </pc2:cmRplyMkLst>
              </pc226:cmRplyChg>
              <pc226:cmRplyChg chg="add">
                <pc226:chgData name="KlaSch23" userId="af01d902-f81e-4bcd-8d25-195841bb9bd0" providerId="ADAL" clId="{130DB200-CC37-4CB0-9CB7-6B4CEEE70D4C}" dt="2023-11-29T12:30:02.367" v="310"/>
                <pc2:cmRplyMkLst xmlns:pc2="http://schemas.microsoft.com/office/powerpoint/2019/9/main/command">
                  <pc:docMk/>
                  <pc:sldMk cId="3682167214" sldId="777"/>
                  <pc2:cmMk id="{EDE1567B-236A-46FD-8BC5-AEAC92F60824}"/>
                  <pc2:cmRplyMk id="{95FEE751-D57A-4B49-BCAD-00AD419DC0E2}"/>
                </pc2:cmRplyMkLst>
              </pc226:cmRplyChg>
              <pc226:cmRplyChg chg="add">
                <pc226:chgData name="KlaSch23" userId="af01d902-f81e-4bcd-8d25-195841bb9bd0" providerId="ADAL" clId="{130DB200-CC37-4CB0-9CB7-6B4CEEE70D4C}" dt="2023-11-29T12:35:38.470" v="311"/>
                <pc2:cmRplyMkLst xmlns:pc2="http://schemas.microsoft.com/office/powerpoint/2019/9/main/command">
                  <pc:docMk/>
                  <pc:sldMk cId="3682167214" sldId="777"/>
                  <pc2:cmMk id="{EDE1567B-236A-46FD-8BC5-AEAC92F60824}"/>
                  <pc2:cmRplyMk id="{277A3CE7-7338-4AB2-9E65-CDBBFE15BEAC}"/>
                </pc2:cmRplyMkLst>
              </pc226:cmRplyChg>
            </pc226:cmChg>
          </p:ext>
        </pc:extLst>
      </pc:sldChg>
      <pc:sldChg chg="addCm">
        <pc:chgData name="KlaSch23" userId="af01d902-f81e-4bcd-8d25-195841bb9bd0" providerId="ADAL" clId="{130DB200-CC37-4CB0-9CB7-6B4CEEE70D4C}" dt="2023-11-29T12:27:19.902" v="307"/>
        <pc:sldMkLst>
          <pc:docMk/>
          <pc:sldMk cId="816236436" sldId="778"/>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27:19.902" v="307"/>
              <pc2:cmMkLst xmlns:pc2="http://schemas.microsoft.com/office/powerpoint/2019/9/main/command">
                <pc:docMk/>
                <pc:sldMk cId="816236436" sldId="778"/>
                <pc2:cmMk id="{8A180F98-5C6C-4C1A-B3E3-75EA509B976E}"/>
              </pc2:cmMkLst>
            </pc226:cmChg>
          </p:ext>
        </pc:extLst>
      </pc:sldChg>
      <pc:sldChg chg="addCm">
        <pc:chgData name="KlaSch23" userId="af01d902-f81e-4bcd-8d25-195841bb9bd0" providerId="ADAL" clId="{130DB200-CC37-4CB0-9CB7-6B4CEEE70D4C}" dt="2023-11-29T12:28:09.121" v="308"/>
        <pc:sldMkLst>
          <pc:docMk/>
          <pc:sldMk cId="2528291820" sldId="779"/>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28:09.121" v="308"/>
              <pc2:cmMkLst xmlns:pc2="http://schemas.microsoft.com/office/powerpoint/2019/9/main/command">
                <pc:docMk/>
                <pc:sldMk cId="2528291820" sldId="779"/>
                <pc2:cmMk id="{40ABD875-1D0C-4383-8197-34CA10FA809E}"/>
              </pc2:cmMkLst>
            </pc226:cmChg>
          </p:ext>
        </pc:extLst>
      </pc:sldChg>
      <pc:sldChg chg="addCm">
        <pc:chgData name="KlaSch23" userId="af01d902-f81e-4bcd-8d25-195841bb9bd0" providerId="ADAL" clId="{130DB200-CC37-4CB0-9CB7-6B4CEEE70D4C}" dt="2023-11-29T12:42:46.411" v="313"/>
        <pc:sldMkLst>
          <pc:docMk/>
          <pc:sldMk cId="2021655579" sldId="780"/>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42:46.411" v="313"/>
              <pc2:cmMkLst xmlns:pc2="http://schemas.microsoft.com/office/powerpoint/2019/9/main/command">
                <pc:docMk/>
                <pc:sldMk cId="2021655579" sldId="780"/>
                <pc2:cmMk id="{C389E707-BF44-4FEC-9109-3F9E928F9F99}"/>
              </pc2:cmMkLst>
            </pc226:cmChg>
          </p:ext>
        </pc:extLst>
      </pc:sldChg>
      <pc:sldChg chg="addCm">
        <pc:chgData name="KlaSch23" userId="af01d902-f81e-4bcd-8d25-195841bb9bd0" providerId="ADAL" clId="{130DB200-CC37-4CB0-9CB7-6B4CEEE70D4C}" dt="2023-11-29T12:25:03.928" v="306"/>
        <pc:sldMkLst>
          <pc:docMk/>
          <pc:sldMk cId="2388721765" sldId="782"/>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25:03.928" v="306"/>
              <pc2:cmMkLst xmlns:pc2="http://schemas.microsoft.com/office/powerpoint/2019/9/main/command">
                <pc:docMk/>
                <pc:sldMk cId="2388721765" sldId="782"/>
                <pc2:cmMk id="{37ED8336-EF88-4757-9171-F318247DEA36}"/>
              </pc2:cmMkLst>
            </pc226:cmChg>
          </p:ext>
        </pc:extLst>
      </pc:sldChg>
      <pc:sldChg chg="addCm">
        <pc:chgData name="KlaSch23" userId="af01d902-f81e-4bcd-8d25-195841bb9bd0" providerId="ADAL" clId="{130DB200-CC37-4CB0-9CB7-6B4CEEE70D4C}" dt="2023-11-29T12:44:20.132" v="314"/>
        <pc:sldMkLst>
          <pc:docMk/>
          <pc:sldMk cId="4142760669" sldId="785"/>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44:20.132" v="314"/>
              <pc2:cmMkLst xmlns:pc2="http://schemas.microsoft.com/office/powerpoint/2019/9/main/command">
                <pc:docMk/>
                <pc:sldMk cId="4142760669" sldId="785"/>
                <pc2:cmMk id="{A0C590F6-3030-4975-B64A-DE8993185DD6}"/>
              </pc2:cmMkLst>
            </pc226:cmChg>
          </p:ext>
        </pc:extLst>
      </pc:sldChg>
      <pc:sldChg chg="addCm delCm">
        <pc:chgData name="KlaSch23" userId="af01d902-f81e-4bcd-8d25-195841bb9bd0" providerId="ADAL" clId="{130DB200-CC37-4CB0-9CB7-6B4CEEE70D4C}" dt="2023-11-29T13:00:11.940" v="328"/>
        <pc:sldMkLst>
          <pc:docMk/>
          <pc:sldMk cId="3815919448" sldId="794"/>
        </pc:sldMkLst>
        <pc:extLst>
          <p:ext xmlns:p="http://schemas.openxmlformats.org/presentationml/2006/main" uri="{D6D511B9-2390-475A-947B-AFAB55BFBCF1}">
            <pc226:cmChg xmlns:pc226="http://schemas.microsoft.com/office/powerpoint/2022/06/main/command" chg="add del">
              <pc226:chgData name="KlaSch23" userId="af01d902-f81e-4bcd-8d25-195841bb9bd0" providerId="ADAL" clId="{130DB200-CC37-4CB0-9CB7-6B4CEEE70D4C}" dt="2023-11-29T12:59:40.498" v="327"/>
              <pc2:cmMkLst xmlns:pc2="http://schemas.microsoft.com/office/powerpoint/2019/9/main/command">
                <pc:docMk/>
                <pc:sldMk cId="3815919448" sldId="794"/>
                <pc2:cmMk id="{486E0C51-9E69-4B1B-8E20-E41A59E55E39}"/>
              </pc2:cmMkLst>
            </pc226:cmChg>
            <pc226:cmChg xmlns:pc226="http://schemas.microsoft.com/office/powerpoint/2022/06/main/command" chg="add">
              <pc226:chgData name="KlaSch23" userId="af01d902-f81e-4bcd-8d25-195841bb9bd0" providerId="ADAL" clId="{130DB200-CC37-4CB0-9CB7-6B4CEEE70D4C}" dt="2023-11-29T13:00:11.940" v="328"/>
              <pc2:cmMkLst xmlns:pc2="http://schemas.microsoft.com/office/powerpoint/2019/9/main/command">
                <pc:docMk/>
                <pc:sldMk cId="3815919448" sldId="794"/>
                <pc2:cmMk id="{2BD4A895-427C-4ABC-94FE-6AEABE0682F3}"/>
              </pc2:cmMkLst>
            </pc226:cmChg>
          </p:ext>
        </pc:extLst>
      </pc:sldChg>
      <pc:sldChg chg="addCm modCm">
        <pc:chgData name="KlaSch23" userId="af01d902-f81e-4bcd-8d25-195841bb9bd0" providerId="ADAL" clId="{130DB200-CC37-4CB0-9CB7-6B4CEEE70D4C}" dt="2023-11-29T12:46:55.870" v="319"/>
        <pc:sldMkLst>
          <pc:docMk/>
          <pc:sldMk cId="3554033876" sldId="796"/>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46:55.870" v="319"/>
              <pc2:cmMkLst xmlns:pc2="http://schemas.microsoft.com/office/powerpoint/2019/9/main/command">
                <pc:docMk/>
                <pc:sldMk cId="3554033876" sldId="796"/>
                <pc2:cmMk id="{C8974B1A-6E6F-409D-9502-96527DF036DB}"/>
              </pc2:cmMkLst>
              <pc226:cmRplyChg chg="add">
                <pc226:chgData name="KlaSch23" userId="af01d902-f81e-4bcd-8d25-195841bb9bd0" providerId="ADAL" clId="{130DB200-CC37-4CB0-9CB7-6B4CEEE70D4C}" dt="2023-11-29T12:46:55.870" v="319"/>
                <pc2:cmRplyMkLst xmlns:pc2="http://schemas.microsoft.com/office/powerpoint/2019/9/main/command">
                  <pc:docMk/>
                  <pc:sldMk cId="3554033876" sldId="796"/>
                  <pc2:cmMk id="{C8974B1A-6E6F-409D-9502-96527DF036DB}"/>
                  <pc2:cmRplyMk id="{D52B2BEE-CF68-4474-95F1-F0FC83E9F37E}"/>
                </pc2:cmRplyMkLst>
              </pc226:cmRplyChg>
            </pc226:cmChg>
          </p:ext>
        </pc:extLst>
      </pc:sldChg>
      <pc:sldChg chg="add">
        <pc:chgData name="KlaSch23" userId="af01d902-f81e-4bcd-8d25-195841bb9bd0" providerId="ADAL" clId="{130DB200-CC37-4CB0-9CB7-6B4CEEE70D4C}" dt="2023-12-03T16:51:56.347" v="336"/>
        <pc:sldMkLst>
          <pc:docMk/>
          <pc:sldMk cId="1949494680" sldId="1145"/>
        </pc:sldMkLst>
      </pc:sldChg>
      <pc:sldChg chg="ord">
        <pc:chgData name="KlaSch23" userId="af01d902-f81e-4bcd-8d25-195841bb9bd0" providerId="ADAL" clId="{130DB200-CC37-4CB0-9CB7-6B4CEEE70D4C}" dt="2023-12-03T16:52:22.401" v="339"/>
        <pc:sldMkLst>
          <pc:docMk/>
          <pc:sldMk cId="2896180784" sldId="1146"/>
        </pc:sldMkLst>
      </pc:sldChg>
      <pc:sldChg chg="add">
        <pc:chgData name="KlaSch23" userId="af01d902-f81e-4bcd-8d25-195841bb9bd0" providerId="ADAL" clId="{130DB200-CC37-4CB0-9CB7-6B4CEEE70D4C}" dt="2023-12-03T16:52:32.801" v="340"/>
        <pc:sldMkLst>
          <pc:docMk/>
          <pc:sldMk cId="849589430" sldId="1147"/>
        </pc:sldMkLst>
      </pc:sldChg>
      <pc:sldChg chg="add">
        <pc:chgData name="KlaSch23" userId="af01d902-f81e-4bcd-8d25-195841bb9bd0" providerId="ADAL" clId="{130DB200-CC37-4CB0-9CB7-6B4CEEE70D4C}" dt="2023-12-03T16:52:55.415" v="342"/>
        <pc:sldMkLst>
          <pc:docMk/>
          <pc:sldMk cId="132874524" sldId="1149"/>
        </pc:sldMkLst>
      </pc:sldChg>
      <pc:sldChg chg="add">
        <pc:chgData name="KlaSch23" userId="af01d902-f81e-4bcd-8d25-195841bb9bd0" providerId="ADAL" clId="{130DB200-CC37-4CB0-9CB7-6B4CEEE70D4C}" dt="2023-12-03T16:53:16.107" v="344"/>
        <pc:sldMkLst>
          <pc:docMk/>
          <pc:sldMk cId="1184951045" sldId="1150"/>
        </pc:sldMkLst>
      </pc:sldChg>
      <pc:sldChg chg="add">
        <pc:chgData name="KlaSch23" userId="af01d902-f81e-4bcd-8d25-195841bb9bd0" providerId="ADAL" clId="{130DB200-CC37-4CB0-9CB7-6B4CEEE70D4C}" dt="2023-12-03T16:53:29.323" v="345"/>
        <pc:sldMkLst>
          <pc:docMk/>
          <pc:sldMk cId="1015537986" sldId="1151"/>
        </pc:sldMkLst>
      </pc:sldChg>
      <pc:sldChg chg="add">
        <pc:chgData name="KlaSch23" userId="af01d902-f81e-4bcd-8d25-195841bb9bd0" providerId="ADAL" clId="{130DB200-CC37-4CB0-9CB7-6B4CEEE70D4C}" dt="2023-12-03T16:53:40.430" v="346"/>
        <pc:sldMkLst>
          <pc:docMk/>
          <pc:sldMk cId="2062070276" sldId="1152"/>
        </pc:sldMkLst>
      </pc:sldChg>
      <pc:sldChg chg="add">
        <pc:chgData name="KlaSch23" userId="af01d902-f81e-4bcd-8d25-195841bb9bd0" providerId="ADAL" clId="{130DB200-CC37-4CB0-9CB7-6B4CEEE70D4C}" dt="2023-12-03T16:53:49.863" v="347"/>
        <pc:sldMkLst>
          <pc:docMk/>
          <pc:sldMk cId="39756996" sldId="1153"/>
        </pc:sldMkLst>
      </pc:sldChg>
      <pc:sldChg chg="ord">
        <pc:chgData name="KlaSch23" userId="af01d902-f81e-4bcd-8d25-195841bb9bd0" providerId="ADAL" clId="{130DB200-CC37-4CB0-9CB7-6B4CEEE70D4C}" dt="2023-12-03T16:54:03.320" v="349"/>
        <pc:sldMkLst>
          <pc:docMk/>
          <pc:sldMk cId="1790269184" sldId="1154"/>
        </pc:sldMkLst>
      </pc:sldChg>
      <pc:sldChg chg="addCm">
        <pc:chgData name="KlaSch23" userId="af01d902-f81e-4bcd-8d25-195841bb9bd0" providerId="ADAL" clId="{130DB200-CC37-4CB0-9CB7-6B4CEEE70D4C}" dt="2023-11-29T12:45:07.289" v="315"/>
        <pc:sldMkLst>
          <pc:docMk/>
          <pc:sldMk cId="3310491922" sldId="1154"/>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45:07.289" v="315"/>
              <pc2:cmMkLst xmlns:pc2="http://schemas.microsoft.com/office/powerpoint/2019/9/main/command">
                <pc:docMk/>
                <pc:sldMk cId="3310491922" sldId="1154"/>
                <pc2:cmMk id="{922F15B7-9634-4B76-8200-C825BCD79EA2}"/>
              </pc2:cmMkLst>
            </pc226:cmChg>
          </p:ext>
        </pc:extLst>
      </pc:sldChg>
      <pc:sldChg chg="add">
        <pc:chgData name="KlaSch23" userId="af01d902-f81e-4bcd-8d25-195841bb9bd0" providerId="ADAL" clId="{130DB200-CC37-4CB0-9CB7-6B4CEEE70D4C}" dt="2023-12-03T16:54:18.426" v="350"/>
        <pc:sldMkLst>
          <pc:docMk/>
          <pc:sldMk cId="3242610068" sldId="1155"/>
        </pc:sldMkLst>
      </pc:sldChg>
      <pc:sldChg chg="addCm">
        <pc:chgData name="KlaSch23" userId="af01d902-f81e-4bcd-8d25-195841bb9bd0" providerId="ADAL" clId="{130DB200-CC37-4CB0-9CB7-6B4CEEE70D4C}" dt="2023-11-29T12:47:32.939" v="320"/>
        <pc:sldMkLst>
          <pc:docMk/>
          <pc:sldMk cId="330923922" sldId="1156"/>
        </pc:sldMkLst>
        <pc:extLst>
          <p:ext xmlns:p="http://schemas.openxmlformats.org/presentationml/2006/main" uri="{D6D511B9-2390-475A-947B-AFAB55BFBCF1}">
            <pc226:cmChg xmlns:pc226="http://schemas.microsoft.com/office/powerpoint/2022/06/main/command" chg="add">
              <pc226:chgData name="KlaSch23" userId="af01d902-f81e-4bcd-8d25-195841bb9bd0" providerId="ADAL" clId="{130DB200-CC37-4CB0-9CB7-6B4CEEE70D4C}" dt="2023-11-29T12:47:32.939" v="320"/>
              <pc2:cmMkLst xmlns:pc2="http://schemas.microsoft.com/office/powerpoint/2019/9/main/command">
                <pc:docMk/>
                <pc:sldMk cId="330923922" sldId="1156"/>
                <pc2:cmMk id="{BF99C6C8-A219-4025-8B7B-DF33F3BD60F6}"/>
              </pc2:cmMkLst>
            </pc226:cmChg>
          </p:ext>
        </pc:extLst>
      </pc:sldChg>
    </pc:docChg>
  </pc:docChgLst>
  <pc:docChgLst>
    <pc:chgData name="MaxSch65" userId="S::maxsch65@student.fh-westkueste.de::7872a7b5-6558-429d-b35d-efd2a9a2bf8f" providerId="AD" clId="Web-{8681F273-11DF-40EE-9355-FD9FB1B58CE6}"/>
    <pc:docChg chg="sldOrd">
      <pc:chgData name="MaxSch65" userId="S::maxsch65@student.fh-westkueste.de::7872a7b5-6558-429d-b35d-efd2a9a2bf8f" providerId="AD" clId="Web-{8681F273-11DF-40EE-9355-FD9FB1B58CE6}" dt="2023-10-16T08:21:11.509" v="0"/>
      <pc:docMkLst>
        <pc:docMk/>
      </pc:docMkLst>
      <pc:sldChg chg="ord">
        <pc:chgData name="MaxSch65" userId="S::maxsch65@student.fh-westkueste.de::7872a7b5-6558-429d-b35d-efd2a9a2bf8f" providerId="AD" clId="Web-{8681F273-11DF-40EE-9355-FD9FB1B58CE6}" dt="2023-10-16T08:21:11.509" v="0"/>
        <pc:sldMkLst>
          <pc:docMk/>
          <pc:sldMk cId="3009283451" sldId="356"/>
        </pc:sldMkLst>
      </pc:sldChg>
    </pc:docChg>
  </pc:docChgLst>
  <pc:docChgLst>
    <pc:chgData name="KevCla12" userId="ef2eb634-4620-450f-93cc-80cc93397e60" providerId="ADAL" clId="{DC2781C5-C5AA-4C9E-BB12-60AF2D52C8F3}"/>
    <pc:docChg chg="modSld">
      <pc:chgData name="KevCla12" userId="ef2eb634-4620-450f-93cc-80cc93397e60" providerId="ADAL" clId="{DC2781C5-C5AA-4C9E-BB12-60AF2D52C8F3}" dt="2023-10-18T18:28:13.358" v="0" actId="14100"/>
      <pc:docMkLst>
        <pc:docMk/>
      </pc:docMkLst>
      <pc:sldChg chg="modSp mod">
        <pc:chgData name="KevCla12" userId="ef2eb634-4620-450f-93cc-80cc93397e60" providerId="ADAL" clId="{DC2781C5-C5AA-4C9E-BB12-60AF2D52C8F3}" dt="2023-10-18T18:28:13.358" v="0" actId="14100"/>
        <pc:sldMkLst>
          <pc:docMk/>
          <pc:sldMk cId="3674816059" sldId="339"/>
        </pc:sldMkLst>
        <pc:spChg chg="mod">
          <ac:chgData name="KevCla12" userId="ef2eb634-4620-450f-93cc-80cc93397e60" providerId="ADAL" clId="{DC2781C5-C5AA-4C9E-BB12-60AF2D52C8F3}" dt="2023-10-18T18:28:13.358" v="0" actId="14100"/>
          <ac:spMkLst>
            <pc:docMk/>
            <pc:sldMk cId="3674816059" sldId="339"/>
            <ac:spMk id="14" creationId="{080F21DA-3FF4-C269-C904-A0B3398ACA95}"/>
          </ac:spMkLst>
        </pc:spChg>
      </pc:sldChg>
    </pc:docChg>
  </pc:docChgLst>
  <pc:docChgLst>
    <pc:chgData name="MaxSch65" userId="S::maxsch65@student.fh-westkueste.de::7872a7b5-6558-429d-b35d-efd2a9a2bf8f" providerId="AD" clId="Web-{699659F1-D886-4E39-B97D-7E236CAC1E28}"/>
    <pc:docChg chg="addSld modSld modSection">
      <pc:chgData name="MaxSch65" userId="S::maxsch65@student.fh-westkueste.de::7872a7b5-6558-429d-b35d-efd2a9a2bf8f" providerId="AD" clId="Web-{699659F1-D886-4E39-B97D-7E236CAC1E28}" dt="2023-10-16T12:51:43.945" v="7"/>
      <pc:docMkLst>
        <pc:docMk/>
      </pc:docMkLst>
      <pc:sldChg chg="modSp add">
        <pc:chgData name="MaxSch65" userId="S::maxsch65@student.fh-westkueste.de::7872a7b5-6558-429d-b35d-efd2a9a2bf8f" providerId="AD" clId="Web-{699659F1-D886-4E39-B97D-7E236CAC1E28}" dt="2023-10-16T12:51:21.288" v="6"/>
        <pc:sldMkLst>
          <pc:docMk/>
          <pc:sldMk cId="1742750569" sldId="363"/>
        </pc:sldMkLst>
        <pc:graphicFrameChg chg="mod modGraphic">
          <ac:chgData name="MaxSch65" userId="S::maxsch65@student.fh-westkueste.de::7872a7b5-6558-429d-b35d-efd2a9a2bf8f" providerId="AD" clId="Web-{699659F1-D886-4E39-B97D-7E236CAC1E28}" dt="2023-10-16T12:51:21.288" v="6"/>
          <ac:graphicFrameMkLst>
            <pc:docMk/>
            <pc:sldMk cId="1742750569" sldId="363"/>
            <ac:graphicFrameMk id="20" creationId="{ED9DF0DD-816F-4339-ACF2-3B3273F8C596}"/>
          </ac:graphicFrameMkLst>
        </pc:graphicFrameChg>
      </pc:sldChg>
      <pc:sldChg chg="add">
        <pc:chgData name="MaxSch65" userId="S::maxsch65@student.fh-westkueste.de::7872a7b5-6558-429d-b35d-efd2a9a2bf8f" providerId="AD" clId="Web-{699659F1-D886-4E39-B97D-7E236CAC1E28}" dt="2023-10-16T12:51:43.945" v="7"/>
        <pc:sldMkLst>
          <pc:docMk/>
          <pc:sldMk cId="2880603665" sldId="364"/>
        </pc:sldMkLst>
      </pc:sldChg>
      <pc:sldMasterChg chg="addSldLayout">
        <pc:chgData name="MaxSch65" userId="S::maxsch65@student.fh-westkueste.de::7872a7b5-6558-429d-b35d-efd2a9a2bf8f" providerId="AD" clId="Web-{699659F1-D886-4E39-B97D-7E236CAC1E28}" dt="2023-10-16T12:50:36.193" v="0"/>
        <pc:sldMasterMkLst>
          <pc:docMk/>
          <pc:sldMasterMk cId="1070981886" sldId="2147483656"/>
        </pc:sldMasterMkLst>
        <pc:sldLayoutChg chg="add">
          <pc:chgData name="MaxSch65" userId="S::maxsch65@student.fh-westkueste.de::7872a7b5-6558-429d-b35d-efd2a9a2bf8f" providerId="AD" clId="Web-{699659F1-D886-4E39-B97D-7E236CAC1E28}" dt="2023-10-16T12:50:36.193" v="0"/>
          <pc:sldLayoutMkLst>
            <pc:docMk/>
            <pc:sldMasterMk cId="1070981886" sldId="2147483656"/>
            <pc:sldLayoutMk cId="460810971" sldId="2147483664"/>
          </pc:sldLayoutMkLst>
        </pc:sldLayoutChg>
      </pc:sldMasterChg>
    </pc:docChg>
  </pc:docChgLst>
  <pc:docChgLst>
    <pc:chgData name="MaxSch65" userId="S::maxsch65@student.fh-westkueste.de::7872a7b5-6558-429d-b35d-efd2a9a2bf8f" providerId="AD" clId="Web-{4E48B753-4895-472E-B93E-E9B031CDB606}"/>
    <pc:docChg chg="modSld">
      <pc:chgData name="MaxSch65" userId="S::maxsch65@student.fh-westkueste.de::7872a7b5-6558-429d-b35d-efd2a9a2bf8f" providerId="AD" clId="Web-{4E48B753-4895-472E-B93E-E9B031CDB606}" dt="2023-10-16T08:41:35.891" v="8" actId="14100"/>
      <pc:docMkLst>
        <pc:docMk/>
      </pc:docMkLst>
      <pc:sldChg chg="addSp delSp modSp">
        <pc:chgData name="MaxSch65" userId="S::maxsch65@student.fh-westkueste.de::7872a7b5-6558-429d-b35d-efd2a9a2bf8f" providerId="AD" clId="Web-{4E48B753-4895-472E-B93E-E9B031CDB606}" dt="2023-10-16T08:41:35.891" v="8" actId="14100"/>
        <pc:sldMkLst>
          <pc:docMk/>
          <pc:sldMk cId="2619089612" sldId="319"/>
        </pc:sldMkLst>
        <pc:spChg chg="del">
          <ac:chgData name="MaxSch65" userId="S::maxsch65@student.fh-westkueste.de::7872a7b5-6558-429d-b35d-efd2a9a2bf8f" providerId="AD" clId="Web-{4E48B753-4895-472E-B93E-E9B031CDB606}" dt="2023-10-16T08:40:54.640" v="0"/>
          <ac:spMkLst>
            <pc:docMk/>
            <pc:sldMk cId="2619089612" sldId="319"/>
            <ac:spMk id="7" creationId="{70FBE2B5-C69A-C61B-36AF-D923F8001734}"/>
          </ac:spMkLst>
        </pc:spChg>
        <pc:picChg chg="add mod ord">
          <ac:chgData name="MaxSch65" userId="S::maxsch65@student.fh-westkueste.de::7872a7b5-6558-429d-b35d-efd2a9a2bf8f" providerId="AD" clId="Web-{4E48B753-4895-472E-B93E-E9B031CDB606}" dt="2023-10-16T08:41:35.891" v="8" actId="14100"/>
          <ac:picMkLst>
            <pc:docMk/>
            <pc:sldMk cId="2619089612" sldId="319"/>
            <ac:picMk id="3" creationId="{A3894867-47A7-2BCA-0C31-222E3EA731E3}"/>
          </ac:picMkLst>
        </pc:picChg>
        <pc:picChg chg="del mod">
          <ac:chgData name="MaxSch65" userId="S::maxsch65@student.fh-westkueste.de::7872a7b5-6558-429d-b35d-efd2a9a2bf8f" providerId="AD" clId="Web-{4E48B753-4895-472E-B93E-E9B031CDB606}" dt="2023-10-16T08:41:19.703" v="5"/>
          <ac:picMkLst>
            <pc:docMk/>
            <pc:sldMk cId="2619089612" sldId="319"/>
            <ac:picMk id="19" creationId="{CEDA9CE3-210F-C978-9E87-D878432E31EC}"/>
          </ac:picMkLst>
        </pc:picChg>
      </pc:sldChg>
    </pc:docChg>
  </pc:docChgLst>
  <pc:docChgLst>
    <pc:chgData name="KevCla12" userId="ef2eb634-4620-450f-93cc-80cc93397e60" providerId="ADAL" clId="{0BF56A33-4BC5-423F-96C0-6A8645FA96BB}"/>
    <pc:docChg chg="undo redo custSel addSld delSld modSld sldOrd modMainMaster modSection replTag">
      <pc:chgData name="KevCla12" userId="ef2eb634-4620-450f-93cc-80cc93397e60" providerId="ADAL" clId="{0BF56A33-4BC5-423F-96C0-6A8645FA96BB}" dt="2023-12-03T23:57:59.708" v="38466" actId="20577"/>
      <pc:docMkLst>
        <pc:docMk/>
      </pc:docMkLst>
      <pc:sldChg chg="addSp delSp modSp mod modNotes">
        <pc:chgData name="KevCla12" userId="ef2eb634-4620-450f-93cc-80cc93397e60" providerId="ADAL" clId="{0BF56A33-4BC5-423F-96C0-6A8645FA96BB}" dt="2023-12-03T21:48:12.399" v="33683"/>
        <pc:sldMkLst>
          <pc:docMk/>
          <pc:sldMk cId="2791746834" sldId="263"/>
        </pc:sldMkLst>
        <pc:spChg chg="mod">
          <ac:chgData name="KevCla12" userId="ef2eb634-4620-450f-93cc-80cc93397e60" providerId="ADAL" clId="{0BF56A33-4BC5-423F-96C0-6A8645FA96BB}" dt="2023-12-03T21:48:12.090" v="33404" actId="948"/>
          <ac:spMkLst>
            <pc:docMk/>
            <pc:sldMk cId="2791746834" sldId="263"/>
            <ac:spMk id="2" creationId="{00000000-0000-0000-0000-000000000000}"/>
          </ac:spMkLst>
        </pc:spChg>
        <pc:spChg chg="mod">
          <ac:chgData name="KevCla12" userId="ef2eb634-4620-450f-93cc-80cc93397e60" providerId="ADAL" clId="{0BF56A33-4BC5-423F-96C0-6A8645FA96BB}" dt="2023-12-03T21:48:04.843" v="30606" actId="790"/>
          <ac:spMkLst>
            <pc:docMk/>
            <pc:sldMk cId="2791746834" sldId="263"/>
            <ac:spMk id="3" creationId="{00000000-0000-0000-0000-000000000000}"/>
          </ac:spMkLst>
        </pc:spChg>
        <pc:spChg chg="add del mod modVis">
          <ac:chgData name="KevCla12" userId="ef2eb634-4620-450f-93cc-80cc93397e60" providerId="ADAL" clId="{0BF56A33-4BC5-423F-96C0-6A8645FA96BB}" dt="2023-12-03T21:47:50.324" v="30581"/>
          <ac:spMkLst>
            <pc:docMk/>
            <pc:sldMk cId="2791746834" sldId="263"/>
            <ac:spMk id="5" creationId="{354CDC53-C3E7-3666-DEFC-E50A3BFDC2FD}"/>
          </ac:spMkLst>
        </pc:spChg>
        <pc:spChg chg="add del mod modVis">
          <ac:chgData name="KevCla12" userId="ef2eb634-4620-450f-93cc-80cc93397e60" providerId="ADAL" clId="{0BF56A33-4BC5-423F-96C0-6A8645FA96BB}" dt="2023-11-30T18:14:33.766" v="6294"/>
          <ac:spMkLst>
            <pc:docMk/>
            <pc:sldMk cId="2791746834" sldId="263"/>
            <ac:spMk id="5" creationId="{43CFC3EC-043C-703D-3555-431BD38159E0}"/>
          </ac:spMkLst>
        </pc:spChg>
        <pc:spChg chg="add del mod modVis">
          <ac:chgData name="KevCla12" userId="ef2eb634-4620-450f-93cc-80cc93397e60" providerId="ADAL" clId="{0BF56A33-4BC5-423F-96C0-6A8645FA96BB}" dt="2023-12-03T17:03:02.331" v="17530"/>
          <ac:spMkLst>
            <pc:docMk/>
            <pc:sldMk cId="2791746834" sldId="263"/>
            <ac:spMk id="5" creationId="{CBB947AB-E328-9F8E-508D-341B9C6847BE}"/>
          </ac:spMkLst>
        </pc:spChg>
        <pc:spChg chg="add del mod modVis">
          <ac:chgData name="KevCla12" userId="ef2eb634-4620-450f-93cc-80cc93397e60" providerId="ADAL" clId="{0BF56A33-4BC5-423F-96C0-6A8645FA96BB}" dt="2023-11-26T10:47:38.575" v="87"/>
          <ac:spMkLst>
            <pc:docMk/>
            <pc:sldMk cId="2791746834" sldId="263"/>
            <ac:spMk id="5" creationId="{D44E732F-0A1A-CE08-31C7-1D91113AFF00}"/>
          </ac:spMkLst>
        </pc:spChg>
        <pc:spChg chg="add del mod modVis">
          <ac:chgData name="KevCla12" userId="ef2eb634-4620-450f-93cc-80cc93397e60" providerId="ADAL" clId="{0BF56A33-4BC5-423F-96C0-6A8645FA96BB}" dt="2023-11-26T10:47:39.383" v="115"/>
          <ac:spMkLst>
            <pc:docMk/>
            <pc:sldMk cId="2791746834" sldId="263"/>
            <ac:spMk id="6" creationId="{59927E5D-EA83-DDF1-9EB3-E66D2F10769F}"/>
          </ac:spMkLst>
        </pc:spChg>
        <pc:spChg chg="add del mod modVis">
          <ac:chgData name="KevCla12" userId="ef2eb634-4620-450f-93cc-80cc93397e60" providerId="ADAL" clId="{0BF56A33-4BC5-423F-96C0-6A8645FA96BB}" dt="2023-12-03T17:03:03.207" v="17558"/>
          <ac:spMkLst>
            <pc:docMk/>
            <pc:sldMk cId="2791746834" sldId="263"/>
            <ac:spMk id="6" creationId="{614A4608-AD65-B1BF-EAC8-639A82A61856}"/>
          </ac:spMkLst>
        </pc:spChg>
        <pc:spChg chg="add del mod modVis">
          <ac:chgData name="KevCla12" userId="ef2eb634-4620-450f-93cc-80cc93397e60" providerId="ADAL" clId="{0BF56A33-4BC5-423F-96C0-6A8645FA96BB}" dt="2023-12-03T21:48:12.397" v="33681"/>
          <ac:spMkLst>
            <pc:docMk/>
            <pc:sldMk cId="2791746834" sldId="263"/>
            <ac:spMk id="6" creationId="{F2393768-865A-7DC6-1180-4DF8FFFF154C}"/>
          </ac:spMkLst>
        </pc:spChg>
        <pc:spChg chg="add del mod modVis">
          <ac:chgData name="KevCla12" userId="ef2eb634-4620-450f-93cc-80cc93397e60" providerId="ADAL" clId="{0BF56A33-4BC5-423F-96C0-6A8645FA96BB}" dt="2023-11-26T10:47:53.368" v="162"/>
          <ac:spMkLst>
            <pc:docMk/>
            <pc:sldMk cId="2791746834" sldId="263"/>
            <ac:spMk id="7" creationId="{CC7BBF81-9D4F-B74D-65CA-B93BDD0B2B61}"/>
          </ac:spMkLst>
        </pc:spChg>
        <pc:spChg chg="add del mod modVis">
          <ac:chgData name="KevCla12" userId="ef2eb634-4620-450f-93cc-80cc93397e60" providerId="ADAL" clId="{0BF56A33-4BC5-423F-96C0-6A8645FA96BB}" dt="2023-12-03T17:03:19.154" v="17586"/>
          <ac:spMkLst>
            <pc:docMk/>
            <pc:sldMk cId="2791746834" sldId="263"/>
            <ac:spMk id="7" creationId="{DB4B3FE9-C863-BAD0-E765-7EAE5083B91D}"/>
          </ac:spMkLst>
        </pc:spChg>
        <pc:spChg chg="add del mod modVis">
          <ac:chgData name="KevCla12" userId="ef2eb634-4620-450f-93cc-80cc93397e60" providerId="ADAL" clId="{0BF56A33-4BC5-423F-96C0-6A8645FA96BB}" dt="2023-12-03T17:03:22.004" v="17624"/>
          <ac:spMkLst>
            <pc:docMk/>
            <pc:sldMk cId="2791746834" sldId="263"/>
            <ac:spMk id="8" creationId="{56F943FF-87D4-06BC-7E61-4F1438984B98}"/>
          </ac:spMkLst>
        </pc:spChg>
        <pc:spChg chg="add del mod modVis">
          <ac:chgData name="KevCla12" userId="ef2eb634-4620-450f-93cc-80cc93397e60" providerId="ADAL" clId="{0BF56A33-4BC5-423F-96C0-6A8645FA96BB}" dt="2023-12-03T17:06:01.583" v="17652"/>
          <ac:spMkLst>
            <pc:docMk/>
            <pc:sldMk cId="2791746834" sldId="263"/>
            <ac:spMk id="9" creationId="{6E54F0C0-7A74-DC24-722C-94BC1C1F4E36}"/>
          </ac:spMkLst>
        </pc:spChg>
        <pc:spChg chg="add del mod modVis">
          <ac:chgData name="KevCla12" userId="ef2eb634-4620-450f-93cc-80cc93397e60" providerId="ADAL" clId="{0BF56A33-4BC5-423F-96C0-6A8645FA96BB}" dt="2023-12-03T17:06:04.056" v="17688"/>
          <ac:spMkLst>
            <pc:docMk/>
            <pc:sldMk cId="2791746834" sldId="263"/>
            <ac:spMk id="10" creationId="{8C8B7A68-4F7B-00AE-172A-9EE7EA9CC348}"/>
          </ac:spMkLst>
        </pc:spChg>
        <pc:spChg chg="add del mod modVis">
          <ac:chgData name="KevCla12" userId="ef2eb634-4620-450f-93cc-80cc93397e60" providerId="ADAL" clId="{0BF56A33-4BC5-423F-96C0-6A8645FA96BB}" dt="2023-12-03T17:15:22.156" v="18400"/>
          <ac:spMkLst>
            <pc:docMk/>
            <pc:sldMk cId="2791746834" sldId="263"/>
            <ac:spMk id="11" creationId="{C2EEFD87-CBF6-9AB5-08F6-7008D5AFBDE7}"/>
          </ac:spMkLst>
        </pc:spChg>
        <pc:graphicFrameChg chg="add mod ord modVis replST">
          <ac:chgData name="KevCla12" userId="ef2eb634-4620-450f-93cc-80cc93397e60" providerId="ADAL" clId="{0BF56A33-4BC5-423F-96C0-6A8645FA96BB}" dt="2023-12-03T21:48:12.399" v="33683"/>
          <ac:graphicFrameMkLst>
            <pc:docMk/>
            <pc:sldMk cId="2791746834" sldId="263"/>
            <ac:graphicFrameMk id="4" creationId="{DE803CA4-2F6D-CCB6-B1D3-AEA2A4ED4D2A}"/>
          </ac:graphicFrameMkLst>
        </pc:graphicFrameChg>
      </pc:sldChg>
      <pc:sldChg chg="addSp delSp modSp new add mod modNotes">
        <pc:chgData name="KevCla12" userId="ef2eb634-4620-450f-93cc-80cc93397e60" providerId="ADAL" clId="{0BF56A33-4BC5-423F-96C0-6A8645FA96BB}" dt="2023-12-03T21:48:06.037" v="30814" actId="790"/>
        <pc:sldMkLst>
          <pc:docMk/>
          <pc:sldMk cId="4129477927" sldId="264"/>
        </pc:sldMkLst>
        <pc:spChg chg="mod">
          <ac:chgData name="KevCla12" userId="ef2eb634-4620-450f-93cc-80cc93397e60" providerId="ADAL" clId="{0BF56A33-4BC5-423F-96C0-6A8645FA96BB}" dt="2023-12-03T21:48:06.034" v="30811" actId="790"/>
          <ac:spMkLst>
            <pc:docMk/>
            <pc:sldMk cId="4129477927" sldId="264"/>
            <ac:spMk id="2" creationId="{BA9CF71D-69DB-0F38-348E-EDD6B061A5F6}"/>
          </ac:spMkLst>
        </pc:spChg>
        <pc:spChg chg="mod">
          <ac:chgData name="KevCla12" userId="ef2eb634-4620-450f-93cc-80cc93397e60" providerId="ADAL" clId="{0BF56A33-4BC5-423F-96C0-6A8645FA96BB}" dt="2023-12-03T21:48:06.036" v="30812" actId="790"/>
          <ac:spMkLst>
            <pc:docMk/>
            <pc:sldMk cId="4129477927" sldId="264"/>
            <ac:spMk id="3" creationId="{4643EE31-1C72-3234-2CAD-AC1EE7C353A8}"/>
          </ac:spMkLst>
        </pc:spChg>
        <pc:spChg chg="add del mod modVis">
          <ac:chgData name="KevCla12" userId="ef2eb634-4620-450f-93cc-80cc93397e60" providerId="ADAL" clId="{0BF56A33-4BC5-423F-96C0-6A8645FA96BB}" dt="2023-12-03T17:06:14.037" v="17720"/>
          <ac:spMkLst>
            <pc:docMk/>
            <pc:sldMk cId="4129477927" sldId="264"/>
            <ac:spMk id="4" creationId="{09197865-4C04-B53C-878E-6BF163B6424A}"/>
          </ac:spMkLst>
        </pc:spChg>
        <pc:spChg chg="add del mod modVis">
          <ac:chgData name="KevCla12" userId="ef2eb634-4620-450f-93cc-80cc93397e60" providerId="ADAL" clId="{0BF56A33-4BC5-423F-96C0-6A8645FA96BB}" dt="2023-11-26T10:48:02.725" v="214"/>
          <ac:spMkLst>
            <pc:docMk/>
            <pc:sldMk cId="4129477927" sldId="264"/>
            <ac:spMk id="4" creationId="{2C9B6879-237E-3DB3-43E5-C9F065873F88}"/>
          </ac:spMkLst>
        </pc:spChg>
        <pc:spChg chg="add del mod modVis">
          <ac:chgData name="KevCla12" userId="ef2eb634-4620-450f-93cc-80cc93397e60" providerId="ADAL" clId="{0BF56A33-4BC5-423F-96C0-6A8645FA96BB}" dt="2023-12-02T17:31:23.365" v="12515"/>
          <ac:spMkLst>
            <pc:docMk/>
            <pc:sldMk cId="4129477927" sldId="264"/>
            <ac:spMk id="4" creationId="{ADB04DED-766F-1F0F-1F73-0BCE41084D18}"/>
          </ac:spMkLst>
        </pc:spChg>
        <pc:spChg chg="add del mod modVis">
          <ac:chgData name="KevCla12" userId="ef2eb634-4620-450f-93cc-80cc93397e60" providerId="ADAL" clId="{0BF56A33-4BC5-423F-96C0-6A8645FA96BB}" dt="2023-12-02T17:31:25.132" v="12548"/>
          <ac:spMkLst>
            <pc:docMk/>
            <pc:sldMk cId="4129477927" sldId="264"/>
            <ac:spMk id="6" creationId="{040A4773-90D8-3AFB-F3C7-322003EBDFA3}"/>
          </ac:spMkLst>
        </pc:spChg>
        <pc:spChg chg="add del mod modVis">
          <ac:chgData name="KevCla12" userId="ef2eb634-4620-450f-93cc-80cc93397e60" providerId="ADAL" clId="{0BF56A33-4BC5-423F-96C0-6A8645FA96BB}" dt="2023-11-26T10:48:03.504" v="255"/>
          <ac:spMkLst>
            <pc:docMk/>
            <pc:sldMk cId="4129477927" sldId="264"/>
            <ac:spMk id="6" creationId="{9A323F4C-7F9C-4BDB-8D96-4E126CA0BB1A}"/>
          </ac:spMkLst>
        </pc:spChg>
        <pc:spChg chg="add del mod modVis">
          <ac:chgData name="KevCla12" userId="ef2eb634-4620-450f-93cc-80cc93397e60" providerId="ADAL" clId="{0BF56A33-4BC5-423F-96C0-6A8645FA96BB}" dt="2023-12-03T17:06:15.558" v="17755"/>
          <ac:spMkLst>
            <pc:docMk/>
            <pc:sldMk cId="4129477927" sldId="264"/>
            <ac:spMk id="6" creationId="{BE539DDA-0A17-63BD-AAF6-A671572A2248}"/>
          </ac:spMkLst>
        </pc:spChg>
        <pc:spChg chg="add del mod modVis">
          <ac:chgData name="KevCla12" userId="ef2eb634-4620-450f-93cc-80cc93397e60" providerId="ADAL" clId="{0BF56A33-4BC5-423F-96C0-6A8645FA96BB}" dt="2023-11-26T10:48:08.271" v="297"/>
          <ac:spMkLst>
            <pc:docMk/>
            <pc:sldMk cId="4129477927" sldId="264"/>
            <ac:spMk id="7" creationId="{392C5316-6DEA-9111-C926-B3049CDCB248}"/>
          </ac:spMkLst>
        </pc:spChg>
        <pc:spChg chg="add del mod modVis">
          <ac:chgData name="KevCla12" userId="ef2eb634-4620-450f-93cc-80cc93397e60" providerId="ADAL" clId="{0BF56A33-4BC5-423F-96C0-6A8645FA96BB}" dt="2023-12-03T17:15:14.700" v="18372"/>
          <ac:spMkLst>
            <pc:docMk/>
            <pc:sldMk cId="4129477927" sldId="264"/>
            <ac:spMk id="7" creationId="{AB873292-0BEC-2C0B-7C64-7C13693F6CBE}"/>
          </ac:spMkLst>
        </pc:spChg>
        <pc:spChg chg="add del mod modVis">
          <ac:chgData name="KevCla12" userId="ef2eb634-4620-450f-93cc-80cc93397e60" providerId="ADAL" clId="{0BF56A33-4BC5-423F-96C0-6A8645FA96BB}" dt="2023-11-26T10:48:09.703" v="329"/>
          <ac:spMkLst>
            <pc:docMk/>
            <pc:sldMk cId="4129477927" sldId="264"/>
            <ac:spMk id="8" creationId="{D8987FF1-EF85-8C17-EDD1-A1095A969BCF}"/>
          </ac:spMkLst>
        </pc:spChg>
        <pc:graphicFrameChg chg="add mod ord modVis replST">
          <ac:chgData name="KevCla12" userId="ef2eb634-4620-450f-93cc-80cc93397e60" providerId="ADAL" clId="{0BF56A33-4BC5-423F-96C0-6A8645FA96BB}" dt="2023-12-03T17:15:14.705" v="18374"/>
          <ac:graphicFrameMkLst>
            <pc:docMk/>
            <pc:sldMk cId="4129477927" sldId="264"/>
            <ac:graphicFrameMk id="5" creationId="{E81F6C5D-5863-F569-639B-5B2249F8AA19}"/>
          </ac:graphicFrameMkLst>
        </pc:graphicFrameChg>
      </pc:sldChg>
      <pc:sldChg chg="addSp delSp modSp new add mod modNotes">
        <pc:chgData name="KevCla12" userId="ef2eb634-4620-450f-93cc-80cc93397e60" providerId="ADAL" clId="{0BF56A33-4BC5-423F-96C0-6A8645FA96BB}" dt="2023-12-03T21:48:06.851" v="31155" actId="790"/>
        <pc:sldMkLst>
          <pc:docMk/>
          <pc:sldMk cId="894086320" sldId="265"/>
        </pc:sldMkLst>
        <pc:spChg chg="mod">
          <ac:chgData name="KevCla12" userId="ef2eb634-4620-450f-93cc-80cc93397e60" providerId="ADAL" clId="{0BF56A33-4BC5-423F-96C0-6A8645FA96BB}" dt="2023-12-03T21:48:06.849" v="31152" actId="790"/>
          <ac:spMkLst>
            <pc:docMk/>
            <pc:sldMk cId="894086320" sldId="265"/>
            <ac:spMk id="2" creationId="{CDE95C51-87A7-784D-0BD0-DA86F62E645A}"/>
          </ac:spMkLst>
        </pc:spChg>
        <pc:spChg chg="mod">
          <ac:chgData name="KevCla12" userId="ef2eb634-4620-450f-93cc-80cc93397e60" providerId="ADAL" clId="{0BF56A33-4BC5-423F-96C0-6A8645FA96BB}" dt="2023-12-03T21:48:06.850" v="31153" actId="790"/>
          <ac:spMkLst>
            <pc:docMk/>
            <pc:sldMk cId="894086320" sldId="265"/>
            <ac:spMk id="3" creationId="{DD623A1D-B65D-0F5A-2194-0B7213638BFE}"/>
          </ac:spMkLst>
        </pc:spChg>
        <pc:spChg chg="add del mod modVis">
          <ac:chgData name="KevCla12" userId="ef2eb634-4620-450f-93cc-80cc93397e60" providerId="ADAL" clId="{0BF56A33-4BC5-423F-96C0-6A8645FA96BB}" dt="2023-11-26T10:48:25.619" v="382"/>
          <ac:spMkLst>
            <pc:docMk/>
            <pc:sldMk cId="894086320" sldId="265"/>
            <ac:spMk id="4" creationId="{B478160F-9ECB-54AC-FE7C-842E7915F599}"/>
          </ac:spMkLst>
        </pc:spChg>
        <pc:spChg chg="add del mod modVis">
          <ac:chgData name="KevCla12" userId="ef2eb634-4620-450f-93cc-80cc93397e60" providerId="ADAL" clId="{0BF56A33-4BC5-423F-96C0-6A8645FA96BB}" dt="2023-12-03T17:06:25.254" v="17785"/>
          <ac:spMkLst>
            <pc:docMk/>
            <pc:sldMk cId="894086320" sldId="265"/>
            <ac:spMk id="4" creationId="{F75973C0-C5C6-D416-1B58-3E68456AA169}"/>
          </ac:spMkLst>
        </pc:spChg>
        <pc:spChg chg="add del mod modVis">
          <ac:chgData name="KevCla12" userId="ef2eb634-4620-450f-93cc-80cc93397e60" providerId="ADAL" clId="{0BF56A33-4BC5-423F-96C0-6A8645FA96BB}" dt="2023-11-26T10:48:27.237" v="427"/>
          <ac:spMkLst>
            <pc:docMk/>
            <pc:sldMk cId="894086320" sldId="265"/>
            <ac:spMk id="6" creationId="{906E5550-A9CF-9020-88CC-49AA50F0259F}"/>
          </ac:spMkLst>
        </pc:spChg>
        <pc:spChg chg="add del mod modVis">
          <ac:chgData name="KevCla12" userId="ef2eb634-4620-450f-93cc-80cc93397e60" providerId="ADAL" clId="{0BF56A33-4BC5-423F-96C0-6A8645FA96BB}" dt="2023-12-03T17:09:50.999" v="17813"/>
          <ac:spMkLst>
            <pc:docMk/>
            <pc:sldMk cId="894086320" sldId="265"/>
            <ac:spMk id="6" creationId="{DCC69F31-BE44-50A2-C023-4C85B5B98C30}"/>
          </ac:spMkLst>
        </pc:spChg>
        <pc:spChg chg="add del mod modVis">
          <ac:chgData name="KevCla12" userId="ef2eb634-4620-450f-93cc-80cc93397e60" providerId="ADAL" clId="{0BF56A33-4BC5-423F-96C0-6A8645FA96BB}" dt="2023-12-03T17:09:51.802" v="17841"/>
          <ac:spMkLst>
            <pc:docMk/>
            <pc:sldMk cId="894086320" sldId="265"/>
            <ac:spMk id="7" creationId="{34E440E1-F5D6-580A-17DB-8BB033C0E26F}"/>
          </ac:spMkLst>
        </pc:spChg>
        <pc:spChg chg="add del mod modVis">
          <ac:chgData name="KevCla12" userId="ef2eb634-4620-450f-93cc-80cc93397e60" providerId="ADAL" clId="{0BF56A33-4BC5-423F-96C0-6A8645FA96BB}" dt="2023-11-26T10:48:28.740" v="460"/>
          <ac:spMkLst>
            <pc:docMk/>
            <pc:sldMk cId="894086320" sldId="265"/>
            <ac:spMk id="7" creationId="{AE17899B-11E5-0B10-B410-316A349DFAA4}"/>
          </ac:spMkLst>
        </pc:spChg>
        <pc:spChg chg="add del mod modVis">
          <ac:chgData name="KevCla12" userId="ef2eb634-4620-450f-93cc-80cc93397e60" providerId="ADAL" clId="{0BF56A33-4BC5-423F-96C0-6A8645FA96BB}" dt="2023-12-03T17:09:54.248" v="17878"/>
          <ac:spMkLst>
            <pc:docMk/>
            <pc:sldMk cId="894086320" sldId="265"/>
            <ac:spMk id="8" creationId="{7DF92208-B1C6-AB7C-8DF8-F2ACEB79E226}"/>
          </ac:spMkLst>
        </pc:spChg>
        <pc:spChg chg="add del mod modVis">
          <ac:chgData name="KevCla12" userId="ef2eb634-4620-450f-93cc-80cc93397e60" providerId="ADAL" clId="{0BF56A33-4BC5-423F-96C0-6A8645FA96BB}" dt="2023-11-26T10:48:30.624" v="496"/>
          <ac:spMkLst>
            <pc:docMk/>
            <pc:sldMk cId="894086320" sldId="265"/>
            <ac:spMk id="8" creationId="{7FA6D0E3-5D83-8159-532B-EB00B5DE21C9}"/>
          </ac:spMkLst>
        </pc:spChg>
        <pc:spChg chg="add del mod modVis">
          <ac:chgData name="KevCla12" userId="ef2eb634-4620-450f-93cc-80cc93397e60" providerId="ADAL" clId="{0BF56A33-4BC5-423F-96C0-6A8645FA96BB}" dt="2023-11-26T10:48:31.738" v="527"/>
          <ac:spMkLst>
            <pc:docMk/>
            <pc:sldMk cId="894086320" sldId="265"/>
            <ac:spMk id="9" creationId="{E104B596-3D03-39F9-5507-ADE6DAEA6229}"/>
          </ac:spMkLst>
        </pc:spChg>
        <pc:graphicFrameChg chg="add mod ord modVis replST">
          <ac:chgData name="KevCla12" userId="ef2eb634-4620-450f-93cc-80cc93397e60" providerId="ADAL" clId="{0BF56A33-4BC5-423F-96C0-6A8645FA96BB}" dt="2023-12-03T17:09:54.253" v="17880"/>
          <ac:graphicFrameMkLst>
            <pc:docMk/>
            <pc:sldMk cId="894086320" sldId="265"/>
            <ac:graphicFrameMk id="5" creationId="{AA28E564-1A87-BA7C-8C98-A007380FDF99}"/>
          </ac:graphicFrameMkLst>
        </pc:graphicFrameChg>
      </pc:sldChg>
      <pc:sldChg chg="addSp delSp modSp new add mod modNotes">
        <pc:chgData name="KevCla12" userId="ef2eb634-4620-450f-93cc-80cc93397e60" providerId="ADAL" clId="{0BF56A33-4BC5-423F-96C0-6A8645FA96BB}" dt="2023-12-03T21:48:07.235" v="31295" actId="790"/>
        <pc:sldMkLst>
          <pc:docMk/>
          <pc:sldMk cId="2020655463" sldId="266"/>
        </pc:sldMkLst>
        <pc:spChg chg="mod">
          <ac:chgData name="KevCla12" userId="ef2eb634-4620-450f-93cc-80cc93397e60" providerId="ADAL" clId="{0BF56A33-4BC5-423F-96C0-6A8645FA96BB}" dt="2023-12-03T21:48:07.232" v="31292" actId="790"/>
          <ac:spMkLst>
            <pc:docMk/>
            <pc:sldMk cId="2020655463" sldId="266"/>
            <ac:spMk id="2" creationId="{18FC5D07-42BE-15E4-72CB-9F559B366C14}"/>
          </ac:spMkLst>
        </pc:spChg>
        <pc:spChg chg="mod">
          <ac:chgData name="KevCla12" userId="ef2eb634-4620-450f-93cc-80cc93397e60" providerId="ADAL" clId="{0BF56A33-4BC5-423F-96C0-6A8645FA96BB}" dt="2023-12-03T21:48:07.233" v="31293" actId="790"/>
          <ac:spMkLst>
            <pc:docMk/>
            <pc:sldMk cId="2020655463" sldId="266"/>
            <ac:spMk id="3" creationId="{8B8445DB-E7F2-BAC9-08C4-70B0CD4C80DE}"/>
          </ac:spMkLst>
        </pc:spChg>
        <pc:spChg chg="add del mod modVis">
          <ac:chgData name="KevCla12" userId="ef2eb634-4620-450f-93cc-80cc93397e60" providerId="ADAL" clId="{0BF56A33-4BC5-423F-96C0-6A8645FA96BB}" dt="2023-11-30T18:44:52.175" v="8477"/>
          <ac:spMkLst>
            <pc:docMk/>
            <pc:sldMk cId="2020655463" sldId="266"/>
            <ac:spMk id="5" creationId="{3BE440E2-16F1-61F2-3DEE-CD8850DE6996}"/>
          </ac:spMkLst>
        </pc:spChg>
        <pc:spChg chg="add del mod modVis">
          <ac:chgData name="KevCla12" userId="ef2eb634-4620-450f-93cc-80cc93397e60" providerId="ADAL" clId="{0BF56A33-4BC5-423F-96C0-6A8645FA96BB}" dt="2023-11-26T10:48:42.094" v="599"/>
          <ac:spMkLst>
            <pc:docMk/>
            <pc:sldMk cId="2020655463" sldId="266"/>
            <ac:spMk id="5" creationId="{5713DF04-29D6-AC7F-5A79-8D8484646EBC}"/>
          </ac:spMkLst>
        </pc:spChg>
        <pc:spChg chg="add del mod modVis">
          <ac:chgData name="KevCla12" userId="ef2eb634-4620-450f-93cc-80cc93397e60" providerId="ADAL" clId="{0BF56A33-4BC5-423F-96C0-6A8645FA96BB}" dt="2023-12-03T17:10:09.653" v="17909"/>
          <ac:spMkLst>
            <pc:docMk/>
            <pc:sldMk cId="2020655463" sldId="266"/>
            <ac:spMk id="5" creationId="{CD5DB19C-4A69-5CDA-09E5-2B325C2747D7}"/>
          </ac:spMkLst>
        </pc:spChg>
        <pc:spChg chg="add del mod modVis">
          <ac:chgData name="KevCla12" userId="ef2eb634-4620-450f-93cc-80cc93397e60" providerId="ADAL" clId="{0BF56A33-4BC5-423F-96C0-6A8645FA96BB}" dt="2023-12-03T17:10:10.397" v="17938"/>
          <ac:spMkLst>
            <pc:docMk/>
            <pc:sldMk cId="2020655463" sldId="266"/>
            <ac:spMk id="6" creationId="{4CFA5967-D5AA-414D-95A8-849EE4427FC1}"/>
          </ac:spMkLst>
        </pc:spChg>
        <pc:spChg chg="add del mod modVis">
          <ac:chgData name="KevCla12" userId="ef2eb634-4620-450f-93cc-80cc93397e60" providerId="ADAL" clId="{0BF56A33-4BC5-423F-96C0-6A8645FA96BB}" dt="2023-11-26T10:48:42.735" v="627"/>
          <ac:spMkLst>
            <pc:docMk/>
            <pc:sldMk cId="2020655463" sldId="266"/>
            <ac:spMk id="6" creationId="{C5334945-0136-424D-3E70-B93244097EF2}"/>
          </ac:spMkLst>
        </pc:spChg>
        <pc:spChg chg="add del mod modVis">
          <ac:chgData name="KevCla12" userId="ef2eb634-4620-450f-93cc-80cc93397e60" providerId="ADAL" clId="{0BF56A33-4BC5-423F-96C0-6A8645FA96BB}" dt="2023-12-03T17:10:12.115" v="17971"/>
          <ac:spMkLst>
            <pc:docMk/>
            <pc:sldMk cId="2020655463" sldId="266"/>
            <ac:spMk id="7" creationId="{3D439A22-48DD-BF75-F6BD-D291CFA9638C}"/>
          </ac:spMkLst>
        </pc:spChg>
        <pc:spChg chg="add del mod modVis">
          <ac:chgData name="KevCla12" userId="ef2eb634-4620-450f-93cc-80cc93397e60" providerId="ADAL" clId="{0BF56A33-4BC5-423F-96C0-6A8645FA96BB}" dt="2023-11-26T10:48:48.268" v="661"/>
          <ac:spMkLst>
            <pc:docMk/>
            <pc:sldMk cId="2020655463" sldId="266"/>
            <ac:spMk id="7" creationId="{F97D5D66-214F-4709-D5C0-C3B38CE2A3F2}"/>
          </ac:spMkLst>
        </pc:spChg>
        <pc:graphicFrameChg chg="add mod ord modVis replST">
          <ac:chgData name="KevCla12" userId="ef2eb634-4620-450f-93cc-80cc93397e60" providerId="ADAL" clId="{0BF56A33-4BC5-423F-96C0-6A8645FA96BB}" dt="2023-12-03T17:10:12.122" v="17973"/>
          <ac:graphicFrameMkLst>
            <pc:docMk/>
            <pc:sldMk cId="2020655463" sldId="266"/>
            <ac:graphicFrameMk id="4" creationId="{B7F14C88-CA21-1906-B7C0-05888224D698}"/>
          </ac:graphicFrameMkLst>
        </pc:graphicFrameChg>
      </pc:sldChg>
      <pc:sldChg chg="addSp delSp modSp new add mod modNotes">
        <pc:chgData name="KevCla12" userId="ef2eb634-4620-450f-93cc-80cc93397e60" providerId="ADAL" clId="{0BF56A33-4BC5-423F-96C0-6A8645FA96BB}" dt="2023-12-03T21:48:09.481" v="32494" actId="790"/>
        <pc:sldMkLst>
          <pc:docMk/>
          <pc:sldMk cId="1319602848" sldId="267"/>
        </pc:sldMkLst>
        <pc:spChg chg="mod">
          <ac:chgData name="KevCla12" userId="ef2eb634-4620-450f-93cc-80cc93397e60" providerId="ADAL" clId="{0BF56A33-4BC5-423F-96C0-6A8645FA96BB}" dt="2023-12-03T21:48:09.479" v="32491" actId="790"/>
          <ac:spMkLst>
            <pc:docMk/>
            <pc:sldMk cId="1319602848" sldId="267"/>
            <ac:spMk id="2" creationId="{215D6731-E862-B1CB-28C8-9A2CECDAB2BE}"/>
          </ac:spMkLst>
        </pc:spChg>
        <pc:spChg chg="mod">
          <ac:chgData name="KevCla12" userId="ef2eb634-4620-450f-93cc-80cc93397e60" providerId="ADAL" clId="{0BF56A33-4BC5-423F-96C0-6A8645FA96BB}" dt="2023-12-03T21:48:09.480" v="32492" actId="790"/>
          <ac:spMkLst>
            <pc:docMk/>
            <pc:sldMk cId="1319602848" sldId="267"/>
            <ac:spMk id="3" creationId="{CE1BCEA1-241B-1A76-6434-3FD16E5F7900}"/>
          </ac:spMkLst>
        </pc:spChg>
        <pc:spChg chg="add del mod modVis">
          <ac:chgData name="KevCla12" userId="ef2eb634-4620-450f-93cc-80cc93397e60" providerId="ADAL" clId="{0BF56A33-4BC5-423F-96C0-6A8645FA96BB}" dt="2023-11-26T10:48:57.821" v="712"/>
          <ac:spMkLst>
            <pc:docMk/>
            <pc:sldMk cId="1319602848" sldId="267"/>
            <ac:spMk id="4" creationId="{5925B25E-5DCA-F551-56A8-699E02C03A77}"/>
          </ac:spMkLst>
        </pc:spChg>
        <pc:spChg chg="add del mod modVis">
          <ac:chgData name="KevCla12" userId="ef2eb634-4620-450f-93cc-80cc93397e60" providerId="ADAL" clId="{0BF56A33-4BC5-423F-96C0-6A8645FA96BB}" dt="2023-12-03T17:13:29.682" v="18024"/>
          <ac:spMkLst>
            <pc:docMk/>
            <pc:sldMk cId="1319602848" sldId="267"/>
            <ac:spMk id="4" creationId="{8003B37D-1B01-BD7D-DB5E-9220FC3911BA}"/>
          </ac:spMkLst>
        </pc:spChg>
        <pc:spChg chg="add del mod modVis">
          <ac:chgData name="KevCla12" userId="ef2eb634-4620-450f-93cc-80cc93397e60" providerId="ADAL" clId="{0BF56A33-4BC5-423F-96C0-6A8645FA96BB}" dt="2023-12-03T17:13:31.801" v="18059"/>
          <ac:spMkLst>
            <pc:docMk/>
            <pc:sldMk cId="1319602848" sldId="267"/>
            <ac:spMk id="6" creationId="{B0EF19C3-A689-473C-BB0F-F0185D38F51E}"/>
          </ac:spMkLst>
        </pc:spChg>
        <pc:spChg chg="add del mod modVis">
          <ac:chgData name="KevCla12" userId="ef2eb634-4620-450f-93cc-80cc93397e60" providerId="ADAL" clId="{0BF56A33-4BC5-423F-96C0-6A8645FA96BB}" dt="2023-11-26T10:48:58.337" v="753"/>
          <ac:spMkLst>
            <pc:docMk/>
            <pc:sldMk cId="1319602848" sldId="267"/>
            <ac:spMk id="6" creationId="{C3F56428-6500-4CAD-1EDD-4039AC884AA3}"/>
          </ac:spMkLst>
        </pc:spChg>
        <pc:spChg chg="add del mod modVis">
          <ac:chgData name="KevCla12" userId="ef2eb634-4620-450f-93cc-80cc93397e60" providerId="ADAL" clId="{0BF56A33-4BC5-423F-96C0-6A8645FA96BB}" dt="2023-11-26T10:48:58.994" v="781"/>
          <ac:spMkLst>
            <pc:docMk/>
            <pc:sldMk cId="1319602848" sldId="267"/>
            <ac:spMk id="7" creationId="{1019125C-0EA7-B131-4316-74C1CAC96701}"/>
          </ac:spMkLst>
        </pc:spChg>
        <pc:spChg chg="add del mod modVis">
          <ac:chgData name="KevCla12" userId="ef2eb634-4620-450f-93cc-80cc93397e60" providerId="ADAL" clId="{0BF56A33-4BC5-423F-96C0-6A8645FA96BB}" dt="2023-12-03T17:13:32.475" v="18087"/>
          <ac:spMkLst>
            <pc:docMk/>
            <pc:sldMk cId="1319602848" sldId="267"/>
            <ac:spMk id="7" creationId="{ECEC9009-2D6E-AD41-1797-18FF50C26E9B}"/>
          </ac:spMkLst>
        </pc:spChg>
        <pc:spChg chg="add del mod modVis">
          <ac:chgData name="KevCla12" userId="ef2eb634-4620-450f-93cc-80cc93397e60" providerId="ADAL" clId="{0BF56A33-4BC5-423F-96C0-6A8645FA96BB}" dt="2023-12-03T17:13:34.455" v="18122"/>
          <ac:spMkLst>
            <pc:docMk/>
            <pc:sldMk cId="1319602848" sldId="267"/>
            <ac:spMk id="8" creationId="{90CE4FCA-031F-86C1-37D8-F68F3238377F}"/>
          </ac:spMkLst>
        </pc:spChg>
        <pc:spChg chg="add del mod modVis">
          <ac:chgData name="KevCla12" userId="ef2eb634-4620-450f-93cc-80cc93397e60" providerId="ADAL" clId="{0BF56A33-4BC5-423F-96C0-6A8645FA96BB}" dt="2023-11-26T10:49:05.489" v="827"/>
          <ac:spMkLst>
            <pc:docMk/>
            <pc:sldMk cId="1319602848" sldId="267"/>
            <ac:spMk id="8" creationId="{DC2FB763-B790-4318-01DB-EDB490E8E5CC}"/>
          </ac:spMkLst>
        </pc:spChg>
        <pc:spChg chg="add del mod modVis">
          <ac:chgData name="KevCla12" userId="ef2eb634-4620-450f-93cc-80cc93397e60" providerId="ADAL" clId="{0BF56A33-4BC5-423F-96C0-6A8645FA96BB}" dt="2023-12-03T17:13:36.894" v="18150"/>
          <ac:spMkLst>
            <pc:docMk/>
            <pc:sldMk cId="1319602848" sldId="267"/>
            <ac:spMk id="9" creationId="{EB39ED9A-D69E-4D9E-4636-AE8F9CC671A3}"/>
          </ac:spMkLst>
        </pc:spChg>
        <pc:spChg chg="add del mod modVis">
          <ac:chgData name="KevCla12" userId="ef2eb634-4620-450f-93cc-80cc93397e60" providerId="ADAL" clId="{0BF56A33-4BC5-423F-96C0-6A8645FA96BB}" dt="2023-12-03T17:15:04.755" v="18344"/>
          <ac:spMkLst>
            <pc:docMk/>
            <pc:sldMk cId="1319602848" sldId="267"/>
            <ac:spMk id="10" creationId="{EA7C7FA5-12F4-D624-9DB3-38750C5ED95C}"/>
          </ac:spMkLst>
        </pc:spChg>
        <pc:graphicFrameChg chg="add mod ord modVis replST">
          <ac:chgData name="KevCla12" userId="ef2eb634-4620-450f-93cc-80cc93397e60" providerId="ADAL" clId="{0BF56A33-4BC5-423F-96C0-6A8645FA96BB}" dt="2023-12-03T17:15:04.762" v="18346"/>
          <ac:graphicFrameMkLst>
            <pc:docMk/>
            <pc:sldMk cId="1319602848" sldId="267"/>
            <ac:graphicFrameMk id="5" creationId="{C70A7B6B-A21C-4445-B5CA-A4FAD4DE4F28}"/>
          </ac:graphicFrameMkLst>
        </pc:graphicFrameChg>
      </pc:sldChg>
      <pc:sldChg chg="addSp delSp modSp new add mod modNotes">
        <pc:chgData name="KevCla12" userId="ef2eb634-4620-450f-93cc-80cc93397e60" providerId="ADAL" clId="{0BF56A33-4BC5-423F-96C0-6A8645FA96BB}" dt="2023-12-03T21:48:10.215" v="32594" actId="790"/>
        <pc:sldMkLst>
          <pc:docMk/>
          <pc:sldMk cId="96915931" sldId="268"/>
        </pc:sldMkLst>
        <pc:spChg chg="mod">
          <ac:chgData name="KevCla12" userId="ef2eb634-4620-450f-93cc-80cc93397e60" providerId="ADAL" clId="{0BF56A33-4BC5-423F-96C0-6A8645FA96BB}" dt="2023-12-03T21:48:10.212" v="32591" actId="790"/>
          <ac:spMkLst>
            <pc:docMk/>
            <pc:sldMk cId="96915931" sldId="268"/>
            <ac:spMk id="2" creationId="{A2D65226-42BA-4127-2AAA-561630E0985C}"/>
          </ac:spMkLst>
        </pc:spChg>
        <pc:spChg chg="mod">
          <ac:chgData name="KevCla12" userId="ef2eb634-4620-450f-93cc-80cc93397e60" providerId="ADAL" clId="{0BF56A33-4BC5-423F-96C0-6A8645FA96BB}" dt="2023-12-03T21:48:10.213" v="32592" actId="790"/>
          <ac:spMkLst>
            <pc:docMk/>
            <pc:sldMk cId="96915931" sldId="268"/>
            <ac:spMk id="3" creationId="{4D2392A8-4AA4-3D9A-F991-CCE602E37FBC}"/>
          </ac:spMkLst>
        </pc:spChg>
        <pc:spChg chg="add del mod modVis">
          <ac:chgData name="KevCla12" userId="ef2eb634-4620-450f-93cc-80cc93397e60" providerId="ADAL" clId="{0BF56A33-4BC5-423F-96C0-6A8645FA96BB}" dt="2023-12-03T14:21:04.192" v="12826"/>
          <ac:spMkLst>
            <pc:docMk/>
            <pc:sldMk cId="96915931" sldId="268"/>
            <ac:spMk id="5" creationId="{545CB96A-53B3-DDB5-13C4-F801E7C1373A}"/>
          </ac:spMkLst>
        </pc:spChg>
        <pc:spChg chg="add del mod modVis">
          <ac:chgData name="KevCla12" userId="ef2eb634-4620-450f-93cc-80cc93397e60" providerId="ADAL" clId="{0BF56A33-4BC5-423F-96C0-6A8645FA96BB}" dt="2023-11-26T10:49:19.417" v="897"/>
          <ac:spMkLst>
            <pc:docMk/>
            <pc:sldMk cId="96915931" sldId="268"/>
            <ac:spMk id="5" creationId="{583A3472-40CC-1203-32C2-4C8E1A1B7885}"/>
          </ac:spMkLst>
        </pc:spChg>
        <pc:spChg chg="add del mod modVis">
          <ac:chgData name="KevCla12" userId="ef2eb634-4620-450f-93cc-80cc93397e60" providerId="ADAL" clId="{0BF56A33-4BC5-423F-96C0-6A8645FA96BB}" dt="2023-11-26T10:49:24.967" v="948"/>
          <ac:spMkLst>
            <pc:docMk/>
            <pc:sldMk cId="96915931" sldId="268"/>
            <ac:spMk id="6" creationId="{62BF0F6E-5713-C835-4171-2ADDDCF3D0AF}"/>
          </ac:spMkLst>
        </pc:spChg>
        <pc:spChg chg="add del mod modVis">
          <ac:chgData name="KevCla12" userId="ef2eb634-4620-450f-93cc-80cc93397e60" providerId="ADAL" clId="{0BF56A33-4BC5-423F-96C0-6A8645FA96BB}" dt="2023-12-03T17:13:44.798" v="18179"/>
          <ac:spMkLst>
            <pc:docMk/>
            <pc:sldMk cId="96915931" sldId="268"/>
            <ac:spMk id="6" creationId="{7F5AC9DE-616D-9C21-B522-34D790453B8A}"/>
          </ac:spMkLst>
        </pc:spChg>
        <pc:spChg chg="add del mod modVis">
          <ac:chgData name="KevCla12" userId="ef2eb634-4620-450f-93cc-80cc93397e60" providerId="ADAL" clId="{0BF56A33-4BC5-423F-96C0-6A8645FA96BB}" dt="2023-12-03T17:13:46.950" v="18216"/>
          <ac:spMkLst>
            <pc:docMk/>
            <pc:sldMk cId="96915931" sldId="268"/>
            <ac:spMk id="7" creationId="{297064B6-D0C9-1511-6ABB-7526BA4A04BA}"/>
          </ac:spMkLst>
        </pc:spChg>
        <pc:graphicFrameChg chg="add mod ord modVis replST">
          <ac:chgData name="KevCla12" userId="ef2eb634-4620-450f-93cc-80cc93397e60" providerId="ADAL" clId="{0BF56A33-4BC5-423F-96C0-6A8645FA96BB}" dt="2023-12-03T17:13:46.956" v="18218"/>
          <ac:graphicFrameMkLst>
            <pc:docMk/>
            <pc:sldMk cId="96915931" sldId="268"/>
            <ac:graphicFrameMk id="4" creationId="{BFD615A3-2335-50D6-E753-6860EEE234B7}"/>
          </ac:graphicFrameMkLst>
        </pc:graphicFrameChg>
      </pc:sldChg>
      <pc:sldChg chg="addSp delSp modSp new add mod modNotes">
        <pc:chgData name="KevCla12" userId="ef2eb634-4620-450f-93cc-80cc93397e60" providerId="ADAL" clId="{0BF56A33-4BC5-423F-96C0-6A8645FA96BB}" dt="2023-12-03T21:48:11.216" v="33151" actId="790"/>
        <pc:sldMkLst>
          <pc:docMk/>
          <pc:sldMk cId="2428482573" sldId="269"/>
        </pc:sldMkLst>
        <pc:spChg chg="mod">
          <ac:chgData name="KevCla12" userId="ef2eb634-4620-450f-93cc-80cc93397e60" providerId="ADAL" clId="{0BF56A33-4BC5-423F-96C0-6A8645FA96BB}" dt="2023-12-03T21:48:11.214" v="33148" actId="790"/>
          <ac:spMkLst>
            <pc:docMk/>
            <pc:sldMk cId="2428482573" sldId="269"/>
            <ac:spMk id="2" creationId="{C4A0BBB3-AB17-7595-AA69-41A8A67BBE94}"/>
          </ac:spMkLst>
        </pc:spChg>
        <pc:spChg chg="mod">
          <ac:chgData name="KevCla12" userId="ef2eb634-4620-450f-93cc-80cc93397e60" providerId="ADAL" clId="{0BF56A33-4BC5-423F-96C0-6A8645FA96BB}" dt="2023-12-03T21:48:11.215" v="33149" actId="790"/>
          <ac:spMkLst>
            <pc:docMk/>
            <pc:sldMk cId="2428482573" sldId="269"/>
            <ac:spMk id="3" creationId="{CBC82189-63D8-854D-848A-5E78BDC53F9C}"/>
          </ac:spMkLst>
        </pc:spChg>
        <pc:spChg chg="add del mod modVis">
          <ac:chgData name="KevCla12" userId="ef2eb634-4620-450f-93cc-80cc93397e60" providerId="ADAL" clId="{0BF56A33-4BC5-423F-96C0-6A8645FA96BB}" dt="2023-11-26T10:49:33.266" v="996"/>
          <ac:spMkLst>
            <pc:docMk/>
            <pc:sldMk cId="2428482573" sldId="269"/>
            <ac:spMk id="4" creationId="{2AABAB17-9A2C-8072-0A8F-908C9918C9BC}"/>
          </ac:spMkLst>
        </pc:spChg>
        <pc:spChg chg="add del mod modVis">
          <ac:chgData name="KevCla12" userId="ef2eb634-4620-450f-93cc-80cc93397e60" providerId="ADAL" clId="{0BF56A33-4BC5-423F-96C0-6A8645FA96BB}" dt="2023-12-03T17:14:04.074" v="18315"/>
          <ac:spMkLst>
            <pc:docMk/>
            <pc:sldMk cId="2428482573" sldId="269"/>
            <ac:spMk id="4" creationId="{7C3BB1BF-F2FE-4497-D19B-20CF3865A547}"/>
          </ac:spMkLst>
        </pc:spChg>
        <pc:spChg chg="add del mod modVis">
          <ac:chgData name="KevCla12" userId="ef2eb634-4620-450f-93cc-80cc93397e60" providerId="ADAL" clId="{0BF56A33-4BC5-423F-96C0-6A8645FA96BB}" dt="2023-11-26T10:49:34.178" v="1037"/>
          <ac:spMkLst>
            <pc:docMk/>
            <pc:sldMk cId="2428482573" sldId="269"/>
            <ac:spMk id="6" creationId="{03FE1BBD-960E-6C77-8F58-5B8765CD99BC}"/>
          </ac:spMkLst>
        </pc:spChg>
        <pc:spChg chg="add del mod modVis">
          <ac:chgData name="KevCla12" userId="ef2eb634-4620-450f-93cc-80cc93397e60" providerId="ADAL" clId="{0BF56A33-4BC5-423F-96C0-6A8645FA96BB}" dt="2023-11-26T10:49:34.842" v="1066"/>
          <ac:spMkLst>
            <pc:docMk/>
            <pc:sldMk cId="2428482573" sldId="269"/>
            <ac:spMk id="7" creationId="{A97835DC-61FF-3245-51B2-6D528B220594}"/>
          </ac:spMkLst>
        </pc:spChg>
        <pc:spChg chg="add del mod modVis">
          <ac:chgData name="KevCla12" userId="ef2eb634-4620-450f-93cc-80cc93397e60" providerId="ADAL" clId="{0BF56A33-4BC5-423F-96C0-6A8645FA96BB}" dt="2023-11-26T10:49:35.675" v="1094"/>
          <ac:spMkLst>
            <pc:docMk/>
            <pc:sldMk cId="2428482573" sldId="269"/>
            <ac:spMk id="8" creationId="{AA9C82DE-1639-C89C-8182-359B875CE3F8}"/>
          </ac:spMkLst>
        </pc:spChg>
        <pc:spChg chg="add del mod modVis">
          <ac:chgData name="KevCla12" userId="ef2eb634-4620-450f-93cc-80cc93397e60" providerId="ADAL" clId="{0BF56A33-4BC5-423F-96C0-6A8645FA96BB}" dt="2023-11-26T10:49:38.980" v="1133"/>
          <ac:spMkLst>
            <pc:docMk/>
            <pc:sldMk cId="2428482573" sldId="269"/>
            <ac:spMk id="9" creationId="{A9497975-4945-33C1-663C-6FA33CBBEBF8}"/>
          </ac:spMkLst>
        </pc:spChg>
        <pc:spChg chg="add del mod modVis">
          <ac:chgData name="KevCla12" userId="ef2eb634-4620-450f-93cc-80cc93397e60" providerId="ADAL" clId="{0BF56A33-4BC5-423F-96C0-6A8645FA96BB}" dt="2023-11-26T10:49:41.137" v="1168"/>
          <ac:spMkLst>
            <pc:docMk/>
            <pc:sldMk cId="2428482573" sldId="269"/>
            <ac:spMk id="10" creationId="{381EE3B5-F106-1FA7-566B-C2BF08CEBD02}"/>
          </ac:spMkLst>
        </pc:spChg>
        <pc:graphicFrameChg chg="add mod ord modVis replST">
          <ac:chgData name="KevCla12" userId="ef2eb634-4620-450f-93cc-80cc93397e60" providerId="ADAL" clId="{0BF56A33-4BC5-423F-96C0-6A8645FA96BB}" dt="2023-12-03T17:14:04.078" v="18317"/>
          <ac:graphicFrameMkLst>
            <pc:docMk/>
            <pc:sldMk cId="2428482573" sldId="269"/>
            <ac:graphicFrameMk id="5" creationId="{15B7595D-04AC-147F-23F4-D2B4348942C5}"/>
          </ac:graphicFrameMkLst>
        </pc:graphicFrameChg>
      </pc:sldChg>
      <pc:sldChg chg="addSp delSp modSp add mod ord delCm modCm modNotes modNotesTx">
        <pc:chgData name="KevCla12" userId="ef2eb634-4620-450f-93cc-80cc93397e60" providerId="ADAL" clId="{0BF56A33-4BC5-423F-96C0-6A8645FA96BB}" dt="2023-12-03T21:48:07.527" v="31466" actId="790"/>
        <pc:sldMkLst>
          <pc:docMk/>
          <pc:sldMk cId="1982725114" sldId="274"/>
        </pc:sldMkLst>
        <pc:spChg chg="mod">
          <ac:chgData name="KevCla12" userId="ef2eb634-4620-450f-93cc-80cc93397e60" providerId="ADAL" clId="{0BF56A33-4BC5-423F-96C0-6A8645FA96BB}" dt="2023-12-03T21:48:07.406" v="31339" actId="790"/>
          <ac:spMkLst>
            <pc:docMk/>
            <pc:sldMk cId="1982725114" sldId="274"/>
            <ac:spMk id="2" creationId="{00000000-0000-0000-0000-000000000000}"/>
          </ac:spMkLst>
        </pc:spChg>
        <pc:spChg chg="add mod">
          <ac:chgData name="KevCla12" userId="ef2eb634-4620-450f-93cc-80cc93397e60" providerId="ADAL" clId="{0BF56A33-4BC5-423F-96C0-6A8645FA96BB}" dt="2023-12-03T21:48:07.525" v="31464" actId="790"/>
          <ac:spMkLst>
            <pc:docMk/>
            <pc:sldMk cId="1982725114" sldId="274"/>
            <ac:spMk id="4" creationId="{15716BCC-93F4-F262-2604-44A51055D003}"/>
          </ac:spMkLst>
        </pc:spChg>
        <pc:spChg chg="mod">
          <ac:chgData name="KevCla12" userId="ef2eb634-4620-450f-93cc-80cc93397e60" providerId="ADAL" clId="{0BF56A33-4BC5-423F-96C0-6A8645FA96BB}" dt="2023-12-03T21:48:07.407" v="31340" actId="790"/>
          <ac:spMkLst>
            <pc:docMk/>
            <pc:sldMk cId="1982725114" sldId="274"/>
            <ac:spMk id="6" creationId="{A3D25B29-6892-67F9-8824-017F701F1E00}"/>
          </ac:spMkLst>
        </pc:spChg>
        <pc:spChg chg="mod">
          <ac:chgData name="KevCla12" userId="ef2eb634-4620-450f-93cc-80cc93397e60" providerId="ADAL" clId="{0BF56A33-4BC5-423F-96C0-6A8645FA96BB}" dt="2023-12-03T21:48:07.408" v="31341" actId="790"/>
          <ac:spMkLst>
            <pc:docMk/>
            <pc:sldMk cId="1982725114" sldId="274"/>
            <ac:spMk id="7" creationId="{C6EC0A98-3268-C7C2-E380-01A35AFCA009}"/>
          </ac:spMkLst>
        </pc:spChg>
        <pc:spChg chg="mod">
          <ac:chgData name="KevCla12" userId="ef2eb634-4620-450f-93cc-80cc93397e60" providerId="ADAL" clId="{0BF56A33-4BC5-423F-96C0-6A8645FA96BB}" dt="2023-12-03T21:48:07.435" v="31353" actId="790"/>
          <ac:spMkLst>
            <pc:docMk/>
            <pc:sldMk cId="1982725114" sldId="274"/>
            <ac:spMk id="8" creationId="{C2649FC5-883B-54E3-6DAF-2B9C80B85F18}"/>
          </ac:spMkLst>
        </pc:spChg>
        <pc:spChg chg="mod">
          <ac:chgData name="KevCla12" userId="ef2eb634-4620-450f-93cc-80cc93397e60" providerId="ADAL" clId="{0BF56A33-4BC5-423F-96C0-6A8645FA96BB}" dt="2023-12-03T21:48:07.435" v="31354" actId="790"/>
          <ac:spMkLst>
            <pc:docMk/>
            <pc:sldMk cId="1982725114" sldId="274"/>
            <ac:spMk id="10" creationId="{60CAC90A-546E-F4C1-8B75-C7EBB962B918}"/>
          </ac:spMkLst>
        </pc:spChg>
        <pc:spChg chg="mod">
          <ac:chgData name="KevCla12" userId="ef2eb634-4620-450f-93cc-80cc93397e60" providerId="ADAL" clId="{0BF56A33-4BC5-423F-96C0-6A8645FA96BB}" dt="2023-12-03T21:48:07.436" v="31355" actId="790"/>
          <ac:spMkLst>
            <pc:docMk/>
            <pc:sldMk cId="1982725114" sldId="274"/>
            <ac:spMk id="11" creationId="{A6E9C4C1-DFFC-F083-3DC8-3FFD47A15032}"/>
          </ac:spMkLst>
        </pc:spChg>
        <pc:spChg chg="mod">
          <ac:chgData name="KevCla12" userId="ef2eb634-4620-450f-93cc-80cc93397e60" providerId="ADAL" clId="{0BF56A33-4BC5-423F-96C0-6A8645FA96BB}" dt="2023-12-03T21:48:07.433" v="31351" actId="790"/>
          <ac:spMkLst>
            <pc:docMk/>
            <pc:sldMk cId="1982725114" sldId="274"/>
            <ac:spMk id="12" creationId="{3F747F6E-0F70-01BF-1DDE-05E1498CF3FC}"/>
          </ac:spMkLst>
        </pc:spChg>
        <pc:spChg chg="mod">
          <ac:chgData name="KevCla12" userId="ef2eb634-4620-450f-93cc-80cc93397e60" providerId="ADAL" clId="{0BF56A33-4BC5-423F-96C0-6A8645FA96BB}" dt="2023-12-03T21:48:07.434" v="31352" actId="790"/>
          <ac:spMkLst>
            <pc:docMk/>
            <pc:sldMk cId="1982725114" sldId="274"/>
            <ac:spMk id="13" creationId="{8D0EE710-55DA-8B6D-59DB-03F272507654}"/>
          </ac:spMkLst>
        </pc:spChg>
        <pc:spChg chg="mod">
          <ac:chgData name="KevCla12" userId="ef2eb634-4620-450f-93cc-80cc93397e60" providerId="ADAL" clId="{0BF56A33-4BC5-423F-96C0-6A8645FA96BB}" dt="2023-12-03T21:48:07.437" v="31356" actId="790"/>
          <ac:spMkLst>
            <pc:docMk/>
            <pc:sldMk cId="1982725114" sldId="274"/>
            <ac:spMk id="14" creationId="{0E3DDCC0-AD50-449D-935E-B92205A6A3F9}"/>
          </ac:spMkLst>
        </pc:spChg>
        <pc:spChg chg="mod">
          <ac:chgData name="KevCla12" userId="ef2eb634-4620-450f-93cc-80cc93397e60" providerId="ADAL" clId="{0BF56A33-4BC5-423F-96C0-6A8645FA96BB}" dt="2023-12-03T21:48:07.437" v="31357" actId="790"/>
          <ac:spMkLst>
            <pc:docMk/>
            <pc:sldMk cId="1982725114" sldId="274"/>
            <ac:spMk id="15" creationId="{0F2B2B7F-9869-324E-B3BB-5A7225B47BA4}"/>
          </ac:spMkLst>
        </pc:spChg>
        <pc:spChg chg="mod">
          <ac:chgData name="KevCla12" userId="ef2eb634-4620-450f-93cc-80cc93397e60" providerId="ADAL" clId="{0BF56A33-4BC5-423F-96C0-6A8645FA96BB}" dt="2023-12-03T21:48:07.438" v="31358" actId="790"/>
          <ac:spMkLst>
            <pc:docMk/>
            <pc:sldMk cId="1982725114" sldId="274"/>
            <ac:spMk id="16" creationId="{4A86B212-7649-B091-DF97-E70ED55619C9}"/>
          </ac:spMkLst>
        </pc:spChg>
        <pc:spChg chg="mod">
          <ac:chgData name="KevCla12" userId="ef2eb634-4620-450f-93cc-80cc93397e60" providerId="ADAL" clId="{0BF56A33-4BC5-423F-96C0-6A8645FA96BB}" dt="2023-12-03T21:48:07.438" v="31359"/>
          <ac:spMkLst>
            <pc:docMk/>
            <pc:sldMk cId="1982725114" sldId="274"/>
            <ac:spMk id="19" creationId="{DFD5030F-7A85-24B6-B919-08E1614EFDA2}"/>
          </ac:spMkLst>
        </pc:spChg>
        <pc:spChg chg="mod">
          <ac:chgData name="KevCla12" userId="ef2eb634-4620-450f-93cc-80cc93397e60" providerId="ADAL" clId="{0BF56A33-4BC5-423F-96C0-6A8645FA96BB}" dt="2023-12-03T21:48:07.439" v="31360"/>
          <ac:spMkLst>
            <pc:docMk/>
            <pc:sldMk cId="1982725114" sldId="274"/>
            <ac:spMk id="20" creationId="{7B1C15F1-EBD8-1A2E-D35D-A23625BBBAA5}"/>
          </ac:spMkLst>
        </pc:spChg>
        <pc:spChg chg="mod">
          <ac:chgData name="KevCla12" userId="ef2eb634-4620-450f-93cc-80cc93397e60" providerId="ADAL" clId="{0BF56A33-4BC5-423F-96C0-6A8645FA96BB}" dt="2023-12-03T21:48:07.439" v="31361"/>
          <ac:spMkLst>
            <pc:docMk/>
            <pc:sldMk cId="1982725114" sldId="274"/>
            <ac:spMk id="21" creationId="{A0E64AF3-35F7-660E-47E6-F1B189B8F3E8}"/>
          </ac:spMkLst>
        </pc:spChg>
        <pc:spChg chg="mod">
          <ac:chgData name="KevCla12" userId="ef2eb634-4620-450f-93cc-80cc93397e60" providerId="ADAL" clId="{0BF56A33-4BC5-423F-96C0-6A8645FA96BB}" dt="2023-12-03T21:48:07.410" v="31343" actId="790"/>
          <ac:spMkLst>
            <pc:docMk/>
            <pc:sldMk cId="1982725114" sldId="274"/>
            <ac:spMk id="22" creationId="{00000000-0000-0000-0000-000000000000}"/>
          </ac:spMkLst>
        </pc:spChg>
        <pc:spChg chg="mod">
          <ac:chgData name="KevCla12" userId="ef2eb634-4620-450f-93cc-80cc93397e60" providerId="ADAL" clId="{0BF56A33-4BC5-423F-96C0-6A8645FA96BB}" dt="2023-12-03T21:48:07.411" v="31344" actId="790"/>
          <ac:spMkLst>
            <pc:docMk/>
            <pc:sldMk cId="1982725114" sldId="274"/>
            <ac:spMk id="23" creationId="{00000000-0000-0000-0000-000000000000}"/>
          </ac:spMkLst>
        </pc:spChg>
        <pc:spChg chg="mod">
          <ac:chgData name="KevCla12" userId="ef2eb634-4620-450f-93cc-80cc93397e60" providerId="ADAL" clId="{0BF56A33-4BC5-423F-96C0-6A8645FA96BB}" dt="2023-12-03T21:48:07.440" v="31362"/>
          <ac:spMkLst>
            <pc:docMk/>
            <pc:sldMk cId="1982725114" sldId="274"/>
            <ac:spMk id="24" creationId="{3FDD57DF-5E89-CDEE-E06B-7539FF504F6E}"/>
          </ac:spMkLst>
        </pc:spChg>
        <pc:spChg chg="mod">
          <ac:chgData name="KevCla12" userId="ef2eb634-4620-450f-93cc-80cc93397e60" providerId="ADAL" clId="{0BF56A33-4BC5-423F-96C0-6A8645FA96BB}" dt="2023-12-03T21:48:07.399" v="31336" actId="790"/>
          <ac:spMkLst>
            <pc:docMk/>
            <pc:sldMk cId="1982725114" sldId="274"/>
            <ac:spMk id="25" creationId="{00000000-0000-0000-0000-000000000000}"/>
          </ac:spMkLst>
        </pc:spChg>
        <pc:spChg chg="mod">
          <ac:chgData name="KevCla12" userId="ef2eb634-4620-450f-93cc-80cc93397e60" providerId="ADAL" clId="{0BF56A33-4BC5-423F-96C0-6A8645FA96BB}" dt="2023-12-03T21:48:07.440" v="31363"/>
          <ac:spMkLst>
            <pc:docMk/>
            <pc:sldMk cId="1982725114" sldId="274"/>
            <ac:spMk id="26" creationId="{9D3E8AA7-B3CB-C10E-BF08-D4FD36F063D5}"/>
          </ac:spMkLst>
        </pc:spChg>
        <pc:spChg chg="mod">
          <ac:chgData name="KevCla12" userId="ef2eb634-4620-450f-93cc-80cc93397e60" providerId="ADAL" clId="{0BF56A33-4BC5-423F-96C0-6A8645FA96BB}" dt="2023-12-03T21:48:07.415" v="31345" actId="790"/>
          <ac:spMkLst>
            <pc:docMk/>
            <pc:sldMk cId="1982725114" sldId="274"/>
            <ac:spMk id="27" creationId="{00000000-0000-0000-0000-000000000000}"/>
          </ac:spMkLst>
        </pc:spChg>
        <pc:spChg chg="mod">
          <ac:chgData name="KevCla12" userId="ef2eb634-4620-450f-93cc-80cc93397e60" providerId="ADAL" clId="{0BF56A33-4BC5-423F-96C0-6A8645FA96BB}" dt="2023-12-03T21:48:07.418" v="31346" actId="790"/>
          <ac:spMkLst>
            <pc:docMk/>
            <pc:sldMk cId="1982725114" sldId="274"/>
            <ac:spMk id="28" creationId="{00000000-0000-0000-0000-000000000000}"/>
          </ac:spMkLst>
        </pc:spChg>
        <pc:spChg chg="mod">
          <ac:chgData name="KevCla12" userId="ef2eb634-4620-450f-93cc-80cc93397e60" providerId="ADAL" clId="{0BF56A33-4BC5-423F-96C0-6A8645FA96BB}" dt="2023-12-03T21:48:07.421" v="31347" actId="790"/>
          <ac:spMkLst>
            <pc:docMk/>
            <pc:sldMk cId="1982725114" sldId="274"/>
            <ac:spMk id="29" creationId="{00000000-0000-0000-0000-000000000000}"/>
          </ac:spMkLst>
        </pc:spChg>
        <pc:spChg chg="mod">
          <ac:chgData name="KevCla12" userId="ef2eb634-4620-450f-93cc-80cc93397e60" providerId="ADAL" clId="{0BF56A33-4BC5-423F-96C0-6A8645FA96BB}" dt="2023-12-03T21:48:07.441" v="31364"/>
          <ac:spMkLst>
            <pc:docMk/>
            <pc:sldMk cId="1982725114" sldId="274"/>
            <ac:spMk id="30" creationId="{E27295F6-3992-3E51-82A7-4F6BC45C6219}"/>
          </ac:spMkLst>
        </pc:spChg>
        <pc:spChg chg="mod">
          <ac:chgData name="KevCla12" userId="ef2eb634-4620-450f-93cc-80cc93397e60" providerId="ADAL" clId="{0BF56A33-4BC5-423F-96C0-6A8645FA96BB}" dt="2023-12-03T21:48:07.424" v="31348" actId="790"/>
          <ac:spMkLst>
            <pc:docMk/>
            <pc:sldMk cId="1982725114" sldId="274"/>
            <ac:spMk id="31" creationId="{00000000-0000-0000-0000-000000000000}"/>
          </ac:spMkLst>
        </pc:spChg>
        <pc:spChg chg="mod">
          <ac:chgData name="KevCla12" userId="ef2eb634-4620-450f-93cc-80cc93397e60" providerId="ADAL" clId="{0BF56A33-4BC5-423F-96C0-6A8645FA96BB}" dt="2023-12-03T21:48:07.428" v="31349" actId="790"/>
          <ac:spMkLst>
            <pc:docMk/>
            <pc:sldMk cId="1982725114" sldId="274"/>
            <ac:spMk id="32" creationId="{00000000-0000-0000-0000-000000000000}"/>
          </ac:spMkLst>
        </pc:spChg>
        <pc:spChg chg="del mod">
          <ac:chgData name="KevCla12" userId="ef2eb634-4620-450f-93cc-80cc93397e60" providerId="ADAL" clId="{0BF56A33-4BC5-423F-96C0-6A8645FA96BB}" dt="2023-12-02T16:59:07.008" v="11925" actId="478"/>
          <ac:spMkLst>
            <pc:docMk/>
            <pc:sldMk cId="1982725114" sldId="274"/>
            <ac:spMk id="33" creationId="{00000000-0000-0000-0000-000000000000}"/>
          </ac:spMkLst>
        </pc:spChg>
        <pc:spChg chg="mod">
          <ac:chgData name="KevCla12" userId="ef2eb634-4620-450f-93cc-80cc93397e60" providerId="ADAL" clId="{0BF56A33-4BC5-423F-96C0-6A8645FA96BB}" dt="2023-12-03T21:48:07.432" v="31350" actId="790"/>
          <ac:spMkLst>
            <pc:docMk/>
            <pc:sldMk cId="1982725114" sldId="274"/>
            <ac:spMk id="34" creationId="{00000000-0000-0000-0000-000000000000}"/>
          </ac:spMkLst>
        </pc:spChg>
        <pc:spChg chg="mod">
          <ac:chgData name="KevCla12" userId="ef2eb634-4620-450f-93cc-80cc93397e60" providerId="ADAL" clId="{0BF56A33-4BC5-423F-96C0-6A8645FA96BB}" dt="2023-12-03T21:48:07.441" v="31365"/>
          <ac:spMkLst>
            <pc:docMk/>
            <pc:sldMk cId="1982725114" sldId="274"/>
            <ac:spMk id="35" creationId="{6AC59A24-C603-AC00-A306-9A76EFEA292F}"/>
          </ac:spMkLst>
        </pc:spChg>
        <pc:spChg chg="mod">
          <ac:chgData name="KevCla12" userId="ef2eb634-4620-450f-93cc-80cc93397e60" providerId="ADAL" clId="{0BF56A33-4BC5-423F-96C0-6A8645FA96BB}" dt="2023-12-03T21:48:07.442" v="31366"/>
          <ac:spMkLst>
            <pc:docMk/>
            <pc:sldMk cId="1982725114" sldId="274"/>
            <ac:spMk id="36" creationId="{2085ABEB-1555-84A9-D227-5D450E1BE16D}"/>
          </ac:spMkLst>
        </pc:spChg>
        <pc:spChg chg="mod">
          <ac:chgData name="KevCla12" userId="ef2eb634-4620-450f-93cc-80cc93397e60" providerId="ADAL" clId="{0BF56A33-4BC5-423F-96C0-6A8645FA96BB}" dt="2023-12-03T21:48:07.442" v="31367"/>
          <ac:spMkLst>
            <pc:docMk/>
            <pc:sldMk cId="1982725114" sldId="274"/>
            <ac:spMk id="37" creationId="{D416CEDA-9F63-C779-5F32-1019AD1F3C37}"/>
          </ac:spMkLst>
        </pc:spChg>
        <pc:spChg chg="mod">
          <ac:chgData name="KevCla12" userId="ef2eb634-4620-450f-93cc-80cc93397e60" providerId="ADAL" clId="{0BF56A33-4BC5-423F-96C0-6A8645FA96BB}" dt="2023-12-03T21:48:07.443" v="31368"/>
          <ac:spMkLst>
            <pc:docMk/>
            <pc:sldMk cId="1982725114" sldId="274"/>
            <ac:spMk id="38" creationId="{90C36B66-C656-F284-619E-9C3169AD247F}"/>
          </ac:spMkLst>
        </pc:spChg>
        <pc:spChg chg="mod">
          <ac:chgData name="KevCla12" userId="ef2eb634-4620-450f-93cc-80cc93397e60" providerId="ADAL" clId="{0BF56A33-4BC5-423F-96C0-6A8645FA96BB}" dt="2023-12-03T21:48:07.443" v="31369"/>
          <ac:spMkLst>
            <pc:docMk/>
            <pc:sldMk cId="1982725114" sldId="274"/>
            <ac:spMk id="39" creationId="{01E3AB21-87C9-08A3-BD42-528D4D3D01A9}"/>
          </ac:spMkLst>
        </pc:spChg>
        <pc:spChg chg="mod">
          <ac:chgData name="KevCla12" userId="ef2eb634-4620-450f-93cc-80cc93397e60" providerId="ADAL" clId="{0BF56A33-4BC5-423F-96C0-6A8645FA96BB}" dt="2023-12-03T21:48:07.444" v="31370"/>
          <ac:spMkLst>
            <pc:docMk/>
            <pc:sldMk cId="1982725114" sldId="274"/>
            <ac:spMk id="40" creationId="{21113EE0-D2BD-680F-70F5-250B8B51B9CE}"/>
          </ac:spMkLst>
        </pc:spChg>
        <pc:spChg chg="mod">
          <ac:chgData name="KevCla12" userId="ef2eb634-4620-450f-93cc-80cc93397e60" providerId="ADAL" clId="{0BF56A33-4BC5-423F-96C0-6A8645FA96BB}" dt="2023-12-03T21:48:07.444" v="31371"/>
          <ac:spMkLst>
            <pc:docMk/>
            <pc:sldMk cId="1982725114" sldId="274"/>
            <ac:spMk id="41" creationId="{F5B0EF08-A72A-C227-6056-61DF0F4EAFAC}"/>
          </ac:spMkLst>
        </pc:spChg>
        <pc:spChg chg="mod">
          <ac:chgData name="KevCla12" userId="ef2eb634-4620-450f-93cc-80cc93397e60" providerId="ADAL" clId="{0BF56A33-4BC5-423F-96C0-6A8645FA96BB}" dt="2023-12-03T21:48:07.444" v="31372"/>
          <ac:spMkLst>
            <pc:docMk/>
            <pc:sldMk cId="1982725114" sldId="274"/>
            <ac:spMk id="42" creationId="{4E0652A5-D6EA-DDC4-AD65-72EA96CABCAC}"/>
          </ac:spMkLst>
        </pc:spChg>
        <pc:spChg chg="mod">
          <ac:chgData name="KevCla12" userId="ef2eb634-4620-450f-93cc-80cc93397e60" providerId="ADAL" clId="{0BF56A33-4BC5-423F-96C0-6A8645FA96BB}" dt="2023-12-03T21:48:07.445" v="31373"/>
          <ac:spMkLst>
            <pc:docMk/>
            <pc:sldMk cId="1982725114" sldId="274"/>
            <ac:spMk id="43" creationId="{80194413-AB7B-7ECA-C8EF-FB5D9F9D4BAA}"/>
          </ac:spMkLst>
        </pc:spChg>
        <pc:spChg chg="mod">
          <ac:chgData name="KevCla12" userId="ef2eb634-4620-450f-93cc-80cc93397e60" providerId="ADAL" clId="{0BF56A33-4BC5-423F-96C0-6A8645FA96BB}" dt="2023-12-03T21:48:07.445" v="31374"/>
          <ac:spMkLst>
            <pc:docMk/>
            <pc:sldMk cId="1982725114" sldId="274"/>
            <ac:spMk id="44" creationId="{C835169E-64B7-6960-65B8-4EF154ED96C9}"/>
          </ac:spMkLst>
        </pc:spChg>
        <pc:spChg chg="mod">
          <ac:chgData name="KevCla12" userId="ef2eb634-4620-450f-93cc-80cc93397e60" providerId="ADAL" clId="{0BF56A33-4BC5-423F-96C0-6A8645FA96BB}" dt="2023-11-30T18:14:37.360" v="7517"/>
          <ac:spMkLst>
            <pc:docMk/>
            <pc:sldMk cId="1982725114" sldId="274"/>
            <ac:spMk id="46" creationId="{76BA0017-9189-D27B-9F7A-3E937561CBCE}"/>
          </ac:spMkLst>
        </pc:spChg>
        <pc:spChg chg="mod">
          <ac:chgData name="KevCla12" userId="ef2eb634-4620-450f-93cc-80cc93397e60" providerId="ADAL" clId="{0BF56A33-4BC5-423F-96C0-6A8645FA96BB}" dt="2023-11-30T18:14:37.360" v="7518"/>
          <ac:spMkLst>
            <pc:docMk/>
            <pc:sldMk cId="1982725114" sldId="274"/>
            <ac:spMk id="47" creationId="{8D60FA3A-69C3-7109-47C2-424FA810A739}"/>
          </ac:spMkLst>
        </pc:spChg>
        <pc:spChg chg="mod">
          <ac:chgData name="KevCla12" userId="ef2eb634-4620-450f-93cc-80cc93397e60" providerId="ADAL" clId="{0BF56A33-4BC5-423F-96C0-6A8645FA96BB}" dt="2023-11-30T18:14:37.361" v="7519"/>
          <ac:spMkLst>
            <pc:docMk/>
            <pc:sldMk cId="1982725114" sldId="274"/>
            <ac:spMk id="48" creationId="{C2A98917-0E76-0B92-38C2-CBCAA55756D6}"/>
          </ac:spMkLst>
        </pc:spChg>
        <pc:spChg chg="mod">
          <ac:chgData name="KevCla12" userId="ef2eb634-4620-450f-93cc-80cc93397e60" providerId="ADAL" clId="{0BF56A33-4BC5-423F-96C0-6A8645FA96BB}" dt="2023-11-30T18:14:37.362" v="7520"/>
          <ac:spMkLst>
            <pc:docMk/>
            <pc:sldMk cId="1982725114" sldId="274"/>
            <ac:spMk id="49" creationId="{ACBF6AA6-2C20-C7BA-FF40-563ADA9FC7A8}"/>
          </ac:spMkLst>
        </pc:spChg>
        <pc:spChg chg="mod">
          <ac:chgData name="KevCla12" userId="ef2eb634-4620-450f-93cc-80cc93397e60" providerId="ADAL" clId="{0BF56A33-4BC5-423F-96C0-6A8645FA96BB}" dt="2023-11-30T18:14:37.363" v="7521"/>
          <ac:spMkLst>
            <pc:docMk/>
            <pc:sldMk cId="1982725114" sldId="274"/>
            <ac:spMk id="50" creationId="{FC708FFC-CCAD-5B3F-7166-7BBC7AC9EAA1}"/>
          </ac:spMkLst>
        </pc:spChg>
        <pc:spChg chg="mod">
          <ac:chgData name="KevCla12" userId="ef2eb634-4620-450f-93cc-80cc93397e60" providerId="ADAL" clId="{0BF56A33-4BC5-423F-96C0-6A8645FA96BB}" dt="2023-11-30T18:14:37.364" v="7522"/>
          <ac:spMkLst>
            <pc:docMk/>
            <pc:sldMk cId="1982725114" sldId="274"/>
            <ac:spMk id="51" creationId="{2C1297A9-C44D-1139-A267-A87DB101DDBC}"/>
          </ac:spMkLst>
        </pc:spChg>
        <pc:spChg chg="mod">
          <ac:chgData name="KevCla12" userId="ef2eb634-4620-450f-93cc-80cc93397e60" providerId="ADAL" clId="{0BF56A33-4BC5-423F-96C0-6A8645FA96BB}" dt="2023-11-30T18:14:37.365" v="7523"/>
          <ac:spMkLst>
            <pc:docMk/>
            <pc:sldMk cId="1982725114" sldId="274"/>
            <ac:spMk id="52" creationId="{B434B40B-BD87-5916-FDF0-B02EB5657561}"/>
          </ac:spMkLst>
        </pc:spChg>
        <pc:spChg chg="mod">
          <ac:chgData name="KevCla12" userId="ef2eb634-4620-450f-93cc-80cc93397e60" providerId="ADAL" clId="{0BF56A33-4BC5-423F-96C0-6A8645FA96BB}" dt="2023-11-30T18:14:37.366" v="7524"/>
          <ac:spMkLst>
            <pc:docMk/>
            <pc:sldMk cId="1982725114" sldId="274"/>
            <ac:spMk id="53" creationId="{B44CF309-158F-12D6-B27F-441E87391D14}"/>
          </ac:spMkLst>
        </pc:spChg>
        <pc:spChg chg="mod">
          <ac:chgData name="KevCla12" userId="ef2eb634-4620-450f-93cc-80cc93397e60" providerId="ADAL" clId="{0BF56A33-4BC5-423F-96C0-6A8645FA96BB}" dt="2023-11-30T18:14:37.367" v="7525"/>
          <ac:spMkLst>
            <pc:docMk/>
            <pc:sldMk cId="1982725114" sldId="274"/>
            <ac:spMk id="54" creationId="{5A4E1580-11A7-454B-613D-4BA42D64C72F}"/>
          </ac:spMkLst>
        </pc:spChg>
        <pc:spChg chg="mod">
          <ac:chgData name="KevCla12" userId="ef2eb634-4620-450f-93cc-80cc93397e60" providerId="ADAL" clId="{0BF56A33-4BC5-423F-96C0-6A8645FA96BB}" dt="2023-11-30T18:14:37.368" v="7526"/>
          <ac:spMkLst>
            <pc:docMk/>
            <pc:sldMk cId="1982725114" sldId="274"/>
            <ac:spMk id="55" creationId="{5CC4EAFB-48FE-535B-E875-4DF978C713EE}"/>
          </ac:spMkLst>
        </pc:spChg>
        <pc:spChg chg="mod">
          <ac:chgData name="KevCla12" userId="ef2eb634-4620-450f-93cc-80cc93397e60" providerId="ADAL" clId="{0BF56A33-4BC5-423F-96C0-6A8645FA96BB}" dt="2023-11-30T18:14:37.368" v="7527"/>
          <ac:spMkLst>
            <pc:docMk/>
            <pc:sldMk cId="1982725114" sldId="274"/>
            <ac:spMk id="56" creationId="{6FCF32BD-DCDB-9F94-20A1-154D749B9F03}"/>
          </ac:spMkLst>
        </pc:spChg>
        <pc:spChg chg="mod">
          <ac:chgData name="KevCla12" userId="ef2eb634-4620-450f-93cc-80cc93397e60" providerId="ADAL" clId="{0BF56A33-4BC5-423F-96C0-6A8645FA96BB}" dt="2023-11-30T18:14:37.369" v="7528"/>
          <ac:spMkLst>
            <pc:docMk/>
            <pc:sldMk cId="1982725114" sldId="274"/>
            <ac:spMk id="57" creationId="{234ADE96-9E21-20E3-383E-E4689A533BB9}"/>
          </ac:spMkLst>
        </pc:spChg>
        <pc:spChg chg="mod">
          <ac:chgData name="KevCla12" userId="ef2eb634-4620-450f-93cc-80cc93397e60" providerId="ADAL" clId="{0BF56A33-4BC5-423F-96C0-6A8645FA96BB}" dt="2023-11-30T18:14:37.370" v="7529"/>
          <ac:spMkLst>
            <pc:docMk/>
            <pc:sldMk cId="1982725114" sldId="274"/>
            <ac:spMk id="58" creationId="{7A614264-7BB7-7608-6A66-EF85151AABD3}"/>
          </ac:spMkLst>
        </pc:spChg>
        <pc:spChg chg="mod">
          <ac:chgData name="KevCla12" userId="ef2eb634-4620-450f-93cc-80cc93397e60" providerId="ADAL" clId="{0BF56A33-4BC5-423F-96C0-6A8645FA96BB}" dt="2023-11-30T18:14:37.371" v="7530"/>
          <ac:spMkLst>
            <pc:docMk/>
            <pc:sldMk cId="1982725114" sldId="274"/>
            <ac:spMk id="59" creationId="{09E2D68C-3B2B-D0E5-DF64-06154F2A98A1}"/>
          </ac:spMkLst>
        </pc:spChg>
        <pc:spChg chg="mod">
          <ac:chgData name="KevCla12" userId="ef2eb634-4620-450f-93cc-80cc93397e60" providerId="ADAL" clId="{0BF56A33-4BC5-423F-96C0-6A8645FA96BB}" dt="2023-11-30T18:14:37.372" v="7531"/>
          <ac:spMkLst>
            <pc:docMk/>
            <pc:sldMk cId="1982725114" sldId="274"/>
            <ac:spMk id="60" creationId="{34061455-0816-3BCB-C826-A2E57789769F}"/>
          </ac:spMkLst>
        </pc:spChg>
        <pc:spChg chg="mod">
          <ac:chgData name="KevCla12" userId="ef2eb634-4620-450f-93cc-80cc93397e60" providerId="ADAL" clId="{0BF56A33-4BC5-423F-96C0-6A8645FA96BB}" dt="2023-11-30T18:14:37.372" v="7532"/>
          <ac:spMkLst>
            <pc:docMk/>
            <pc:sldMk cId="1982725114" sldId="274"/>
            <ac:spMk id="61" creationId="{34A462E0-099E-D889-8B63-4807E437F16D}"/>
          </ac:spMkLst>
        </pc:spChg>
        <pc:spChg chg="mod">
          <ac:chgData name="KevCla12" userId="ef2eb634-4620-450f-93cc-80cc93397e60" providerId="ADAL" clId="{0BF56A33-4BC5-423F-96C0-6A8645FA96BB}" dt="2023-11-30T18:14:37.373" v="7533"/>
          <ac:spMkLst>
            <pc:docMk/>
            <pc:sldMk cId="1982725114" sldId="274"/>
            <ac:spMk id="62" creationId="{D94FEEEC-D9EB-EB10-09F3-58B08ACEFDC4}"/>
          </ac:spMkLst>
        </pc:spChg>
        <pc:spChg chg="mod">
          <ac:chgData name="KevCla12" userId="ef2eb634-4620-450f-93cc-80cc93397e60" providerId="ADAL" clId="{0BF56A33-4BC5-423F-96C0-6A8645FA96BB}" dt="2023-12-03T21:48:07.400" v="31337" actId="790"/>
          <ac:spMkLst>
            <pc:docMk/>
            <pc:sldMk cId="1982725114" sldId="274"/>
            <ac:spMk id="63" creationId="{00000000-0000-0000-0000-000000000000}"/>
          </ac:spMkLst>
        </pc:spChg>
        <pc:spChg chg="mod">
          <ac:chgData name="KevCla12" userId="ef2eb634-4620-450f-93cc-80cc93397e60" providerId="ADAL" clId="{0BF56A33-4BC5-423F-96C0-6A8645FA96BB}" dt="2023-12-03T21:48:07.446" v="31375" actId="790"/>
          <ac:spMkLst>
            <pc:docMk/>
            <pc:sldMk cId="1982725114" sldId="274"/>
            <ac:spMk id="65" creationId="{5BD3368A-7C90-8ECB-C589-FA04F4D9E060}"/>
          </ac:spMkLst>
        </pc:spChg>
        <pc:spChg chg="mod">
          <ac:chgData name="KevCla12" userId="ef2eb634-4620-450f-93cc-80cc93397e60" providerId="ADAL" clId="{0BF56A33-4BC5-423F-96C0-6A8645FA96BB}" dt="2023-12-03T21:48:07.447" v="31376" actId="790"/>
          <ac:spMkLst>
            <pc:docMk/>
            <pc:sldMk cId="1982725114" sldId="274"/>
            <ac:spMk id="66" creationId="{0C8370C3-7DE4-263C-1F65-C11977DD3BBF}"/>
          </ac:spMkLst>
        </pc:spChg>
        <pc:spChg chg="mod">
          <ac:chgData name="KevCla12" userId="ef2eb634-4620-450f-93cc-80cc93397e60" providerId="ADAL" clId="{0BF56A33-4BC5-423F-96C0-6A8645FA96BB}" dt="2023-12-03T21:48:07.447" v="31377" actId="790"/>
          <ac:spMkLst>
            <pc:docMk/>
            <pc:sldMk cId="1982725114" sldId="274"/>
            <ac:spMk id="67" creationId="{5760ACF8-93EB-9CEE-E541-51DAB3DD3DEE}"/>
          </ac:spMkLst>
        </pc:spChg>
        <pc:spChg chg="mod">
          <ac:chgData name="KevCla12" userId="ef2eb634-4620-450f-93cc-80cc93397e60" providerId="ADAL" clId="{0BF56A33-4BC5-423F-96C0-6A8645FA96BB}" dt="2023-12-03T21:48:07.401" v="31338" actId="790"/>
          <ac:spMkLst>
            <pc:docMk/>
            <pc:sldMk cId="1982725114" sldId="274"/>
            <ac:spMk id="68" creationId="{00000000-0000-0000-0000-000000000000}"/>
          </ac:spMkLst>
        </pc:spChg>
        <pc:spChg chg="mod">
          <ac:chgData name="KevCla12" userId="ef2eb634-4620-450f-93cc-80cc93397e60" providerId="ADAL" clId="{0BF56A33-4BC5-423F-96C0-6A8645FA96BB}" dt="2023-12-03T21:48:07.464" v="31398" actId="790"/>
          <ac:spMkLst>
            <pc:docMk/>
            <pc:sldMk cId="1982725114" sldId="274"/>
            <ac:spMk id="69" creationId="{BF9851A3-72DB-EF0A-4757-1E9168E8A7F0}"/>
          </ac:spMkLst>
        </pc:spChg>
        <pc:spChg chg="mod">
          <ac:chgData name="KevCla12" userId="ef2eb634-4620-450f-93cc-80cc93397e60" providerId="ADAL" clId="{0BF56A33-4BC5-423F-96C0-6A8645FA96BB}" dt="2023-12-03T21:48:07.448" v="31378" actId="790"/>
          <ac:spMkLst>
            <pc:docMk/>
            <pc:sldMk cId="1982725114" sldId="274"/>
            <ac:spMk id="70" creationId="{F751E7B0-9BAD-18F6-0C14-5552AE0438A3}"/>
          </ac:spMkLst>
        </pc:spChg>
        <pc:spChg chg="mod">
          <ac:chgData name="KevCla12" userId="ef2eb634-4620-450f-93cc-80cc93397e60" providerId="ADAL" clId="{0BF56A33-4BC5-423F-96C0-6A8645FA96BB}" dt="2023-12-03T21:48:07.449" v="31379" actId="790"/>
          <ac:spMkLst>
            <pc:docMk/>
            <pc:sldMk cId="1982725114" sldId="274"/>
            <ac:spMk id="71" creationId="{66FBEB0E-3333-E930-C174-FDCA486E2401}"/>
          </ac:spMkLst>
        </pc:spChg>
        <pc:spChg chg="mod">
          <ac:chgData name="KevCla12" userId="ef2eb634-4620-450f-93cc-80cc93397e60" providerId="ADAL" clId="{0BF56A33-4BC5-423F-96C0-6A8645FA96BB}" dt="2023-12-03T21:48:07.449" v="31380" actId="790"/>
          <ac:spMkLst>
            <pc:docMk/>
            <pc:sldMk cId="1982725114" sldId="274"/>
            <ac:spMk id="72" creationId="{555B83B0-90A3-BCE5-5509-D7725806AD68}"/>
          </ac:spMkLst>
        </pc:spChg>
        <pc:spChg chg="mod">
          <ac:chgData name="KevCla12" userId="ef2eb634-4620-450f-93cc-80cc93397e60" providerId="ADAL" clId="{0BF56A33-4BC5-423F-96C0-6A8645FA96BB}" dt="2023-12-03T21:48:07.450" v="31381" actId="790"/>
          <ac:spMkLst>
            <pc:docMk/>
            <pc:sldMk cId="1982725114" sldId="274"/>
            <ac:spMk id="73" creationId="{4ADF38B1-7622-97AD-6316-8BAEB101086D}"/>
          </ac:spMkLst>
        </pc:spChg>
        <pc:spChg chg="mod">
          <ac:chgData name="KevCla12" userId="ef2eb634-4620-450f-93cc-80cc93397e60" providerId="ADAL" clId="{0BF56A33-4BC5-423F-96C0-6A8645FA96BB}" dt="2023-12-03T21:48:07.450" v="31382" actId="790"/>
          <ac:spMkLst>
            <pc:docMk/>
            <pc:sldMk cId="1982725114" sldId="274"/>
            <ac:spMk id="74" creationId="{F6CEFD17-7318-D3E0-2BF5-44E41607FAC7}"/>
          </ac:spMkLst>
        </pc:spChg>
        <pc:spChg chg="mod">
          <ac:chgData name="KevCla12" userId="ef2eb634-4620-450f-93cc-80cc93397e60" providerId="ADAL" clId="{0BF56A33-4BC5-423F-96C0-6A8645FA96BB}" dt="2023-12-03T21:48:07.451" v="31383" actId="790"/>
          <ac:spMkLst>
            <pc:docMk/>
            <pc:sldMk cId="1982725114" sldId="274"/>
            <ac:spMk id="75" creationId="{64C260AD-1CCE-F3C1-12CE-BD78FDA49E3C}"/>
          </ac:spMkLst>
        </pc:spChg>
        <pc:spChg chg="mod">
          <ac:chgData name="KevCla12" userId="ef2eb634-4620-450f-93cc-80cc93397e60" providerId="ADAL" clId="{0BF56A33-4BC5-423F-96C0-6A8645FA96BB}" dt="2023-12-03T21:48:07.452" v="31384" actId="790"/>
          <ac:spMkLst>
            <pc:docMk/>
            <pc:sldMk cId="1982725114" sldId="274"/>
            <ac:spMk id="76" creationId="{79C1E14E-9EF7-7051-C62E-4CB96FDD1B9F}"/>
          </ac:spMkLst>
        </pc:spChg>
        <pc:spChg chg="mod">
          <ac:chgData name="KevCla12" userId="ef2eb634-4620-450f-93cc-80cc93397e60" providerId="ADAL" clId="{0BF56A33-4BC5-423F-96C0-6A8645FA96BB}" dt="2023-12-03T21:48:07.452" v="31385" actId="790"/>
          <ac:spMkLst>
            <pc:docMk/>
            <pc:sldMk cId="1982725114" sldId="274"/>
            <ac:spMk id="77" creationId="{9A1CDA6D-EB2B-CB68-6F7C-D0ED17DF6B57}"/>
          </ac:spMkLst>
        </pc:spChg>
        <pc:spChg chg="mod">
          <ac:chgData name="KevCla12" userId="ef2eb634-4620-450f-93cc-80cc93397e60" providerId="ADAL" clId="{0BF56A33-4BC5-423F-96C0-6A8645FA96BB}" dt="2023-12-03T21:48:07.453" v="31386" actId="790"/>
          <ac:spMkLst>
            <pc:docMk/>
            <pc:sldMk cId="1982725114" sldId="274"/>
            <ac:spMk id="78" creationId="{E1E3AA33-1258-7E11-8332-753C52FB6EDE}"/>
          </ac:spMkLst>
        </pc:spChg>
        <pc:spChg chg="mod">
          <ac:chgData name="KevCla12" userId="ef2eb634-4620-450f-93cc-80cc93397e60" providerId="ADAL" clId="{0BF56A33-4BC5-423F-96C0-6A8645FA96BB}" dt="2023-12-03T21:48:07.409" v="31342" actId="790"/>
          <ac:spMkLst>
            <pc:docMk/>
            <pc:sldMk cId="1982725114" sldId="274"/>
            <ac:spMk id="80" creationId="{00000000-0000-0000-0000-000000000000}"/>
          </ac:spMkLst>
        </pc:spChg>
        <pc:spChg chg="mod">
          <ac:chgData name="KevCla12" userId="ef2eb634-4620-450f-93cc-80cc93397e60" providerId="ADAL" clId="{0BF56A33-4BC5-423F-96C0-6A8645FA96BB}" dt="2023-12-03T21:48:07.464" v="31399"/>
          <ac:spMkLst>
            <pc:docMk/>
            <pc:sldMk cId="1982725114" sldId="274"/>
            <ac:spMk id="81" creationId="{E0F7681E-1AB6-8F3C-A029-889F38A2A1B4}"/>
          </ac:spMkLst>
        </pc:spChg>
        <pc:spChg chg="del mod">
          <ac:chgData name="KevCla12" userId="ef2eb634-4620-450f-93cc-80cc93397e60" providerId="ADAL" clId="{0BF56A33-4BC5-423F-96C0-6A8645FA96BB}" dt="2023-12-02T16:59:07.492" v="11926" actId="478"/>
          <ac:spMkLst>
            <pc:docMk/>
            <pc:sldMk cId="1982725114" sldId="274"/>
            <ac:spMk id="83" creationId="{00000000-0000-0000-0000-000000000000}"/>
          </ac:spMkLst>
        </pc:spChg>
        <pc:spChg chg="mod">
          <ac:chgData name="KevCla12" userId="ef2eb634-4620-450f-93cc-80cc93397e60" providerId="ADAL" clId="{0BF56A33-4BC5-423F-96C0-6A8645FA96BB}" dt="2023-12-03T21:48:07.455" v="31389" actId="790"/>
          <ac:spMkLst>
            <pc:docMk/>
            <pc:sldMk cId="1982725114" sldId="274"/>
            <ac:spMk id="84" creationId="{F8B95730-0814-1008-C26F-C670130A8395}"/>
          </ac:spMkLst>
        </pc:spChg>
        <pc:spChg chg="mod">
          <ac:chgData name="KevCla12" userId="ef2eb634-4620-450f-93cc-80cc93397e60" providerId="ADAL" clId="{0BF56A33-4BC5-423F-96C0-6A8645FA96BB}" dt="2023-12-03T21:48:07.454" v="31387" actId="790"/>
          <ac:spMkLst>
            <pc:docMk/>
            <pc:sldMk cId="1982725114" sldId="274"/>
            <ac:spMk id="85" creationId="{D8C7BB57-F0E8-57C4-B7A9-195D7911B35A}"/>
          </ac:spMkLst>
        </pc:spChg>
        <pc:spChg chg="mod">
          <ac:chgData name="KevCla12" userId="ef2eb634-4620-450f-93cc-80cc93397e60" providerId="ADAL" clId="{0BF56A33-4BC5-423F-96C0-6A8645FA96BB}" dt="2023-12-03T21:48:07.454" v="31388" actId="790"/>
          <ac:spMkLst>
            <pc:docMk/>
            <pc:sldMk cId="1982725114" sldId="274"/>
            <ac:spMk id="86" creationId="{457CAA46-4D41-666C-9BA5-DDFE67CD8491}"/>
          </ac:spMkLst>
        </pc:spChg>
        <pc:spChg chg="mod">
          <ac:chgData name="KevCla12" userId="ef2eb634-4620-450f-93cc-80cc93397e60" providerId="ADAL" clId="{0BF56A33-4BC5-423F-96C0-6A8645FA96BB}" dt="2023-12-03T21:48:07.456" v="31390" actId="790"/>
          <ac:spMkLst>
            <pc:docMk/>
            <pc:sldMk cId="1982725114" sldId="274"/>
            <ac:spMk id="88" creationId="{14096281-0861-7327-DAEA-16F2F34DE622}"/>
          </ac:spMkLst>
        </pc:spChg>
        <pc:spChg chg="mod">
          <ac:chgData name="KevCla12" userId="ef2eb634-4620-450f-93cc-80cc93397e60" providerId="ADAL" clId="{0BF56A33-4BC5-423F-96C0-6A8645FA96BB}" dt="2023-12-03T21:48:07.456" v="31391" actId="790"/>
          <ac:spMkLst>
            <pc:docMk/>
            <pc:sldMk cId="1982725114" sldId="274"/>
            <ac:spMk id="89" creationId="{7DCA868B-C3CE-6D3E-2684-14E23F632B64}"/>
          </ac:spMkLst>
        </pc:spChg>
        <pc:spChg chg="mod">
          <ac:chgData name="KevCla12" userId="ef2eb634-4620-450f-93cc-80cc93397e60" providerId="ADAL" clId="{0BF56A33-4BC5-423F-96C0-6A8645FA96BB}" dt="2023-12-03T21:48:07.457" v="31392" actId="790"/>
          <ac:spMkLst>
            <pc:docMk/>
            <pc:sldMk cId="1982725114" sldId="274"/>
            <ac:spMk id="90" creationId="{E1818976-5A5C-658F-99E3-56299076EBC5}"/>
          </ac:spMkLst>
        </pc:spChg>
        <pc:spChg chg="mod">
          <ac:chgData name="KevCla12" userId="ef2eb634-4620-450f-93cc-80cc93397e60" providerId="ADAL" clId="{0BF56A33-4BC5-423F-96C0-6A8645FA96BB}" dt="2023-12-03T21:48:07.457" v="31393" actId="790"/>
          <ac:spMkLst>
            <pc:docMk/>
            <pc:sldMk cId="1982725114" sldId="274"/>
            <ac:spMk id="91" creationId="{06C6BE82-0003-18FE-AE07-80824414CF06}"/>
          </ac:spMkLst>
        </pc:spChg>
        <pc:spChg chg="mod">
          <ac:chgData name="KevCla12" userId="ef2eb634-4620-450f-93cc-80cc93397e60" providerId="ADAL" clId="{0BF56A33-4BC5-423F-96C0-6A8645FA96BB}" dt="2023-12-03T21:48:07.458" v="31394" actId="790"/>
          <ac:spMkLst>
            <pc:docMk/>
            <pc:sldMk cId="1982725114" sldId="274"/>
            <ac:spMk id="92" creationId="{FC763D87-2016-0730-7EC8-2C274E51A44E}"/>
          </ac:spMkLst>
        </pc:spChg>
        <pc:spChg chg="mod">
          <ac:chgData name="KevCla12" userId="ef2eb634-4620-450f-93cc-80cc93397e60" providerId="ADAL" clId="{0BF56A33-4BC5-423F-96C0-6A8645FA96BB}" dt="2023-12-03T21:48:07.459" v="31395" actId="790"/>
          <ac:spMkLst>
            <pc:docMk/>
            <pc:sldMk cId="1982725114" sldId="274"/>
            <ac:spMk id="93" creationId="{22865812-F75C-3239-4E98-62DA36978318}"/>
          </ac:spMkLst>
        </pc:spChg>
        <pc:spChg chg="mod">
          <ac:chgData name="KevCla12" userId="ef2eb634-4620-450f-93cc-80cc93397e60" providerId="ADAL" clId="{0BF56A33-4BC5-423F-96C0-6A8645FA96BB}" dt="2023-12-03T21:48:07.465" v="31400" actId="790"/>
          <ac:spMkLst>
            <pc:docMk/>
            <pc:sldMk cId="1982725114" sldId="274"/>
            <ac:spMk id="94" creationId="{02AFC817-4FEF-4AFE-23B5-40B946CCE093}"/>
          </ac:spMkLst>
        </pc:spChg>
        <pc:spChg chg="mod">
          <ac:chgData name="KevCla12" userId="ef2eb634-4620-450f-93cc-80cc93397e60" providerId="ADAL" clId="{0BF56A33-4BC5-423F-96C0-6A8645FA96BB}" dt="2023-12-03T21:48:07.465" v="31401"/>
          <ac:spMkLst>
            <pc:docMk/>
            <pc:sldMk cId="1982725114" sldId="274"/>
            <ac:spMk id="95" creationId="{61511BD9-F654-61FB-ABB6-93B78FD88C47}"/>
          </ac:spMkLst>
        </pc:spChg>
        <pc:spChg chg="mod">
          <ac:chgData name="KevCla12" userId="ef2eb634-4620-450f-93cc-80cc93397e60" providerId="ADAL" clId="{0BF56A33-4BC5-423F-96C0-6A8645FA96BB}" dt="2023-12-03T21:48:07.465" v="31402"/>
          <ac:spMkLst>
            <pc:docMk/>
            <pc:sldMk cId="1982725114" sldId="274"/>
            <ac:spMk id="96" creationId="{239100D1-0BF6-6CD2-351D-83C8C65D1118}"/>
          </ac:spMkLst>
        </pc:spChg>
        <pc:spChg chg="mod">
          <ac:chgData name="KevCla12" userId="ef2eb634-4620-450f-93cc-80cc93397e60" providerId="ADAL" clId="{0BF56A33-4BC5-423F-96C0-6A8645FA96BB}" dt="2023-12-03T21:48:07.460" v="31396" actId="790"/>
          <ac:spMkLst>
            <pc:docMk/>
            <pc:sldMk cId="1982725114" sldId="274"/>
            <ac:spMk id="97" creationId="{5D7F3E85-BF2E-21C7-AD83-B9413B311598}"/>
          </ac:spMkLst>
        </pc:spChg>
        <pc:spChg chg="mod">
          <ac:chgData name="KevCla12" userId="ef2eb634-4620-450f-93cc-80cc93397e60" providerId="ADAL" clId="{0BF56A33-4BC5-423F-96C0-6A8645FA96BB}" dt="2023-12-03T21:48:07.466" v="31403"/>
          <ac:spMkLst>
            <pc:docMk/>
            <pc:sldMk cId="1982725114" sldId="274"/>
            <ac:spMk id="99" creationId="{BD2CD835-398E-5D3C-85B3-495CCBC84A1B}"/>
          </ac:spMkLst>
        </pc:spChg>
        <pc:spChg chg="mod">
          <ac:chgData name="KevCla12" userId="ef2eb634-4620-450f-93cc-80cc93397e60" providerId="ADAL" clId="{0BF56A33-4BC5-423F-96C0-6A8645FA96BB}" dt="2023-12-03T21:48:07.466" v="31404"/>
          <ac:spMkLst>
            <pc:docMk/>
            <pc:sldMk cId="1982725114" sldId="274"/>
            <ac:spMk id="100" creationId="{82DD8E04-F3FB-2E02-B847-022850EF6F69}"/>
          </ac:spMkLst>
        </pc:spChg>
        <pc:spChg chg="mod">
          <ac:chgData name="KevCla12" userId="ef2eb634-4620-450f-93cc-80cc93397e60" providerId="ADAL" clId="{0BF56A33-4BC5-423F-96C0-6A8645FA96BB}" dt="2023-12-03T21:48:07.466" v="31405"/>
          <ac:spMkLst>
            <pc:docMk/>
            <pc:sldMk cId="1982725114" sldId="274"/>
            <ac:spMk id="101" creationId="{2E2FC8BB-118E-822C-334E-CF56BE3645C6}"/>
          </ac:spMkLst>
        </pc:spChg>
        <pc:spChg chg="mod">
          <ac:chgData name="KevCla12" userId="ef2eb634-4620-450f-93cc-80cc93397e60" providerId="ADAL" clId="{0BF56A33-4BC5-423F-96C0-6A8645FA96BB}" dt="2023-12-03T21:48:07.463" v="31397" actId="790"/>
          <ac:spMkLst>
            <pc:docMk/>
            <pc:sldMk cId="1982725114" sldId="274"/>
            <ac:spMk id="102" creationId="{5664F3D2-7AAD-6EF1-0B37-6AFAD411F579}"/>
          </ac:spMkLst>
        </pc:spChg>
        <pc:spChg chg="mod">
          <ac:chgData name="KevCla12" userId="ef2eb634-4620-450f-93cc-80cc93397e60" providerId="ADAL" clId="{0BF56A33-4BC5-423F-96C0-6A8645FA96BB}" dt="2023-12-03T21:48:07.467" v="31406"/>
          <ac:spMkLst>
            <pc:docMk/>
            <pc:sldMk cId="1982725114" sldId="274"/>
            <ac:spMk id="103" creationId="{62E189D0-395B-AF7C-EA3F-57757DEAABD8}"/>
          </ac:spMkLst>
        </pc:spChg>
        <pc:spChg chg="mod">
          <ac:chgData name="KevCla12" userId="ef2eb634-4620-450f-93cc-80cc93397e60" providerId="ADAL" clId="{0BF56A33-4BC5-423F-96C0-6A8645FA96BB}" dt="2023-12-03T21:48:07.467" v="31407" actId="790"/>
          <ac:spMkLst>
            <pc:docMk/>
            <pc:sldMk cId="1982725114" sldId="274"/>
            <ac:spMk id="105" creationId="{A2ECB355-1505-0E5F-7A26-EFED231ED790}"/>
          </ac:spMkLst>
        </pc:spChg>
        <pc:spChg chg="mod">
          <ac:chgData name="KevCla12" userId="ef2eb634-4620-450f-93cc-80cc93397e60" providerId="ADAL" clId="{0BF56A33-4BC5-423F-96C0-6A8645FA96BB}" dt="2023-12-03T21:48:07.468" v="31408" actId="790"/>
          <ac:spMkLst>
            <pc:docMk/>
            <pc:sldMk cId="1982725114" sldId="274"/>
            <ac:spMk id="106" creationId="{385147C6-7DDC-B254-059D-A3B700846642}"/>
          </ac:spMkLst>
        </pc:spChg>
        <pc:spChg chg="mod">
          <ac:chgData name="KevCla12" userId="ef2eb634-4620-450f-93cc-80cc93397e60" providerId="ADAL" clId="{0BF56A33-4BC5-423F-96C0-6A8645FA96BB}" dt="2023-12-03T21:48:07.469" v="31409" actId="790"/>
          <ac:spMkLst>
            <pc:docMk/>
            <pc:sldMk cId="1982725114" sldId="274"/>
            <ac:spMk id="107" creationId="{1A27C771-C3C4-F9BB-9B1C-B140129A5C15}"/>
          </ac:spMkLst>
        </pc:spChg>
        <pc:spChg chg="mod">
          <ac:chgData name="KevCla12" userId="ef2eb634-4620-450f-93cc-80cc93397e60" providerId="ADAL" clId="{0BF56A33-4BC5-423F-96C0-6A8645FA96BB}" dt="2023-12-03T21:48:07.469" v="31410" actId="790"/>
          <ac:spMkLst>
            <pc:docMk/>
            <pc:sldMk cId="1982725114" sldId="274"/>
            <ac:spMk id="108" creationId="{F6F3DB38-1C97-51A6-4030-575CA637D2ED}"/>
          </ac:spMkLst>
        </pc:spChg>
        <pc:spChg chg="mod">
          <ac:chgData name="KevCla12" userId="ef2eb634-4620-450f-93cc-80cc93397e60" providerId="ADAL" clId="{0BF56A33-4BC5-423F-96C0-6A8645FA96BB}" dt="2023-12-03T21:48:07.470" v="31411" actId="790"/>
          <ac:spMkLst>
            <pc:docMk/>
            <pc:sldMk cId="1982725114" sldId="274"/>
            <ac:spMk id="109" creationId="{EC7161EE-4867-9990-8B01-DCD1B5E78BE0}"/>
          </ac:spMkLst>
        </pc:spChg>
        <pc:spChg chg="mod">
          <ac:chgData name="KevCla12" userId="ef2eb634-4620-450f-93cc-80cc93397e60" providerId="ADAL" clId="{0BF56A33-4BC5-423F-96C0-6A8645FA96BB}" dt="2023-12-03T21:48:07.471" v="31412" actId="790"/>
          <ac:spMkLst>
            <pc:docMk/>
            <pc:sldMk cId="1982725114" sldId="274"/>
            <ac:spMk id="110" creationId="{7FF70216-CB07-FA5A-67F8-E5316D1F1E67}"/>
          </ac:spMkLst>
        </pc:spChg>
        <pc:spChg chg="mod">
          <ac:chgData name="KevCla12" userId="ef2eb634-4620-450f-93cc-80cc93397e60" providerId="ADAL" clId="{0BF56A33-4BC5-423F-96C0-6A8645FA96BB}" dt="2023-12-03T21:48:07.471" v="31413" actId="790"/>
          <ac:spMkLst>
            <pc:docMk/>
            <pc:sldMk cId="1982725114" sldId="274"/>
            <ac:spMk id="111" creationId="{AD3882FE-0A39-1044-FBA9-AB58128AD813}"/>
          </ac:spMkLst>
        </pc:spChg>
        <pc:spChg chg="mod">
          <ac:chgData name="KevCla12" userId="ef2eb634-4620-450f-93cc-80cc93397e60" providerId="ADAL" clId="{0BF56A33-4BC5-423F-96C0-6A8645FA96BB}" dt="2023-12-03T21:48:07.472" v="31414" actId="790"/>
          <ac:spMkLst>
            <pc:docMk/>
            <pc:sldMk cId="1982725114" sldId="274"/>
            <ac:spMk id="112" creationId="{860444D7-6722-EFCF-69A4-9E103625F970}"/>
          </ac:spMkLst>
        </pc:spChg>
        <pc:spChg chg="mod">
          <ac:chgData name="KevCla12" userId="ef2eb634-4620-450f-93cc-80cc93397e60" providerId="ADAL" clId="{0BF56A33-4BC5-423F-96C0-6A8645FA96BB}" dt="2023-12-03T21:48:07.473" v="31415" actId="790"/>
          <ac:spMkLst>
            <pc:docMk/>
            <pc:sldMk cId="1982725114" sldId="274"/>
            <ac:spMk id="113" creationId="{D67FB347-AAF8-1F3B-3A09-AD3CA240E573}"/>
          </ac:spMkLst>
        </pc:spChg>
        <pc:spChg chg="mod">
          <ac:chgData name="KevCla12" userId="ef2eb634-4620-450f-93cc-80cc93397e60" providerId="ADAL" clId="{0BF56A33-4BC5-423F-96C0-6A8645FA96BB}" dt="2023-12-03T21:48:07.474" v="31416" actId="790"/>
          <ac:spMkLst>
            <pc:docMk/>
            <pc:sldMk cId="1982725114" sldId="274"/>
            <ac:spMk id="114" creationId="{339F9019-6FCC-5D6D-DC57-C0FE7B8823F9}"/>
          </ac:spMkLst>
        </pc:spChg>
        <pc:spChg chg="mod">
          <ac:chgData name="KevCla12" userId="ef2eb634-4620-450f-93cc-80cc93397e60" providerId="ADAL" clId="{0BF56A33-4BC5-423F-96C0-6A8645FA96BB}" dt="2023-12-03T21:48:07.475" v="31417" actId="790"/>
          <ac:spMkLst>
            <pc:docMk/>
            <pc:sldMk cId="1982725114" sldId="274"/>
            <ac:spMk id="115" creationId="{6EC1F1C4-DDA5-62ED-F63C-87A838659F83}"/>
          </ac:spMkLst>
        </pc:spChg>
        <pc:spChg chg="mod">
          <ac:chgData name="KevCla12" userId="ef2eb634-4620-450f-93cc-80cc93397e60" providerId="ADAL" clId="{0BF56A33-4BC5-423F-96C0-6A8645FA96BB}" dt="2023-12-03T21:48:07.476" v="31418" actId="790"/>
          <ac:spMkLst>
            <pc:docMk/>
            <pc:sldMk cId="1982725114" sldId="274"/>
            <ac:spMk id="116" creationId="{9F060389-AABB-D522-3C1B-6AFF3DA85150}"/>
          </ac:spMkLst>
        </pc:spChg>
        <pc:spChg chg="mod">
          <ac:chgData name="KevCla12" userId="ef2eb634-4620-450f-93cc-80cc93397e60" providerId="ADAL" clId="{0BF56A33-4BC5-423F-96C0-6A8645FA96BB}" dt="2023-12-03T21:48:07.477" v="31419" actId="790"/>
          <ac:spMkLst>
            <pc:docMk/>
            <pc:sldMk cId="1982725114" sldId="274"/>
            <ac:spMk id="117" creationId="{043487CB-1F43-A901-1CCE-16CA086A2CB5}"/>
          </ac:spMkLst>
        </pc:spChg>
        <pc:spChg chg="mod">
          <ac:chgData name="KevCla12" userId="ef2eb634-4620-450f-93cc-80cc93397e60" providerId="ADAL" clId="{0BF56A33-4BC5-423F-96C0-6A8645FA96BB}" dt="2023-12-03T21:48:07.477" v="31420" actId="790"/>
          <ac:spMkLst>
            <pc:docMk/>
            <pc:sldMk cId="1982725114" sldId="274"/>
            <ac:spMk id="118" creationId="{56E6F0B4-513E-3947-938D-6EFCC0AA2941}"/>
          </ac:spMkLst>
        </pc:spChg>
        <pc:spChg chg="mod">
          <ac:chgData name="KevCla12" userId="ef2eb634-4620-450f-93cc-80cc93397e60" providerId="ADAL" clId="{0BF56A33-4BC5-423F-96C0-6A8645FA96BB}" dt="2023-12-03T21:48:07.478" v="31421" actId="790"/>
          <ac:spMkLst>
            <pc:docMk/>
            <pc:sldMk cId="1982725114" sldId="274"/>
            <ac:spMk id="119" creationId="{9036DF6E-D784-AEDF-ADB3-7560435F9F02}"/>
          </ac:spMkLst>
        </pc:spChg>
        <pc:spChg chg="mod">
          <ac:chgData name="KevCla12" userId="ef2eb634-4620-450f-93cc-80cc93397e60" providerId="ADAL" clId="{0BF56A33-4BC5-423F-96C0-6A8645FA96BB}" dt="2023-12-03T21:48:07.479" v="31422" actId="790"/>
          <ac:spMkLst>
            <pc:docMk/>
            <pc:sldMk cId="1982725114" sldId="274"/>
            <ac:spMk id="120" creationId="{CCCC6F21-8FDE-73CF-811C-AD50E96C9603}"/>
          </ac:spMkLst>
        </pc:spChg>
        <pc:spChg chg="mod">
          <ac:chgData name="KevCla12" userId="ef2eb634-4620-450f-93cc-80cc93397e60" providerId="ADAL" clId="{0BF56A33-4BC5-423F-96C0-6A8645FA96BB}" dt="2023-12-03T21:48:07.480" v="31423" actId="790"/>
          <ac:spMkLst>
            <pc:docMk/>
            <pc:sldMk cId="1982725114" sldId="274"/>
            <ac:spMk id="121" creationId="{33C54C5F-A99E-EE96-845B-800A1ACBCD80}"/>
          </ac:spMkLst>
        </pc:spChg>
        <pc:spChg chg="mod">
          <ac:chgData name="KevCla12" userId="ef2eb634-4620-450f-93cc-80cc93397e60" providerId="ADAL" clId="{0BF56A33-4BC5-423F-96C0-6A8645FA96BB}" dt="2023-12-03T21:48:07.481" v="31424" actId="790"/>
          <ac:spMkLst>
            <pc:docMk/>
            <pc:sldMk cId="1982725114" sldId="274"/>
            <ac:spMk id="122" creationId="{DD5B068C-8E0F-D0A4-C3D1-B85AE9DF6CBC}"/>
          </ac:spMkLst>
        </pc:spChg>
        <pc:spChg chg="mod">
          <ac:chgData name="KevCla12" userId="ef2eb634-4620-450f-93cc-80cc93397e60" providerId="ADAL" clId="{0BF56A33-4BC5-423F-96C0-6A8645FA96BB}" dt="2023-12-03T21:48:07.482" v="31425" actId="790"/>
          <ac:spMkLst>
            <pc:docMk/>
            <pc:sldMk cId="1982725114" sldId="274"/>
            <ac:spMk id="123" creationId="{680D2DD5-0C7B-C26C-98C1-2557EA41786C}"/>
          </ac:spMkLst>
        </pc:spChg>
        <pc:spChg chg="mod">
          <ac:chgData name="KevCla12" userId="ef2eb634-4620-450f-93cc-80cc93397e60" providerId="ADAL" clId="{0BF56A33-4BC5-423F-96C0-6A8645FA96BB}" dt="2023-12-03T21:48:07.483" v="31426" actId="790"/>
          <ac:spMkLst>
            <pc:docMk/>
            <pc:sldMk cId="1982725114" sldId="274"/>
            <ac:spMk id="124" creationId="{E55A2E59-4356-575B-434A-12AE6CE67E77}"/>
          </ac:spMkLst>
        </pc:spChg>
        <pc:spChg chg="mod">
          <ac:chgData name="KevCla12" userId="ef2eb634-4620-450f-93cc-80cc93397e60" providerId="ADAL" clId="{0BF56A33-4BC5-423F-96C0-6A8645FA96BB}" dt="2023-12-03T21:48:07.484" v="31427" actId="790"/>
          <ac:spMkLst>
            <pc:docMk/>
            <pc:sldMk cId="1982725114" sldId="274"/>
            <ac:spMk id="125" creationId="{A24F5B3C-CD53-0F04-23A1-976A03BDA63D}"/>
          </ac:spMkLst>
        </pc:spChg>
        <pc:spChg chg="mod">
          <ac:chgData name="KevCla12" userId="ef2eb634-4620-450f-93cc-80cc93397e60" providerId="ADAL" clId="{0BF56A33-4BC5-423F-96C0-6A8645FA96BB}" dt="2023-12-03T21:48:07.485" v="31428" actId="790"/>
          <ac:spMkLst>
            <pc:docMk/>
            <pc:sldMk cId="1982725114" sldId="274"/>
            <ac:spMk id="126" creationId="{F187BC8F-02BF-3E22-0BE5-70EBC46DD7EB}"/>
          </ac:spMkLst>
        </pc:spChg>
        <pc:spChg chg="mod">
          <ac:chgData name="KevCla12" userId="ef2eb634-4620-450f-93cc-80cc93397e60" providerId="ADAL" clId="{0BF56A33-4BC5-423F-96C0-6A8645FA96BB}" dt="2023-12-03T21:48:07.486" v="31429" actId="790"/>
          <ac:spMkLst>
            <pc:docMk/>
            <pc:sldMk cId="1982725114" sldId="274"/>
            <ac:spMk id="127" creationId="{C4063AE9-7F3F-9CB8-5417-69FBA79EA59D}"/>
          </ac:spMkLst>
        </pc:spChg>
        <pc:spChg chg="mod">
          <ac:chgData name="KevCla12" userId="ef2eb634-4620-450f-93cc-80cc93397e60" providerId="ADAL" clId="{0BF56A33-4BC5-423F-96C0-6A8645FA96BB}" dt="2023-12-03T21:48:07.486" v="31430" actId="790"/>
          <ac:spMkLst>
            <pc:docMk/>
            <pc:sldMk cId="1982725114" sldId="274"/>
            <ac:spMk id="128" creationId="{0CDD36CD-24B8-0E1D-B303-766F3535A95B}"/>
          </ac:spMkLst>
        </pc:spChg>
        <pc:spChg chg="mod">
          <ac:chgData name="KevCla12" userId="ef2eb634-4620-450f-93cc-80cc93397e60" providerId="ADAL" clId="{0BF56A33-4BC5-423F-96C0-6A8645FA96BB}" dt="2023-12-03T21:48:07.487" v="31431" actId="790"/>
          <ac:spMkLst>
            <pc:docMk/>
            <pc:sldMk cId="1982725114" sldId="274"/>
            <ac:spMk id="129" creationId="{EA4337A3-F6AC-EC00-E732-7D21D738D9F6}"/>
          </ac:spMkLst>
        </pc:spChg>
        <pc:spChg chg="mod">
          <ac:chgData name="KevCla12" userId="ef2eb634-4620-450f-93cc-80cc93397e60" providerId="ADAL" clId="{0BF56A33-4BC5-423F-96C0-6A8645FA96BB}" dt="2023-12-03T21:48:07.488" v="31432" actId="790"/>
          <ac:spMkLst>
            <pc:docMk/>
            <pc:sldMk cId="1982725114" sldId="274"/>
            <ac:spMk id="130" creationId="{1ECB9B9E-F2B7-5874-12AE-1B98BFA0F6A6}"/>
          </ac:spMkLst>
        </pc:spChg>
        <pc:spChg chg="mod">
          <ac:chgData name="KevCla12" userId="ef2eb634-4620-450f-93cc-80cc93397e60" providerId="ADAL" clId="{0BF56A33-4BC5-423F-96C0-6A8645FA96BB}" dt="2023-12-03T21:48:07.489" v="31433" actId="790"/>
          <ac:spMkLst>
            <pc:docMk/>
            <pc:sldMk cId="1982725114" sldId="274"/>
            <ac:spMk id="131" creationId="{54D1CF60-C392-2592-91D6-649B29B25A59}"/>
          </ac:spMkLst>
        </pc:spChg>
        <pc:spChg chg="mod">
          <ac:chgData name="KevCla12" userId="ef2eb634-4620-450f-93cc-80cc93397e60" providerId="ADAL" clId="{0BF56A33-4BC5-423F-96C0-6A8645FA96BB}" dt="2023-12-03T21:48:07.490" v="31434" actId="790"/>
          <ac:spMkLst>
            <pc:docMk/>
            <pc:sldMk cId="1982725114" sldId="274"/>
            <ac:spMk id="132" creationId="{0432D189-90E8-ACBD-DFB1-F5E2DCEF2699}"/>
          </ac:spMkLst>
        </pc:spChg>
        <pc:spChg chg="mod">
          <ac:chgData name="KevCla12" userId="ef2eb634-4620-450f-93cc-80cc93397e60" providerId="ADAL" clId="{0BF56A33-4BC5-423F-96C0-6A8645FA96BB}" dt="2023-12-03T21:48:07.491" v="31435" actId="790"/>
          <ac:spMkLst>
            <pc:docMk/>
            <pc:sldMk cId="1982725114" sldId="274"/>
            <ac:spMk id="133" creationId="{9DEB4860-2E7A-BFAD-E080-437E86108B2B}"/>
          </ac:spMkLst>
        </pc:spChg>
        <pc:spChg chg="mod">
          <ac:chgData name="KevCla12" userId="ef2eb634-4620-450f-93cc-80cc93397e60" providerId="ADAL" clId="{0BF56A33-4BC5-423F-96C0-6A8645FA96BB}" dt="2023-12-03T21:48:07.492" v="31436" actId="790"/>
          <ac:spMkLst>
            <pc:docMk/>
            <pc:sldMk cId="1982725114" sldId="274"/>
            <ac:spMk id="135" creationId="{D753135B-ADBD-5169-B1A2-AEC5D87357C7}"/>
          </ac:spMkLst>
        </pc:spChg>
        <pc:spChg chg="mod">
          <ac:chgData name="KevCla12" userId="ef2eb634-4620-450f-93cc-80cc93397e60" providerId="ADAL" clId="{0BF56A33-4BC5-423F-96C0-6A8645FA96BB}" dt="2023-12-03T21:48:07.493" v="31437" actId="790"/>
          <ac:spMkLst>
            <pc:docMk/>
            <pc:sldMk cId="1982725114" sldId="274"/>
            <ac:spMk id="136" creationId="{2E5A44EC-0F46-DDB0-C601-73FF467DB9E7}"/>
          </ac:spMkLst>
        </pc:spChg>
        <pc:spChg chg="mod">
          <ac:chgData name="KevCla12" userId="ef2eb634-4620-450f-93cc-80cc93397e60" providerId="ADAL" clId="{0BF56A33-4BC5-423F-96C0-6A8645FA96BB}" dt="2023-12-03T21:48:07.493" v="31438" actId="790"/>
          <ac:spMkLst>
            <pc:docMk/>
            <pc:sldMk cId="1982725114" sldId="274"/>
            <ac:spMk id="137" creationId="{1620A622-5A4A-E259-2E7C-67D27F956DE1}"/>
          </ac:spMkLst>
        </pc:spChg>
        <pc:spChg chg="mod">
          <ac:chgData name="KevCla12" userId="ef2eb634-4620-450f-93cc-80cc93397e60" providerId="ADAL" clId="{0BF56A33-4BC5-423F-96C0-6A8645FA96BB}" dt="2023-12-03T21:48:07.494" v="31439" actId="790"/>
          <ac:spMkLst>
            <pc:docMk/>
            <pc:sldMk cId="1982725114" sldId="274"/>
            <ac:spMk id="138" creationId="{5B715614-4CB0-4449-275E-DA231D003E58}"/>
          </ac:spMkLst>
        </pc:spChg>
        <pc:spChg chg="mod">
          <ac:chgData name="KevCla12" userId="ef2eb634-4620-450f-93cc-80cc93397e60" providerId="ADAL" clId="{0BF56A33-4BC5-423F-96C0-6A8645FA96BB}" dt="2023-12-03T21:48:07.495" v="31440" actId="790"/>
          <ac:spMkLst>
            <pc:docMk/>
            <pc:sldMk cId="1982725114" sldId="274"/>
            <ac:spMk id="139" creationId="{DDAF0A20-49FD-6A74-EE4E-C31A4C405815}"/>
          </ac:spMkLst>
        </pc:spChg>
        <pc:spChg chg="mod">
          <ac:chgData name="KevCla12" userId="ef2eb634-4620-450f-93cc-80cc93397e60" providerId="ADAL" clId="{0BF56A33-4BC5-423F-96C0-6A8645FA96BB}" dt="2023-12-03T21:48:07.496" v="31441" actId="790"/>
          <ac:spMkLst>
            <pc:docMk/>
            <pc:sldMk cId="1982725114" sldId="274"/>
            <ac:spMk id="140" creationId="{882156AD-6958-07F8-6371-F71D89550A49}"/>
          </ac:spMkLst>
        </pc:spChg>
        <pc:spChg chg="mod">
          <ac:chgData name="KevCla12" userId="ef2eb634-4620-450f-93cc-80cc93397e60" providerId="ADAL" clId="{0BF56A33-4BC5-423F-96C0-6A8645FA96BB}" dt="2023-12-03T21:48:07.497" v="31442" actId="790"/>
          <ac:spMkLst>
            <pc:docMk/>
            <pc:sldMk cId="1982725114" sldId="274"/>
            <ac:spMk id="141" creationId="{7F7C2878-B019-CD5C-F6B6-68F0E0824DFA}"/>
          </ac:spMkLst>
        </pc:spChg>
        <pc:spChg chg="mod">
          <ac:chgData name="KevCla12" userId="ef2eb634-4620-450f-93cc-80cc93397e60" providerId="ADAL" clId="{0BF56A33-4BC5-423F-96C0-6A8645FA96BB}" dt="2023-12-03T21:48:07.498" v="31443" actId="790"/>
          <ac:spMkLst>
            <pc:docMk/>
            <pc:sldMk cId="1982725114" sldId="274"/>
            <ac:spMk id="142" creationId="{9F492D0E-BF70-AAD5-00D7-DA6109FF174F}"/>
          </ac:spMkLst>
        </pc:spChg>
        <pc:spChg chg="mod">
          <ac:chgData name="KevCla12" userId="ef2eb634-4620-450f-93cc-80cc93397e60" providerId="ADAL" clId="{0BF56A33-4BC5-423F-96C0-6A8645FA96BB}" dt="2023-12-03T21:48:07.498" v="31444" actId="790"/>
          <ac:spMkLst>
            <pc:docMk/>
            <pc:sldMk cId="1982725114" sldId="274"/>
            <ac:spMk id="143" creationId="{A3DE628F-8FB6-0AFF-1D2F-D4029ACF3DCF}"/>
          </ac:spMkLst>
        </pc:spChg>
        <pc:spChg chg="mod">
          <ac:chgData name="KevCla12" userId="ef2eb634-4620-450f-93cc-80cc93397e60" providerId="ADAL" clId="{0BF56A33-4BC5-423F-96C0-6A8645FA96BB}" dt="2023-12-03T21:48:07.499" v="31445" actId="790"/>
          <ac:spMkLst>
            <pc:docMk/>
            <pc:sldMk cId="1982725114" sldId="274"/>
            <ac:spMk id="144" creationId="{B8900EEF-372A-F680-B541-492D025D0EC2}"/>
          </ac:spMkLst>
        </pc:spChg>
        <pc:spChg chg="mod">
          <ac:chgData name="KevCla12" userId="ef2eb634-4620-450f-93cc-80cc93397e60" providerId="ADAL" clId="{0BF56A33-4BC5-423F-96C0-6A8645FA96BB}" dt="2023-12-03T21:48:07.500" v="31446" actId="790"/>
          <ac:spMkLst>
            <pc:docMk/>
            <pc:sldMk cId="1982725114" sldId="274"/>
            <ac:spMk id="145" creationId="{06FCE6D7-49B6-110A-3F58-757D38B49020}"/>
          </ac:spMkLst>
        </pc:spChg>
        <pc:spChg chg="mod">
          <ac:chgData name="KevCla12" userId="ef2eb634-4620-450f-93cc-80cc93397e60" providerId="ADAL" clId="{0BF56A33-4BC5-423F-96C0-6A8645FA96BB}" dt="2023-12-03T21:48:07.501" v="31447" actId="790"/>
          <ac:spMkLst>
            <pc:docMk/>
            <pc:sldMk cId="1982725114" sldId="274"/>
            <ac:spMk id="146" creationId="{2E86F6C8-7CE2-8271-A293-CFAD657E4733}"/>
          </ac:spMkLst>
        </pc:spChg>
        <pc:spChg chg="mod">
          <ac:chgData name="KevCla12" userId="ef2eb634-4620-450f-93cc-80cc93397e60" providerId="ADAL" clId="{0BF56A33-4BC5-423F-96C0-6A8645FA96BB}" dt="2023-12-03T21:48:07.501" v="31448" actId="790"/>
          <ac:spMkLst>
            <pc:docMk/>
            <pc:sldMk cId="1982725114" sldId="274"/>
            <ac:spMk id="147" creationId="{73C44D3B-8A70-570E-AE02-A5EAE3E19528}"/>
          </ac:spMkLst>
        </pc:spChg>
        <pc:spChg chg="mod">
          <ac:chgData name="KevCla12" userId="ef2eb634-4620-450f-93cc-80cc93397e60" providerId="ADAL" clId="{0BF56A33-4BC5-423F-96C0-6A8645FA96BB}" dt="2023-12-03T21:48:07.502" v="31449" actId="790"/>
          <ac:spMkLst>
            <pc:docMk/>
            <pc:sldMk cId="1982725114" sldId="274"/>
            <ac:spMk id="148" creationId="{56B5822D-793D-BD87-DD6C-B994A12D7383}"/>
          </ac:spMkLst>
        </pc:spChg>
        <pc:spChg chg="mod">
          <ac:chgData name="KevCla12" userId="ef2eb634-4620-450f-93cc-80cc93397e60" providerId="ADAL" clId="{0BF56A33-4BC5-423F-96C0-6A8645FA96BB}" dt="2023-12-03T21:48:07.503" v="31450" actId="790"/>
          <ac:spMkLst>
            <pc:docMk/>
            <pc:sldMk cId="1982725114" sldId="274"/>
            <ac:spMk id="149" creationId="{4F3B812C-1061-C0C3-CAE9-E9A42284B5AF}"/>
          </ac:spMkLst>
        </pc:spChg>
        <pc:spChg chg="mod">
          <ac:chgData name="KevCla12" userId="ef2eb634-4620-450f-93cc-80cc93397e60" providerId="ADAL" clId="{0BF56A33-4BC5-423F-96C0-6A8645FA96BB}" dt="2023-12-03T21:48:07.504" v="31451" actId="790"/>
          <ac:spMkLst>
            <pc:docMk/>
            <pc:sldMk cId="1982725114" sldId="274"/>
            <ac:spMk id="151" creationId="{F966AB08-C8ED-DC5D-ABF1-791D63BF5FFC}"/>
          </ac:spMkLst>
        </pc:spChg>
        <pc:spChg chg="mod">
          <ac:chgData name="KevCla12" userId="ef2eb634-4620-450f-93cc-80cc93397e60" providerId="ADAL" clId="{0BF56A33-4BC5-423F-96C0-6A8645FA96BB}" dt="2023-12-03T21:48:07.504" v="31452" actId="790"/>
          <ac:spMkLst>
            <pc:docMk/>
            <pc:sldMk cId="1982725114" sldId="274"/>
            <ac:spMk id="152" creationId="{36E45373-D847-9E15-3746-FA0A2EDF5ED8}"/>
          </ac:spMkLst>
        </pc:spChg>
        <pc:spChg chg="mod">
          <ac:chgData name="KevCla12" userId="ef2eb634-4620-450f-93cc-80cc93397e60" providerId="ADAL" clId="{0BF56A33-4BC5-423F-96C0-6A8645FA96BB}" dt="2023-12-03T21:48:07.505" v="31453" actId="790"/>
          <ac:spMkLst>
            <pc:docMk/>
            <pc:sldMk cId="1982725114" sldId="274"/>
            <ac:spMk id="153" creationId="{0F32B92B-A01C-B4EF-066A-DB952E34C84D}"/>
          </ac:spMkLst>
        </pc:spChg>
        <pc:spChg chg="mod">
          <ac:chgData name="KevCla12" userId="ef2eb634-4620-450f-93cc-80cc93397e60" providerId="ADAL" clId="{0BF56A33-4BC5-423F-96C0-6A8645FA96BB}" dt="2023-12-03T21:48:07.506" v="31454" actId="790"/>
          <ac:spMkLst>
            <pc:docMk/>
            <pc:sldMk cId="1982725114" sldId="274"/>
            <ac:spMk id="154" creationId="{8D511934-BBB7-E01E-D712-B063F7F52B01}"/>
          </ac:spMkLst>
        </pc:spChg>
        <pc:spChg chg="mod">
          <ac:chgData name="KevCla12" userId="ef2eb634-4620-450f-93cc-80cc93397e60" providerId="ADAL" clId="{0BF56A33-4BC5-423F-96C0-6A8645FA96BB}" dt="2023-12-03T21:48:07.507" v="31455" actId="790"/>
          <ac:spMkLst>
            <pc:docMk/>
            <pc:sldMk cId="1982725114" sldId="274"/>
            <ac:spMk id="155" creationId="{823DAF4C-515A-747A-3B92-E9C3947A2F77}"/>
          </ac:spMkLst>
        </pc:spChg>
        <pc:spChg chg="mod">
          <ac:chgData name="KevCla12" userId="ef2eb634-4620-450f-93cc-80cc93397e60" providerId="ADAL" clId="{0BF56A33-4BC5-423F-96C0-6A8645FA96BB}" dt="2023-12-03T21:48:07.507" v="31456" actId="790"/>
          <ac:spMkLst>
            <pc:docMk/>
            <pc:sldMk cId="1982725114" sldId="274"/>
            <ac:spMk id="156" creationId="{5629734D-7386-8C98-8571-7D2C229E3854}"/>
          </ac:spMkLst>
        </pc:spChg>
        <pc:spChg chg="mod">
          <ac:chgData name="KevCla12" userId="ef2eb634-4620-450f-93cc-80cc93397e60" providerId="ADAL" clId="{0BF56A33-4BC5-423F-96C0-6A8645FA96BB}" dt="2023-12-03T21:48:07.508" v="31457" actId="790"/>
          <ac:spMkLst>
            <pc:docMk/>
            <pc:sldMk cId="1982725114" sldId="274"/>
            <ac:spMk id="157" creationId="{EE24F1D3-0C31-EF71-FF03-8E4AAA07EC27}"/>
          </ac:spMkLst>
        </pc:spChg>
        <pc:spChg chg="mod">
          <ac:chgData name="KevCla12" userId="ef2eb634-4620-450f-93cc-80cc93397e60" providerId="ADAL" clId="{0BF56A33-4BC5-423F-96C0-6A8645FA96BB}" dt="2023-12-03T21:48:07.509" v="31458" actId="790"/>
          <ac:spMkLst>
            <pc:docMk/>
            <pc:sldMk cId="1982725114" sldId="274"/>
            <ac:spMk id="158" creationId="{AB7AAE0A-9D4A-D728-ED95-E0777A7504DD}"/>
          </ac:spMkLst>
        </pc:spChg>
        <pc:spChg chg="mod">
          <ac:chgData name="KevCla12" userId="ef2eb634-4620-450f-93cc-80cc93397e60" providerId="ADAL" clId="{0BF56A33-4BC5-423F-96C0-6A8645FA96BB}" dt="2023-12-03T21:48:07.509" v="31459" actId="790"/>
          <ac:spMkLst>
            <pc:docMk/>
            <pc:sldMk cId="1982725114" sldId="274"/>
            <ac:spMk id="159" creationId="{95AA89D0-4508-F4C3-44F2-A3890EC13541}"/>
          </ac:spMkLst>
        </pc:spChg>
        <pc:spChg chg="mod">
          <ac:chgData name="KevCla12" userId="ef2eb634-4620-450f-93cc-80cc93397e60" providerId="ADAL" clId="{0BF56A33-4BC5-423F-96C0-6A8645FA96BB}" dt="2023-12-03T21:48:07.510" v="31460" actId="790"/>
          <ac:spMkLst>
            <pc:docMk/>
            <pc:sldMk cId="1982725114" sldId="274"/>
            <ac:spMk id="160" creationId="{FC3801F2-6FFF-444B-F99B-A4F46E77CACE}"/>
          </ac:spMkLst>
        </pc:spChg>
        <pc:spChg chg="mod">
          <ac:chgData name="KevCla12" userId="ef2eb634-4620-450f-93cc-80cc93397e60" providerId="ADAL" clId="{0BF56A33-4BC5-423F-96C0-6A8645FA96BB}" dt="2023-12-03T21:48:07.510" v="31461" actId="790"/>
          <ac:spMkLst>
            <pc:docMk/>
            <pc:sldMk cId="1982725114" sldId="274"/>
            <ac:spMk id="161" creationId="{D5AE175D-321B-5045-001D-317ECA12AF20}"/>
          </ac:spMkLst>
        </pc:spChg>
        <pc:spChg chg="add mod">
          <ac:chgData name="KevCla12" userId="ef2eb634-4620-450f-93cc-80cc93397e60" providerId="ADAL" clId="{0BF56A33-4BC5-423F-96C0-6A8645FA96BB}" dt="2023-12-03T21:48:07.516" v="31462" actId="790"/>
          <ac:spMkLst>
            <pc:docMk/>
            <pc:sldMk cId="1982725114" sldId="274"/>
            <ac:spMk id="162" creationId="{44454066-F361-1C35-F452-FBC37C5E3113}"/>
          </ac:spMkLst>
        </pc:spChg>
        <pc:spChg chg="add mod">
          <ac:chgData name="KevCla12" userId="ef2eb634-4620-450f-93cc-80cc93397e60" providerId="ADAL" clId="{0BF56A33-4BC5-423F-96C0-6A8645FA96BB}" dt="2023-12-03T21:48:07.524" v="31463" actId="790"/>
          <ac:spMkLst>
            <pc:docMk/>
            <pc:sldMk cId="1982725114" sldId="274"/>
            <ac:spMk id="163" creationId="{1DED8EE8-8E81-9D94-2C2C-1CBB803D4342}"/>
          </ac:spMkLst>
        </pc:spChg>
        <pc:grpChg chg="mod">
          <ac:chgData name="KevCla12" userId="ef2eb634-4620-450f-93cc-80cc93397e60" providerId="ADAL" clId="{0BF56A33-4BC5-423F-96C0-6A8645FA96BB}" dt="2023-12-02T17:00:08.814" v="12035" actId="1036"/>
          <ac:grpSpMkLst>
            <pc:docMk/>
            <pc:sldMk cId="1982725114" sldId="274"/>
            <ac:grpSpMk id="3" creationId="{2BAA9065-6269-9A89-D5DB-906AA3929961}"/>
          </ac:grpSpMkLst>
        </pc:grpChg>
        <pc:grpChg chg="add mod">
          <ac:chgData name="KevCla12" userId="ef2eb634-4620-450f-93cc-80cc93397e60" providerId="ADAL" clId="{0BF56A33-4BC5-423F-96C0-6A8645FA96BB}" dt="2023-12-03T16:59:37.871" v="17502" actId="1076"/>
          <ac:grpSpMkLst>
            <pc:docMk/>
            <pc:sldMk cId="1982725114" sldId="274"/>
            <ac:grpSpMk id="17" creationId="{678BC1FF-4742-E9FC-0B5F-9FEFA19BFE66}"/>
          </ac:grpSpMkLst>
        </pc:grpChg>
        <pc:grpChg chg="mod">
          <ac:chgData name="KevCla12" userId="ef2eb634-4620-450f-93cc-80cc93397e60" providerId="ADAL" clId="{0BF56A33-4BC5-423F-96C0-6A8645FA96BB}" dt="2023-12-02T17:00:08.814" v="12035" actId="1036"/>
          <ac:grpSpMkLst>
            <pc:docMk/>
            <pc:sldMk cId="1982725114" sldId="274"/>
            <ac:grpSpMk id="18" creationId="{FE847CCA-C33E-0D81-3FAB-628DDE03D173}"/>
          </ac:grpSpMkLst>
        </pc:grpChg>
        <pc:grpChg chg="del">
          <ac:chgData name="KevCla12" userId="ef2eb634-4620-450f-93cc-80cc93397e60" providerId="ADAL" clId="{0BF56A33-4BC5-423F-96C0-6A8645FA96BB}" dt="2023-12-02T16:59:29.655" v="11927" actId="478"/>
          <ac:grpSpMkLst>
            <pc:docMk/>
            <pc:sldMk cId="1982725114" sldId="274"/>
            <ac:grpSpMk id="45" creationId="{11E3715F-765B-3D0D-E6F2-4BDF907F3168}"/>
          </ac:grpSpMkLst>
        </pc:grpChg>
        <pc:grpChg chg="mod">
          <ac:chgData name="KevCla12" userId="ef2eb634-4620-450f-93cc-80cc93397e60" providerId="ADAL" clId="{0BF56A33-4BC5-423F-96C0-6A8645FA96BB}" dt="2023-12-02T17:00:08.814" v="12035" actId="1036"/>
          <ac:grpSpMkLst>
            <pc:docMk/>
            <pc:sldMk cId="1982725114" sldId="274"/>
            <ac:grpSpMk id="64" creationId="{4A7A7863-DF94-E9A3-F466-1902401E879F}"/>
          </ac:grpSpMkLst>
        </pc:grpChg>
        <pc:grpChg chg="mod">
          <ac:chgData name="KevCla12" userId="ef2eb634-4620-450f-93cc-80cc93397e60" providerId="ADAL" clId="{0BF56A33-4BC5-423F-96C0-6A8645FA96BB}" dt="2023-12-02T17:00:08.814" v="12035" actId="1036"/>
          <ac:grpSpMkLst>
            <pc:docMk/>
            <pc:sldMk cId="1982725114" sldId="274"/>
            <ac:grpSpMk id="79" creationId="{918184F2-4727-F3BB-8FCA-E57B0FFF390B}"/>
          </ac:grpSpMkLst>
        </pc:grpChg>
        <pc:grpChg chg="mod">
          <ac:chgData name="KevCla12" userId="ef2eb634-4620-450f-93cc-80cc93397e60" providerId="ADAL" clId="{0BF56A33-4BC5-423F-96C0-6A8645FA96BB}" dt="2023-12-02T17:00:08.814" v="12035" actId="1036"/>
          <ac:grpSpMkLst>
            <pc:docMk/>
            <pc:sldMk cId="1982725114" sldId="274"/>
            <ac:grpSpMk id="82" creationId="{846C3F5E-56DB-7569-313F-73249071F9F2}"/>
          </ac:grpSpMkLst>
        </pc:grpChg>
        <pc:grpChg chg="mod">
          <ac:chgData name="KevCla12" userId="ef2eb634-4620-450f-93cc-80cc93397e60" providerId="ADAL" clId="{0BF56A33-4BC5-423F-96C0-6A8645FA96BB}" dt="2023-12-02T17:00:08.814" v="12035" actId="1036"/>
          <ac:grpSpMkLst>
            <pc:docMk/>
            <pc:sldMk cId="1982725114" sldId="274"/>
            <ac:grpSpMk id="87" creationId="{8A80D7D0-1B9F-A2A3-DA61-D54C21E1B510}"/>
          </ac:grpSpMkLst>
        </pc:grpChg>
        <pc:grpChg chg="add mod">
          <ac:chgData name="KevCla12" userId="ef2eb634-4620-450f-93cc-80cc93397e60" providerId="ADAL" clId="{0BF56A33-4BC5-423F-96C0-6A8645FA96BB}" dt="2023-12-02T17:06:34.046" v="12066" actId="1076"/>
          <ac:grpSpMkLst>
            <pc:docMk/>
            <pc:sldMk cId="1982725114" sldId="274"/>
            <ac:grpSpMk id="104" creationId="{B3D6FA05-AB05-71AA-104D-4F18A1FF1223}"/>
          </ac:grpSpMkLst>
        </pc:grpChg>
        <pc:grpChg chg="add mod">
          <ac:chgData name="KevCla12" userId="ef2eb634-4620-450f-93cc-80cc93397e60" providerId="ADAL" clId="{0BF56A33-4BC5-423F-96C0-6A8645FA96BB}" dt="2023-12-03T16:59:21.945" v="17498" actId="1076"/>
          <ac:grpSpMkLst>
            <pc:docMk/>
            <pc:sldMk cId="1982725114" sldId="274"/>
            <ac:grpSpMk id="134" creationId="{8C1EF271-E460-D8EB-34FE-CDF40F4D06C6}"/>
          </ac:grpSpMkLst>
        </pc:grpChg>
        <pc:grpChg chg="add mod">
          <ac:chgData name="KevCla12" userId="ef2eb634-4620-450f-93cc-80cc93397e60" providerId="ADAL" clId="{0BF56A33-4BC5-423F-96C0-6A8645FA96BB}" dt="2023-12-02T17:07:29.146" v="12091" actId="207"/>
          <ac:grpSpMkLst>
            <pc:docMk/>
            <pc:sldMk cId="1982725114" sldId="274"/>
            <ac:grpSpMk id="150" creationId="{B980A578-0A6D-4FEE-8658-371BC5943F95}"/>
          </ac:grpSpMkLst>
        </pc:grpChg>
        <pc:picChg chg="mod">
          <ac:chgData name="KevCla12" userId="ef2eb634-4620-450f-93cc-80cc93397e60" providerId="ADAL" clId="{0BF56A33-4BC5-423F-96C0-6A8645FA96BB}" dt="2023-12-02T17:00:08.814" v="12035" actId="1036"/>
          <ac:picMkLst>
            <pc:docMk/>
            <pc:sldMk cId="1982725114" sldId="274"/>
            <ac:picMk id="98" creationId="{947A177F-3265-36C3-2320-94232DB3E509}"/>
          </ac:picMkLst>
        </pc:picChg>
        <pc:cxnChg chg="mod">
          <ac:chgData name="KevCla12" userId="ef2eb634-4620-450f-93cc-80cc93397e60" providerId="ADAL" clId="{0BF56A33-4BC5-423F-96C0-6A8645FA96BB}" dt="2023-12-03T16:59:46.992" v="17503" actId="208"/>
          <ac:cxnSpMkLst>
            <pc:docMk/>
            <pc:sldMk cId="1982725114" sldId="274"/>
            <ac:cxnSpMk id="5" creationId="{00000000-0000-0000-0000-000000000000}"/>
          </ac:cxnSpMkLst>
        </pc:cxnChg>
        <pc:extLst>
          <p:ext xmlns:p="http://schemas.openxmlformats.org/presentationml/2006/main" uri="{D6D511B9-2390-475A-947B-AFAB55BFBCF1}">
            <pc226:cmChg xmlns:pc226="http://schemas.microsoft.com/office/powerpoint/2022/06/main/command" chg="del mod">
              <pc226:chgData name="KevCla12" userId="ef2eb634-4620-450f-93cc-80cc93397e60" providerId="ADAL" clId="{0BF56A33-4BC5-423F-96C0-6A8645FA96BB}" dt="2023-12-02T17:09:06.013" v="12115"/>
              <pc2:cmMkLst xmlns:pc2="http://schemas.microsoft.com/office/powerpoint/2019/9/main/command">
                <pc:docMk/>
                <pc:sldMk cId="1982725114" sldId="274"/>
                <pc2:cmMk id="{20FA2B0B-E31F-4C24-AB37-FED062050F25}"/>
              </pc2:cmMkLst>
            </pc226:cmChg>
            <pc226:cmChg xmlns:pc226="http://schemas.microsoft.com/office/powerpoint/2022/06/main/command" chg="del mod">
              <pc226:chgData name="KevCla12" userId="ef2eb634-4620-450f-93cc-80cc93397e60" providerId="ADAL" clId="{0BF56A33-4BC5-423F-96C0-6A8645FA96BB}" dt="2023-12-02T17:08:58.038" v="12111"/>
              <pc2:cmMkLst xmlns:pc2="http://schemas.microsoft.com/office/powerpoint/2019/9/main/command">
                <pc:docMk/>
                <pc:sldMk cId="1982725114" sldId="274"/>
                <pc2:cmMk id="{E28A4B67-CC33-48F5-B2F6-4B72E480A10E}"/>
              </pc2:cmMkLst>
            </pc226:cmChg>
            <pc226:cmChg xmlns:pc226="http://schemas.microsoft.com/office/powerpoint/2022/06/main/command" chg="del mod">
              <pc226:chgData name="KevCla12" userId="ef2eb634-4620-450f-93cc-80cc93397e60" providerId="ADAL" clId="{0BF56A33-4BC5-423F-96C0-6A8645FA96BB}" dt="2023-12-02T17:09:01.560" v="12113"/>
              <pc2:cmMkLst xmlns:pc2="http://schemas.microsoft.com/office/powerpoint/2019/9/main/command">
                <pc:docMk/>
                <pc:sldMk cId="1982725114" sldId="274"/>
                <pc2:cmMk id="{DEF1B287-C53E-476C-BF82-B74911E808A7}"/>
              </pc2:cmMkLst>
            </pc226:cmChg>
          </p:ext>
        </pc:extLst>
      </pc:sldChg>
      <pc:sldChg chg="modSp mod modNotes">
        <pc:chgData name="KevCla12" userId="ef2eb634-4620-450f-93cc-80cc93397e60" providerId="ADAL" clId="{0BF56A33-4BC5-423F-96C0-6A8645FA96BB}" dt="2023-12-03T21:48:11.226" v="33159" actId="790"/>
        <pc:sldMkLst>
          <pc:docMk/>
          <pc:sldMk cId="3325992894" sldId="298"/>
        </pc:sldMkLst>
        <pc:spChg chg="mod">
          <ac:chgData name="KevCla12" userId="ef2eb634-4620-450f-93cc-80cc93397e60" providerId="ADAL" clId="{0BF56A33-4BC5-423F-96C0-6A8645FA96BB}" dt="2023-12-03T21:48:11.218" v="33152" actId="790"/>
          <ac:spMkLst>
            <pc:docMk/>
            <pc:sldMk cId="3325992894" sldId="298"/>
            <ac:spMk id="2" creationId="{F2A9215D-82A9-4BD1-0B18-F7F09B9E618F}"/>
          </ac:spMkLst>
        </pc:spChg>
        <pc:spChg chg="mod">
          <ac:chgData name="KevCla12" userId="ef2eb634-4620-450f-93cc-80cc93397e60" providerId="ADAL" clId="{0BF56A33-4BC5-423F-96C0-6A8645FA96BB}" dt="2023-12-03T21:48:11.221" v="33153" actId="790"/>
          <ac:spMkLst>
            <pc:docMk/>
            <pc:sldMk cId="3325992894" sldId="298"/>
            <ac:spMk id="3" creationId="{C006CDAE-738B-FCC1-1F57-C55ED2E20C08}"/>
          </ac:spMkLst>
        </pc:spChg>
        <pc:spChg chg="mod">
          <ac:chgData name="KevCla12" userId="ef2eb634-4620-450f-93cc-80cc93397e60" providerId="ADAL" clId="{0BF56A33-4BC5-423F-96C0-6A8645FA96BB}" dt="2023-12-03T21:48:11.222" v="33154" actId="790"/>
          <ac:spMkLst>
            <pc:docMk/>
            <pc:sldMk cId="3325992894" sldId="298"/>
            <ac:spMk id="4" creationId="{3EB96D40-46F7-FC50-4C53-E7A18FA42CE5}"/>
          </ac:spMkLst>
        </pc:spChg>
        <pc:spChg chg="mod">
          <ac:chgData name="KevCla12" userId="ef2eb634-4620-450f-93cc-80cc93397e60" providerId="ADAL" clId="{0BF56A33-4BC5-423F-96C0-6A8645FA96BB}" dt="2023-12-03T21:48:11.223" v="33155" actId="790"/>
          <ac:spMkLst>
            <pc:docMk/>
            <pc:sldMk cId="3325992894" sldId="298"/>
            <ac:spMk id="5" creationId="{B7ACA2AD-8324-4B58-ABC1-B3DA00DDBBB6}"/>
          </ac:spMkLst>
        </pc:spChg>
        <pc:spChg chg="mod">
          <ac:chgData name="KevCla12" userId="ef2eb634-4620-450f-93cc-80cc93397e60" providerId="ADAL" clId="{0BF56A33-4BC5-423F-96C0-6A8645FA96BB}" dt="2023-12-03T21:48:11.224" v="33156" actId="790"/>
          <ac:spMkLst>
            <pc:docMk/>
            <pc:sldMk cId="3325992894" sldId="298"/>
            <ac:spMk id="6" creationId="{1002D649-7B6A-7325-D74F-88C94D8726F0}"/>
          </ac:spMkLst>
        </pc:spChg>
        <pc:spChg chg="mod">
          <ac:chgData name="KevCla12" userId="ef2eb634-4620-450f-93cc-80cc93397e60" providerId="ADAL" clId="{0BF56A33-4BC5-423F-96C0-6A8645FA96BB}" dt="2023-12-03T21:48:11.224" v="33157" actId="790"/>
          <ac:spMkLst>
            <pc:docMk/>
            <pc:sldMk cId="3325992894" sldId="298"/>
            <ac:spMk id="7" creationId="{4ECA8F68-36C7-1391-7901-7CB064E0E450}"/>
          </ac:spMkLst>
        </pc:spChg>
      </pc:sldChg>
      <pc:sldChg chg="addSp delSp modSp mod modNotes">
        <pc:chgData name="KevCla12" userId="ef2eb634-4620-450f-93cc-80cc93397e60" providerId="ADAL" clId="{0BF56A33-4BC5-423F-96C0-6A8645FA96BB}" dt="2023-12-03T21:48:12.447" v="33717"/>
        <pc:sldMkLst>
          <pc:docMk/>
          <pc:sldMk cId="1842489692" sldId="299"/>
        </pc:sldMkLst>
        <pc:spChg chg="mod">
          <ac:chgData name="KevCla12" userId="ef2eb634-4620-450f-93cc-80cc93397e60" providerId="ADAL" clId="{0BF56A33-4BC5-423F-96C0-6A8645FA96BB}" dt="2023-12-03T21:48:12.136" v="33446" actId="948"/>
          <ac:spMkLst>
            <pc:docMk/>
            <pc:sldMk cId="1842489692" sldId="299"/>
            <ac:spMk id="2" creationId="{EBAB085B-9E44-2ACF-AF31-2D85E0D4D018}"/>
          </ac:spMkLst>
        </pc:spChg>
        <pc:spChg chg="mod">
          <ac:chgData name="KevCla12" userId="ef2eb634-4620-450f-93cc-80cc93397e60" providerId="ADAL" clId="{0BF56A33-4BC5-423F-96C0-6A8645FA96BB}" dt="2023-12-03T21:48:04.855" v="30618" actId="790"/>
          <ac:spMkLst>
            <pc:docMk/>
            <pc:sldMk cId="1842489692" sldId="299"/>
            <ac:spMk id="3" creationId="{BF5E424E-42C5-578E-5AA6-B6FDC73A634B}"/>
          </ac:spMkLst>
        </pc:spChg>
        <pc:spChg chg="mod">
          <ac:chgData name="KevCla12" userId="ef2eb634-4620-450f-93cc-80cc93397e60" providerId="ADAL" clId="{0BF56A33-4BC5-423F-96C0-6A8645FA96BB}" dt="2023-12-03T21:48:04.855" v="30619" actId="790"/>
          <ac:spMkLst>
            <pc:docMk/>
            <pc:sldMk cId="1842489692" sldId="299"/>
            <ac:spMk id="4" creationId="{D6FC64E0-0557-208A-AB37-1B518838DB01}"/>
          </ac:spMkLst>
        </pc:spChg>
        <pc:spChg chg="mod">
          <ac:chgData name="KevCla12" userId="ef2eb634-4620-450f-93cc-80cc93397e60" providerId="ADAL" clId="{0BF56A33-4BC5-423F-96C0-6A8645FA96BB}" dt="2023-12-03T21:48:04.856" v="30620" actId="790"/>
          <ac:spMkLst>
            <pc:docMk/>
            <pc:sldMk cId="1842489692" sldId="299"/>
            <ac:spMk id="5" creationId="{29B47A44-A403-23A9-C2FF-53FD5527C111}"/>
          </ac:spMkLst>
        </pc:spChg>
        <pc:spChg chg="mod">
          <ac:chgData name="KevCla12" userId="ef2eb634-4620-450f-93cc-80cc93397e60" providerId="ADAL" clId="{0BF56A33-4BC5-423F-96C0-6A8645FA96BB}" dt="2023-12-03T21:48:04.857" v="30621" actId="790"/>
          <ac:spMkLst>
            <pc:docMk/>
            <pc:sldMk cId="1842489692" sldId="299"/>
            <ac:spMk id="6" creationId="{99BE133C-46D7-2166-7F59-EF2D2D8A2FD0}"/>
          </ac:spMkLst>
        </pc:spChg>
        <pc:spChg chg="mod">
          <ac:chgData name="KevCla12" userId="ef2eb634-4620-450f-93cc-80cc93397e60" providerId="ADAL" clId="{0BF56A33-4BC5-423F-96C0-6A8645FA96BB}" dt="2023-12-03T21:48:04.857" v="30622" actId="790"/>
          <ac:spMkLst>
            <pc:docMk/>
            <pc:sldMk cId="1842489692" sldId="299"/>
            <ac:spMk id="7" creationId="{D5D2C325-4358-9E53-3677-B37999D116C6}"/>
          </ac:spMkLst>
        </pc:spChg>
        <pc:spChg chg="add del mod modVis">
          <ac:chgData name="KevCla12" userId="ef2eb634-4620-450f-93cc-80cc93397e60" providerId="ADAL" clId="{0BF56A33-4BC5-423F-96C0-6A8645FA96BB}" dt="2023-12-03T21:48:12.427" v="33702"/>
          <ac:spMkLst>
            <pc:docMk/>
            <pc:sldMk cId="1842489692" sldId="299"/>
            <ac:spMk id="8" creationId="{230DA297-CE57-D388-9DE2-A689389C9E07}"/>
          </ac:spMkLst>
        </pc:spChg>
        <pc:spChg chg="mod">
          <ac:chgData name="KevCla12" userId="ef2eb634-4620-450f-93cc-80cc93397e60" providerId="ADAL" clId="{0BF56A33-4BC5-423F-96C0-6A8645FA96BB}" dt="2023-12-03T21:48:04.858" v="30623" actId="790"/>
          <ac:spMkLst>
            <pc:docMk/>
            <pc:sldMk cId="1842489692" sldId="299"/>
            <ac:spMk id="9" creationId="{B5754EC1-E79A-17FE-D53A-37BAA2F629B5}"/>
          </ac:spMkLst>
        </pc:spChg>
        <pc:spChg chg="mod">
          <ac:chgData name="KevCla12" userId="ef2eb634-4620-450f-93cc-80cc93397e60" providerId="ADAL" clId="{0BF56A33-4BC5-423F-96C0-6A8645FA96BB}" dt="2023-12-03T21:48:04.859" v="30624" actId="790"/>
          <ac:spMkLst>
            <pc:docMk/>
            <pc:sldMk cId="1842489692" sldId="299"/>
            <ac:spMk id="10" creationId="{BD7D94BA-366F-DED0-D18D-B7EE0CD4AF80}"/>
          </ac:spMkLst>
        </pc:spChg>
        <pc:spChg chg="mod">
          <ac:chgData name="KevCla12" userId="ef2eb634-4620-450f-93cc-80cc93397e60" providerId="ADAL" clId="{0BF56A33-4BC5-423F-96C0-6A8645FA96BB}" dt="2023-12-03T21:48:04.859" v="30625" actId="790"/>
          <ac:spMkLst>
            <pc:docMk/>
            <pc:sldMk cId="1842489692" sldId="299"/>
            <ac:spMk id="11" creationId="{7003B0E2-FB07-8C8D-71B1-5B890CF0A35A}"/>
          </ac:spMkLst>
        </pc:spChg>
        <pc:spChg chg="mod">
          <ac:chgData name="KevCla12" userId="ef2eb634-4620-450f-93cc-80cc93397e60" providerId="ADAL" clId="{0BF56A33-4BC5-423F-96C0-6A8645FA96BB}" dt="2023-12-03T21:48:04.861" v="30626" actId="790"/>
          <ac:spMkLst>
            <pc:docMk/>
            <pc:sldMk cId="1842489692" sldId="299"/>
            <ac:spMk id="12" creationId="{B47D13B2-F71B-82E1-25DE-B681C3FF00A7}"/>
          </ac:spMkLst>
        </pc:spChg>
        <pc:spChg chg="mod">
          <ac:chgData name="KevCla12" userId="ef2eb634-4620-450f-93cc-80cc93397e60" providerId="ADAL" clId="{0BF56A33-4BC5-423F-96C0-6A8645FA96BB}" dt="2023-12-03T21:48:04.861" v="30627" actId="790"/>
          <ac:spMkLst>
            <pc:docMk/>
            <pc:sldMk cId="1842489692" sldId="299"/>
            <ac:spMk id="13" creationId="{7463CEBC-B8C7-2213-F8CE-07EDFFD39FB9}"/>
          </ac:spMkLst>
        </pc:spChg>
        <pc:spChg chg="mod">
          <ac:chgData name="KevCla12" userId="ef2eb634-4620-450f-93cc-80cc93397e60" providerId="ADAL" clId="{0BF56A33-4BC5-423F-96C0-6A8645FA96BB}" dt="2023-12-03T21:48:04.862" v="30628" actId="790"/>
          <ac:spMkLst>
            <pc:docMk/>
            <pc:sldMk cId="1842489692" sldId="299"/>
            <ac:spMk id="14" creationId="{C6ADC915-55F9-9A1E-FF90-36640050F4F3}"/>
          </ac:spMkLst>
        </pc:spChg>
        <pc:spChg chg="mod">
          <ac:chgData name="KevCla12" userId="ef2eb634-4620-450f-93cc-80cc93397e60" providerId="ADAL" clId="{0BF56A33-4BC5-423F-96C0-6A8645FA96BB}" dt="2023-12-03T21:48:04.863" v="30629" actId="790"/>
          <ac:spMkLst>
            <pc:docMk/>
            <pc:sldMk cId="1842489692" sldId="299"/>
            <ac:spMk id="15" creationId="{A4182E8C-22AB-F57F-3792-4294F43D6808}"/>
          </ac:spMkLst>
        </pc:spChg>
        <pc:spChg chg="mod">
          <ac:chgData name="KevCla12" userId="ef2eb634-4620-450f-93cc-80cc93397e60" providerId="ADAL" clId="{0BF56A33-4BC5-423F-96C0-6A8645FA96BB}" dt="2023-12-03T21:48:04.864" v="30630" actId="790"/>
          <ac:spMkLst>
            <pc:docMk/>
            <pc:sldMk cId="1842489692" sldId="299"/>
            <ac:spMk id="16" creationId="{430D8DB6-AF63-0567-E072-EBDC9504AD8A}"/>
          </ac:spMkLst>
        </pc:spChg>
        <pc:graphicFrameChg chg="add mod ord modVis replST">
          <ac:chgData name="KevCla12" userId="ef2eb634-4620-450f-93cc-80cc93397e60" providerId="ADAL" clId="{0BF56A33-4BC5-423F-96C0-6A8645FA96BB}" dt="2023-12-03T21:48:12.447" v="33717"/>
          <ac:graphicFrameMkLst>
            <pc:docMk/>
            <pc:sldMk cId="1842489692" sldId="299"/>
            <ac:graphicFrameMk id="17" creationId="{C9DC6B18-C6BF-0AE7-F416-A7D93D30E74B}"/>
          </ac:graphicFrameMkLst>
        </pc:graphicFrameChg>
      </pc:sldChg>
      <pc:sldChg chg="addSp delSp modSp mod modNotes">
        <pc:chgData name="KevCla12" userId="ef2eb634-4620-450f-93cc-80cc93397e60" providerId="ADAL" clId="{0BF56A33-4BC5-423F-96C0-6A8645FA96BB}" dt="2023-12-03T21:48:12.469" v="33734"/>
        <pc:sldMkLst>
          <pc:docMk/>
          <pc:sldMk cId="3112231943" sldId="301"/>
        </pc:sldMkLst>
        <pc:spChg chg="mod">
          <ac:chgData name="KevCla12" userId="ef2eb634-4620-450f-93cc-80cc93397e60" providerId="ADAL" clId="{0BF56A33-4BC5-423F-96C0-6A8645FA96BB}" dt="2023-12-03T21:48:12.154" v="33467" actId="948"/>
          <ac:spMkLst>
            <pc:docMk/>
            <pc:sldMk cId="3112231943" sldId="301"/>
            <ac:spMk id="2" creationId="{0DEE2F05-0989-EAC1-1DD1-23DC731D649F}"/>
          </ac:spMkLst>
        </pc:spChg>
        <pc:spChg chg="mod">
          <ac:chgData name="KevCla12" userId="ef2eb634-4620-450f-93cc-80cc93397e60" providerId="ADAL" clId="{0BF56A33-4BC5-423F-96C0-6A8645FA96BB}" dt="2023-12-03T21:48:04.895" v="30642" actId="790"/>
          <ac:spMkLst>
            <pc:docMk/>
            <pc:sldMk cId="3112231943" sldId="301"/>
            <ac:spMk id="3" creationId="{A97A8226-730A-7A13-7C28-8C154AAF3BDE}"/>
          </ac:spMkLst>
        </pc:spChg>
        <pc:spChg chg="mod">
          <ac:chgData name="KevCla12" userId="ef2eb634-4620-450f-93cc-80cc93397e60" providerId="ADAL" clId="{0BF56A33-4BC5-423F-96C0-6A8645FA96BB}" dt="2023-12-03T21:48:04.897" v="30643" actId="790"/>
          <ac:spMkLst>
            <pc:docMk/>
            <pc:sldMk cId="3112231943" sldId="301"/>
            <ac:spMk id="4" creationId="{0B4D7CED-3F48-192A-A601-5752422118E9}"/>
          </ac:spMkLst>
        </pc:spChg>
        <pc:spChg chg="mod">
          <ac:chgData name="KevCla12" userId="ef2eb634-4620-450f-93cc-80cc93397e60" providerId="ADAL" clId="{0BF56A33-4BC5-423F-96C0-6A8645FA96BB}" dt="2023-12-03T21:48:04.898" v="30644" actId="790"/>
          <ac:spMkLst>
            <pc:docMk/>
            <pc:sldMk cId="3112231943" sldId="301"/>
            <ac:spMk id="5" creationId="{3EFE7013-5CD3-E473-E840-00D512872DAB}"/>
          </ac:spMkLst>
        </pc:spChg>
        <pc:spChg chg="mod">
          <ac:chgData name="KevCla12" userId="ef2eb634-4620-450f-93cc-80cc93397e60" providerId="ADAL" clId="{0BF56A33-4BC5-423F-96C0-6A8645FA96BB}" dt="2023-12-03T21:48:04.899" v="30645" actId="790"/>
          <ac:spMkLst>
            <pc:docMk/>
            <pc:sldMk cId="3112231943" sldId="301"/>
            <ac:spMk id="6" creationId="{7DF5905E-410A-A450-8D63-60915AB57CEA}"/>
          </ac:spMkLst>
        </pc:spChg>
        <pc:spChg chg="mod">
          <ac:chgData name="KevCla12" userId="ef2eb634-4620-450f-93cc-80cc93397e60" providerId="ADAL" clId="{0BF56A33-4BC5-423F-96C0-6A8645FA96BB}" dt="2023-12-03T21:48:04.900" v="30646" actId="790"/>
          <ac:spMkLst>
            <pc:docMk/>
            <pc:sldMk cId="3112231943" sldId="301"/>
            <ac:spMk id="7" creationId="{76162BDC-9055-1214-D7C2-19CC5AF034E3}"/>
          </ac:spMkLst>
        </pc:spChg>
        <pc:spChg chg="add del mod modVis">
          <ac:chgData name="KevCla12" userId="ef2eb634-4620-450f-93cc-80cc93397e60" providerId="ADAL" clId="{0BF56A33-4BC5-423F-96C0-6A8645FA96BB}" dt="2023-12-03T21:48:12.448" v="33719"/>
          <ac:spMkLst>
            <pc:docMk/>
            <pc:sldMk cId="3112231943" sldId="301"/>
            <ac:spMk id="8" creationId="{6FC5A2B5-2E07-B50B-9C6F-AD026118F450}"/>
          </ac:spMkLst>
        </pc:spChg>
        <pc:graphicFrameChg chg="add mod ord modVis replST">
          <ac:chgData name="KevCla12" userId="ef2eb634-4620-450f-93cc-80cc93397e60" providerId="ADAL" clId="{0BF56A33-4BC5-423F-96C0-6A8645FA96BB}" dt="2023-12-03T21:48:12.469" v="33734"/>
          <ac:graphicFrameMkLst>
            <pc:docMk/>
            <pc:sldMk cId="3112231943" sldId="301"/>
            <ac:graphicFrameMk id="9" creationId="{72B8A858-90BF-FD77-2A5F-3F11AFBB8EE8}"/>
          </ac:graphicFrameMkLst>
        </pc:graphicFrameChg>
      </pc:sldChg>
      <pc:sldChg chg="addSp delSp modSp mod modNotes">
        <pc:chgData name="KevCla12" userId="ef2eb634-4620-450f-93cc-80cc93397e60" providerId="ADAL" clId="{0BF56A33-4BC5-423F-96C0-6A8645FA96BB}" dt="2023-12-03T22:15:38.002" v="34295" actId="20577"/>
        <pc:sldMkLst>
          <pc:docMk/>
          <pc:sldMk cId="3538073082" sldId="304"/>
        </pc:sldMkLst>
        <pc:spChg chg="mod">
          <ac:chgData name="KevCla12" userId="ef2eb634-4620-450f-93cc-80cc93397e60" providerId="ADAL" clId="{0BF56A33-4BC5-423F-96C0-6A8645FA96BB}" dt="2023-12-03T21:48:12.073" v="33383" actId="948"/>
          <ac:spMkLst>
            <pc:docMk/>
            <pc:sldMk cId="3538073082" sldId="304"/>
            <ac:spMk id="2" creationId="{479A0723-00AB-C8B7-13C8-0CD178DC5EB3}"/>
          </ac:spMkLst>
        </pc:spChg>
        <pc:spChg chg="mod">
          <ac:chgData name="KevCla12" userId="ef2eb634-4620-450f-93cc-80cc93397e60" providerId="ADAL" clId="{0BF56A33-4BC5-423F-96C0-6A8645FA96BB}" dt="2023-12-03T22:15:38.002" v="34295" actId="20577"/>
          <ac:spMkLst>
            <pc:docMk/>
            <pc:sldMk cId="3538073082" sldId="304"/>
            <ac:spMk id="3" creationId="{6C47D6DA-229C-DEFF-6992-169417C112B7}"/>
          </ac:spMkLst>
        </pc:spChg>
        <pc:spChg chg="mod">
          <ac:chgData name="KevCla12" userId="ef2eb634-4620-450f-93cc-80cc93397e60" providerId="ADAL" clId="{0BF56A33-4BC5-423F-96C0-6A8645FA96BB}" dt="2023-12-03T21:48:05.039" v="30683" actId="790"/>
          <ac:spMkLst>
            <pc:docMk/>
            <pc:sldMk cId="3538073082" sldId="304"/>
            <ac:spMk id="4" creationId="{F038B4E8-2548-6911-3687-F1203E5083B7}"/>
          </ac:spMkLst>
        </pc:spChg>
        <pc:spChg chg="mod">
          <ac:chgData name="KevCla12" userId="ef2eb634-4620-450f-93cc-80cc93397e60" providerId="ADAL" clId="{0BF56A33-4BC5-423F-96C0-6A8645FA96BB}" dt="2023-12-03T21:48:05.040" v="30684" actId="790"/>
          <ac:spMkLst>
            <pc:docMk/>
            <pc:sldMk cId="3538073082" sldId="304"/>
            <ac:spMk id="5" creationId="{3898B0BB-DC8D-4678-7CCD-DE963447B34C}"/>
          </ac:spMkLst>
        </pc:spChg>
        <pc:spChg chg="mod">
          <ac:chgData name="KevCla12" userId="ef2eb634-4620-450f-93cc-80cc93397e60" providerId="ADAL" clId="{0BF56A33-4BC5-423F-96C0-6A8645FA96BB}" dt="2023-12-03T21:48:05.041" v="30685" actId="790"/>
          <ac:spMkLst>
            <pc:docMk/>
            <pc:sldMk cId="3538073082" sldId="304"/>
            <ac:spMk id="6" creationId="{2B7A964A-0ECA-0EEA-EF98-994051EB5F91}"/>
          </ac:spMkLst>
        </pc:spChg>
        <pc:spChg chg="mod">
          <ac:chgData name="KevCla12" userId="ef2eb634-4620-450f-93cc-80cc93397e60" providerId="ADAL" clId="{0BF56A33-4BC5-423F-96C0-6A8645FA96BB}" dt="2023-12-03T21:48:05.041" v="30686" actId="790"/>
          <ac:spMkLst>
            <pc:docMk/>
            <pc:sldMk cId="3538073082" sldId="304"/>
            <ac:spMk id="7" creationId="{38CA1B9E-DFB5-7039-F127-275BD95AAC37}"/>
          </ac:spMkLst>
        </pc:spChg>
        <pc:spChg chg="add del mod modVis">
          <ac:chgData name="KevCla12" userId="ef2eb634-4620-450f-93cc-80cc93397e60" providerId="ADAL" clId="{0BF56A33-4BC5-423F-96C0-6A8645FA96BB}" dt="2023-12-03T21:48:12.374" v="33664"/>
          <ac:spMkLst>
            <pc:docMk/>
            <pc:sldMk cId="3538073082" sldId="304"/>
            <ac:spMk id="8" creationId="{80C5D0A8-FA32-D96E-00A8-4B9F0B654037}"/>
          </ac:spMkLst>
        </pc:spChg>
        <pc:graphicFrameChg chg="add mod ord modVis replST">
          <ac:chgData name="KevCla12" userId="ef2eb634-4620-450f-93cc-80cc93397e60" providerId="ADAL" clId="{0BF56A33-4BC5-423F-96C0-6A8645FA96BB}" dt="2023-12-03T21:48:12.396" v="33679"/>
          <ac:graphicFrameMkLst>
            <pc:docMk/>
            <pc:sldMk cId="3538073082" sldId="304"/>
            <ac:graphicFrameMk id="9" creationId="{007BB1EA-320F-B50F-1438-E3322FC561A0}"/>
          </ac:graphicFrameMkLst>
        </pc:graphicFrameChg>
      </pc:sldChg>
      <pc:sldChg chg="modSp mod modNotes">
        <pc:chgData name="KevCla12" userId="ef2eb634-4620-450f-93cc-80cc93397e60" providerId="ADAL" clId="{0BF56A33-4BC5-423F-96C0-6A8645FA96BB}" dt="2023-12-03T21:48:05.068" v="30704" actId="790"/>
        <pc:sldMkLst>
          <pc:docMk/>
          <pc:sldMk cId="1315196008" sldId="305"/>
        </pc:sldMkLst>
        <pc:spChg chg="mod">
          <ac:chgData name="KevCla12" userId="ef2eb634-4620-450f-93cc-80cc93397e60" providerId="ADAL" clId="{0BF56A33-4BC5-423F-96C0-6A8645FA96BB}" dt="2023-12-03T21:48:05.056" v="30697" actId="790"/>
          <ac:spMkLst>
            <pc:docMk/>
            <pc:sldMk cId="1315196008" sldId="305"/>
            <ac:spMk id="2" creationId="{D79F5E9F-E681-86F9-23A3-F8BF9C821288}"/>
          </ac:spMkLst>
        </pc:spChg>
        <pc:spChg chg="mod">
          <ac:chgData name="KevCla12" userId="ef2eb634-4620-450f-93cc-80cc93397e60" providerId="ADAL" clId="{0BF56A33-4BC5-423F-96C0-6A8645FA96BB}" dt="2023-12-03T21:48:05.063" v="30698" actId="790"/>
          <ac:spMkLst>
            <pc:docMk/>
            <pc:sldMk cId="1315196008" sldId="305"/>
            <ac:spMk id="3" creationId="{E29F8D2D-3DE8-DF63-9D8F-7EC4B5AE9D20}"/>
          </ac:spMkLst>
        </pc:spChg>
        <pc:spChg chg="mod">
          <ac:chgData name="KevCla12" userId="ef2eb634-4620-450f-93cc-80cc93397e60" providerId="ADAL" clId="{0BF56A33-4BC5-423F-96C0-6A8645FA96BB}" dt="2023-12-03T21:48:05.065" v="30699" actId="790"/>
          <ac:spMkLst>
            <pc:docMk/>
            <pc:sldMk cId="1315196008" sldId="305"/>
            <ac:spMk id="4" creationId="{A92CE189-27C3-E4D7-9AB0-CE6135C1839F}"/>
          </ac:spMkLst>
        </pc:spChg>
        <pc:spChg chg="mod">
          <ac:chgData name="KevCla12" userId="ef2eb634-4620-450f-93cc-80cc93397e60" providerId="ADAL" clId="{0BF56A33-4BC5-423F-96C0-6A8645FA96BB}" dt="2023-12-03T21:48:05.065" v="30700" actId="790"/>
          <ac:spMkLst>
            <pc:docMk/>
            <pc:sldMk cId="1315196008" sldId="305"/>
            <ac:spMk id="5" creationId="{B1EF9204-9482-90DA-0739-9E0BE4A40874}"/>
          </ac:spMkLst>
        </pc:spChg>
        <pc:spChg chg="mod">
          <ac:chgData name="KevCla12" userId="ef2eb634-4620-450f-93cc-80cc93397e60" providerId="ADAL" clId="{0BF56A33-4BC5-423F-96C0-6A8645FA96BB}" dt="2023-12-03T21:48:05.066" v="30701" actId="790"/>
          <ac:spMkLst>
            <pc:docMk/>
            <pc:sldMk cId="1315196008" sldId="305"/>
            <ac:spMk id="6" creationId="{1FD676B1-9843-9A77-77FC-A793F9EAB4E5}"/>
          </ac:spMkLst>
        </pc:spChg>
        <pc:spChg chg="mod">
          <ac:chgData name="KevCla12" userId="ef2eb634-4620-450f-93cc-80cc93397e60" providerId="ADAL" clId="{0BF56A33-4BC5-423F-96C0-6A8645FA96BB}" dt="2023-12-03T21:48:05.067" v="30702" actId="790"/>
          <ac:spMkLst>
            <pc:docMk/>
            <pc:sldMk cId="1315196008" sldId="305"/>
            <ac:spMk id="7" creationId="{88D21E91-2291-602A-B200-F07F25514C4E}"/>
          </ac:spMkLst>
        </pc:spChg>
      </pc:sldChg>
      <pc:sldChg chg="modSp mod modNotes">
        <pc:chgData name="KevCla12" userId="ef2eb634-4620-450f-93cc-80cc93397e60" providerId="ADAL" clId="{0BF56A33-4BC5-423F-96C0-6A8645FA96BB}" dt="2023-12-03T21:48:11.727" v="33245" actId="790"/>
        <pc:sldMkLst>
          <pc:docMk/>
          <pc:sldMk cId="3171126581" sldId="326"/>
        </pc:sldMkLst>
        <pc:spChg chg="mod">
          <ac:chgData name="KevCla12" userId="ef2eb634-4620-450f-93cc-80cc93397e60" providerId="ADAL" clId="{0BF56A33-4BC5-423F-96C0-6A8645FA96BB}" dt="2023-12-03T21:48:11.700" v="33233" actId="790"/>
          <ac:spMkLst>
            <pc:docMk/>
            <pc:sldMk cId="3171126581" sldId="326"/>
            <ac:spMk id="2" creationId="{A1DF0E6F-C3F4-D46E-003E-5432322C8E82}"/>
          </ac:spMkLst>
        </pc:spChg>
        <pc:spChg chg="mod">
          <ac:chgData name="KevCla12" userId="ef2eb634-4620-450f-93cc-80cc93397e60" providerId="ADAL" clId="{0BF56A33-4BC5-423F-96C0-6A8645FA96BB}" dt="2023-12-03T21:48:11.701" v="33234" actId="790"/>
          <ac:spMkLst>
            <pc:docMk/>
            <pc:sldMk cId="3171126581" sldId="326"/>
            <ac:spMk id="4" creationId="{CB5349AD-064A-A618-7504-A87337CC5AD8}"/>
          </ac:spMkLst>
        </pc:spChg>
        <pc:spChg chg="mod">
          <ac:chgData name="KevCla12" userId="ef2eb634-4620-450f-93cc-80cc93397e60" providerId="ADAL" clId="{0BF56A33-4BC5-423F-96C0-6A8645FA96BB}" dt="2023-12-03T21:48:11.702" v="33235" actId="790"/>
          <ac:spMkLst>
            <pc:docMk/>
            <pc:sldMk cId="3171126581" sldId="326"/>
            <ac:spMk id="5" creationId="{4EACA37F-FFE3-8984-E5A9-A320EC849846}"/>
          </ac:spMkLst>
        </pc:spChg>
        <pc:spChg chg="mod">
          <ac:chgData name="KevCla12" userId="ef2eb634-4620-450f-93cc-80cc93397e60" providerId="ADAL" clId="{0BF56A33-4BC5-423F-96C0-6A8645FA96BB}" dt="2023-12-03T21:48:11.702" v="33236" actId="790"/>
          <ac:spMkLst>
            <pc:docMk/>
            <pc:sldMk cId="3171126581" sldId="326"/>
            <ac:spMk id="6" creationId="{40C7CE7E-A83F-1005-1ED4-10F17ED21310}"/>
          </ac:spMkLst>
        </pc:spChg>
        <pc:spChg chg="mod">
          <ac:chgData name="KevCla12" userId="ef2eb634-4620-450f-93cc-80cc93397e60" providerId="ADAL" clId="{0BF56A33-4BC5-423F-96C0-6A8645FA96BB}" dt="2023-12-03T21:48:11.703" v="33237" actId="790"/>
          <ac:spMkLst>
            <pc:docMk/>
            <pc:sldMk cId="3171126581" sldId="326"/>
            <ac:spMk id="7" creationId="{E2D4D6DC-B245-61CC-5BFB-765A887C707A}"/>
          </ac:spMkLst>
        </pc:spChg>
        <pc:spChg chg="mod">
          <ac:chgData name="KevCla12" userId="ef2eb634-4620-450f-93cc-80cc93397e60" providerId="ADAL" clId="{0BF56A33-4BC5-423F-96C0-6A8645FA96BB}" dt="2023-12-03T21:48:11.707" v="33238" actId="790"/>
          <ac:spMkLst>
            <pc:docMk/>
            <pc:sldMk cId="3171126581" sldId="326"/>
            <ac:spMk id="9" creationId="{07D331DF-1337-75E2-F17E-DE2CEB4BE59F}"/>
          </ac:spMkLst>
        </pc:spChg>
        <pc:spChg chg="mod">
          <ac:chgData name="KevCla12" userId="ef2eb634-4620-450f-93cc-80cc93397e60" providerId="ADAL" clId="{0BF56A33-4BC5-423F-96C0-6A8645FA96BB}" dt="2023-12-03T21:48:11.711" v="33239" actId="790"/>
          <ac:spMkLst>
            <pc:docMk/>
            <pc:sldMk cId="3171126581" sldId="326"/>
            <ac:spMk id="10" creationId="{96F41991-05D1-BD79-B957-BAB3D7594DD4}"/>
          </ac:spMkLst>
        </pc:spChg>
        <pc:spChg chg="mod">
          <ac:chgData name="KevCla12" userId="ef2eb634-4620-450f-93cc-80cc93397e60" providerId="ADAL" clId="{0BF56A33-4BC5-423F-96C0-6A8645FA96BB}" dt="2023-12-03T21:48:11.714" v="33240" actId="790"/>
          <ac:spMkLst>
            <pc:docMk/>
            <pc:sldMk cId="3171126581" sldId="326"/>
            <ac:spMk id="11" creationId="{A43D7DA2-4B9C-A0E8-2CD8-33DBEDAD7E97}"/>
          </ac:spMkLst>
        </pc:spChg>
        <pc:spChg chg="mod">
          <ac:chgData name="KevCla12" userId="ef2eb634-4620-450f-93cc-80cc93397e60" providerId="ADAL" clId="{0BF56A33-4BC5-423F-96C0-6A8645FA96BB}" dt="2023-12-03T21:48:11.718" v="33241" actId="790"/>
          <ac:spMkLst>
            <pc:docMk/>
            <pc:sldMk cId="3171126581" sldId="326"/>
            <ac:spMk id="12" creationId="{6ADD82F7-BF6A-6F4A-232D-AA795D504DEB}"/>
          </ac:spMkLst>
        </pc:spChg>
        <pc:spChg chg="mod">
          <ac:chgData name="KevCla12" userId="ef2eb634-4620-450f-93cc-80cc93397e60" providerId="ADAL" clId="{0BF56A33-4BC5-423F-96C0-6A8645FA96BB}" dt="2023-12-03T21:48:11.721" v="33242" actId="790"/>
          <ac:spMkLst>
            <pc:docMk/>
            <pc:sldMk cId="3171126581" sldId="326"/>
            <ac:spMk id="13" creationId="{57C79B0A-E49C-11DD-A55C-383E84127539}"/>
          </ac:spMkLst>
        </pc:spChg>
        <pc:spChg chg="mod">
          <ac:chgData name="KevCla12" userId="ef2eb634-4620-450f-93cc-80cc93397e60" providerId="ADAL" clId="{0BF56A33-4BC5-423F-96C0-6A8645FA96BB}" dt="2023-12-03T21:48:11.725" v="33243" actId="790"/>
          <ac:spMkLst>
            <pc:docMk/>
            <pc:sldMk cId="3171126581" sldId="326"/>
            <ac:spMk id="14" creationId="{366A5221-D139-FCE1-6F76-C06DF1FF0D9B}"/>
          </ac:spMkLst>
        </pc:spChg>
      </pc:sldChg>
      <pc:sldChg chg="modSp mod modNotes">
        <pc:chgData name="KevCla12" userId="ef2eb634-4620-450f-93cc-80cc93397e60" providerId="ADAL" clId="{0BF56A33-4BC5-423F-96C0-6A8645FA96BB}" dt="2023-12-03T21:48:11.751" v="33255" actId="790"/>
        <pc:sldMkLst>
          <pc:docMk/>
          <pc:sldMk cId="1756451472" sldId="327"/>
        </pc:sldMkLst>
        <pc:spChg chg="mod">
          <ac:chgData name="KevCla12" userId="ef2eb634-4620-450f-93cc-80cc93397e60" providerId="ADAL" clId="{0BF56A33-4BC5-423F-96C0-6A8645FA96BB}" dt="2023-12-03T21:48:11.729" v="33246" actId="790"/>
          <ac:spMkLst>
            <pc:docMk/>
            <pc:sldMk cId="1756451472" sldId="327"/>
            <ac:spMk id="2" creationId="{A1DF0E6F-C3F4-D46E-003E-5432322C8E82}"/>
          </ac:spMkLst>
        </pc:spChg>
        <pc:spChg chg="mod">
          <ac:chgData name="KevCla12" userId="ef2eb634-4620-450f-93cc-80cc93397e60" providerId="ADAL" clId="{0BF56A33-4BC5-423F-96C0-6A8645FA96BB}" dt="2023-12-03T21:48:11.730" v="33247" actId="790"/>
          <ac:spMkLst>
            <pc:docMk/>
            <pc:sldMk cId="1756451472" sldId="327"/>
            <ac:spMk id="4" creationId="{CB5349AD-064A-A618-7504-A87337CC5AD8}"/>
          </ac:spMkLst>
        </pc:spChg>
        <pc:spChg chg="mod">
          <ac:chgData name="KevCla12" userId="ef2eb634-4620-450f-93cc-80cc93397e60" providerId="ADAL" clId="{0BF56A33-4BC5-423F-96C0-6A8645FA96BB}" dt="2023-12-03T21:48:11.731" v="33248" actId="790"/>
          <ac:spMkLst>
            <pc:docMk/>
            <pc:sldMk cId="1756451472" sldId="327"/>
            <ac:spMk id="5" creationId="{4EACA37F-FFE3-8984-E5A9-A320EC849846}"/>
          </ac:spMkLst>
        </pc:spChg>
        <pc:spChg chg="mod">
          <ac:chgData name="KevCla12" userId="ef2eb634-4620-450f-93cc-80cc93397e60" providerId="ADAL" clId="{0BF56A33-4BC5-423F-96C0-6A8645FA96BB}" dt="2023-12-03T21:48:11.732" v="33249" actId="790"/>
          <ac:spMkLst>
            <pc:docMk/>
            <pc:sldMk cId="1756451472" sldId="327"/>
            <ac:spMk id="6" creationId="{40C7CE7E-A83F-1005-1ED4-10F17ED21310}"/>
          </ac:spMkLst>
        </pc:spChg>
        <pc:spChg chg="mod">
          <ac:chgData name="KevCla12" userId="ef2eb634-4620-450f-93cc-80cc93397e60" providerId="ADAL" clId="{0BF56A33-4BC5-423F-96C0-6A8645FA96BB}" dt="2023-12-03T21:48:11.732" v="33250" actId="790"/>
          <ac:spMkLst>
            <pc:docMk/>
            <pc:sldMk cId="1756451472" sldId="327"/>
            <ac:spMk id="7" creationId="{E2D4D6DC-B245-61CC-5BFB-765A887C707A}"/>
          </ac:spMkLst>
        </pc:spChg>
        <pc:spChg chg="mod">
          <ac:chgData name="KevCla12" userId="ef2eb634-4620-450f-93cc-80cc93397e60" providerId="ADAL" clId="{0BF56A33-4BC5-423F-96C0-6A8645FA96BB}" dt="2023-12-03T21:48:11.737" v="33251" actId="790"/>
          <ac:spMkLst>
            <pc:docMk/>
            <pc:sldMk cId="1756451472" sldId="327"/>
            <ac:spMk id="9" creationId="{07D331DF-1337-75E2-F17E-DE2CEB4BE59F}"/>
          </ac:spMkLst>
        </pc:spChg>
        <pc:spChg chg="mod">
          <ac:chgData name="KevCla12" userId="ef2eb634-4620-450f-93cc-80cc93397e60" providerId="ADAL" clId="{0BF56A33-4BC5-423F-96C0-6A8645FA96BB}" dt="2023-12-03T21:48:11.742" v="33252" actId="790"/>
          <ac:spMkLst>
            <pc:docMk/>
            <pc:sldMk cId="1756451472" sldId="327"/>
            <ac:spMk id="10" creationId="{96F41991-05D1-BD79-B957-BAB3D7594DD4}"/>
          </ac:spMkLst>
        </pc:spChg>
        <pc:spChg chg="mod">
          <ac:chgData name="KevCla12" userId="ef2eb634-4620-450f-93cc-80cc93397e60" providerId="ADAL" clId="{0BF56A33-4BC5-423F-96C0-6A8645FA96BB}" dt="2023-12-03T21:48:11.749" v="33253" actId="790"/>
          <ac:spMkLst>
            <pc:docMk/>
            <pc:sldMk cId="1756451472" sldId="327"/>
            <ac:spMk id="11" creationId="{A43D7DA2-4B9C-A0E8-2CD8-33DBEDAD7E97}"/>
          </ac:spMkLst>
        </pc:spChg>
      </pc:sldChg>
      <pc:sldChg chg="modSp mod modNotes">
        <pc:chgData name="KevCla12" userId="ef2eb634-4620-450f-93cc-80cc93397e60" providerId="ADAL" clId="{0BF56A33-4BC5-423F-96C0-6A8645FA96BB}" dt="2023-12-03T21:48:11.773" v="33265" actId="790"/>
        <pc:sldMkLst>
          <pc:docMk/>
          <pc:sldMk cId="427710910" sldId="328"/>
        </pc:sldMkLst>
        <pc:spChg chg="mod">
          <ac:chgData name="KevCla12" userId="ef2eb634-4620-450f-93cc-80cc93397e60" providerId="ADAL" clId="{0BF56A33-4BC5-423F-96C0-6A8645FA96BB}" dt="2023-12-03T21:48:11.753" v="33256" actId="790"/>
          <ac:spMkLst>
            <pc:docMk/>
            <pc:sldMk cId="427710910" sldId="328"/>
            <ac:spMk id="2" creationId="{A1DF0E6F-C3F4-D46E-003E-5432322C8E82}"/>
          </ac:spMkLst>
        </pc:spChg>
        <pc:spChg chg="mod">
          <ac:chgData name="KevCla12" userId="ef2eb634-4620-450f-93cc-80cc93397e60" providerId="ADAL" clId="{0BF56A33-4BC5-423F-96C0-6A8645FA96BB}" dt="2023-12-03T21:48:11.754" v="33257" actId="790"/>
          <ac:spMkLst>
            <pc:docMk/>
            <pc:sldMk cId="427710910" sldId="328"/>
            <ac:spMk id="4" creationId="{CB5349AD-064A-A618-7504-A87337CC5AD8}"/>
          </ac:spMkLst>
        </pc:spChg>
        <pc:spChg chg="mod">
          <ac:chgData name="KevCla12" userId="ef2eb634-4620-450f-93cc-80cc93397e60" providerId="ADAL" clId="{0BF56A33-4BC5-423F-96C0-6A8645FA96BB}" dt="2023-12-03T21:48:11.755" v="33258" actId="790"/>
          <ac:spMkLst>
            <pc:docMk/>
            <pc:sldMk cId="427710910" sldId="328"/>
            <ac:spMk id="5" creationId="{4EACA37F-FFE3-8984-E5A9-A320EC849846}"/>
          </ac:spMkLst>
        </pc:spChg>
        <pc:spChg chg="mod">
          <ac:chgData name="KevCla12" userId="ef2eb634-4620-450f-93cc-80cc93397e60" providerId="ADAL" clId="{0BF56A33-4BC5-423F-96C0-6A8645FA96BB}" dt="2023-12-03T21:48:11.756" v="33259" actId="790"/>
          <ac:spMkLst>
            <pc:docMk/>
            <pc:sldMk cId="427710910" sldId="328"/>
            <ac:spMk id="6" creationId="{40C7CE7E-A83F-1005-1ED4-10F17ED21310}"/>
          </ac:spMkLst>
        </pc:spChg>
        <pc:spChg chg="mod">
          <ac:chgData name="KevCla12" userId="ef2eb634-4620-450f-93cc-80cc93397e60" providerId="ADAL" clId="{0BF56A33-4BC5-423F-96C0-6A8645FA96BB}" dt="2023-12-03T21:48:11.756" v="33260" actId="790"/>
          <ac:spMkLst>
            <pc:docMk/>
            <pc:sldMk cId="427710910" sldId="328"/>
            <ac:spMk id="7" creationId="{E2D4D6DC-B245-61CC-5BFB-765A887C707A}"/>
          </ac:spMkLst>
        </pc:spChg>
        <pc:spChg chg="mod">
          <ac:chgData name="KevCla12" userId="ef2eb634-4620-450f-93cc-80cc93397e60" providerId="ADAL" clId="{0BF56A33-4BC5-423F-96C0-6A8645FA96BB}" dt="2023-12-03T21:48:11.761" v="33261" actId="790"/>
          <ac:spMkLst>
            <pc:docMk/>
            <pc:sldMk cId="427710910" sldId="328"/>
            <ac:spMk id="12" creationId="{6ADD82F7-BF6A-6F4A-232D-AA795D504DEB}"/>
          </ac:spMkLst>
        </pc:spChg>
        <pc:spChg chg="mod">
          <ac:chgData name="KevCla12" userId="ef2eb634-4620-450f-93cc-80cc93397e60" providerId="ADAL" clId="{0BF56A33-4BC5-423F-96C0-6A8645FA96BB}" dt="2023-12-03T21:48:11.766" v="33262" actId="790"/>
          <ac:spMkLst>
            <pc:docMk/>
            <pc:sldMk cId="427710910" sldId="328"/>
            <ac:spMk id="13" creationId="{57C79B0A-E49C-11DD-A55C-383E84127539}"/>
          </ac:spMkLst>
        </pc:spChg>
        <pc:spChg chg="mod">
          <ac:chgData name="KevCla12" userId="ef2eb634-4620-450f-93cc-80cc93397e60" providerId="ADAL" clId="{0BF56A33-4BC5-423F-96C0-6A8645FA96BB}" dt="2023-12-03T21:48:11.770" v="33263" actId="790"/>
          <ac:spMkLst>
            <pc:docMk/>
            <pc:sldMk cId="427710910" sldId="328"/>
            <ac:spMk id="14" creationId="{366A5221-D139-FCE1-6F76-C06DF1FF0D9B}"/>
          </ac:spMkLst>
        </pc:spChg>
      </pc:sldChg>
      <pc:sldChg chg="modSp mod modNotes">
        <pc:chgData name="KevCla12" userId="ef2eb634-4620-450f-93cc-80cc93397e60" providerId="ADAL" clId="{0BF56A33-4BC5-423F-96C0-6A8645FA96BB}" dt="2023-12-03T21:48:11.781" v="33272" actId="790"/>
        <pc:sldMkLst>
          <pc:docMk/>
          <pc:sldMk cId="2228710995" sldId="329"/>
        </pc:sldMkLst>
        <pc:spChg chg="mod">
          <ac:chgData name="KevCla12" userId="ef2eb634-4620-450f-93cc-80cc93397e60" providerId="ADAL" clId="{0BF56A33-4BC5-423F-96C0-6A8645FA96BB}" dt="2023-12-03T21:48:11.775" v="33266" actId="790"/>
          <ac:spMkLst>
            <pc:docMk/>
            <pc:sldMk cId="2228710995" sldId="329"/>
            <ac:spMk id="2" creationId="{22C9523E-D717-AD0E-1122-66548140387A}"/>
          </ac:spMkLst>
        </pc:spChg>
        <pc:spChg chg="mod">
          <ac:chgData name="KevCla12" userId="ef2eb634-4620-450f-93cc-80cc93397e60" providerId="ADAL" clId="{0BF56A33-4BC5-423F-96C0-6A8645FA96BB}" dt="2023-12-03T21:48:11.776" v="33267" actId="790"/>
          <ac:spMkLst>
            <pc:docMk/>
            <pc:sldMk cId="2228710995" sldId="329"/>
            <ac:spMk id="4" creationId="{4B4CAE02-9D99-66D0-6D48-F5AAC4912249}"/>
          </ac:spMkLst>
        </pc:spChg>
        <pc:spChg chg="mod">
          <ac:chgData name="KevCla12" userId="ef2eb634-4620-450f-93cc-80cc93397e60" providerId="ADAL" clId="{0BF56A33-4BC5-423F-96C0-6A8645FA96BB}" dt="2023-12-03T21:48:11.777" v="33268" actId="790"/>
          <ac:spMkLst>
            <pc:docMk/>
            <pc:sldMk cId="2228710995" sldId="329"/>
            <ac:spMk id="5" creationId="{8CBD945B-62AC-F6B7-A50B-E75058685A09}"/>
          </ac:spMkLst>
        </pc:spChg>
        <pc:spChg chg="mod">
          <ac:chgData name="KevCla12" userId="ef2eb634-4620-450f-93cc-80cc93397e60" providerId="ADAL" clId="{0BF56A33-4BC5-423F-96C0-6A8645FA96BB}" dt="2023-12-03T21:48:11.778" v="33269" actId="790"/>
          <ac:spMkLst>
            <pc:docMk/>
            <pc:sldMk cId="2228710995" sldId="329"/>
            <ac:spMk id="6" creationId="{7EE387D8-EE1C-86B6-817B-B7F4683F151A}"/>
          </ac:spMkLst>
        </pc:spChg>
        <pc:spChg chg="mod">
          <ac:chgData name="KevCla12" userId="ef2eb634-4620-450f-93cc-80cc93397e60" providerId="ADAL" clId="{0BF56A33-4BC5-423F-96C0-6A8645FA96BB}" dt="2023-12-03T21:48:11.779" v="33270" actId="790"/>
          <ac:spMkLst>
            <pc:docMk/>
            <pc:sldMk cId="2228710995" sldId="329"/>
            <ac:spMk id="7" creationId="{C37C5ADE-A437-20EB-A0B5-88880854DE75}"/>
          </ac:spMkLst>
        </pc:spChg>
      </pc:sldChg>
      <pc:sldChg chg="modSp mod modNotes">
        <pc:chgData name="KevCla12" userId="ef2eb634-4620-450f-93cc-80cc93397e60" providerId="ADAL" clId="{0BF56A33-4BC5-423F-96C0-6A8645FA96BB}" dt="2023-12-03T21:48:11.789" v="33279" actId="790"/>
        <pc:sldMkLst>
          <pc:docMk/>
          <pc:sldMk cId="227244431" sldId="330"/>
        </pc:sldMkLst>
        <pc:spChg chg="mod">
          <ac:chgData name="KevCla12" userId="ef2eb634-4620-450f-93cc-80cc93397e60" providerId="ADAL" clId="{0BF56A33-4BC5-423F-96C0-6A8645FA96BB}" dt="2023-12-03T21:48:11.783" v="33273" actId="790"/>
          <ac:spMkLst>
            <pc:docMk/>
            <pc:sldMk cId="227244431" sldId="330"/>
            <ac:spMk id="2" creationId="{A6BAF063-F980-ECEE-1C56-38D372F83427}"/>
          </ac:spMkLst>
        </pc:spChg>
        <pc:spChg chg="mod">
          <ac:chgData name="KevCla12" userId="ef2eb634-4620-450f-93cc-80cc93397e60" providerId="ADAL" clId="{0BF56A33-4BC5-423F-96C0-6A8645FA96BB}" dt="2023-12-03T21:48:11.784" v="33274" actId="790"/>
          <ac:spMkLst>
            <pc:docMk/>
            <pc:sldMk cId="227244431" sldId="330"/>
            <ac:spMk id="4" creationId="{3321977A-C59C-8E86-0695-43A3CCC2C301}"/>
          </ac:spMkLst>
        </pc:spChg>
        <pc:spChg chg="mod">
          <ac:chgData name="KevCla12" userId="ef2eb634-4620-450f-93cc-80cc93397e60" providerId="ADAL" clId="{0BF56A33-4BC5-423F-96C0-6A8645FA96BB}" dt="2023-12-03T21:48:11.785" v="33275" actId="790"/>
          <ac:spMkLst>
            <pc:docMk/>
            <pc:sldMk cId="227244431" sldId="330"/>
            <ac:spMk id="5" creationId="{158362F9-0723-58E6-D535-C437773D1D15}"/>
          </ac:spMkLst>
        </pc:spChg>
        <pc:spChg chg="mod">
          <ac:chgData name="KevCla12" userId="ef2eb634-4620-450f-93cc-80cc93397e60" providerId="ADAL" clId="{0BF56A33-4BC5-423F-96C0-6A8645FA96BB}" dt="2023-12-03T21:48:11.786" v="33276" actId="790"/>
          <ac:spMkLst>
            <pc:docMk/>
            <pc:sldMk cId="227244431" sldId="330"/>
            <ac:spMk id="6" creationId="{7250D011-A7E9-E6BA-55F0-BBBAF6D8FDC1}"/>
          </ac:spMkLst>
        </pc:spChg>
        <pc:spChg chg="mod">
          <ac:chgData name="KevCla12" userId="ef2eb634-4620-450f-93cc-80cc93397e60" providerId="ADAL" clId="{0BF56A33-4BC5-423F-96C0-6A8645FA96BB}" dt="2023-12-03T21:48:11.787" v="33277" actId="790"/>
          <ac:spMkLst>
            <pc:docMk/>
            <pc:sldMk cId="227244431" sldId="330"/>
            <ac:spMk id="7" creationId="{33531CCE-0109-DFAC-C13D-0CBD4A0B611E}"/>
          </ac:spMkLst>
        </pc:spChg>
      </pc:sldChg>
      <pc:sldChg chg="modSp mod modNotes">
        <pc:chgData name="KevCla12" userId="ef2eb634-4620-450f-93cc-80cc93397e60" providerId="ADAL" clId="{0BF56A33-4BC5-423F-96C0-6A8645FA96BB}" dt="2023-12-03T21:48:11.796" v="33286" actId="790"/>
        <pc:sldMkLst>
          <pc:docMk/>
          <pc:sldMk cId="976266061" sldId="331"/>
        </pc:sldMkLst>
        <pc:spChg chg="mod">
          <ac:chgData name="KevCla12" userId="ef2eb634-4620-450f-93cc-80cc93397e60" providerId="ADAL" clId="{0BF56A33-4BC5-423F-96C0-6A8645FA96BB}" dt="2023-12-03T21:48:11.791" v="33280" actId="790"/>
          <ac:spMkLst>
            <pc:docMk/>
            <pc:sldMk cId="976266061" sldId="331"/>
            <ac:spMk id="2" creationId="{A6BAF063-F980-ECEE-1C56-38D372F83427}"/>
          </ac:spMkLst>
        </pc:spChg>
        <pc:spChg chg="mod">
          <ac:chgData name="KevCla12" userId="ef2eb634-4620-450f-93cc-80cc93397e60" providerId="ADAL" clId="{0BF56A33-4BC5-423F-96C0-6A8645FA96BB}" dt="2023-12-03T21:48:11.791" v="33281" actId="790"/>
          <ac:spMkLst>
            <pc:docMk/>
            <pc:sldMk cId="976266061" sldId="331"/>
            <ac:spMk id="4" creationId="{3321977A-C59C-8E86-0695-43A3CCC2C301}"/>
          </ac:spMkLst>
        </pc:spChg>
        <pc:spChg chg="mod">
          <ac:chgData name="KevCla12" userId="ef2eb634-4620-450f-93cc-80cc93397e60" providerId="ADAL" clId="{0BF56A33-4BC5-423F-96C0-6A8645FA96BB}" dt="2023-12-03T21:48:11.793" v="33282" actId="790"/>
          <ac:spMkLst>
            <pc:docMk/>
            <pc:sldMk cId="976266061" sldId="331"/>
            <ac:spMk id="5" creationId="{158362F9-0723-58E6-D535-C437773D1D15}"/>
          </ac:spMkLst>
        </pc:spChg>
        <pc:spChg chg="mod">
          <ac:chgData name="KevCla12" userId="ef2eb634-4620-450f-93cc-80cc93397e60" providerId="ADAL" clId="{0BF56A33-4BC5-423F-96C0-6A8645FA96BB}" dt="2023-12-03T21:48:11.793" v="33283" actId="790"/>
          <ac:spMkLst>
            <pc:docMk/>
            <pc:sldMk cId="976266061" sldId="331"/>
            <ac:spMk id="6" creationId="{7250D011-A7E9-E6BA-55F0-BBBAF6D8FDC1}"/>
          </ac:spMkLst>
        </pc:spChg>
        <pc:spChg chg="mod">
          <ac:chgData name="KevCla12" userId="ef2eb634-4620-450f-93cc-80cc93397e60" providerId="ADAL" clId="{0BF56A33-4BC5-423F-96C0-6A8645FA96BB}" dt="2023-12-03T21:48:11.794" v="33284" actId="790"/>
          <ac:spMkLst>
            <pc:docMk/>
            <pc:sldMk cId="976266061" sldId="331"/>
            <ac:spMk id="7" creationId="{33531CCE-0109-DFAC-C13D-0CBD4A0B611E}"/>
          </ac:spMkLst>
        </pc:spChg>
      </pc:sldChg>
      <pc:sldChg chg="modSp mod modNotes">
        <pc:chgData name="KevCla12" userId="ef2eb634-4620-450f-93cc-80cc93397e60" providerId="ADAL" clId="{0BF56A33-4BC5-423F-96C0-6A8645FA96BB}" dt="2023-12-03T21:48:11.371" v="33175" actId="790"/>
        <pc:sldMkLst>
          <pc:docMk/>
          <pc:sldMk cId="665063421" sldId="332"/>
        </pc:sldMkLst>
        <pc:spChg chg="mod">
          <ac:chgData name="KevCla12" userId="ef2eb634-4620-450f-93cc-80cc93397e60" providerId="ADAL" clId="{0BF56A33-4BC5-423F-96C0-6A8645FA96BB}" dt="2023-12-03T21:48:11.227" v="33160" actId="790"/>
          <ac:spMkLst>
            <pc:docMk/>
            <pc:sldMk cId="665063421" sldId="332"/>
            <ac:spMk id="2" creationId="{2FEDB50A-5C1B-F435-7BA0-F24E8E5D4303}"/>
          </ac:spMkLst>
        </pc:spChg>
        <pc:spChg chg="mod">
          <ac:chgData name="KevCla12" userId="ef2eb634-4620-450f-93cc-80cc93397e60" providerId="ADAL" clId="{0BF56A33-4BC5-423F-96C0-6A8645FA96BB}" dt="2023-12-03T21:48:11.365" v="33170" actId="790"/>
          <ac:spMkLst>
            <pc:docMk/>
            <pc:sldMk cId="665063421" sldId="332"/>
            <ac:spMk id="4" creationId="{32AA36E7-85F8-FB6D-A4C2-DDA4179AF273}"/>
          </ac:spMkLst>
        </pc:spChg>
        <pc:spChg chg="mod">
          <ac:chgData name="KevCla12" userId="ef2eb634-4620-450f-93cc-80cc93397e60" providerId="ADAL" clId="{0BF56A33-4BC5-423F-96C0-6A8645FA96BB}" dt="2023-12-03T21:48:11.368" v="33171" actId="790"/>
          <ac:spMkLst>
            <pc:docMk/>
            <pc:sldMk cId="665063421" sldId="332"/>
            <ac:spMk id="5" creationId="{0E4C784B-2CC4-6CE3-D151-BE6D37C1E6BE}"/>
          </ac:spMkLst>
        </pc:spChg>
        <pc:spChg chg="mod">
          <ac:chgData name="KevCla12" userId="ef2eb634-4620-450f-93cc-80cc93397e60" providerId="ADAL" clId="{0BF56A33-4BC5-423F-96C0-6A8645FA96BB}" dt="2023-12-03T21:48:11.369" v="33172" actId="790"/>
          <ac:spMkLst>
            <pc:docMk/>
            <pc:sldMk cId="665063421" sldId="332"/>
            <ac:spMk id="6" creationId="{A3DD6062-39EB-9A73-9C05-432776D956E5}"/>
          </ac:spMkLst>
        </pc:spChg>
        <pc:spChg chg="mod">
          <ac:chgData name="KevCla12" userId="ef2eb634-4620-450f-93cc-80cc93397e60" providerId="ADAL" clId="{0BF56A33-4BC5-423F-96C0-6A8645FA96BB}" dt="2023-12-03T21:48:11.370" v="33173" actId="790"/>
          <ac:spMkLst>
            <pc:docMk/>
            <pc:sldMk cId="665063421" sldId="332"/>
            <ac:spMk id="7" creationId="{41E28B6E-34C7-72B2-B08A-1F1BC59D12EC}"/>
          </ac:spMkLst>
        </pc:spChg>
        <pc:graphicFrameChg chg="mod">
          <ac:chgData name="KevCla12" userId="ef2eb634-4620-450f-93cc-80cc93397e60" providerId="ADAL" clId="{0BF56A33-4BC5-423F-96C0-6A8645FA96BB}" dt="2023-12-03T21:48:11.351" v="33169"/>
          <ac:graphicFrameMkLst>
            <pc:docMk/>
            <pc:sldMk cId="665063421" sldId="332"/>
            <ac:graphicFrameMk id="8" creationId="{C109DF9B-ABB5-9695-96DB-9E38D6738892}"/>
          </ac:graphicFrameMkLst>
        </pc:graphicFrameChg>
      </pc:sldChg>
      <pc:sldChg chg="modSp mod modNotes">
        <pc:chgData name="KevCla12" userId="ef2eb634-4620-450f-93cc-80cc93397e60" providerId="ADAL" clId="{0BF56A33-4BC5-423F-96C0-6A8645FA96BB}" dt="2023-12-03T21:48:11.492" v="33191" actId="790"/>
        <pc:sldMkLst>
          <pc:docMk/>
          <pc:sldMk cId="2460039943" sldId="333"/>
        </pc:sldMkLst>
        <pc:spChg chg="mod">
          <ac:chgData name="KevCla12" userId="ef2eb634-4620-450f-93cc-80cc93397e60" providerId="ADAL" clId="{0BF56A33-4BC5-423F-96C0-6A8645FA96BB}" dt="2023-12-03T21:48:11.373" v="33176" actId="790"/>
          <ac:spMkLst>
            <pc:docMk/>
            <pc:sldMk cId="2460039943" sldId="333"/>
            <ac:spMk id="2" creationId="{5B770D87-2D58-D256-4DAF-F5215B2E7134}"/>
          </ac:spMkLst>
        </pc:spChg>
        <pc:spChg chg="mod">
          <ac:chgData name="KevCla12" userId="ef2eb634-4620-450f-93cc-80cc93397e60" providerId="ADAL" clId="{0BF56A33-4BC5-423F-96C0-6A8645FA96BB}" dt="2023-12-03T21:48:11.486" v="33186" actId="790"/>
          <ac:spMkLst>
            <pc:docMk/>
            <pc:sldMk cId="2460039943" sldId="333"/>
            <ac:spMk id="4" creationId="{8B60A1D7-C095-B692-8977-131F155D0A81}"/>
          </ac:spMkLst>
        </pc:spChg>
        <pc:spChg chg="mod">
          <ac:chgData name="KevCla12" userId="ef2eb634-4620-450f-93cc-80cc93397e60" providerId="ADAL" clId="{0BF56A33-4BC5-423F-96C0-6A8645FA96BB}" dt="2023-12-03T21:48:11.489" v="33187" actId="790"/>
          <ac:spMkLst>
            <pc:docMk/>
            <pc:sldMk cId="2460039943" sldId="333"/>
            <ac:spMk id="5" creationId="{5C61D28D-7D92-C6EA-3786-55277EB04004}"/>
          </ac:spMkLst>
        </pc:spChg>
        <pc:spChg chg="mod">
          <ac:chgData name="KevCla12" userId="ef2eb634-4620-450f-93cc-80cc93397e60" providerId="ADAL" clId="{0BF56A33-4BC5-423F-96C0-6A8645FA96BB}" dt="2023-12-03T21:48:11.490" v="33188" actId="790"/>
          <ac:spMkLst>
            <pc:docMk/>
            <pc:sldMk cId="2460039943" sldId="333"/>
            <ac:spMk id="6" creationId="{6F43C40D-93DC-74ED-FAB9-608F31210E41}"/>
          </ac:spMkLst>
        </pc:spChg>
        <pc:spChg chg="mod">
          <ac:chgData name="KevCla12" userId="ef2eb634-4620-450f-93cc-80cc93397e60" providerId="ADAL" clId="{0BF56A33-4BC5-423F-96C0-6A8645FA96BB}" dt="2023-12-03T21:48:11.490" v="33189" actId="790"/>
          <ac:spMkLst>
            <pc:docMk/>
            <pc:sldMk cId="2460039943" sldId="333"/>
            <ac:spMk id="7" creationId="{273DF1DE-FB4A-CB10-9A12-74FAC73A9A65}"/>
          </ac:spMkLst>
        </pc:spChg>
        <pc:graphicFrameChg chg="mod">
          <ac:chgData name="KevCla12" userId="ef2eb634-4620-450f-93cc-80cc93397e60" providerId="ADAL" clId="{0BF56A33-4BC5-423F-96C0-6A8645FA96BB}" dt="2023-12-03T21:48:11.471" v="33185"/>
          <ac:graphicFrameMkLst>
            <pc:docMk/>
            <pc:sldMk cId="2460039943" sldId="333"/>
            <ac:graphicFrameMk id="8" creationId="{E17FBA01-732F-6CF3-CFD2-3ADC12EC8A42}"/>
          </ac:graphicFrameMkLst>
        </pc:graphicFrameChg>
      </pc:sldChg>
      <pc:sldChg chg="modSp mod modNotes">
        <pc:chgData name="KevCla12" userId="ef2eb634-4620-450f-93cc-80cc93397e60" providerId="ADAL" clId="{0BF56A33-4BC5-423F-96C0-6A8645FA96BB}" dt="2023-12-03T21:48:11.549" v="33205" actId="790"/>
        <pc:sldMkLst>
          <pc:docMk/>
          <pc:sldMk cId="3171582156" sldId="334"/>
        </pc:sldMkLst>
        <pc:spChg chg="mod">
          <ac:chgData name="KevCla12" userId="ef2eb634-4620-450f-93cc-80cc93397e60" providerId="ADAL" clId="{0BF56A33-4BC5-423F-96C0-6A8645FA96BB}" dt="2023-12-03T21:48:11.493" v="33192" actId="790"/>
          <ac:spMkLst>
            <pc:docMk/>
            <pc:sldMk cId="3171582156" sldId="334"/>
            <ac:spMk id="2" creationId="{00C838B5-A61A-FF9D-D532-120AEB9C426A}"/>
          </ac:spMkLst>
        </pc:spChg>
        <pc:spChg chg="mod">
          <ac:chgData name="KevCla12" userId="ef2eb634-4620-450f-93cc-80cc93397e60" providerId="ADAL" clId="{0BF56A33-4BC5-423F-96C0-6A8645FA96BB}" dt="2023-12-03T21:48:11.544" v="33200" actId="790"/>
          <ac:spMkLst>
            <pc:docMk/>
            <pc:sldMk cId="3171582156" sldId="334"/>
            <ac:spMk id="4" creationId="{139098B8-4714-D617-BD99-3DE723B7987E}"/>
          </ac:spMkLst>
        </pc:spChg>
        <pc:spChg chg="mod">
          <ac:chgData name="KevCla12" userId="ef2eb634-4620-450f-93cc-80cc93397e60" providerId="ADAL" clId="{0BF56A33-4BC5-423F-96C0-6A8645FA96BB}" dt="2023-12-03T21:48:11.546" v="33201" actId="790"/>
          <ac:spMkLst>
            <pc:docMk/>
            <pc:sldMk cId="3171582156" sldId="334"/>
            <ac:spMk id="5" creationId="{69DEA780-2143-D6D4-A19D-86C0360703B5}"/>
          </ac:spMkLst>
        </pc:spChg>
        <pc:spChg chg="mod">
          <ac:chgData name="KevCla12" userId="ef2eb634-4620-450f-93cc-80cc93397e60" providerId="ADAL" clId="{0BF56A33-4BC5-423F-96C0-6A8645FA96BB}" dt="2023-12-03T21:48:11.547" v="33202" actId="790"/>
          <ac:spMkLst>
            <pc:docMk/>
            <pc:sldMk cId="3171582156" sldId="334"/>
            <ac:spMk id="6" creationId="{81A38FCA-64E8-C5DA-C05F-D0DD3A0085D5}"/>
          </ac:spMkLst>
        </pc:spChg>
        <pc:spChg chg="mod">
          <ac:chgData name="KevCla12" userId="ef2eb634-4620-450f-93cc-80cc93397e60" providerId="ADAL" clId="{0BF56A33-4BC5-423F-96C0-6A8645FA96BB}" dt="2023-12-03T21:48:11.548" v="33203" actId="790"/>
          <ac:spMkLst>
            <pc:docMk/>
            <pc:sldMk cId="3171582156" sldId="334"/>
            <ac:spMk id="7" creationId="{DC027F90-4814-AB76-64C1-5E9A6C960148}"/>
          </ac:spMkLst>
        </pc:spChg>
        <pc:graphicFrameChg chg="mod">
          <ac:chgData name="KevCla12" userId="ef2eb634-4620-450f-93cc-80cc93397e60" providerId="ADAL" clId="{0BF56A33-4BC5-423F-96C0-6A8645FA96BB}" dt="2023-12-03T21:48:11.532" v="33199"/>
          <ac:graphicFrameMkLst>
            <pc:docMk/>
            <pc:sldMk cId="3171582156" sldId="334"/>
            <ac:graphicFrameMk id="11" creationId="{758654B0-B3CE-3E8D-7BBD-3154ABBC389A}"/>
          </ac:graphicFrameMkLst>
        </pc:graphicFrameChg>
      </pc:sldChg>
      <pc:sldChg chg="modSp mod modNotes">
        <pc:chgData name="KevCla12" userId="ef2eb634-4620-450f-93cc-80cc93397e60" providerId="ADAL" clId="{0BF56A33-4BC5-423F-96C0-6A8645FA96BB}" dt="2023-12-03T21:48:11.629" v="33218" actId="790"/>
        <pc:sldMkLst>
          <pc:docMk/>
          <pc:sldMk cId="1516572586" sldId="336"/>
        </pc:sldMkLst>
        <pc:spChg chg="mod">
          <ac:chgData name="KevCla12" userId="ef2eb634-4620-450f-93cc-80cc93397e60" providerId="ADAL" clId="{0BF56A33-4BC5-423F-96C0-6A8645FA96BB}" dt="2023-12-03T21:48:11.551" v="33206" actId="790"/>
          <ac:spMkLst>
            <pc:docMk/>
            <pc:sldMk cId="1516572586" sldId="336"/>
            <ac:spMk id="2" creationId="{3BDF81A7-B5B1-D703-8B4E-0DFC0FB281C2}"/>
          </ac:spMkLst>
        </pc:spChg>
        <pc:spChg chg="mod">
          <ac:chgData name="KevCla12" userId="ef2eb634-4620-450f-93cc-80cc93397e60" providerId="ADAL" clId="{0BF56A33-4BC5-423F-96C0-6A8645FA96BB}" dt="2023-12-03T21:48:11.621" v="33213" actId="790"/>
          <ac:spMkLst>
            <pc:docMk/>
            <pc:sldMk cId="1516572586" sldId="336"/>
            <ac:spMk id="4" creationId="{0668071B-141E-9086-DF84-AD18D46220DC}"/>
          </ac:spMkLst>
        </pc:spChg>
        <pc:spChg chg="mod">
          <ac:chgData name="KevCla12" userId="ef2eb634-4620-450f-93cc-80cc93397e60" providerId="ADAL" clId="{0BF56A33-4BC5-423F-96C0-6A8645FA96BB}" dt="2023-12-03T21:48:11.624" v="33214" actId="790"/>
          <ac:spMkLst>
            <pc:docMk/>
            <pc:sldMk cId="1516572586" sldId="336"/>
            <ac:spMk id="5" creationId="{3AB56EB8-4277-8DE2-D037-9CA76A0A3B36}"/>
          </ac:spMkLst>
        </pc:spChg>
        <pc:spChg chg="mod">
          <ac:chgData name="KevCla12" userId="ef2eb634-4620-450f-93cc-80cc93397e60" providerId="ADAL" clId="{0BF56A33-4BC5-423F-96C0-6A8645FA96BB}" dt="2023-12-03T21:48:11.625" v="33215" actId="790"/>
          <ac:spMkLst>
            <pc:docMk/>
            <pc:sldMk cId="1516572586" sldId="336"/>
            <ac:spMk id="6" creationId="{DFA89C8C-9B9D-6F37-E084-4287D3D9E226}"/>
          </ac:spMkLst>
        </pc:spChg>
        <pc:spChg chg="mod">
          <ac:chgData name="KevCla12" userId="ef2eb634-4620-450f-93cc-80cc93397e60" providerId="ADAL" clId="{0BF56A33-4BC5-423F-96C0-6A8645FA96BB}" dt="2023-12-03T21:48:11.627" v="33216" actId="790"/>
          <ac:spMkLst>
            <pc:docMk/>
            <pc:sldMk cId="1516572586" sldId="336"/>
            <ac:spMk id="7" creationId="{227FA4D9-5DB3-4778-87F3-2B74D485E044}"/>
          </ac:spMkLst>
        </pc:spChg>
        <pc:graphicFrameChg chg="mod">
          <ac:chgData name="KevCla12" userId="ef2eb634-4620-450f-93cc-80cc93397e60" providerId="ADAL" clId="{0BF56A33-4BC5-423F-96C0-6A8645FA96BB}" dt="2023-12-03T21:48:11.607" v="33212"/>
          <ac:graphicFrameMkLst>
            <pc:docMk/>
            <pc:sldMk cId="1516572586" sldId="336"/>
            <ac:graphicFrameMk id="8" creationId="{EB92DCA2-8DE7-6065-39A0-1C2339F8D9AD}"/>
          </ac:graphicFrameMkLst>
        </pc:graphicFrameChg>
      </pc:sldChg>
      <pc:sldChg chg="modSp mod modNotes">
        <pc:chgData name="KevCla12" userId="ef2eb634-4620-450f-93cc-80cc93397e60" providerId="ADAL" clId="{0BF56A33-4BC5-423F-96C0-6A8645FA96BB}" dt="2023-12-03T21:48:11.699" v="33232" actId="790"/>
        <pc:sldMkLst>
          <pc:docMk/>
          <pc:sldMk cId="2255038222" sldId="337"/>
        </pc:sldMkLst>
        <pc:spChg chg="mod">
          <ac:chgData name="KevCla12" userId="ef2eb634-4620-450f-93cc-80cc93397e60" providerId="ADAL" clId="{0BF56A33-4BC5-423F-96C0-6A8645FA96BB}" dt="2023-12-03T21:48:11.632" v="33219" actId="790"/>
          <ac:spMkLst>
            <pc:docMk/>
            <pc:sldMk cId="2255038222" sldId="337"/>
            <ac:spMk id="2" creationId="{603598F6-A437-7331-B2D7-DCD052039C8C}"/>
          </ac:spMkLst>
        </pc:spChg>
        <pc:spChg chg="mod">
          <ac:chgData name="KevCla12" userId="ef2eb634-4620-450f-93cc-80cc93397e60" providerId="ADAL" clId="{0BF56A33-4BC5-423F-96C0-6A8645FA96BB}" dt="2023-12-03T21:48:11.689" v="33226" actId="790"/>
          <ac:spMkLst>
            <pc:docMk/>
            <pc:sldMk cId="2255038222" sldId="337"/>
            <ac:spMk id="4" creationId="{90AFDAFD-26E3-C670-4C07-1C54B3D7EB1F}"/>
          </ac:spMkLst>
        </pc:spChg>
        <pc:spChg chg="mod">
          <ac:chgData name="KevCla12" userId="ef2eb634-4620-450f-93cc-80cc93397e60" providerId="ADAL" clId="{0BF56A33-4BC5-423F-96C0-6A8645FA96BB}" dt="2023-12-03T21:48:11.692" v="33227" actId="790"/>
          <ac:spMkLst>
            <pc:docMk/>
            <pc:sldMk cId="2255038222" sldId="337"/>
            <ac:spMk id="5" creationId="{8BE255DD-E936-3D32-62A1-4255B62523BE}"/>
          </ac:spMkLst>
        </pc:spChg>
        <pc:spChg chg="mod">
          <ac:chgData name="KevCla12" userId="ef2eb634-4620-450f-93cc-80cc93397e60" providerId="ADAL" clId="{0BF56A33-4BC5-423F-96C0-6A8645FA96BB}" dt="2023-12-03T21:48:11.693" v="33228" actId="790"/>
          <ac:spMkLst>
            <pc:docMk/>
            <pc:sldMk cId="2255038222" sldId="337"/>
            <ac:spMk id="6" creationId="{6D554922-98BF-B6A0-072E-4E58B77935F5}"/>
          </ac:spMkLst>
        </pc:spChg>
        <pc:spChg chg="mod">
          <ac:chgData name="KevCla12" userId="ef2eb634-4620-450f-93cc-80cc93397e60" providerId="ADAL" clId="{0BF56A33-4BC5-423F-96C0-6A8645FA96BB}" dt="2023-12-03T21:48:11.694" v="33229" actId="790"/>
          <ac:spMkLst>
            <pc:docMk/>
            <pc:sldMk cId="2255038222" sldId="337"/>
            <ac:spMk id="7" creationId="{D20F3AC0-CDF8-118D-D4F1-B3C091989ED0}"/>
          </ac:spMkLst>
        </pc:spChg>
        <pc:spChg chg="mod">
          <ac:chgData name="KevCla12" userId="ef2eb634-4620-450f-93cc-80cc93397e60" providerId="ADAL" clId="{0BF56A33-4BC5-423F-96C0-6A8645FA96BB}" dt="2023-12-03T21:48:11.697" v="33230" actId="790"/>
          <ac:spMkLst>
            <pc:docMk/>
            <pc:sldMk cId="2255038222" sldId="337"/>
            <ac:spMk id="9" creationId="{60B0F5B9-1228-51D3-55C0-7AE89B046FB6}"/>
          </ac:spMkLst>
        </pc:spChg>
        <pc:graphicFrameChg chg="mod">
          <ac:chgData name="KevCla12" userId="ef2eb634-4620-450f-93cc-80cc93397e60" providerId="ADAL" clId="{0BF56A33-4BC5-423F-96C0-6A8645FA96BB}" dt="2023-12-03T21:48:11.679" v="33225"/>
          <ac:graphicFrameMkLst>
            <pc:docMk/>
            <pc:sldMk cId="2255038222" sldId="337"/>
            <ac:graphicFrameMk id="8" creationId="{BA943E5A-C561-F075-CDD5-56354C2EBD5B}"/>
          </ac:graphicFrameMkLst>
        </pc:graphicFrameChg>
      </pc:sldChg>
      <pc:sldChg chg="addSp delSp modSp add mod modNotes modNotesTx">
        <pc:chgData name="KevCla12" userId="ef2eb634-4620-450f-93cc-80cc93397e60" providerId="ADAL" clId="{0BF56A33-4BC5-423F-96C0-6A8645FA96BB}" dt="2023-12-03T21:48:10.659" v="32937" actId="790"/>
        <pc:sldMkLst>
          <pc:docMk/>
          <pc:sldMk cId="5574505" sldId="348"/>
        </pc:sldMkLst>
        <pc:spChg chg="add mod">
          <ac:chgData name="KevCla12" userId="ef2eb634-4620-450f-93cc-80cc93397e60" providerId="ADAL" clId="{0BF56A33-4BC5-423F-96C0-6A8645FA96BB}" dt="2023-12-03T16:25:46.836" v="16917" actId="571"/>
          <ac:spMkLst>
            <pc:docMk/>
            <pc:sldMk cId="5574505" sldId="348"/>
            <ac:spMk id="3" creationId="{9FB74FA0-2FCB-1051-80A3-F709C320568D}"/>
          </ac:spMkLst>
        </pc:spChg>
        <pc:spChg chg="mod">
          <ac:chgData name="KevCla12" userId="ef2eb634-4620-450f-93cc-80cc93397e60" providerId="ADAL" clId="{0BF56A33-4BC5-423F-96C0-6A8645FA96BB}" dt="2023-12-03T21:48:10.626" v="32917" actId="790"/>
          <ac:spMkLst>
            <pc:docMk/>
            <pc:sldMk cId="5574505" sldId="348"/>
            <ac:spMk id="4" creationId="{436FD285-8719-0F24-D86E-9D4E632D374B}"/>
          </ac:spMkLst>
        </pc:spChg>
        <pc:spChg chg="mod">
          <ac:chgData name="KevCla12" userId="ef2eb634-4620-450f-93cc-80cc93397e60" providerId="ADAL" clId="{0BF56A33-4BC5-423F-96C0-6A8645FA96BB}" dt="2023-12-03T21:48:10.628" v="32918" actId="790"/>
          <ac:spMkLst>
            <pc:docMk/>
            <pc:sldMk cId="5574505" sldId="348"/>
            <ac:spMk id="5" creationId="{850D7861-5FC2-4606-C8D6-86E4FE58F428}"/>
          </ac:spMkLst>
        </pc:spChg>
        <pc:spChg chg="mod">
          <ac:chgData name="KevCla12" userId="ef2eb634-4620-450f-93cc-80cc93397e60" providerId="ADAL" clId="{0BF56A33-4BC5-423F-96C0-6A8645FA96BB}" dt="2023-12-03T21:48:10.629" v="32919" actId="790"/>
          <ac:spMkLst>
            <pc:docMk/>
            <pc:sldMk cId="5574505" sldId="348"/>
            <ac:spMk id="6" creationId="{FD7EFBF9-2CFB-4A68-0D46-23E5F4EE23A2}"/>
          </ac:spMkLst>
        </pc:spChg>
        <pc:spChg chg="add mod">
          <ac:chgData name="KevCla12" userId="ef2eb634-4620-450f-93cc-80cc93397e60" providerId="ADAL" clId="{0BF56A33-4BC5-423F-96C0-6A8645FA96BB}" dt="2023-12-03T16:25:46.836" v="16917" actId="571"/>
          <ac:spMkLst>
            <pc:docMk/>
            <pc:sldMk cId="5574505" sldId="348"/>
            <ac:spMk id="7" creationId="{7FA393BA-2DC0-5928-654B-8D0BA35E8006}"/>
          </ac:spMkLst>
        </pc:spChg>
        <pc:spChg chg="add mod">
          <ac:chgData name="KevCla12" userId="ef2eb634-4620-450f-93cc-80cc93397e60" providerId="ADAL" clId="{0BF56A33-4BC5-423F-96C0-6A8645FA96BB}" dt="2023-12-03T16:25:46.836" v="16917" actId="571"/>
          <ac:spMkLst>
            <pc:docMk/>
            <pc:sldMk cId="5574505" sldId="348"/>
            <ac:spMk id="9" creationId="{DE02A0F9-E1AE-17CE-B9E4-0DE98477F76E}"/>
          </ac:spMkLst>
        </pc:spChg>
        <pc:spChg chg="add mod">
          <ac:chgData name="KevCla12" userId="ef2eb634-4620-450f-93cc-80cc93397e60" providerId="ADAL" clId="{0BF56A33-4BC5-423F-96C0-6A8645FA96BB}" dt="2023-12-03T16:25:46.836" v="16917" actId="571"/>
          <ac:spMkLst>
            <pc:docMk/>
            <pc:sldMk cId="5574505" sldId="348"/>
            <ac:spMk id="10" creationId="{641B4EDA-0A7E-47EA-8D65-64A4F99810D1}"/>
          </ac:spMkLst>
        </pc:spChg>
        <pc:spChg chg="add mod">
          <ac:chgData name="KevCla12" userId="ef2eb634-4620-450f-93cc-80cc93397e60" providerId="ADAL" clId="{0BF56A33-4BC5-423F-96C0-6A8645FA96BB}" dt="2023-12-03T16:25:46.836" v="16917" actId="571"/>
          <ac:spMkLst>
            <pc:docMk/>
            <pc:sldMk cId="5574505" sldId="348"/>
            <ac:spMk id="11" creationId="{75598394-D7E3-1980-BCE7-EB8F6DFD09D2}"/>
          </ac:spMkLst>
        </pc:spChg>
        <pc:spChg chg="add mod">
          <ac:chgData name="KevCla12" userId="ef2eb634-4620-450f-93cc-80cc93397e60" providerId="ADAL" clId="{0BF56A33-4BC5-423F-96C0-6A8645FA96BB}" dt="2023-12-03T16:25:46.836" v="16917" actId="571"/>
          <ac:spMkLst>
            <pc:docMk/>
            <pc:sldMk cId="5574505" sldId="348"/>
            <ac:spMk id="12" creationId="{801D0D65-7433-9264-4A5D-AA06E61B158B}"/>
          </ac:spMkLst>
        </pc:spChg>
        <pc:spChg chg="add mod">
          <ac:chgData name="KevCla12" userId="ef2eb634-4620-450f-93cc-80cc93397e60" providerId="ADAL" clId="{0BF56A33-4BC5-423F-96C0-6A8645FA96BB}" dt="2023-12-03T16:25:46.836" v="16917" actId="571"/>
          <ac:spMkLst>
            <pc:docMk/>
            <pc:sldMk cId="5574505" sldId="348"/>
            <ac:spMk id="13" creationId="{F0E02D79-D594-9C96-6516-DA78E82797E4}"/>
          </ac:spMkLst>
        </pc:spChg>
        <pc:spChg chg="add mod">
          <ac:chgData name="KevCla12" userId="ef2eb634-4620-450f-93cc-80cc93397e60" providerId="ADAL" clId="{0BF56A33-4BC5-423F-96C0-6A8645FA96BB}" dt="2023-12-03T16:25:46.836" v="16917" actId="571"/>
          <ac:spMkLst>
            <pc:docMk/>
            <pc:sldMk cId="5574505" sldId="348"/>
            <ac:spMk id="14" creationId="{2F022CBD-B343-505B-8C1F-64412C78C365}"/>
          </ac:spMkLst>
        </pc:spChg>
        <pc:spChg chg="mod">
          <ac:chgData name="KevCla12" userId="ef2eb634-4620-450f-93cc-80cc93397e60" providerId="ADAL" clId="{0BF56A33-4BC5-423F-96C0-6A8645FA96BB}" dt="2023-12-03T21:48:10.630" v="32920" actId="790"/>
          <ac:spMkLst>
            <pc:docMk/>
            <pc:sldMk cId="5574505" sldId="348"/>
            <ac:spMk id="15" creationId="{00000000-0000-0000-0000-000000000000}"/>
          </ac:spMkLst>
        </pc:spChg>
        <pc:spChg chg="mod">
          <ac:chgData name="KevCla12" userId="ef2eb634-4620-450f-93cc-80cc93397e60" providerId="ADAL" clId="{0BF56A33-4BC5-423F-96C0-6A8645FA96BB}" dt="2023-12-03T21:48:10.631" v="32921" actId="790"/>
          <ac:spMkLst>
            <pc:docMk/>
            <pc:sldMk cId="5574505" sldId="348"/>
            <ac:spMk id="16" creationId="{00000000-0000-0000-0000-000000000000}"/>
          </ac:spMkLst>
        </pc:spChg>
        <pc:spChg chg="mod">
          <ac:chgData name="KevCla12" userId="ef2eb634-4620-450f-93cc-80cc93397e60" providerId="ADAL" clId="{0BF56A33-4BC5-423F-96C0-6A8645FA96BB}" dt="2023-12-03T21:48:10.633" v="32922" actId="790"/>
          <ac:spMkLst>
            <pc:docMk/>
            <pc:sldMk cId="5574505" sldId="348"/>
            <ac:spMk id="17" creationId="{00000000-0000-0000-0000-000000000000}"/>
          </ac:spMkLst>
        </pc:spChg>
        <pc:spChg chg="mod">
          <ac:chgData name="KevCla12" userId="ef2eb634-4620-450f-93cc-80cc93397e60" providerId="ADAL" clId="{0BF56A33-4BC5-423F-96C0-6A8645FA96BB}" dt="2023-12-03T21:48:10.634" v="32923" actId="790"/>
          <ac:spMkLst>
            <pc:docMk/>
            <pc:sldMk cId="5574505" sldId="348"/>
            <ac:spMk id="18" creationId="{00000000-0000-0000-0000-000000000000}"/>
          </ac:spMkLst>
        </pc:spChg>
        <pc:spChg chg="mod">
          <ac:chgData name="KevCla12" userId="ef2eb634-4620-450f-93cc-80cc93397e60" providerId="ADAL" clId="{0BF56A33-4BC5-423F-96C0-6A8645FA96BB}" dt="2023-12-03T21:48:10.625" v="32916" actId="790"/>
          <ac:spMkLst>
            <pc:docMk/>
            <pc:sldMk cId="5574505" sldId="348"/>
            <ac:spMk id="19" creationId="{00000000-0000-0000-0000-000000000000}"/>
          </ac:spMkLst>
        </pc:spChg>
        <pc:spChg chg="mod">
          <ac:chgData name="KevCla12" userId="ef2eb634-4620-450f-93cc-80cc93397e60" providerId="ADAL" clId="{0BF56A33-4BC5-423F-96C0-6A8645FA96BB}" dt="2023-12-03T21:48:10.635" v="32924" actId="790"/>
          <ac:spMkLst>
            <pc:docMk/>
            <pc:sldMk cId="5574505" sldId="348"/>
            <ac:spMk id="20" creationId="{00000000-0000-0000-0000-000000000000}"/>
          </ac:spMkLst>
        </pc:spChg>
        <pc:spChg chg="mod">
          <ac:chgData name="KevCla12" userId="ef2eb634-4620-450f-93cc-80cc93397e60" providerId="ADAL" clId="{0BF56A33-4BC5-423F-96C0-6A8645FA96BB}" dt="2023-12-03T21:48:10.637" v="32925" actId="790"/>
          <ac:spMkLst>
            <pc:docMk/>
            <pc:sldMk cId="5574505" sldId="348"/>
            <ac:spMk id="21" creationId="{00000000-0000-0000-0000-000000000000}"/>
          </ac:spMkLst>
        </pc:spChg>
        <pc:spChg chg="add del mod modVis">
          <ac:chgData name="KevCla12" userId="ef2eb634-4620-450f-93cc-80cc93397e60" providerId="ADAL" clId="{0BF56A33-4BC5-423F-96C0-6A8645FA96BB}" dt="2023-12-03T16:26:11.091" v="16958"/>
          <ac:spMkLst>
            <pc:docMk/>
            <pc:sldMk cId="5574505" sldId="348"/>
            <ac:spMk id="23" creationId="{2A9FABAF-4FA0-51C7-7C29-AD67322B1DAE}"/>
          </ac:spMkLst>
        </pc:spChg>
        <pc:spChg chg="add del mod modVis">
          <ac:chgData name="KevCla12" userId="ef2eb634-4620-450f-93cc-80cc93397e60" providerId="ADAL" clId="{0BF56A33-4BC5-423F-96C0-6A8645FA96BB}" dt="2023-12-03T16:26:13.715" v="17000"/>
          <ac:spMkLst>
            <pc:docMk/>
            <pc:sldMk cId="5574505" sldId="348"/>
            <ac:spMk id="24" creationId="{8E07641C-1B08-2F3F-9C6D-3193F9183CF7}"/>
          </ac:spMkLst>
        </pc:spChg>
        <pc:spChg chg="add del mod modVis">
          <ac:chgData name="KevCla12" userId="ef2eb634-4620-450f-93cc-80cc93397e60" providerId="ADAL" clId="{0BF56A33-4BC5-423F-96C0-6A8645FA96BB}" dt="2023-12-03T16:26:18.101" v="17031"/>
          <ac:spMkLst>
            <pc:docMk/>
            <pc:sldMk cId="5574505" sldId="348"/>
            <ac:spMk id="25" creationId="{AA4F84C1-92E3-E9DF-B519-A4858E65A515}"/>
          </ac:spMkLst>
        </pc:spChg>
        <pc:spChg chg="mod">
          <ac:chgData name="KevCla12" userId="ef2eb634-4620-450f-93cc-80cc93397e60" providerId="ADAL" clId="{0BF56A33-4BC5-423F-96C0-6A8645FA96BB}" dt="2023-12-03T21:48:10.645" v="32927" actId="790"/>
          <ac:spMkLst>
            <pc:docMk/>
            <pc:sldMk cId="5574505" sldId="348"/>
            <ac:spMk id="26" creationId="{48AA74FE-9881-12D5-415B-0260B25FD681}"/>
          </ac:spMkLst>
        </pc:spChg>
        <pc:spChg chg="mod">
          <ac:chgData name="KevCla12" userId="ef2eb634-4620-450f-93cc-80cc93397e60" providerId="ADAL" clId="{0BF56A33-4BC5-423F-96C0-6A8645FA96BB}" dt="2023-12-03T21:48:10.648" v="32928" actId="790"/>
          <ac:spMkLst>
            <pc:docMk/>
            <pc:sldMk cId="5574505" sldId="348"/>
            <ac:spMk id="27" creationId="{A36D2477-F16F-11DF-D87E-20A8CF186576}"/>
          </ac:spMkLst>
        </pc:spChg>
        <pc:spChg chg="mod">
          <ac:chgData name="KevCla12" userId="ef2eb634-4620-450f-93cc-80cc93397e60" providerId="ADAL" clId="{0BF56A33-4BC5-423F-96C0-6A8645FA96BB}" dt="2023-12-03T21:48:10.650" v="32929" actId="790"/>
          <ac:spMkLst>
            <pc:docMk/>
            <pc:sldMk cId="5574505" sldId="348"/>
            <ac:spMk id="28" creationId="{24901390-780D-B698-F738-1696B9A072C1}"/>
          </ac:spMkLst>
        </pc:spChg>
        <pc:spChg chg="add del mod modVis">
          <ac:chgData name="KevCla12" userId="ef2eb634-4620-450f-93cc-80cc93397e60" providerId="ADAL" clId="{0BF56A33-4BC5-423F-96C0-6A8645FA96BB}" dt="2023-12-03T16:26:20.917" v="17071"/>
          <ac:spMkLst>
            <pc:docMk/>
            <pc:sldMk cId="5574505" sldId="348"/>
            <ac:spMk id="29" creationId="{49003808-90AB-8AD9-C4DA-C39D7145E9A7}"/>
          </ac:spMkLst>
        </pc:spChg>
        <pc:spChg chg="add del mod modVis">
          <ac:chgData name="KevCla12" userId="ef2eb634-4620-450f-93cc-80cc93397e60" providerId="ADAL" clId="{0BF56A33-4BC5-423F-96C0-6A8645FA96BB}" dt="2023-12-03T16:26:22.055" v="17103"/>
          <ac:spMkLst>
            <pc:docMk/>
            <pc:sldMk cId="5574505" sldId="348"/>
            <ac:spMk id="30" creationId="{7BECD941-F4C9-C75A-6EC1-459F7DE79C74}"/>
          </ac:spMkLst>
        </pc:spChg>
        <pc:spChg chg="add del mod modVis">
          <ac:chgData name="KevCla12" userId="ef2eb634-4620-450f-93cc-80cc93397e60" providerId="ADAL" clId="{0BF56A33-4BC5-423F-96C0-6A8645FA96BB}" dt="2023-12-03T16:26:22.986" v="17133"/>
          <ac:spMkLst>
            <pc:docMk/>
            <pc:sldMk cId="5574505" sldId="348"/>
            <ac:spMk id="31" creationId="{29762F0A-B507-7A31-F796-FBA545DE1E4E}"/>
          </ac:spMkLst>
        </pc:spChg>
        <pc:spChg chg="add del mod modVis">
          <ac:chgData name="KevCla12" userId="ef2eb634-4620-450f-93cc-80cc93397e60" providerId="ADAL" clId="{0BF56A33-4BC5-423F-96C0-6A8645FA96BB}" dt="2023-12-03T16:26:28.815" v="17194"/>
          <ac:spMkLst>
            <pc:docMk/>
            <pc:sldMk cId="5574505" sldId="348"/>
            <ac:spMk id="32" creationId="{BE304718-760E-33F0-19B5-FC854355B682}"/>
          </ac:spMkLst>
        </pc:spChg>
        <pc:spChg chg="mod">
          <ac:chgData name="KevCla12" userId="ef2eb634-4620-450f-93cc-80cc93397e60" providerId="ADAL" clId="{0BF56A33-4BC5-423F-96C0-6A8645FA96BB}" dt="2023-12-03T21:48:10.651" v="32930" actId="790"/>
          <ac:spMkLst>
            <pc:docMk/>
            <pc:sldMk cId="5574505" sldId="348"/>
            <ac:spMk id="33" creationId="{5C2D6FFA-64CF-44FB-70D3-1507B2F9F1A6}"/>
          </ac:spMkLst>
        </pc:spChg>
        <pc:spChg chg="add del mod modVis">
          <ac:chgData name="KevCla12" userId="ef2eb634-4620-450f-93cc-80cc93397e60" providerId="ADAL" clId="{0BF56A33-4BC5-423F-96C0-6A8645FA96BB}" dt="2023-12-03T16:26:30.846" v="17231"/>
          <ac:spMkLst>
            <pc:docMk/>
            <pc:sldMk cId="5574505" sldId="348"/>
            <ac:spMk id="34" creationId="{4D4A65FD-DE9D-5BBE-3CC5-C47F84110C09}"/>
          </ac:spMkLst>
        </pc:spChg>
        <pc:spChg chg="mod">
          <ac:chgData name="KevCla12" userId="ef2eb634-4620-450f-93cc-80cc93397e60" providerId="ADAL" clId="{0BF56A33-4BC5-423F-96C0-6A8645FA96BB}" dt="2023-12-03T21:48:10.652" v="32931" actId="790"/>
          <ac:spMkLst>
            <pc:docMk/>
            <pc:sldMk cId="5574505" sldId="348"/>
            <ac:spMk id="35" creationId="{203673B3-8A47-B9F1-6A8D-F249DEA33B4C}"/>
          </ac:spMkLst>
        </pc:spChg>
        <pc:spChg chg="add del mod modVis">
          <ac:chgData name="KevCla12" userId="ef2eb634-4620-450f-93cc-80cc93397e60" providerId="ADAL" clId="{0BF56A33-4BC5-423F-96C0-6A8645FA96BB}" dt="2023-12-03T16:26:37.512" v="17287"/>
          <ac:spMkLst>
            <pc:docMk/>
            <pc:sldMk cId="5574505" sldId="348"/>
            <ac:spMk id="36" creationId="{1F8B931C-BAA6-9E77-3E19-B4EC16A8CB77}"/>
          </ac:spMkLst>
        </pc:spChg>
        <pc:spChg chg="mod">
          <ac:chgData name="KevCla12" userId="ef2eb634-4620-450f-93cc-80cc93397e60" providerId="ADAL" clId="{0BF56A33-4BC5-423F-96C0-6A8645FA96BB}" dt="2023-12-03T21:48:10.653" v="32932" actId="790"/>
          <ac:spMkLst>
            <pc:docMk/>
            <pc:sldMk cId="5574505" sldId="348"/>
            <ac:spMk id="37" creationId="{6815D38C-8118-C2BF-881A-E8B2130DE4A5}"/>
          </ac:spMkLst>
        </pc:spChg>
        <pc:spChg chg="mod">
          <ac:chgData name="KevCla12" userId="ef2eb634-4620-450f-93cc-80cc93397e60" providerId="ADAL" clId="{0BF56A33-4BC5-423F-96C0-6A8645FA96BB}" dt="2023-12-03T21:48:10.655" v="32933" actId="790"/>
          <ac:spMkLst>
            <pc:docMk/>
            <pc:sldMk cId="5574505" sldId="348"/>
            <ac:spMk id="38" creationId="{9F65461B-8759-F749-741A-269F602DEE8B}"/>
          </ac:spMkLst>
        </pc:spChg>
        <pc:spChg chg="mod">
          <ac:chgData name="KevCla12" userId="ef2eb634-4620-450f-93cc-80cc93397e60" providerId="ADAL" clId="{0BF56A33-4BC5-423F-96C0-6A8645FA96BB}" dt="2023-12-03T21:48:10.656" v="32934" actId="790"/>
          <ac:spMkLst>
            <pc:docMk/>
            <pc:sldMk cId="5574505" sldId="348"/>
            <ac:spMk id="39" creationId="{59BDB455-B748-73AD-5CA2-C1628FFA442F}"/>
          </ac:spMkLst>
        </pc:spChg>
        <pc:spChg chg="mod">
          <ac:chgData name="KevCla12" userId="ef2eb634-4620-450f-93cc-80cc93397e60" providerId="ADAL" clId="{0BF56A33-4BC5-423F-96C0-6A8645FA96BB}" dt="2023-12-03T21:48:10.657" v="32935" actId="790"/>
          <ac:spMkLst>
            <pc:docMk/>
            <pc:sldMk cId="5574505" sldId="348"/>
            <ac:spMk id="40" creationId="{15C8C774-F781-A34D-4FCC-134CE6041B9E}"/>
          </ac:spMkLst>
        </pc:spChg>
        <pc:spChg chg="add del mod modVis">
          <ac:chgData name="KevCla12" userId="ef2eb634-4620-450f-93cc-80cc93397e60" providerId="ADAL" clId="{0BF56A33-4BC5-423F-96C0-6A8645FA96BB}" dt="2023-12-03T16:26:44.416" v="17345"/>
          <ac:spMkLst>
            <pc:docMk/>
            <pc:sldMk cId="5574505" sldId="348"/>
            <ac:spMk id="41" creationId="{438D4B51-5569-92C2-965E-AE280C498F95}"/>
          </ac:spMkLst>
        </pc:spChg>
        <pc:spChg chg="add del mod modVis">
          <ac:chgData name="KevCla12" userId="ef2eb634-4620-450f-93cc-80cc93397e60" providerId="ADAL" clId="{0BF56A33-4BC5-423F-96C0-6A8645FA96BB}" dt="2023-12-03T16:26:51.646" v="17373"/>
          <ac:spMkLst>
            <pc:docMk/>
            <pc:sldMk cId="5574505" sldId="348"/>
            <ac:spMk id="42" creationId="{4DB5EA4A-F896-1FEB-A89F-B1B87BF83EFF}"/>
          </ac:spMkLst>
        </pc:spChg>
        <pc:spChg chg="add del mod modVis">
          <ac:chgData name="KevCla12" userId="ef2eb634-4620-450f-93cc-80cc93397e60" providerId="ADAL" clId="{0BF56A33-4BC5-423F-96C0-6A8645FA96BB}" dt="2023-12-03T16:26:56.007" v="17401"/>
          <ac:spMkLst>
            <pc:docMk/>
            <pc:sldMk cId="5574505" sldId="348"/>
            <ac:spMk id="43" creationId="{D66E9C32-3BF6-F9EB-320F-9805449B5980}"/>
          </ac:spMkLst>
        </pc:spChg>
        <pc:spChg chg="add del mod modVis">
          <ac:chgData name="KevCla12" userId="ef2eb634-4620-450f-93cc-80cc93397e60" providerId="ADAL" clId="{0BF56A33-4BC5-423F-96C0-6A8645FA96BB}" dt="2023-12-03T16:27:00.456" v="17429"/>
          <ac:spMkLst>
            <pc:docMk/>
            <pc:sldMk cId="5574505" sldId="348"/>
            <ac:spMk id="44" creationId="{562797AB-897B-7FF2-2734-63050F11A0AA}"/>
          </ac:spMkLst>
        </pc:spChg>
        <pc:spChg chg="mod">
          <ac:chgData name="KevCla12" userId="ef2eb634-4620-450f-93cc-80cc93397e60" providerId="ADAL" clId="{0BF56A33-4BC5-423F-96C0-6A8645FA96BB}" dt="2023-12-03T21:48:10.641" v="32926" actId="790"/>
          <ac:spMkLst>
            <pc:docMk/>
            <pc:sldMk cId="5574505" sldId="348"/>
            <ac:spMk id="21507" creationId="{00000000-0000-0000-0000-000000000000}"/>
          </ac:spMkLst>
        </pc:spChg>
        <pc:graphicFrameChg chg="add mod ord modVis replST">
          <ac:chgData name="KevCla12" userId="ef2eb634-4620-450f-93cc-80cc93397e60" providerId="ADAL" clId="{0BF56A33-4BC5-423F-96C0-6A8645FA96BB}" dt="2023-12-03T16:27:00.460" v="17431"/>
          <ac:graphicFrameMkLst>
            <pc:docMk/>
            <pc:sldMk cId="5574505" sldId="348"/>
            <ac:graphicFrameMk id="2" creationId="{B6C070C1-DF5C-75C3-8F35-E33F9C0988E4}"/>
          </ac:graphicFrameMkLst>
        </pc:graphicFrameChg>
        <pc:cxnChg chg="mod">
          <ac:chgData name="KevCla12" userId="ef2eb634-4620-450f-93cc-80cc93397e60" providerId="ADAL" clId="{0BF56A33-4BC5-423F-96C0-6A8645FA96BB}" dt="2023-12-03T16:26:03.192" v="16921" actId="208"/>
          <ac:cxnSpMkLst>
            <pc:docMk/>
            <pc:sldMk cId="5574505" sldId="348"/>
            <ac:cxnSpMk id="8" creationId="{A235F376-A86C-A422-BA7B-1BB5AAA7C52F}"/>
          </ac:cxnSpMkLst>
        </pc:cxnChg>
        <pc:cxnChg chg="mod">
          <ac:chgData name="KevCla12" userId="ef2eb634-4620-450f-93cc-80cc93397e60" providerId="ADAL" clId="{0BF56A33-4BC5-423F-96C0-6A8645FA96BB}" dt="2023-12-03T21:48:10.637" v="32925" actId="790"/>
          <ac:cxnSpMkLst>
            <pc:docMk/>
            <pc:sldMk cId="5574505" sldId="348"/>
            <ac:cxnSpMk id="22" creationId="{AB2AA1B1-4A75-E9FB-563F-4E46A85A0790}"/>
          </ac:cxnSpMkLst>
        </pc:cxnChg>
      </pc:sldChg>
      <pc:sldChg chg="addSp delSp modSp add del mod delTag modNotes">
        <pc:chgData name="KevCla12" userId="ef2eb634-4620-450f-93cc-80cc93397e60" providerId="ADAL" clId="{0BF56A33-4BC5-423F-96C0-6A8645FA96BB}" dt="2023-12-03T23:13:20.798" v="37330" actId="47"/>
        <pc:sldMkLst>
          <pc:docMk/>
          <pc:sldMk cId="2489686403" sldId="355"/>
        </pc:sldMkLst>
        <pc:spChg chg="add del mod">
          <ac:chgData name="KevCla12" userId="ef2eb634-4620-450f-93cc-80cc93397e60" providerId="ADAL" clId="{0BF56A33-4BC5-423F-96C0-6A8645FA96BB}" dt="2023-12-03T23:05:30.766" v="37201" actId="478"/>
          <ac:spMkLst>
            <pc:docMk/>
            <pc:sldMk cId="2489686403" sldId="355"/>
            <ac:spMk id="2" creationId="{0D986290-2506-683F-0922-21E33424D079}"/>
          </ac:spMkLst>
        </pc:spChg>
        <pc:spChg chg="add mod">
          <ac:chgData name="KevCla12" userId="ef2eb634-4620-450f-93cc-80cc93397e60" providerId="ADAL" clId="{0BF56A33-4BC5-423F-96C0-6A8645FA96BB}" dt="2023-12-03T23:05:22.953" v="37156"/>
          <ac:spMkLst>
            <pc:docMk/>
            <pc:sldMk cId="2489686403" sldId="355"/>
            <ac:spMk id="3" creationId="{906A1168-71AF-C168-5FF1-08A3D9882F75}"/>
          </ac:spMkLst>
        </pc:spChg>
        <pc:spChg chg="add mod">
          <ac:chgData name="KevCla12" userId="ef2eb634-4620-450f-93cc-80cc93397e60" providerId="ADAL" clId="{0BF56A33-4BC5-423F-96C0-6A8645FA96BB}" dt="2023-12-03T23:05:22.953" v="37156"/>
          <ac:spMkLst>
            <pc:docMk/>
            <pc:sldMk cId="2489686403" sldId="355"/>
            <ac:spMk id="4" creationId="{7C48686E-190B-C721-DE06-71C2C2159497}"/>
          </ac:spMkLst>
        </pc:spChg>
        <pc:spChg chg="add mod">
          <ac:chgData name="KevCla12" userId="ef2eb634-4620-450f-93cc-80cc93397e60" providerId="ADAL" clId="{0BF56A33-4BC5-423F-96C0-6A8645FA96BB}" dt="2023-12-03T23:05:22.953" v="37156"/>
          <ac:spMkLst>
            <pc:docMk/>
            <pc:sldMk cId="2489686403" sldId="355"/>
            <ac:spMk id="5" creationId="{7C36ADBA-2CB6-DC0C-D2AA-AFBE4574AE19}"/>
          </ac:spMkLst>
        </pc:spChg>
        <pc:spChg chg="add del mod modVis">
          <ac:chgData name="KevCla12" userId="ef2eb634-4620-450f-93cc-80cc93397e60" providerId="ADAL" clId="{0BF56A33-4BC5-423F-96C0-6A8645FA96BB}" dt="2023-12-03T23:05:23.713" v="37185"/>
          <ac:spMkLst>
            <pc:docMk/>
            <pc:sldMk cId="2489686403" sldId="355"/>
            <ac:spMk id="6" creationId="{EC956EAA-4B9E-CAC0-B559-BAE8302BEF4B}"/>
          </ac:spMkLst>
        </pc:spChg>
        <pc:spChg chg="add del mod">
          <ac:chgData name="KevCla12" userId="ef2eb634-4620-450f-93cc-80cc93397e60" providerId="ADAL" clId="{0BF56A33-4BC5-423F-96C0-6A8645FA96BB}" dt="2023-12-03T23:05:44.094" v="37208" actId="478"/>
          <ac:spMkLst>
            <pc:docMk/>
            <pc:sldMk cId="2489686403" sldId="355"/>
            <ac:spMk id="9" creationId="{2B242F40-E113-C461-40F4-941D387DADFF}"/>
          </ac:spMkLst>
        </pc:spChg>
        <pc:spChg chg="del mod">
          <ac:chgData name="KevCla12" userId="ef2eb634-4620-450f-93cc-80cc93397e60" providerId="ADAL" clId="{0BF56A33-4BC5-423F-96C0-6A8645FA96BB}" dt="2023-12-03T23:05:41.787" v="37203" actId="478"/>
          <ac:spMkLst>
            <pc:docMk/>
            <pc:sldMk cId="2489686403" sldId="355"/>
            <ac:spMk id="19" creationId="{00000000-0000-0000-0000-000000000000}"/>
          </ac:spMkLst>
        </pc:spChg>
        <pc:spChg chg="mod topLvl">
          <ac:chgData name="KevCla12" userId="ef2eb634-4620-450f-93cc-80cc93397e60" providerId="ADAL" clId="{0BF56A33-4BC5-423F-96C0-6A8645FA96BB}" dt="2023-12-03T23:06:08.206" v="37218" actId="165"/>
          <ac:spMkLst>
            <pc:docMk/>
            <pc:sldMk cId="2489686403" sldId="355"/>
            <ac:spMk id="22" creationId="{00000000-0000-0000-0000-000000000000}"/>
          </ac:spMkLst>
        </pc:spChg>
        <pc:spChg chg="mod topLvl">
          <ac:chgData name="KevCla12" userId="ef2eb634-4620-450f-93cc-80cc93397e60" providerId="ADAL" clId="{0BF56A33-4BC5-423F-96C0-6A8645FA96BB}" dt="2023-12-03T23:06:08.206" v="37218" actId="165"/>
          <ac:spMkLst>
            <pc:docMk/>
            <pc:sldMk cId="2489686403" sldId="355"/>
            <ac:spMk id="26" creationId="{00000000-0000-0000-0000-000000000000}"/>
          </ac:spMkLst>
        </pc:spChg>
        <pc:spChg chg="mod topLvl">
          <ac:chgData name="KevCla12" userId="ef2eb634-4620-450f-93cc-80cc93397e60" providerId="ADAL" clId="{0BF56A33-4BC5-423F-96C0-6A8645FA96BB}" dt="2023-12-03T23:06:08.206" v="37218" actId="165"/>
          <ac:spMkLst>
            <pc:docMk/>
            <pc:sldMk cId="2489686403" sldId="355"/>
            <ac:spMk id="30" creationId="{00000000-0000-0000-0000-000000000000}"/>
          </ac:spMkLst>
        </pc:spChg>
        <pc:spChg chg="mod topLvl">
          <ac:chgData name="KevCla12" userId="ef2eb634-4620-450f-93cc-80cc93397e60" providerId="ADAL" clId="{0BF56A33-4BC5-423F-96C0-6A8645FA96BB}" dt="2023-12-03T23:06:08.206" v="37218" actId="165"/>
          <ac:spMkLst>
            <pc:docMk/>
            <pc:sldMk cId="2489686403" sldId="355"/>
            <ac:spMk id="31" creationId="{00000000-0000-0000-0000-000000000000}"/>
          </ac:spMkLst>
        </pc:spChg>
        <pc:spChg chg="mod topLvl">
          <ac:chgData name="KevCla12" userId="ef2eb634-4620-450f-93cc-80cc93397e60" providerId="ADAL" clId="{0BF56A33-4BC5-423F-96C0-6A8645FA96BB}" dt="2023-12-03T23:06:08.206" v="37218" actId="165"/>
          <ac:spMkLst>
            <pc:docMk/>
            <pc:sldMk cId="2489686403" sldId="355"/>
            <ac:spMk id="37" creationId="{00000000-0000-0000-0000-000000000000}"/>
          </ac:spMkLst>
        </pc:spChg>
        <pc:spChg chg="mod topLvl">
          <ac:chgData name="KevCla12" userId="ef2eb634-4620-450f-93cc-80cc93397e60" providerId="ADAL" clId="{0BF56A33-4BC5-423F-96C0-6A8645FA96BB}" dt="2023-12-03T23:06:08.206" v="37218" actId="165"/>
          <ac:spMkLst>
            <pc:docMk/>
            <pc:sldMk cId="2489686403" sldId="355"/>
            <ac:spMk id="38" creationId="{00000000-0000-0000-0000-000000000000}"/>
          </ac:spMkLst>
        </pc:spChg>
        <pc:spChg chg="mod topLvl">
          <ac:chgData name="KevCla12" userId="ef2eb634-4620-450f-93cc-80cc93397e60" providerId="ADAL" clId="{0BF56A33-4BC5-423F-96C0-6A8645FA96BB}" dt="2023-12-03T23:06:08.206" v="37218" actId="165"/>
          <ac:spMkLst>
            <pc:docMk/>
            <pc:sldMk cId="2489686403" sldId="355"/>
            <ac:spMk id="39" creationId="{00000000-0000-0000-0000-000000000000}"/>
          </ac:spMkLst>
        </pc:spChg>
        <pc:spChg chg="mod topLvl">
          <ac:chgData name="KevCla12" userId="ef2eb634-4620-450f-93cc-80cc93397e60" providerId="ADAL" clId="{0BF56A33-4BC5-423F-96C0-6A8645FA96BB}" dt="2023-12-03T23:06:08.206" v="37218" actId="165"/>
          <ac:spMkLst>
            <pc:docMk/>
            <pc:sldMk cId="2489686403" sldId="355"/>
            <ac:spMk id="40" creationId="{00000000-0000-0000-0000-000000000000}"/>
          </ac:spMkLst>
        </pc:spChg>
        <pc:spChg chg="mod topLvl">
          <ac:chgData name="KevCla12" userId="ef2eb634-4620-450f-93cc-80cc93397e60" providerId="ADAL" clId="{0BF56A33-4BC5-423F-96C0-6A8645FA96BB}" dt="2023-12-03T23:06:08.325" v="37219" actId="27636"/>
          <ac:spMkLst>
            <pc:docMk/>
            <pc:sldMk cId="2489686403" sldId="355"/>
            <ac:spMk id="46" creationId="{00000000-0000-0000-0000-000000000000}"/>
          </ac:spMkLst>
        </pc:spChg>
        <pc:grpChg chg="add del mod">
          <ac:chgData name="KevCla12" userId="ef2eb634-4620-450f-93cc-80cc93397e60" providerId="ADAL" clId="{0BF56A33-4BC5-423F-96C0-6A8645FA96BB}" dt="2023-12-03T23:06:08.206" v="37218" actId="165"/>
          <ac:grpSpMkLst>
            <pc:docMk/>
            <pc:sldMk cId="2489686403" sldId="355"/>
            <ac:grpSpMk id="10" creationId="{E136AC24-F8D2-E84E-492B-861277C6339F}"/>
          </ac:grpSpMkLst>
        </pc:grpChg>
        <pc:graphicFrameChg chg="add mod ord modVis replST">
          <ac:chgData name="KevCla12" userId="ef2eb634-4620-450f-93cc-80cc93397e60" providerId="ADAL" clId="{0BF56A33-4BC5-423F-96C0-6A8645FA96BB}" dt="2023-12-03T23:05:44.599" v="37212"/>
          <ac:graphicFrameMkLst>
            <pc:docMk/>
            <pc:sldMk cId="2489686403" sldId="355"/>
            <ac:graphicFrameMk id="7" creationId="{FC1FEC5A-0E58-BAED-41BF-136EC49C1C7D}"/>
          </ac:graphicFrameMkLst>
        </pc:graphicFrameChg>
      </pc:sldChg>
      <pc:sldChg chg="modSp mod modNotes">
        <pc:chgData name="KevCla12" userId="ef2eb634-4620-450f-93cc-80cc93397e60" providerId="ADAL" clId="{0BF56A33-4BC5-423F-96C0-6A8645FA96BB}" dt="2023-12-03T21:48:06.947" v="31226" actId="790"/>
        <pc:sldMkLst>
          <pc:docMk/>
          <pc:sldMk cId="4005470106" sldId="397"/>
        </pc:sldMkLst>
        <pc:spChg chg="mod">
          <ac:chgData name="KevCla12" userId="ef2eb634-4620-450f-93cc-80cc93397e60" providerId="ADAL" clId="{0BF56A33-4BC5-423F-96C0-6A8645FA96BB}" dt="2023-12-03T21:48:06.918" v="31219" actId="790"/>
          <ac:spMkLst>
            <pc:docMk/>
            <pc:sldMk cId="4005470106" sldId="397"/>
            <ac:spMk id="2" creationId="{F304C801-B5F5-592E-2DD4-EA3A7DF29A82}"/>
          </ac:spMkLst>
        </pc:spChg>
        <pc:spChg chg="mod">
          <ac:chgData name="KevCla12" userId="ef2eb634-4620-450f-93cc-80cc93397e60" providerId="ADAL" clId="{0BF56A33-4BC5-423F-96C0-6A8645FA96BB}" dt="2023-12-03T21:48:06.942" v="31220" actId="790"/>
          <ac:spMkLst>
            <pc:docMk/>
            <pc:sldMk cId="4005470106" sldId="397"/>
            <ac:spMk id="3" creationId="{935A2354-8F1F-EC48-6667-3E256EF0600D}"/>
          </ac:spMkLst>
        </pc:spChg>
        <pc:spChg chg="mod">
          <ac:chgData name="KevCla12" userId="ef2eb634-4620-450f-93cc-80cc93397e60" providerId="ADAL" clId="{0BF56A33-4BC5-423F-96C0-6A8645FA96BB}" dt="2023-12-03T21:48:06.943" v="31221" actId="790"/>
          <ac:spMkLst>
            <pc:docMk/>
            <pc:sldMk cId="4005470106" sldId="397"/>
            <ac:spMk id="4" creationId="{16A9B342-33A4-F364-69F8-F041156B47F0}"/>
          </ac:spMkLst>
        </pc:spChg>
        <pc:spChg chg="mod">
          <ac:chgData name="KevCla12" userId="ef2eb634-4620-450f-93cc-80cc93397e60" providerId="ADAL" clId="{0BF56A33-4BC5-423F-96C0-6A8645FA96BB}" dt="2023-12-03T21:48:06.944" v="31222" actId="790"/>
          <ac:spMkLst>
            <pc:docMk/>
            <pc:sldMk cId="4005470106" sldId="397"/>
            <ac:spMk id="5" creationId="{1C2CE1B9-F43B-0FB4-9A2C-3454FAE420A7}"/>
          </ac:spMkLst>
        </pc:spChg>
        <pc:spChg chg="mod">
          <ac:chgData name="KevCla12" userId="ef2eb634-4620-450f-93cc-80cc93397e60" providerId="ADAL" clId="{0BF56A33-4BC5-423F-96C0-6A8645FA96BB}" dt="2023-12-03T21:48:06.945" v="31223" actId="790"/>
          <ac:spMkLst>
            <pc:docMk/>
            <pc:sldMk cId="4005470106" sldId="397"/>
            <ac:spMk id="6" creationId="{27C6E8A2-53CB-36A7-DAC6-FB7DAF48672F}"/>
          </ac:spMkLst>
        </pc:spChg>
        <pc:spChg chg="mod">
          <ac:chgData name="KevCla12" userId="ef2eb634-4620-450f-93cc-80cc93397e60" providerId="ADAL" clId="{0BF56A33-4BC5-423F-96C0-6A8645FA96BB}" dt="2023-12-03T21:48:06.946" v="31224" actId="790"/>
          <ac:spMkLst>
            <pc:docMk/>
            <pc:sldMk cId="4005470106" sldId="397"/>
            <ac:spMk id="7" creationId="{87ABBFF4-CEDB-45BA-3736-9ECD0AB78ECF}"/>
          </ac:spMkLst>
        </pc:spChg>
      </pc:sldChg>
      <pc:sldChg chg="modSp mod modNotes">
        <pc:chgData name="KevCla12" userId="ef2eb634-4620-450f-93cc-80cc93397e60" providerId="ADAL" clId="{0BF56A33-4BC5-423F-96C0-6A8645FA96BB}" dt="2023-12-03T21:48:06.966" v="31234" actId="790"/>
        <pc:sldMkLst>
          <pc:docMk/>
          <pc:sldMk cId="3908825362" sldId="398"/>
        </pc:sldMkLst>
        <pc:spChg chg="mod">
          <ac:chgData name="KevCla12" userId="ef2eb634-4620-450f-93cc-80cc93397e60" providerId="ADAL" clId="{0BF56A33-4BC5-423F-96C0-6A8645FA96BB}" dt="2023-12-03T21:48:06.948" v="31227" actId="790"/>
          <ac:spMkLst>
            <pc:docMk/>
            <pc:sldMk cId="3908825362" sldId="398"/>
            <ac:spMk id="2" creationId="{F304C801-B5F5-592E-2DD4-EA3A7DF29A82}"/>
          </ac:spMkLst>
        </pc:spChg>
        <pc:spChg chg="mod">
          <ac:chgData name="KevCla12" userId="ef2eb634-4620-450f-93cc-80cc93397e60" providerId="ADAL" clId="{0BF56A33-4BC5-423F-96C0-6A8645FA96BB}" dt="2023-12-03T21:48:06.961" v="31228" actId="790"/>
          <ac:spMkLst>
            <pc:docMk/>
            <pc:sldMk cId="3908825362" sldId="398"/>
            <ac:spMk id="3" creationId="{935A2354-8F1F-EC48-6667-3E256EF0600D}"/>
          </ac:spMkLst>
        </pc:spChg>
        <pc:spChg chg="mod">
          <ac:chgData name="KevCla12" userId="ef2eb634-4620-450f-93cc-80cc93397e60" providerId="ADAL" clId="{0BF56A33-4BC5-423F-96C0-6A8645FA96BB}" dt="2023-12-03T21:48:06.962" v="31229" actId="790"/>
          <ac:spMkLst>
            <pc:docMk/>
            <pc:sldMk cId="3908825362" sldId="398"/>
            <ac:spMk id="4" creationId="{16A9B342-33A4-F364-69F8-F041156B47F0}"/>
          </ac:spMkLst>
        </pc:spChg>
        <pc:spChg chg="mod">
          <ac:chgData name="KevCla12" userId="ef2eb634-4620-450f-93cc-80cc93397e60" providerId="ADAL" clId="{0BF56A33-4BC5-423F-96C0-6A8645FA96BB}" dt="2023-12-03T21:48:06.963" v="31230" actId="790"/>
          <ac:spMkLst>
            <pc:docMk/>
            <pc:sldMk cId="3908825362" sldId="398"/>
            <ac:spMk id="5" creationId="{1C2CE1B9-F43B-0FB4-9A2C-3454FAE420A7}"/>
          </ac:spMkLst>
        </pc:spChg>
        <pc:spChg chg="mod">
          <ac:chgData name="KevCla12" userId="ef2eb634-4620-450f-93cc-80cc93397e60" providerId="ADAL" clId="{0BF56A33-4BC5-423F-96C0-6A8645FA96BB}" dt="2023-12-03T21:48:06.964" v="31231" actId="790"/>
          <ac:spMkLst>
            <pc:docMk/>
            <pc:sldMk cId="3908825362" sldId="398"/>
            <ac:spMk id="6" creationId="{27C6E8A2-53CB-36A7-DAC6-FB7DAF48672F}"/>
          </ac:spMkLst>
        </pc:spChg>
        <pc:spChg chg="mod">
          <ac:chgData name="KevCla12" userId="ef2eb634-4620-450f-93cc-80cc93397e60" providerId="ADAL" clId="{0BF56A33-4BC5-423F-96C0-6A8645FA96BB}" dt="2023-12-03T21:48:06.965" v="31232" actId="790"/>
          <ac:spMkLst>
            <pc:docMk/>
            <pc:sldMk cId="3908825362" sldId="398"/>
            <ac:spMk id="7" creationId="{87ABBFF4-CEDB-45BA-3736-9ECD0AB78ECF}"/>
          </ac:spMkLst>
        </pc:spChg>
      </pc:sldChg>
      <pc:sldChg chg="addSp delSp modSp mod addCm modNotes">
        <pc:chgData name="KevCla12" userId="ef2eb634-4620-450f-93cc-80cc93397e60" providerId="ADAL" clId="{0BF56A33-4BC5-423F-96C0-6A8645FA96BB}" dt="2023-12-03T21:48:06.918" v="31218" actId="790"/>
        <pc:sldMkLst>
          <pc:docMk/>
          <pc:sldMk cId="799961263" sldId="399"/>
        </pc:sldMkLst>
        <pc:spChg chg="mod">
          <ac:chgData name="KevCla12" userId="ef2eb634-4620-450f-93cc-80cc93397e60" providerId="ADAL" clId="{0BF56A33-4BC5-423F-96C0-6A8645FA96BB}" dt="2023-12-03T21:48:06.916" v="31216" actId="790"/>
          <ac:spMkLst>
            <pc:docMk/>
            <pc:sldMk cId="799961263" sldId="399"/>
            <ac:spMk id="2" creationId="{D6A11C15-BC1A-2C62-817B-8D735C47C851}"/>
          </ac:spMkLst>
        </pc:spChg>
        <pc:spChg chg="mod">
          <ac:chgData name="KevCla12" userId="ef2eb634-4620-450f-93cc-80cc93397e60" providerId="ADAL" clId="{0BF56A33-4BC5-423F-96C0-6A8645FA96BB}" dt="2023-12-03T21:48:06.880" v="31181" actId="790"/>
          <ac:spMkLst>
            <pc:docMk/>
            <pc:sldMk cId="799961263" sldId="399"/>
            <ac:spMk id="4" creationId="{B8E40783-EF9F-74D6-D203-B004C033004A}"/>
          </ac:spMkLst>
        </pc:spChg>
        <pc:spChg chg="mod">
          <ac:chgData name="KevCla12" userId="ef2eb634-4620-450f-93cc-80cc93397e60" providerId="ADAL" clId="{0BF56A33-4BC5-423F-96C0-6A8645FA96BB}" dt="2023-12-03T21:48:06.881" v="31182" actId="790"/>
          <ac:spMkLst>
            <pc:docMk/>
            <pc:sldMk cId="799961263" sldId="399"/>
            <ac:spMk id="5" creationId="{9E2D6739-E388-67FC-3C48-A15972A41E45}"/>
          </ac:spMkLst>
        </pc:spChg>
        <pc:spChg chg="mod">
          <ac:chgData name="KevCla12" userId="ef2eb634-4620-450f-93cc-80cc93397e60" providerId="ADAL" clId="{0BF56A33-4BC5-423F-96C0-6A8645FA96BB}" dt="2023-12-03T21:48:06.884" v="31183" actId="790"/>
          <ac:spMkLst>
            <pc:docMk/>
            <pc:sldMk cId="799961263" sldId="399"/>
            <ac:spMk id="6" creationId="{A50B7673-D59D-7A1D-C109-3B94D1A3EF81}"/>
          </ac:spMkLst>
        </pc:spChg>
        <pc:spChg chg="mod">
          <ac:chgData name="KevCla12" userId="ef2eb634-4620-450f-93cc-80cc93397e60" providerId="ADAL" clId="{0BF56A33-4BC5-423F-96C0-6A8645FA96BB}" dt="2023-12-03T21:48:06.886" v="31184" actId="790"/>
          <ac:spMkLst>
            <pc:docMk/>
            <pc:sldMk cId="799961263" sldId="399"/>
            <ac:spMk id="7" creationId="{2A4898B0-6B0A-269D-9FE1-BD404ABD0F16}"/>
          </ac:spMkLst>
        </pc:spChg>
        <pc:spChg chg="add del mod modVis">
          <ac:chgData name="KevCla12" userId="ef2eb634-4620-450f-93cc-80cc93397e60" providerId="ADAL" clId="{0BF56A33-4BC5-423F-96C0-6A8645FA96BB}" dt="2023-12-03T14:27:27.003" v="12923"/>
          <ac:spMkLst>
            <pc:docMk/>
            <pc:sldMk cId="799961263" sldId="399"/>
            <ac:spMk id="9" creationId="{4208B8D5-7405-0001-0619-F2082CCE0ADA}"/>
          </ac:spMkLst>
        </pc:spChg>
        <pc:spChg chg="mod">
          <ac:chgData name="KevCla12" userId="ef2eb634-4620-450f-93cc-80cc93397e60" providerId="ADAL" clId="{0BF56A33-4BC5-423F-96C0-6A8645FA96BB}" dt="2023-12-03T21:48:06.887" v="31185" actId="790"/>
          <ac:spMkLst>
            <pc:docMk/>
            <pc:sldMk cId="799961263" sldId="399"/>
            <ac:spMk id="14" creationId="{C29241B7-9AC0-A586-38DA-F42ED5257998}"/>
          </ac:spMkLst>
        </pc:spChg>
        <pc:graphicFrameChg chg="add mod ord modVis replST">
          <ac:chgData name="KevCla12" userId="ef2eb634-4620-450f-93cc-80cc93397e60" providerId="ADAL" clId="{0BF56A33-4BC5-423F-96C0-6A8645FA96BB}" dt="2023-12-03T14:27:27.127" v="12938"/>
          <ac:graphicFrameMkLst>
            <pc:docMk/>
            <pc:sldMk cId="799961263" sldId="399"/>
            <ac:graphicFrameMk id="10" creationId="{426837F6-AFD2-7FF0-97ED-801E91BC2C52}"/>
          </ac:graphicFrameMkLst>
        </pc:graphicFrameChg>
        <pc:graphicFrameChg chg="modGraphic">
          <ac:chgData name="KevCla12" userId="ef2eb634-4620-450f-93cc-80cc93397e60" providerId="ADAL" clId="{0BF56A33-4BC5-423F-96C0-6A8645FA96BB}" dt="2023-12-03T21:48:06.914" v="31215" actId="790"/>
          <ac:graphicFrameMkLst>
            <pc:docMk/>
            <pc:sldMk cId="799961263" sldId="399"/>
            <ac:graphicFrameMk id="11" creationId="{68F9DF56-4A47-3F8B-8E0E-F8BF6BDEBCAF}"/>
          </ac:graphicFrameMkLst>
        </pc:graphicFrameChg>
        <pc:extLst>
          <p:ext xmlns:p="http://schemas.openxmlformats.org/presentationml/2006/main" uri="{D6D511B9-2390-475A-947B-AFAB55BFBCF1}">
            <pc226:cmChg xmlns:pc226="http://schemas.microsoft.com/office/powerpoint/2022/06/main/command" chg="add">
              <pc226:chgData name="KevCla12" userId="ef2eb634-4620-450f-93cc-80cc93397e60" providerId="ADAL" clId="{0BF56A33-4BC5-423F-96C0-6A8645FA96BB}" dt="2023-12-03T14:27:12.303" v="12897"/>
              <pc2:cmMkLst xmlns:pc2="http://schemas.microsoft.com/office/powerpoint/2019/9/main/command">
                <pc:docMk/>
                <pc:sldMk cId="799961263" sldId="399"/>
                <pc2:cmMk id="{B5AA5609-BAE5-4991-B5D3-E035B075E440}"/>
              </pc2:cmMkLst>
            </pc226:cmChg>
          </p:ext>
        </pc:extLst>
      </pc:sldChg>
      <pc:sldChg chg="modSp mod modNotes">
        <pc:chgData name="KevCla12" userId="ef2eb634-4620-450f-93cc-80cc93397e60" providerId="ADAL" clId="{0BF56A33-4BC5-423F-96C0-6A8645FA96BB}" dt="2023-12-03T21:48:07.083" v="31243" actId="790"/>
        <pc:sldMkLst>
          <pc:docMk/>
          <pc:sldMk cId="3734341024" sldId="401"/>
        </pc:sldMkLst>
        <pc:spChg chg="mod">
          <ac:chgData name="KevCla12" userId="ef2eb634-4620-450f-93cc-80cc93397e60" providerId="ADAL" clId="{0BF56A33-4BC5-423F-96C0-6A8645FA96BB}" dt="2023-12-03T21:48:06.967" v="31235" actId="790"/>
          <ac:spMkLst>
            <pc:docMk/>
            <pc:sldMk cId="3734341024" sldId="401"/>
            <ac:spMk id="2" creationId="{C2D51CFC-10C7-CA2E-406A-8A8349AE6A40}"/>
          </ac:spMkLst>
        </pc:spChg>
        <pc:spChg chg="mod">
          <ac:chgData name="KevCla12" userId="ef2eb634-4620-450f-93cc-80cc93397e60" providerId="ADAL" clId="{0BF56A33-4BC5-423F-96C0-6A8645FA96BB}" dt="2023-12-03T21:48:07.068" v="31236" actId="790"/>
          <ac:spMkLst>
            <pc:docMk/>
            <pc:sldMk cId="3734341024" sldId="401"/>
            <ac:spMk id="3" creationId="{2A3F92EC-CE25-E253-C686-F306F40E111E}"/>
          </ac:spMkLst>
        </pc:spChg>
        <pc:spChg chg="mod">
          <ac:chgData name="KevCla12" userId="ef2eb634-4620-450f-93cc-80cc93397e60" providerId="ADAL" clId="{0BF56A33-4BC5-423F-96C0-6A8645FA96BB}" dt="2023-12-03T21:48:07.070" v="31237" actId="790"/>
          <ac:spMkLst>
            <pc:docMk/>
            <pc:sldMk cId="3734341024" sldId="401"/>
            <ac:spMk id="4" creationId="{DC5B29E3-E52E-8FB1-7CBB-350AF3374713}"/>
          </ac:spMkLst>
        </pc:spChg>
        <pc:spChg chg="mod">
          <ac:chgData name="KevCla12" userId="ef2eb634-4620-450f-93cc-80cc93397e60" providerId="ADAL" clId="{0BF56A33-4BC5-423F-96C0-6A8645FA96BB}" dt="2023-12-03T21:48:07.072" v="31238" actId="790"/>
          <ac:spMkLst>
            <pc:docMk/>
            <pc:sldMk cId="3734341024" sldId="401"/>
            <ac:spMk id="5" creationId="{CA17C18A-D065-AFB2-CF1E-3C3A314B8018}"/>
          </ac:spMkLst>
        </pc:spChg>
        <pc:spChg chg="mod">
          <ac:chgData name="KevCla12" userId="ef2eb634-4620-450f-93cc-80cc93397e60" providerId="ADAL" clId="{0BF56A33-4BC5-423F-96C0-6A8645FA96BB}" dt="2023-12-03T21:48:07.074" v="31239" actId="790"/>
          <ac:spMkLst>
            <pc:docMk/>
            <pc:sldMk cId="3734341024" sldId="401"/>
            <ac:spMk id="6" creationId="{65462CE1-95B3-B9AE-760C-C066034C9E7E}"/>
          </ac:spMkLst>
        </pc:spChg>
        <pc:spChg chg="mod">
          <ac:chgData name="KevCla12" userId="ef2eb634-4620-450f-93cc-80cc93397e60" providerId="ADAL" clId="{0BF56A33-4BC5-423F-96C0-6A8645FA96BB}" dt="2023-12-03T21:48:07.075" v="31240" actId="790"/>
          <ac:spMkLst>
            <pc:docMk/>
            <pc:sldMk cId="3734341024" sldId="401"/>
            <ac:spMk id="7" creationId="{11F160B7-F74D-15CE-CFC3-34DCEDEBE2C8}"/>
          </ac:spMkLst>
        </pc:spChg>
        <pc:spChg chg="mod">
          <ac:chgData name="KevCla12" userId="ef2eb634-4620-450f-93cc-80cc93397e60" providerId="ADAL" clId="{0BF56A33-4BC5-423F-96C0-6A8645FA96BB}" dt="2023-12-03T21:48:07.081" v="31241" actId="790"/>
          <ac:spMkLst>
            <pc:docMk/>
            <pc:sldMk cId="3734341024" sldId="401"/>
            <ac:spMk id="9" creationId="{848143C4-1FFE-C371-A13A-14198E230F93}"/>
          </ac:spMkLst>
        </pc:spChg>
      </pc:sldChg>
      <pc:sldChg chg="modSp mod modNotes">
        <pc:chgData name="KevCla12" userId="ef2eb634-4620-450f-93cc-80cc93397e60" providerId="ADAL" clId="{0BF56A33-4BC5-423F-96C0-6A8645FA96BB}" dt="2023-12-03T21:48:09.516" v="32532" actId="790"/>
        <pc:sldMkLst>
          <pc:docMk/>
          <pc:sldMk cId="2022865067" sldId="402"/>
        </pc:sldMkLst>
        <pc:spChg chg="mod">
          <ac:chgData name="KevCla12" userId="ef2eb634-4620-450f-93cc-80cc93397e60" providerId="ADAL" clId="{0BF56A33-4BC5-423F-96C0-6A8645FA96BB}" dt="2023-12-03T21:48:09.498" v="32512" actId="790"/>
          <ac:spMkLst>
            <pc:docMk/>
            <pc:sldMk cId="2022865067" sldId="402"/>
            <ac:spMk id="2" creationId="{8F165729-E43D-4A32-49F0-1A6388CDBE16}"/>
          </ac:spMkLst>
        </pc:spChg>
        <pc:spChg chg="mod">
          <ac:chgData name="KevCla12" userId="ef2eb634-4620-450f-93cc-80cc93397e60" providerId="ADAL" clId="{0BF56A33-4BC5-423F-96C0-6A8645FA96BB}" dt="2023-12-03T21:48:09.499" v="32513" actId="790"/>
          <ac:spMkLst>
            <pc:docMk/>
            <pc:sldMk cId="2022865067" sldId="402"/>
            <ac:spMk id="4" creationId="{C14DAEE7-5727-71D5-2955-ABA2978C9394}"/>
          </ac:spMkLst>
        </pc:spChg>
        <pc:spChg chg="mod">
          <ac:chgData name="KevCla12" userId="ef2eb634-4620-450f-93cc-80cc93397e60" providerId="ADAL" clId="{0BF56A33-4BC5-423F-96C0-6A8645FA96BB}" dt="2023-12-03T21:48:09.499" v="32514" actId="790"/>
          <ac:spMkLst>
            <pc:docMk/>
            <pc:sldMk cId="2022865067" sldId="402"/>
            <ac:spMk id="5" creationId="{0AE040AF-3030-42B0-304D-60F16882F598}"/>
          </ac:spMkLst>
        </pc:spChg>
        <pc:spChg chg="mod">
          <ac:chgData name="KevCla12" userId="ef2eb634-4620-450f-93cc-80cc93397e60" providerId="ADAL" clId="{0BF56A33-4BC5-423F-96C0-6A8645FA96BB}" dt="2023-12-03T21:48:09.501" v="32515" actId="790"/>
          <ac:spMkLst>
            <pc:docMk/>
            <pc:sldMk cId="2022865067" sldId="402"/>
            <ac:spMk id="6" creationId="{1CFAA2CF-7A1E-03AA-AB60-66E8B11E432D}"/>
          </ac:spMkLst>
        </pc:spChg>
        <pc:spChg chg="mod">
          <ac:chgData name="KevCla12" userId="ef2eb634-4620-450f-93cc-80cc93397e60" providerId="ADAL" clId="{0BF56A33-4BC5-423F-96C0-6A8645FA96BB}" dt="2023-12-03T21:48:09.496" v="32509" actId="790"/>
          <ac:spMkLst>
            <pc:docMk/>
            <pc:sldMk cId="2022865067" sldId="402"/>
            <ac:spMk id="8" creationId="{6D6D110A-645F-4F39-F720-6FA092AE23B2}"/>
          </ac:spMkLst>
        </pc:spChg>
        <pc:spChg chg="mod">
          <ac:chgData name="KevCla12" userId="ef2eb634-4620-450f-93cc-80cc93397e60" providerId="ADAL" clId="{0BF56A33-4BC5-423F-96C0-6A8645FA96BB}" dt="2023-12-03T21:48:09.496" v="32510" actId="790"/>
          <ac:spMkLst>
            <pc:docMk/>
            <pc:sldMk cId="2022865067" sldId="402"/>
            <ac:spMk id="16" creationId="{41F89FD0-0EEB-0ACA-13B1-BB8E7936ECF0}"/>
          </ac:spMkLst>
        </pc:spChg>
        <pc:spChg chg="mod">
          <ac:chgData name="KevCla12" userId="ef2eb634-4620-450f-93cc-80cc93397e60" providerId="ADAL" clId="{0BF56A33-4BC5-423F-96C0-6A8645FA96BB}" dt="2023-12-03T21:48:09.504" v="32517" actId="790"/>
          <ac:spMkLst>
            <pc:docMk/>
            <pc:sldMk cId="2022865067" sldId="402"/>
            <ac:spMk id="17" creationId="{AD88234A-D941-726C-82CE-020882965F2B}"/>
          </ac:spMkLst>
        </pc:spChg>
        <pc:spChg chg="mod">
          <ac:chgData name="KevCla12" userId="ef2eb634-4620-450f-93cc-80cc93397e60" providerId="ADAL" clId="{0BF56A33-4BC5-423F-96C0-6A8645FA96BB}" dt="2023-12-03T21:48:09.505" v="32518" actId="790"/>
          <ac:spMkLst>
            <pc:docMk/>
            <pc:sldMk cId="2022865067" sldId="402"/>
            <ac:spMk id="19" creationId="{AB361B7B-FC9B-CC36-C059-1B809871715B}"/>
          </ac:spMkLst>
        </pc:spChg>
        <pc:spChg chg="mod">
          <ac:chgData name="KevCla12" userId="ef2eb634-4620-450f-93cc-80cc93397e60" providerId="ADAL" clId="{0BF56A33-4BC5-423F-96C0-6A8645FA96BB}" dt="2023-12-03T21:48:09.506" v="32519" actId="790"/>
          <ac:spMkLst>
            <pc:docMk/>
            <pc:sldMk cId="2022865067" sldId="402"/>
            <ac:spMk id="21" creationId="{31176791-E245-AA11-F8CA-6AC5BB8FAF94}"/>
          </ac:spMkLst>
        </pc:spChg>
        <pc:spChg chg="mod">
          <ac:chgData name="KevCla12" userId="ef2eb634-4620-450f-93cc-80cc93397e60" providerId="ADAL" clId="{0BF56A33-4BC5-423F-96C0-6A8645FA96BB}" dt="2023-12-03T21:48:09.502" v="32516" actId="790"/>
          <ac:spMkLst>
            <pc:docMk/>
            <pc:sldMk cId="2022865067" sldId="402"/>
            <ac:spMk id="28" creationId="{0DE03E7D-79DD-1D19-0DB1-4FBDED8A9934}"/>
          </ac:spMkLst>
        </pc:spChg>
        <pc:spChg chg="mod">
          <ac:chgData name="KevCla12" userId="ef2eb634-4620-450f-93cc-80cc93397e60" providerId="ADAL" clId="{0BF56A33-4BC5-423F-96C0-6A8645FA96BB}" dt="2023-12-03T21:48:09.507" v="32520" actId="790"/>
          <ac:spMkLst>
            <pc:docMk/>
            <pc:sldMk cId="2022865067" sldId="402"/>
            <ac:spMk id="29" creationId="{BE0ED9D2-384F-AA22-9747-AAF49E1A2917}"/>
          </ac:spMkLst>
        </pc:spChg>
        <pc:spChg chg="mod">
          <ac:chgData name="KevCla12" userId="ef2eb634-4620-450f-93cc-80cc93397e60" providerId="ADAL" clId="{0BF56A33-4BC5-423F-96C0-6A8645FA96BB}" dt="2023-12-03T21:48:09.508" v="32521" actId="790"/>
          <ac:spMkLst>
            <pc:docMk/>
            <pc:sldMk cId="2022865067" sldId="402"/>
            <ac:spMk id="30" creationId="{06A41644-541E-BD53-BE86-1E876A59CC90}"/>
          </ac:spMkLst>
        </pc:spChg>
        <pc:spChg chg="mod">
          <ac:chgData name="KevCla12" userId="ef2eb634-4620-450f-93cc-80cc93397e60" providerId="ADAL" clId="{0BF56A33-4BC5-423F-96C0-6A8645FA96BB}" dt="2023-12-03T21:48:09.509" v="32522" actId="790"/>
          <ac:spMkLst>
            <pc:docMk/>
            <pc:sldMk cId="2022865067" sldId="402"/>
            <ac:spMk id="31" creationId="{19B4C18F-B06E-0C97-8835-83426176DC73}"/>
          </ac:spMkLst>
        </pc:spChg>
        <pc:spChg chg="mod">
          <ac:chgData name="KevCla12" userId="ef2eb634-4620-450f-93cc-80cc93397e60" providerId="ADAL" clId="{0BF56A33-4BC5-423F-96C0-6A8645FA96BB}" dt="2023-12-03T21:48:09.510" v="32523" actId="790"/>
          <ac:spMkLst>
            <pc:docMk/>
            <pc:sldMk cId="2022865067" sldId="402"/>
            <ac:spMk id="32" creationId="{4B6C4874-BB42-40C3-DB41-A0367491E14A}"/>
          </ac:spMkLst>
        </pc:spChg>
        <pc:spChg chg="mod">
          <ac:chgData name="KevCla12" userId="ef2eb634-4620-450f-93cc-80cc93397e60" providerId="ADAL" clId="{0BF56A33-4BC5-423F-96C0-6A8645FA96BB}" dt="2023-12-03T21:48:09.514" v="32530" actId="790"/>
          <ac:spMkLst>
            <pc:docMk/>
            <pc:sldMk cId="2022865067" sldId="402"/>
            <ac:spMk id="37" creationId="{4C3BCBAE-6702-95C7-7B11-0F54FA03A8AF}"/>
          </ac:spMkLst>
        </pc:spChg>
        <pc:spChg chg="mod">
          <ac:chgData name="KevCla12" userId="ef2eb634-4620-450f-93cc-80cc93397e60" providerId="ADAL" clId="{0BF56A33-4BC5-423F-96C0-6A8645FA96BB}" dt="2023-12-03T21:48:09.497" v="32511" actId="790"/>
          <ac:spMkLst>
            <pc:docMk/>
            <pc:sldMk cId="2022865067" sldId="402"/>
            <ac:spMk id="44" creationId="{20657DC4-4634-A286-177B-987465D1C832}"/>
          </ac:spMkLst>
        </pc:spChg>
        <pc:spChg chg="mod">
          <ac:chgData name="KevCla12" userId="ef2eb634-4620-450f-93cc-80cc93397e60" providerId="ADAL" clId="{0BF56A33-4BC5-423F-96C0-6A8645FA96BB}" dt="2023-12-03T21:48:09.510" v="32524" actId="790"/>
          <ac:spMkLst>
            <pc:docMk/>
            <pc:sldMk cId="2022865067" sldId="402"/>
            <ac:spMk id="45" creationId="{5A10CAF8-A401-2B01-3999-E02172B71DB3}"/>
          </ac:spMkLst>
        </pc:spChg>
        <pc:spChg chg="mod">
          <ac:chgData name="KevCla12" userId="ef2eb634-4620-450f-93cc-80cc93397e60" providerId="ADAL" clId="{0BF56A33-4BC5-423F-96C0-6A8645FA96BB}" dt="2023-12-03T21:48:09.511" v="32525" actId="790"/>
          <ac:spMkLst>
            <pc:docMk/>
            <pc:sldMk cId="2022865067" sldId="402"/>
            <ac:spMk id="46" creationId="{7DD16662-31DA-1821-5991-71E43007101C}"/>
          </ac:spMkLst>
        </pc:spChg>
        <pc:spChg chg="mod">
          <ac:chgData name="KevCla12" userId="ef2eb634-4620-450f-93cc-80cc93397e60" providerId="ADAL" clId="{0BF56A33-4BC5-423F-96C0-6A8645FA96BB}" dt="2023-12-03T21:48:09.512" v="32526" actId="790"/>
          <ac:spMkLst>
            <pc:docMk/>
            <pc:sldMk cId="2022865067" sldId="402"/>
            <ac:spMk id="47" creationId="{3AC9323F-ADF6-F038-8256-0AC27DCFA0D6}"/>
          </ac:spMkLst>
        </pc:spChg>
        <pc:spChg chg="mod">
          <ac:chgData name="KevCla12" userId="ef2eb634-4620-450f-93cc-80cc93397e60" providerId="ADAL" clId="{0BF56A33-4BC5-423F-96C0-6A8645FA96BB}" dt="2023-12-03T21:48:09.512" v="32527" actId="790"/>
          <ac:spMkLst>
            <pc:docMk/>
            <pc:sldMk cId="2022865067" sldId="402"/>
            <ac:spMk id="48" creationId="{C055B805-BCBD-7067-8B8E-B70F6DB45E3C}"/>
          </ac:spMkLst>
        </pc:spChg>
        <pc:spChg chg="mod">
          <ac:chgData name="KevCla12" userId="ef2eb634-4620-450f-93cc-80cc93397e60" providerId="ADAL" clId="{0BF56A33-4BC5-423F-96C0-6A8645FA96BB}" dt="2023-12-03T21:48:09.513" v="32528" actId="790"/>
          <ac:spMkLst>
            <pc:docMk/>
            <pc:sldMk cId="2022865067" sldId="402"/>
            <ac:spMk id="49" creationId="{9D21F484-C72C-3257-8568-A4369910EF53}"/>
          </ac:spMkLst>
        </pc:spChg>
        <pc:spChg chg="mod">
          <ac:chgData name="KevCla12" userId="ef2eb634-4620-450f-93cc-80cc93397e60" providerId="ADAL" clId="{0BF56A33-4BC5-423F-96C0-6A8645FA96BB}" dt="2023-12-03T21:48:09.514" v="32529" actId="790"/>
          <ac:spMkLst>
            <pc:docMk/>
            <pc:sldMk cId="2022865067" sldId="402"/>
            <ac:spMk id="50" creationId="{68996FD2-BD09-D43C-F4A6-88971283125B}"/>
          </ac:spMkLst>
        </pc:spChg>
      </pc:sldChg>
      <pc:sldChg chg="modSp mod modNotes">
        <pc:chgData name="KevCla12" userId="ef2eb634-4620-450f-93cc-80cc93397e60" providerId="ADAL" clId="{0BF56A33-4BC5-423F-96C0-6A8645FA96BB}" dt="2023-12-03T21:48:10.104" v="32564" actId="790"/>
        <pc:sldMkLst>
          <pc:docMk/>
          <pc:sldMk cId="141491088" sldId="403"/>
        </pc:sldMkLst>
        <pc:spChg chg="mod">
          <ac:chgData name="KevCla12" userId="ef2eb634-4620-450f-93cc-80cc93397e60" providerId="ADAL" clId="{0BF56A33-4BC5-423F-96C0-6A8645FA96BB}" dt="2023-12-03T21:48:10.090" v="32553" actId="790"/>
          <ac:spMkLst>
            <pc:docMk/>
            <pc:sldMk cId="141491088" sldId="403"/>
            <ac:spMk id="2" creationId="{25767FDB-C4AA-C65E-7FCB-EA4CC1B448D5}"/>
          </ac:spMkLst>
        </pc:spChg>
        <pc:spChg chg="mod">
          <ac:chgData name="KevCla12" userId="ef2eb634-4620-450f-93cc-80cc93397e60" providerId="ADAL" clId="{0BF56A33-4BC5-423F-96C0-6A8645FA96BB}" dt="2023-12-03T21:48:10.091" v="32554" actId="790"/>
          <ac:spMkLst>
            <pc:docMk/>
            <pc:sldMk cId="141491088" sldId="403"/>
            <ac:spMk id="4" creationId="{BF796BD9-2780-0C5D-BAD3-2B71D74DD974}"/>
          </ac:spMkLst>
        </pc:spChg>
        <pc:spChg chg="mod">
          <ac:chgData name="KevCla12" userId="ef2eb634-4620-450f-93cc-80cc93397e60" providerId="ADAL" clId="{0BF56A33-4BC5-423F-96C0-6A8645FA96BB}" dt="2023-12-03T21:48:10.091" v="32555" actId="790"/>
          <ac:spMkLst>
            <pc:docMk/>
            <pc:sldMk cId="141491088" sldId="403"/>
            <ac:spMk id="6" creationId="{47837E85-005B-304C-91FD-68B539650161}"/>
          </ac:spMkLst>
        </pc:spChg>
        <pc:spChg chg="mod">
          <ac:chgData name="KevCla12" userId="ef2eb634-4620-450f-93cc-80cc93397e60" providerId="ADAL" clId="{0BF56A33-4BC5-423F-96C0-6A8645FA96BB}" dt="2023-12-03T21:48:10.092" v="32556" actId="790"/>
          <ac:spMkLst>
            <pc:docMk/>
            <pc:sldMk cId="141491088" sldId="403"/>
            <ac:spMk id="7" creationId="{73E6E0C4-5121-BE00-C470-A5F04A64BCE9}"/>
          </ac:spMkLst>
        </pc:spChg>
        <pc:spChg chg="mod">
          <ac:chgData name="KevCla12" userId="ef2eb634-4620-450f-93cc-80cc93397e60" providerId="ADAL" clId="{0BF56A33-4BC5-423F-96C0-6A8645FA96BB}" dt="2023-12-03T21:48:10.093" v="32557" actId="790"/>
          <ac:spMkLst>
            <pc:docMk/>
            <pc:sldMk cId="141491088" sldId="403"/>
            <ac:spMk id="8" creationId="{9A2FEE95-B2E9-EC0C-872D-24A8EBA98217}"/>
          </ac:spMkLst>
        </pc:spChg>
        <pc:spChg chg="mod">
          <ac:chgData name="KevCla12" userId="ef2eb634-4620-450f-93cc-80cc93397e60" providerId="ADAL" clId="{0BF56A33-4BC5-423F-96C0-6A8645FA96BB}" dt="2023-12-03T21:48:10.089" v="32552" actId="790"/>
          <ac:spMkLst>
            <pc:docMk/>
            <pc:sldMk cId="141491088" sldId="403"/>
            <ac:spMk id="10" creationId="{0533EE97-F5B4-206D-A0FC-546409FE6794}"/>
          </ac:spMkLst>
        </pc:spChg>
        <pc:spChg chg="mod">
          <ac:chgData name="KevCla12" userId="ef2eb634-4620-450f-93cc-80cc93397e60" providerId="ADAL" clId="{0BF56A33-4BC5-423F-96C0-6A8645FA96BB}" dt="2023-12-03T21:48:10.094" v="32558" actId="790"/>
          <ac:spMkLst>
            <pc:docMk/>
            <pc:sldMk cId="141491088" sldId="403"/>
            <ac:spMk id="18" creationId="{6FE92197-8415-18F1-42DE-F30220BC69CD}"/>
          </ac:spMkLst>
        </pc:spChg>
        <pc:spChg chg="mod">
          <ac:chgData name="KevCla12" userId="ef2eb634-4620-450f-93cc-80cc93397e60" providerId="ADAL" clId="{0BF56A33-4BC5-423F-96C0-6A8645FA96BB}" dt="2023-12-03T21:48:10.097" v="32559" actId="790"/>
          <ac:spMkLst>
            <pc:docMk/>
            <pc:sldMk cId="141491088" sldId="403"/>
            <ac:spMk id="25" creationId="{D562F553-92E2-3C38-DF91-80BCA4125F3B}"/>
          </ac:spMkLst>
        </pc:spChg>
        <pc:spChg chg="mod">
          <ac:chgData name="KevCla12" userId="ef2eb634-4620-450f-93cc-80cc93397e60" providerId="ADAL" clId="{0BF56A33-4BC5-423F-96C0-6A8645FA96BB}" dt="2023-12-03T21:48:10.099" v="32560" actId="790"/>
          <ac:spMkLst>
            <pc:docMk/>
            <pc:sldMk cId="141491088" sldId="403"/>
            <ac:spMk id="26" creationId="{87BE9248-14C5-07D4-FCF7-A3206C5A6C6E}"/>
          </ac:spMkLst>
        </pc:spChg>
        <pc:spChg chg="mod">
          <ac:chgData name="KevCla12" userId="ef2eb634-4620-450f-93cc-80cc93397e60" providerId="ADAL" clId="{0BF56A33-4BC5-423F-96C0-6A8645FA96BB}" dt="2023-12-03T21:48:10.101" v="32561" actId="790"/>
          <ac:spMkLst>
            <pc:docMk/>
            <pc:sldMk cId="141491088" sldId="403"/>
            <ac:spMk id="27" creationId="{BB4989C7-2B20-5E43-CDA7-B81CA768626F}"/>
          </ac:spMkLst>
        </pc:spChg>
        <pc:spChg chg="mod">
          <ac:chgData name="KevCla12" userId="ef2eb634-4620-450f-93cc-80cc93397e60" providerId="ADAL" clId="{0BF56A33-4BC5-423F-96C0-6A8645FA96BB}" dt="2023-12-03T21:48:10.102" v="32562" actId="790"/>
          <ac:spMkLst>
            <pc:docMk/>
            <pc:sldMk cId="141491088" sldId="403"/>
            <ac:spMk id="28" creationId="{53AC2810-83B1-8F0C-21BB-B3252179721B}"/>
          </ac:spMkLst>
        </pc:spChg>
      </pc:sldChg>
      <pc:sldChg chg="modSp add mod modNotes modNotesTx">
        <pc:chgData name="KevCla12" userId="ef2eb634-4620-450f-93cc-80cc93397e60" providerId="ADAL" clId="{0BF56A33-4BC5-423F-96C0-6A8645FA96BB}" dt="2023-12-03T21:48:07.727" v="31583" actId="790"/>
        <pc:sldMkLst>
          <pc:docMk/>
          <pc:sldMk cId="2276428877" sldId="407"/>
        </pc:sldMkLst>
        <pc:spChg chg="mod">
          <ac:chgData name="KevCla12" userId="ef2eb634-4620-450f-93cc-80cc93397e60" providerId="ADAL" clId="{0BF56A33-4BC5-423F-96C0-6A8645FA96BB}" dt="2023-12-03T21:48:07.655" v="31563" actId="790"/>
          <ac:spMkLst>
            <pc:docMk/>
            <pc:sldMk cId="2276428877" sldId="407"/>
            <ac:spMk id="2" creationId="{00000000-0000-0000-0000-000000000000}"/>
          </ac:spMkLst>
        </pc:spChg>
        <pc:spChg chg="mod">
          <ac:chgData name="KevCla12" userId="ef2eb634-4620-450f-93cc-80cc93397e60" providerId="ADAL" clId="{0BF56A33-4BC5-423F-96C0-6A8645FA96BB}" dt="2023-12-03T21:48:07.657" v="31564" actId="790"/>
          <ac:spMkLst>
            <pc:docMk/>
            <pc:sldMk cId="2276428877" sldId="407"/>
            <ac:spMk id="4" creationId="{58F03B6E-0ABD-9A45-A8AD-1D337471F166}"/>
          </ac:spMkLst>
        </pc:spChg>
        <pc:spChg chg="mod">
          <ac:chgData name="KevCla12" userId="ef2eb634-4620-450f-93cc-80cc93397e60" providerId="ADAL" clId="{0BF56A33-4BC5-423F-96C0-6A8645FA96BB}" dt="2023-12-03T21:48:07.657" v="31565" actId="790"/>
          <ac:spMkLst>
            <pc:docMk/>
            <pc:sldMk cId="2276428877" sldId="407"/>
            <ac:spMk id="6" creationId="{31E6ED68-EB48-E469-2265-11FFFB30CDC0}"/>
          </ac:spMkLst>
        </pc:spChg>
        <pc:spChg chg="mod">
          <ac:chgData name="KevCla12" userId="ef2eb634-4620-450f-93cc-80cc93397e60" providerId="ADAL" clId="{0BF56A33-4BC5-423F-96C0-6A8645FA96BB}" dt="2023-12-03T21:48:07.675" v="31567" actId="790"/>
          <ac:spMkLst>
            <pc:docMk/>
            <pc:sldMk cId="2276428877" sldId="407"/>
            <ac:spMk id="11" creationId="{00000000-0000-0000-0000-000000000000}"/>
          </ac:spMkLst>
        </pc:spChg>
        <pc:spChg chg="mod">
          <ac:chgData name="KevCla12" userId="ef2eb634-4620-450f-93cc-80cc93397e60" providerId="ADAL" clId="{0BF56A33-4BC5-423F-96C0-6A8645FA96BB}" dt="2023-12-03T21:48:07.684" v="31568" actId="790"/>
          <ac:spMkLst>
            <pc:docMk/>
            <pc:sldMk cId="2276428877" sldId="407"/>
            <ac:spMk id="13" creationId="{F3ADBC87-5EC1-FC39-39C0-CA4C14145966}"/>
          </ac:spMkLst>
        </pc:spChg>
        <pc:spChg chg="mod">
          <ac:chgData name="KevCla12" userId="ef2eb634-4620-450f-93cc-80cc93397e60" providerId="ADAL" clId="{0BF56A33-4BC5-423F-96C0-6A8645FA96BB}" dt="2023-12-03T21:48:07.673" v="31566" actId="790"/>
          <ac:spMkLst>
            <pc:docMk/>
            <pc:sldMk cId="2276428877" sldId="407"/>
            <ac:spMk id="18" creationId="{26F57D5F-805A-329F-D436-4551E25C0373}"/>
          </ac:spMkLst>
        </pc:spChg>
        <pc:spChg chg="mod">
          <ac:chgData name="KevCla12" userId="ef2eb634-4620-450f-93cc-80cc93397e60" providerId="ADAL" clId="{0BF56A33-4BC5-423F-96C0-6A8645FA96BB}" dt="2023-12-03T21:48:07.686" v="31569" actId="790"/>
          <ac:spMkLst>
            <pc:docMk/>
            <pc:sldMk cId="2276428877" sldId="407"/>
            <ac:spMk id="23" creationId="{BE83C5AD-449A-04C3-309F-04A78E3B67C4}"/>
          </ac:spMkLst>
        </pc:spChg>
        <pc:graphicFrameChg chg="modGraphic">
          <ac:chgData name="KevCla12" userId="ef2eb634-4620-450f-93cc-80cc93397e60" providerId="ADAL" clId="{0BF56A33-4BC5-423F-96C0-6A8645FA96BB}" dt="2023-12-03T21:48:07.725" v="31581" actId="790"/>
          <ac:graphicFrameMkLst>
            <pc:docMk/>
            <pc:sldMk cId="2276428877" sldId="407"/>
            <ac:graphicFrameMk id="24" creationId="{55C3801A-8F17-2A31-5108-09246B31A4CF}"/>
          </ac:graphicFrameMkLst>
        </pc:graphicFrameChg>
      </pc:sldChg>
      <pc:sldChg chg="modSp add mod modNotes modNotesTx">
        <pc:chgData name="KevCla12" userId="ef2eb634-4620-450f-93cc-80cc93397e60" providerId="ADAL" clId="{0BF56A33-4BC5-423F-96C0-6A8645FA96BB}" dt="2023-12-03T21:48:07.778" v="31595" actId="790"/>
        <pc:sldMkLst>
          <pc:docMk/>
          <pc:sldMk cId="3457977924" sldId="408"/>
        </pc:sldMkLst>
        <pc:spChg chg="mod">
          <ac:chgData name="KevCla12" userId="ef2eb634-4620-450f-93cc-80cc93397e60" providerId="ADAL" clId="{0BF56A33-4BC5-423F-96C0-6A8645FA96BB}" dt="2023-12-03T21:48:07.731" v="31584" actId="790"/>
          <ac:spMkLst>
            <pc:docMk/>
            <pc:sldMk cId="3457977924" sldId="408"/>
            <ac:spMk id="2" creationId="{00000000-0000-0000-0000-000000000000}"/>
          </ac:spMkLst>
        </pc:spChg>
        <pc:spChg chg="mod">
          <ac:chgData name="KevCla12" userId="ef2eb634-4620-450f-93cc-80cc93397e60" providerId="ADAL" clId="{0BF56A33-4BC5-423F-96C0-6A8645FA96BB}" dt="2023-12-03T21:48:07.732" v="31585" actId="790"/>
          <ac:spMkLst>
            <pc:docMk/>
            <pc:sldMk cId="3457977924" sldId="408"/>
            <ac:spMk id="4" creationId="{58F03B6E-0ABD-9A45-A8AD-1D337471F166}"/>
          </ac:spMkLst>
        </pc:spChg>
        <pc:spChg chg="mod">
          <ac:chgData name="KevCla12" userId="ef2eb634-4620-450f-93cc-80cc93397e60" providerId="ADAL" clId="{0BF56A33-4BC5-423F-96C0-6A8645FA96BB}" dt="2023-12-03T21:48:07.733" v="31586" actId="790"/>
          <ac:spMkLst>
            <pc:docMk/>
            <pc:sldMk cId="3457977924" sldId="408"/>
            <ac:spMk id="5" creationId="{E1061BD4-B7F4-9711-4C6F-155DC696033A}"/>
          </ac:spMkLst>
        </pc:spChg>
        <pc:spChg chg="mod">
          <ac:chgData name="KevCla12" userId="ef2eb634-4620-450f-93cc-80cc93397e60" providerId="ADAL" clId="{0BF56A33-4BC5-423F-96C0-6A8645FA96BB}" dt="2023-12-03T21:48:07.734" v="31587" actId="790"/>
          <ac:spMkLst>
            <pc:docMk/>
            <pc:sldMk cId="3457977924" sldId="408"/>
            <ac:spMk id="6" creationId="{31E6ED68-EB48-E469-2265-11FFFB30CDC0}"/>
          </ac:spMkLst>
        </pc:spChg>
        <pc:spChg chg="mod">
          <ac:chgData name="KevCla12" userId="ef2eb634-4620-450f-93cc-80cc93397e60" providerId="ADAL" clId="{0BF56A33-4BC5-423F-96C0-6A8645FA96BB}" dt="2023-12-03T21:48:07.735" v="31588" actId="790"/>
          <ac:spMkLst>
            <pc:docMk/>
            <pc:sldMk cId="3457977924" sldId="408"/>
            <ac:spMk id="7" creationId="{F19E25CD-7E78-6B8C-D8A0-8F42EB7A5A03}"/>
          </ac:spMkLst>
        </pc:spChg>
        <pc:spChg chg="mod">
          <ac:chgData name="KevCla12" userId="ef2eb634-4620-450f-93cc-80cc93397e60" providerId="ADAL" clId="{0BF56A33-4BC5-423F-96C0-6A8645FA96BB}" dt="2023-12-03T21:48:07.750" v="31589" actId="790"/>
          <ac:spMkLst>
            <pc:docMk/>
            <pc:sldMk cId="3457977924" sldId="408"/>
            <ac:spMk id="12" creationId="{715FE74A-F784-B6A1-BBE1-4819EBD55F01}"/>
          </ac:spMkLst>
        </pc:spChg>
        <pc:spChg chg="mod">
          <ac:chgData name="KevCla12" userId="ef2eb634-4620-450f-93cc-80cc93397e60" providerId="ADAL" clId="{0BF56A33-4BC5-423F-96C0-6A8645FA96BB}" dt="2023-12-03T21:48:07.761" v="31590" actId="790"/>
          <ac:spMkLst>
            <pc:docMk/>
            <pc:sldMk cId="3457977924" sldId="408"/>
            <ac:spMk id="15" creationId="{781FBB8A-EF6B-E63E-ABD9-793EEB7BEAE1}"/>
          </ac:spMkLst>
        </pc:spChg>
        <pc:spChg chg="mod">
          <ac:chgData name="KevCla12" userId="ef2eb634-4620-450f-93cc-80cc93397e60" providerId="ADAL" clId="{0BF56A33-4BC5-423F-96C0-6A8645FA96BB}" dt="2023-12-03T21:48:07.762" v="31591" actId="790"/>
          <ac:spMkLst>
            <pc:docMk/>
            <pc:sldMk cId="3457977924" sldId="408"/>
            <ac:spMk id="16" creationId="{05F79B05-6E2A-8CB1-8ACD-4388A43BCABB}"/>
          </ac:spMkLst>
        </pc:spChg>
        <pc:spChg chg="mod">
          <ac:chgData name="KevCla12" userId="ef2eb634-4620-450f-93cc-80cc93397e60" providerId="ADAL" clId="{0BF56A33-4BC5-423F-96C0-6A8645FA96BB}" dt="2023-12-03T21:48:07.775" v="31592" actId="790"/>
          <ac:spMkLst>
            <pc:docMk/>
            <pc:sldMk cId="3457977924" sldId="408"/>
            <ac:spMk id="21" creationId="{5CE7ED7F-1F18-2C04-4E6D-F566AA89488D}"/>
          </ac:spMkLst>
        </pc:spChg>
        <pc:spChg chg="mod">
          <ac:chgData name="KevCla12" userId="ef2eb634-4620-450f-93cc-80cc93397e60" providerId="ADAL" clId="{0BF56A33-4BC5-423F-96C0-6A8645FA96BB}" dt="2023-12-03T21:48:07.777" v="31593" actId="790"/>
          <ac:spMkLst>
            <pc:docMk/>
            <pc:sldMk cId="3457977924" sldId="408"/>
            <ac:spMk id="22" creationId="{7EAF475B-93CF-7C5D-7EEB-A6EF0CFFFEDD}"/>
          </ac:spMkLst>
        </pc:spChg>
      </pc:sldChg>
      <pc:sldChg chg="modSp add mod modNotes modNotesTx">
        <pc:chgData name="KevCla12" userId="ef2eb634-4620-450f-93cc-80cc93397e60" providerId="ADAL" clId="{0BF56A33-4BC5-423F-96C0-6A8645FA96BB}" dt="2023-12-03T21:48:07.832" v="31604" actId="790"/>
        <pc:sldMkLst>
          <pc:docMk/>
          <pc:sldMk cId="123787781" sldId="409"/>
        </pc:sldMkLst>
        <pc:spChg chg="mod">
          <ac:chgData name="KevCla12" userId="ef2eb634-4620-450f-93cc-80cc93397e60" providerId="ADAL" clId="{0BF56A33-4BC5-423F-96C0-6A8645FA96BB}" dt="2023-12-03T21:48:07.782" v="31596" actId="790"/>
          <ac:spMkLst>
            <pc:docMk/>
            <pc:sldMk cId="123787781" sldId="409"/>
            <ac:spMk id="2" creationId="{00000000-0000-0000-0000-000000000000}"/>
          </ac:spMkLst>
        </pc:spChg>
        <pc:spChg chg="mod">
          <ac:chgData name="KevCla12" userId="ef2eb634-4620-450f-93cc-80cc93397e60" providerId="ADAL" clId="{0BF56A33-4BC5-423F-96C0-6A8645FA96BB}" dt="2023-12-03T21:48:07.785" v="31597" actId="790"/>
          <ac:spMkLst>
            <pc:docMk/>
            <pc:sldMk cId="123787781" sldId="409"/>
            <ac:spMk id="4" creationId="{58F03B6E-0ABD-9A45-A8AD-1D337471F166}"/>
          </ac:spMkLst>
        </pc:spChg>
        <pc:spChg chg="mod">
          <ac:chgData name="KevCla12" userId="ef2eb634-4620-450f-93cc-80cc93397e60" providerId="ADAL" clId="{0BF56A33-4BC5-423F-96C0-6A8645FA96BB}" dt="2023-12-03T21:48:07.786" v="31598" actId="790"/>
          <ac:spMkLst>
            <pc:docMk/>
            <pc:sldMk cId="123787781" sldId="409"/>
            <ac:spMk id="5" creationId="{E1061BD4-B7F4-9711-4C6F-155DC696033A}"/>
          </ac:spMkLst>
        </pc:spChg>
        <pc:spChg chg="mod">
          <ac:chgData name="KevCla12" userId="ef2eb634-4620-450f-93cc-80cc93397e60" providerId="ADAL" clId="{0BF56A33-4BC5-423F-96C0-6A8645FA96BB}" dt="2023-12-03T21:48:07.787" v="31599" actId="790"/>
          <ac:spMkLst>
            <pc:docMk/>
            <pc:sldMk cId="123787781" sldId="409"/>
            <ac:spMk id="6" creationId="{31E6ED68-EB48-E469-2265-11FFFB30CDC0}"/>
          </ac:spMkLst>
        </pc:spChg>
        <pc:spChg chg="mod">
          <ac:chgData name="KevCla12" userId="ef2eb634-4620-450f-93cc-80cc93397e60" providerId="ADAL" clId="{0BF56A33-4BC5-423F-96C0-6A8645FA96BB}" dt="2023-12-03T21:48:07.789" v="31600" actId="790"/>
          <ac:spMkLst>
            <pc:docMk/>
            <pc:sldMk cId="123787781" sldId="409"/>
            <ac:spMk id="7" creationId="{C31C96A8-7DCF-C7E4-DEE0-0F32444F8964}"/>
          </ac:spMkLst>
        </pc:spChg>
        <pc:spChg chg="mod">
          <ac:chgData name="KevCla12" userId="ef2eb634-4620-450f-93cc-80cc93397e60" providerId="ADAL" clId="{0BF56A33-4BC5-423F-96C0-6A8645FA96BB}" dt="2023-12-03T21:48:07.813" v="31601" actId="790"/>
          <ac:spMkLst>
            <pc:docMk/>
            <pc:sldMk cId="123787781" sldId="409"/>
            <ac:spMk id="12" creationId="{4CE46A5A-CC66-AEE9-8102-1CE3565DF799}"/>
          </ac:spMkLst>
        </pc:spChg>
        <pc:spChg chg="mod">
          <ac:chgData name="KevCla12" userId="ef2eb634-4620-450f-93cc-80cc93397e60" providerId="ADAL" clId="{0BF56A33-4BC5-423F-96C0-6A8645FA96BB}" dt="2023-12-03T21:48:07.829" v="31602" actId="790"/>
          <ac:spMkLst>
            <pc:docMk/>
            <pc:sldMk cId="123787781" sldId="409"/>
            <ac:spMk id="13" creationId="{4BB0C18B-5C9C-E66E-16C6-9BA27182F364}"/>
          </ac:spMkLst>
        </pc:spChg>
      </pc:sldChg>
      <pc:sldChg chg="modSp add mod modNotes">
        <pc:chgData name="KevCla12" userId="ef2eb634-4620-450f-93cc-80cc93397e60" providerId="ADAL" clId="{0BF56A33-4BC5-423F-96C0-6A8645FA96BB}" dt="2023-12-03T21:48:07.914" v="31619" actId="790"/>
        <pc:sldMkLst>
          <pc:docMk/>
          <pc:sldMk cId="2727042144" sldId="410"/>
        </pc:sldMkLst>
        <pc:spChg chg="mod">
          <ac:chgData name="KevCla12" userId="ef2eb634-4620-450f-93cc-80cc93397e60" providerId="ADAL" clId="{0BF56A33-4BC5-423F-96C0-6A8645FA96BB}" dt="2023-12-03T21:48:07.837" v="31605" actId="790"/>
          <ac:spMkLst>
            <pc:docMk/>
            <pc:sldMk cId="2727042144" sldId="410"/>
            <ac:spMk id="2" creationId="{8A638107-BB38-D78B-EEA1-E706A1E14DCB}"/>
          </ac:spMkLst>
        </pc:spChg>
        <pc:spChg chg="mod">
          <ac:chgData name="KevCla12" userId="ef2eb634-4620-450f-93cc-80cc93397e60" providerId="ADAL" clId="{0BF56A33-4BC5-423F-96C0-6A8645FA96BB}" dt="2023-12-03T21:48:07.838" v="31606" actId="790"/>
          <ac:spMkLst>
            <pc:docMk/>
            <pc:sldMk cId="2727042144" sldId="410"/>
            <ac:spMk id="4" creationId="{D67C19B5-6324-B114-EA67-CDE824B6C833}"/>
          </ac:spMkLst>
        </pc:spChg>
        <pc:spChg chg="mod">
          <ac:chgData name="KevCla12" userId="ef2eb634-4620-450f-93cc-80cc93397e60" providerId="ADAL" clId="{0BF56A33-4BC5-423F-96C0-6A8645FA96BB}" dt="2023-12-03T21:48:07.841" v="31607" actId="790"/>
          <ac:spMkLst>
            <pc:docMk/>
            <pc:sldMk cId="2727042144" sldId="410"/>
            <ac:spMk id="5" creationId="{A3B275E9-7B27-F4F5-EAF9-63A0E910857B}"/>
          </ac:spMkLst>
        </pc:spChg>
        <pc:spChg chg="mod">
          <ac:chgData name="KevCla12" userId="ef2eb634-4620-450f-93cc-80cc93397e60" providerId="ADAL" clId="{0BF56A33-4BC5-423F-96C0-6A8645FA96BB}" dt="2023-12-03T21:48:07.842" v="31608" actId="790"/>
          <ac:spMkLst>
            <pc:docMk/>
            <pc:sldMk cId="2727042144" sldId="410"/>
            <ac:spMk id="6" creationId="{CA9178D6-1C01-E290-F423-E5C616CD4663}"/>
          </ac:spMkLst>
        </pc:spChg>
        <pc:spChg chg="mod">
          <ac:chgData name="KevCla12" userId="ef2eb634-4620-450f-93cc-80cc93397e60" providerId="ADAL" clId="{0BF56A33-4BC5-423F-96C0-6A8645FA96BB}" dt="2023-12-03T21:48:07.843" v="31609" actId="790"/>
          <ac:spMkLst>
            <pc:docMk/>
            <pc:sldMk cId="2727042144" sldId="410"/>
            <ac:spMk id="7" creationId="{8E8711EA-E530-E635-CACE-27489BE05199}"/>
          </ac:spMkLst>
        </pc:spChg>
        <pc:spChg chg="mod">
          <ac:chgData name="KevCla12" userId="ef2eb634-4620-450f-93cc-80cc93397e60" providerId="ADAL" clId="{0BF56A33-4BC5-423F-96C0-6A8645FA96BB}" dt="2023-12-03T21:48:07.857" v="31610" actId="790"/>
          <ac:spMkLst>
            <pc:docMk/>
            <pc:sldMk cId="2727042144" sldId="410"/>
            <ac:spMk id="8" creationId="{06B5135D-E6BC-FE65-8469-685BEFDC6CB7}"/>
          </ac:spMkLst>
        </pc:spChg>
        <pc:spChg chg="mod">
          <ac:chgData name="KevCla12" userId="ef2eb634-4620-450f-93cc-80cc93397e60" providerId="ADAL" clId="{0BF56A33-4BC5-423F-96C0-6A8645FA96BB}" dt="2023-12-03T21:48:07.861" v="31611" actId="790"/>
          <ac:spMkLst>
            <pc:docMk/>
            <pc:sldMk cId="2727042144" sldId="410"/>
            <ac:spMk id="9" creationId="{DA555E98-088F-4321-CE4D-EF5A89873089}"/>
          </ac:spMkLst>
        </pc:spChg>
        <pc:spChg chg="mod">
          <ac:chgData name="KevCla12" userId="ef2eb634-4620-450f-93cc-80cc93397e60" providerId="ADAL" clId="{0BF56A33-4BC5-423F-96C0-6A8645FA96BB}" dt="2023-12-03T21:48:07.876" v="31612" actId="790"/>
          <ac:spMkLst>
            <pc:docMk/>
            <pc:sldMk cId="2727042144" sldId="410"/>
            <ac:spMk id="11" creationId="{4EE8697D-ED79-19E0-304B-42A1454CA856}"/>
          </ac:spMkLst>
        </pc:spChg>
        <pc:spChg chg="mod">
          <ac:chgData name="KevCla12" userId="ef2eb634-4620-450f-93cc-80cc93397e60" providerId="ADAL" clId="{0BF56A33-4BC5-423F-96C0-6A8645FA96BB}" dt="2023-12-03T21:48:07.881" v="31613" actId="790"/>
          <ac:spMkLst>
            <pc:docMk/>
            <pc:sldMk cId="2727042144" sldId="410"/>
            <ac:spMk id="12" creationId="{A813662D-C90B-B800-62A9-DA726286448A}"/>
          </ac:spMkLst>
        </pc:spChg>
        <pc:spChg chg="mod">
          <ac:chgData name="KevCla12" userId="ef2eb634-4620-450f-93cc-80cc93397e60" providerId="ADAL" clId="{0BF56A33-4BC5-423F-96C0-6A8645FA96BB}" dt="2023-12-03T21:48:07.892" v="31614" actId="790"/>
          <ac:spMkLst>
            <pc:docMk/>
            <pc:sldMk cId="2727042144" sldId="410"/>
            <ac:spMk id="13" creationId="{A38E23A1-1011-37BA-F2AA-978F3FC826A1}"/>
          </ac:spMkLst>
        </pc:spChg>
        <pc:spChg chg="mod">
          <ac:chgData name="KevCla12" userId="ef2eb634-4620-450f-93cc-80cc93397e60" providerId="ADAL" clId="{0BF56A33-4BC5-423F-96C0-6A8645FA96BB}" dt="2023-12-03T21:48:07.895" v="31615" actId="790"/>
          <ac:spMkLst>
            <pc:docMk/>
            <pc:sldMk cId="2727042144" sldId="410"/>
            <ac:spMk id="14" creationId="{00BE5586-CB44-335C-6B47-D853D8BB7854}"/>
          </ac:spMkLst>
        </pc:spChg>
        <pc:spChg chg="mod">
          <ac:chgData name="KevCla12" userId="ef2eb634-4620-450f-93cc-80cc93397e60" providerId="ADAL" clId="{0BF56A33-4BC5-423F-96C0-6A8645FA96BB}" dt="2023-12-03T21:48:07.910" v="31616" actId="790"/>
          <ac:spMkLst>
            <pc:docMk/>
            <pc:sldMk cId="2727042144" sldId="410"/>
            <ac:spMk id="15" creationId="{2B5DAA22-5796-1488-05B4-6B094741073A}"/>
          </ac:spMkLst>
        </pc:spChg>
        <pc:spChg chg="mod">
          <ac:chgData name="KevCla12" userId="ef2eb634-4620-450f-93cc-80cc93397e60" providerId="ADAL" clId="{0BF56A33-4BC5-423F-96C0-6A8645FA96BB}" dt="2023-12-03T21:48:07.912" v="31617" actId="790"/>
          <ac:spMkLst>
            <pc:docMk/>
            <pc:sldMk cId="2727042144" sldId="410"/>
            <ac:spMk id="16" creationId="{DCAF27FE-0760-22E2-C7B3-9DD760E15768}"/>
          </ac:spMkLst>
        </pc:spChg>
      </pc:sldChg>
      <pc:sldChg chg="modSp add del mod modNotes modNotesTx">
        <pc:chgData name="KevCla12" userId="ef2eb634-4620-450f-93cc-80cc93397e60" providerId="ADAL" clId="{0BF56A33-4BC5-423F-96C0-6A8645FA96BB}" dt="2023-11-30T18:15:28.859" v="8340" actId="2696"/>
        <pc:sldMkLst>
          <pc:docMk/>
          <pc:sldMk cId="2352799563" sldId="542"/>
        </pc:sldMkLst>
        <pc:spChg chg="mod">
          <ac:chgData name="KevCla12" userId="ef2eb634-4620-450f-93cc-80cc93397e60" providerId="ADAL" clId="{0BF56A33-4BC5-423F-96C0-6A8645FA96BB}" dt="2023-11-30T18:14:35.869" v="6792" actId="790"/>
          <ac:spMkLst>
            <pc:docMk/>
            <pc:sldMk cId="2352799563" sldId="542"/>
            <ac:spMk id="2" creationId="{C05E71B1-BD2D-BE64-6A35-07A35DFF2395}"/>
          </ac:spMkLst>
        </pc:spChg>
        <pc:spChg chg="mod">
          <ac:chgData name="KevCla12" userId="ef2eb634-4620-450f-93cc-80cc93397e60" providerId="ADAL" clId="{0BF56A33-4BC5-423F-96C0-6A8645FA96BB}" dt="2023-11-30T18:14:35.811" v="6770" actId="790"/>
          <ac:spMkLst>
            <pc:docMk/>
            <pc:sldMk cId="2352799563" sldId="542"/>
            <ac:spMk id="3" creationId="{00000000-0000-0000-0000-000000000000}"/>
          </ac:spMkLst>
        </pc:spChg>
        <pc:spChg chg="mod">
          <ac:chgData name="KevCla12" userId="ef2eb634-4620-450f-93cc-80cc93397e60" providerId="ADAL" clId="{0BF56A33-4BC5-423F-96C0-6A8645FA96BB}" dt="2023-11-30T18:14:35.813" v="6771" actId="790"/>
          <ac:spMkLst>
            <pc:docMk/>
            <pc:sldMk cId="2352799563" sldId="542"/>
            <ac:spMk id="4" creationId="{7A45EB07-8076-41E8-8328-EFF28987D56C}"/>
          </ac:spMkLst>
        </pc:spChg>
        <pc:spChg chg="mod">
          <ac:chgData name="KevCla12" userId="ef2eb634-4620-450f-93cc-80cc93397e60" providerId="ADAL" clId="{0BF56A33-4BC5-423F-96C0-6A8645FA96BB}" dt="2023-11-30T18:14:35.819" v="6774" actId="790"/>
          <ac:spMkLst>
            <pc:docMk/>
            <pc:sldMk cId="2352799563" sldId="542"/>
            <ac:spMk id="5" creationId="{00000000-0000-0000-0000-000000000000}"/>
          </ac:spMkLst>
        </pc:spChg>
        <pc:spChg chg="mod">
          <ac:chgData name="KevCla12" userId="ef2eb634-4620-450f-93cc-80cc93397e60" providerId="ADAL" clId="{0BF56A33-4BC5-423F-96C0-6A8645FA96BB}" dt="2023-11-30T18:14:35.823" v="6775" actId="790"/>
          <ac:spMkLst>
            <pc:docMk/>
            <pc:sldMk cId="2352799563" sldId="542"/>
            <ac:spMk id="6" creationId="{00000000-0000-0000-0000-000000000000}"/>
          </ac:spMkLst>
        </pc:spChg>
        <pc:spChg chg="mod">
          <ac:chgData name="KevCla12" userId="ef2eb634-4620-450f-93cc-80cc93397e60" providerId="ADAL" clId="{0BF56A33-4BC5-423F-96C0-6A8645FA96BB}" dt="2023-11-30T18:14:35.826" v="6776" actId="790"/>
          <ac:spMkLst>
            <pc:docMk/>
            <pc:sldMk cId="2352799563" sldId="542"/>
            <ac:spMk id="7" creationId="{00000000-0000-0000-0000-000000000000}"/>
          </ac:spMkLst>
        </pc:spChg>
        <pc:spChg chg="mod">
          <ac:chgData name="KevCla12" userId="ef2eb634-4620-450f-93cc-80cc93397e60" providerId="ADAL" clId="{0BF56A33-4BC5-423F-96C0-6A8645FA96BB}" dt="2023-11-30T18:14:35.829" v="6777" actId="790"/>
          <ac:spMkLst>
            <pc:docMk/>
            <pc:sldMk cId="2352799563" sldId="542"/>
            <ac:spMk id="8" creationId="{00000000-0000-0000-0000-000000000000}"/>
          </ac:spMkLst>
        </pc:spChg>
        <pc:spChg chg="mod">
          <ac:chgData name="KevCla12" userId="ef2eb634-4620-450f-93cc-80cc93397e60" providerId="ADAL" clId="{0BF56A33-4BC5-423F-96C0-6A8645FA96BB}" dt="2023-11-30T18:14:35.815" v="6772" actId="790"/>
          <ac:spMkLst>
            <pc:docMk/>
            <pc:sldMk cId="2352799563" sldId="542"/>
            <ac:spMk id="9" creationId="{4A5DFE8F-6F0F-40EF-B319-F505B21405EA}"/>
          </ac:spMkLst>
        </pc:spChg>
        <pc:spChg chg="mod">
          <ac:chgData name="KevCla12" userId="ef2eb634-4620-450f-93cc-80cc93397e60" providerId="ADAL" clId="{0BF56A33-4BC5-423F-96C0-6A8645FA96BB}" dt="2023-11-30T18:14:35.817" v="6773" actId="790"/>
          <ac:spMkLst>
            <pc:docMk/>
            <pc:sldMk cId="2352799563" sldId="542"/>
            <ac:spMk id="10" creationId="{8B61CCC0-27D2-FEB5-515C-C5B2E79F6B90}"/>
          </ac:spMkLst>
        </pc:spChg>
        <pc:spChg chg="mod">
          <ac:chgData name="KevCla12" userId="ef2eb634-4620-450f-93cc-80cc93397e60" providerId="ADAL" clId="{0BF56A33-4BC5-423F-96C0-6A8645FA96BB}" dt="2023-11-30T18:14:35.831" v="6778" actId="790"/>
          <ac:spMkLst>
            <pc:docMk/>
            <pc:sldMk cId="2352799563" sldId="542"/>
            <ac:spMk id="11" creationId="{00000000-0000-0000-0000-000000000000}"/>
          </ac:spMkLst>
        </pc:spChg>
        <pc:spChg chg="mod">
          <ac:chgData name="KevCla12" userId="ef2eb634-4620-450f-93cc-80cc93397e60" providerId="ADAL" clId="{0BF56A33-4BC5-423F-96C0-6A8645FA96BB}" dt="2023-11-30T18:14:35.834" v="6779" actId="790"/>
          <ac:spMkLst>
            <pc:docMk/>
            <pc:sldMk cId="2352799563" sldId="542"/>
            <ac:spMk id="12" creationId="{00000000-0000-0000-0000-000000000000}"/>
          </ac:spMkLst>
        </pc:spChg>
        <pc:spChg chg="mod">
          <ac:chgData name="KevCla12" userId="ef2eb634-4620-450f-93cc-80cc93397e60" providerId="ADAL" clId="{0BF56A33-4BC5-423F-96C0-6A8645FA96BB}" dt="2023-11-30T18:14:35.836" v="6780" actId="790"/>
          <ac:spMkLst>
            <pc:docMk/>
            <pc:sldMk cId="2352799563" sldId="542"/>
            <ac:spMk id="19" creationId="{00000000-0000-0000-0000-000000000000}"/>
          </ac:spMkLst>
        </pc:spChg>
        <pc:spChg chg="mod">
          <ac:chgData name="KevCla12" userId="ef2eb634-4620-450f-93cc-80cc93397e60" providerId="ADAL" clId="{0BF56A33-4BC5-423F-96C0-6A8645FA96BB}" dt="2023-11-30T18:14:35.839" v="6781" actId="790"/>
          <ac:spMkLst>
            <pc:docMk/>
            <pc:sldMk cId="2352799563" sldId="542"/>
            <ac:spMk id="20" creationId="{00000000-0000-0000-0000-000000000000}"/>
          </ac:spMkLst>
        </pc:spChg>
        <pc:spChg chg="mod">
          <ac:chgData name="KevCla12" userId="ef2eb634-4620-450f-93cc-80cc93397e60" providerId="ADAL" clId="{0BF56A33-4BC5-423F-96C0-6A8645FA96BB}" dt="2023-11-30T18:14:35.842" v="6782" actId="790"/>
          <ac:spMkLst>
            <pc:docMk/>
            <pc:sldMk cId="2352799563" sldId="542"/>
            <ac:spMk id="21" creationId="{00000000-0000-0000-0000-000000000000}"/>
          </ac:spMkLst>
        </pc:spChg>
        <pc:spChg chg="mod">
          <ac:chgData name="KevCla12" userId="ef2eb634-4620-450f-93cc-80cc93397e60" providerId="ADAL" clId="{0BF56A33-4BC5-423F-96C0-6A8645FA96BB}" dt="2023-11-30T18:14:35.845" v="6783" actId="790"/>
          <ac:spMkLst>
            <pc:docMk/>
            <pc:sldMk cId="2352799563" sldId="542"/>
            <ac:spMk id="22" creationId="{00000000-0000-0000-0000-000000000000}"/>
          </ac:spMkLst>
        </pc:spChg>
        <pc:spChg chg="mod">
          <ac:chgData name="KevCla12" userId="ef2eb634-4620-450f-93cc-80cc93397e60" providerId="ADAL" clId="{0BF56A33-4BC5-423F-96C0-6A8645FA96BB}" dt="2023-11-30T18:14:35.848" v="6784" actId="790"/>
          <ac:spMkLst>
            <pc:docMk/>
            <pc:sldMk cId="2352799563" sldId="542"/>
            <ac:spMk id="23" creationId="{00000000-0000-0000-0000-000000000000}"/>
          </ac:spMkLst>
        </pc:spChg>
        <pc:spChg chg="mod">
          <ac:chgData name="KevCla12" userId="ef2eb634-4620-450f-93cc-80cc93397e60" providerId="ADAL" clId="{0BF56A33-4BC5-423F-96C0-6A8645FA96BB}" dt="2023-11-30T18:14:35.850" v="6785" actId="790"/>
          <ac:spMkLst>
            <pc:docMk/>
            <pc:sldMk cId="2352799563" sldId="542"/>
            <ac:spMk id="24" creationId="{00000000-0000-0000-0000-000000000000}"/>
          </ac:spMkLst>
        </pc:spChg>
        <pc:spChg chg="mod">
          <ac:chgData name="KevCla12" userId="ef2eb634-4620-450f-93cc-80cc93397e60" providerId="ADAL" clId="{0BF56A33-4BC5-423F-96C0-6A8645FA96BB}" dt="2023-11-30T18:14:35.853" v="6786" actId="790"/>
          <ac:spMkLst>
            <pc:docMk/>
            <pc:sldMk cId="2352799563" sldId="542"/>
            <ac:spMk id="31" creationId="{00000000-0000-0000-0000-000000000000}"/>
          </ac:spMkLst>
        </pc:spChg>
        <pc:spChg chg="mod">
          <ac:chgData name="KevCla12" userId="ef2eb634-4620-450f-93cc-80cc93397e60" providerId="ADAL" clId="{0BF56A33-4BC5-423F-96C0-6A8645FA96BB}" dt="2023-11-30T18:14:35.856" v="6787" actId="790"/>
          <ac:spMkLst>
            <pc:docMk/>
            <pc:sldMk cId="2352799563" sldId="542"/>
            <ac:spMk id="32" creationId="{00000000-0000-0000-0000-000000000000}"/>
          </ac:spMkLst>
        </pc:spChg>
        <pc:spChg chg="mod">
          <ac:chgData name="KevCla12" userId="ef2eb634-4620-450f-93cc-80cc93397e60" providerId="ADAL" clId="{0BF56A33-4BC5-423F-96C0-6A8645FA96BB}" dt="2023-11-30T18:14:35.858" v="6788" actId="790"/>
          <ac:spMkLst>
            <pc:docMk/>
            <pc:sldMk cId="2352799563" sldId="542"/>
            <ac:spMk id="33" creationId="{00000000-0000-0000-0000-000000000000}"/>
          </ac:spMkLst>
        </pc:spChg>
        <pc:spChg chg="mod">
          <ac:chgData name="KevCla12" userId="ef2eb634-4620-450f-93cc-80cc93397e60" providerId="ADAL" clId="{0BF56A33-4BC5-423F-96C0-6A8645FA96BB}" dt="2023-11-30T18:14:35.861" v="6789" actId="790"/>
          <ac:spMkLst>
            <pc:docMk/>
            <pc:sldMk cId="2352799563" sldId="542"/>
            <ac:spMk id="34" creationId="{00000000-0000-0000-0000-000000000000}"/>
          </ac:spMkLst>
        </pc:spChg>
        <pc:spChg chg="mod">
          <ac:chgData name="KevCla12" userId="ef2eb634-4620-450f-93cc-80cc93397e60" providerId="ADAL" clId="{0BF56A33-4BC5-423F-96C0-6A8645FA96BB}" dt="2023-11-30T18:14:35.864" v="6790" actId="790"/>
          <ac:spMkLst>
            <pc:docMk/>
            <pc:sldMk cId="2352799563" sldId="542"/>
            <ac:spMk id="35" creationId="{00000000-0000-0000-0000-000000000000}"/>
          </ac:spMkLst>
        </pc:spChg>
        <pc:spChg chg="mod">
          <ac:chgData name="KevCla12" userId="ef2eb634-4620-450f-93cc-80cc93397e60" providerId="ADAL" clId="{0BF56A33-4BC5-423F-96C0-6A8645FA96BB}" dt="2023-11-30T18:14:35.867" v="6791" actId="790"/>
          <ac:spMkLst>
            <pc:docMk/>
            <pc:sldMk cId="2352799563" sldId="542"/>
            <ac:spMk id="36" creationId="{00000000-0000-0000-0000-000000000000}"/>
          </ac:spMkLst>
        </pc:spChg>
      </pc:sldChg>
      <pc:sldChg chg="addSp delSp modSp add del mod replTag delTag modNotes">
        <pc:chgData name="KevCla12" userId="ef2eb634-4620-450f-93cc-80cc93397e60" providerId="ADAL" clId="{0BF56A33-4BC5-423F-96C0-6A8645FA96BB}" dt="2023-12-03T18:02:58.132" v="18652"/>
        <pc:sldMkLst>
          <pc:docMk/>
          <pc:sldMk cId="3345594063" sldId="565"/>
        </pc:sldMkLst>
        <pc:spChg chg="add del mod">
          <ac:chgData name="KevCla12" userId="ef2eb634-4620-450f-93cc-80cc93397e60" providerId="ADAL" clId="{0BF56A33-4BC5-423F-96C0-6A8645FA96BB}" dt="2023-12-03T18:02:56.505" v="18582"/>
          <ac:spMkLst>
            <pc:docMk/>
            <pc:sldMk cId="3345594063" sldId="565"/>
            <ac:spMk id="2" creationId="{0CEA2934-DBD0-116C-4CCC-BDBD914E4554}"/>
          </ac:spMkLst>
        </pc:spChg>
        <pc:spChg chg="add del mod">
          <ac:chgData name="KevCla12" userId="ef2eb634-4620-450f-93cc-80cc93397e60" providerId="ADAL" clId="{0BF56A33-4BC5-423F-96C0-6A8645FA96BB}" dt="2023-12-03T18:02:56.505" v="18582"/>
          <ac:spMkLst>
            <pc:docMk/>
            <pc:sldMk cId="3345594063" sldId="565"/>
            <ac:spMk id="3" creationId="{4C2D26EC-F3B8-CF41-4970-2B7A2699F99B}"/>
          </ac:spMkLst>
        </pc:spChg>
        <pc:spChg chg="add del mod">
          <ac:chgData name="KevCla12" userId="ef2eb634-4620-450f-93cc-80cc93397e60" providerId="ADAL" clId="{0BF56A33-4BC5-423F-96C0-6A8645FA96BB}" dt="2023-12-03T18:02:56.505" v="18582"/>
          <ac:spMkLst>
            <pc:docMk/>
            <pc:sldMk cId="3345594063" sldId="565"/>
            <ac:spMk id="4" creationId="{F6E5BE31-1F9F-8B77-4F98-1F9B6741FE00}"/>
          </ac:spMkLst>
        </pc:spChg>
        <pc:spChg chg="add del mod">
          <ac:chgData name="KevCla12" userId="ef2eb634-4620-450f-93cc-80cc93397e60" providerId="ADAL" clId="{0BF56A33-4BC5-423F-96C0-6A8645FA96BB}" dt="2023-12-03T18:02:56.505" v="18582"/>
          <ac:spMkLst>
            <pc:docMk/>
            <pc:sldMk cId="3345594063" sldId="565"/>
            <ac:spMk id="6" creationId="{542111B6-9F47-2159-992E-2FD059E802DF}"/>
          </ac:spMkLst>
        </pc:spChg>
        <pc:spChg chg="add del mod modVis">
          <ac:chgData name="KevCla12" userId="ef2eb634-4620-450f-93cc-80cc93397e60" providerId="ADAL" clId="{0BF56A33-4BC5-423F-96C0-6A8645FA96BB}" dt="2023-12-03T18:02:56.505" v="18582"/>
          <ac:spMkLst>
            <pc:docMk/>
            <pc:sldMk cId="3345594063" sldId="565"/>
            <ac:spMk id="12" creationId="{5FB7DB04-7487-42AD-95C0-60DD51E91A26}"/>
          </ac:spMkLst>
        </pc:spChg>
        <pc:spChg chg="add del mod modVis">
          <ac:chgData name="KevCla12" userId="ef2eb634-4620-450f-93cc-80cc93397e60" providerId="ADAL" clId="{0BF56A33-4BC5-423F-96C0-6A8645FA96BB}" dt="2023-12-03T18:02:58.132" v="18652"/>
          <ac:spMkLst>
            <pc:docMk/>
            <pc:sldMk cId="3345594063" sldId="565"/>
            <ac:spMk id="16" creationId="{73F84C97-3377-3E7B-1393-3504862B9619}"/>
          </ac:spMkLst>
        </pc:spChg>
        <pc:spChg chg="mod">
          <ac:chgData name="KevCla12" userId="ef2eb634-4620-450f-93cc-80cc93397e60" providerId="ADAL" clId="{0BF56A33-4BC5-423F-96C0-6A8645FA96BB}" dt="2023-12-03T18:02:58.132" v="18652"/>
          <ac:spMkLst>
            <pc:docMk/>
            <pc:sldMk cId="3345594063" sldId="565"/>
            <ac:spMk id="41" creationId="{00000000-0000-0000-0000-000000000000}"/>
          </ac:spMkLst>
        </pc:spChg>
        <pc:grpChg chg="mod">
          <ac:chgData name="KevCla12" userId="ef2eb634-4620-450f-93cc-80cc93397e60" providerId="ADAL" clId="{0BF56A33-4BC5-423F-96C0-6A8645FA96BB}" dt="2023-12-03T18:02:54.986" v="18547" actId="14100"/>
          <ac:grpSpMkLst>
            <pc:docMk/>
            <pc:sldMk cId="3345594063" sldId="565"/>
            <ac:grpSpMk id="10" creationId="{CF73E52C-6B67-451C-9C39-496B460B7FB3}"/>
          </ac:grpSpMkLst>
        </pc:grpChg>
        <pc:graphicFrameChg chg="add del mod ord modVis replST delST">
          <ac:chgData name="KevCla12" userId="ef2eb634-4620-450f-93cc-80cc93397e60" providerId="ADAL" clId="{0BF56A33-4BC5-423F-96C0-6A8645FA96BB}" dt="2023-12-03T18:02:56.505" v="18582"/>
          <ac:graphicFrameMkLst>
            <pc:docMk/>
            <pc:sldMk cId="3345594063" sldId="565"/>
            <ac:graphicFrameMk id="14" creationId="{A4AE7AB5-C691-91CE-75D3-12DB61BC9423}"/>
          </ac:graphicFrameMkLst>
        </pc:graphicFrameChg>
        <pc:graphicFrameChg chg="add del mod ord modVis replST delST">
          <ac:chgData name="KevCla12" userId="ef2eb634-4620-450f-93cc-80cc93397e60" providerId="ADAL" clId="{0BF56A33-4BC5-423F-96C0-6A8645FA96BB}" dt="2023-12-03T18:02:58.132" v="18652"/>
          <ac:graphicFrameMkLst>
            <pc:docMk/>
            <pc:sldMk cId="3345594063" sldId="565"/>
            <ac:graphicFrameMk id="17" creationId="{7ED6D0D4-432D-9356-9F83-B08F3B77FC79}"/>
          </ac:graphicFrameMkLst>
        </pc:graphicFrameChg>
      </pc:sldChg>
      <pc:sldChg chg="addSp delSp modSp add del mod replTag delTag modNotes">
        <pc:chgData name="KevCla12" userId="ef2eb634-4620-450f-93cc-80cc93397e60" providerId="ADAL" clId="{0BF56A33-4BC5-423F-96C0-6A8645FA96BB}" dt="2023-12-03T22:20:41.190" v="34426" actId="47"/>
        <pc:sldMkLst>
          <pc:docMk/>
          <pc:sldMk cId="3355817683" sldId="614"/>
        </pc:sldMkLst>
        <pc:spChg chg="mod">
          <ac:chgData name="KevCla12" userId="ef2eb634-4620-450f-93cc-80cc93397e60" providerId="ADAL" clId="{0BF56A33-4BC5-423F-96C0-6A8645FA96BB}" dt="2023-12-03T22:20:39.916" v="34386" actId="948"/>
          <ac:spMkLst>
            <pc:docMk/>
            <pc:sldMk cId="3355817683" sldId="614"/>
            <ac:spMk id="2" creationId="{00000000-0000-0000-0000-000000000000}"/>
          </ac:spMkLst>
        </pc:spChg>
        <pc:spChg chg="add del mod">
          <ac:chgData name="KevCla12" userId="ef2eb634-4620-450f-93cc-80cc93397e60" providerId="ADAL" clId="{0BF56A33-4BC5-423F-96C0-6A8645FA96BB}" dt="2023-12-03T22:20:39.235" v="34385"/>
          <ac:spMkLst>
            <pc:docMk/>
            <pc:sldMk cId="3355817683" sldId="614"/>
            <ac:spMk id="3" creationId="{6BE9346B-7042-2A67-7918-42DF41D739F1}"/>
          </ac:spMkLst>
        </pc:spChg>
        <pc:spChg chg="add del mod">
          <ac:chgData name="KevCla12" userId="ef2eb634-4620-450f-93cc-80cc93397e60" providerId="ADAL" clId="{0BF56A33-4BC5-423F-96C0-6A8645FA96BB}" dt="2023-12-03T22:20:39.235" v="34385"/>
          <ac:spMkLst>
            <pc:docMk/>
            <pc:sldMk cId="3355817683" sldId="614"/>
            <ac:spMk id="10" creationId="{3434D149-A52C-1AA2-66C7-3C2F4D14D92C}"/>
          </ac:spMkLst>
        </pc:spChg>
        <pc:spChg chg="add del mod">
          <ac:chgData name="KevCla12" userId="ef2eb634-4620-450f-93cc-80cc93397e60" providerId="ADAL" clId="{0BF56A33-4BC5-423F-96C0-6A8645FA96BB}" dt="2023-12-03T22:20:39.235" v="34385"/>
          <ac:spMkLst>
            <pc:docMk/>
            <pc:sldMk cId="3355817683" sldId="614"/>
            <ac:spMk id="11" creationId="{BA101D9B-DBCA-3D42-4142-02ABCA0D0AE3}"/>
          </ac:spMkLst>
        </pc:spChg>
        <pc:spChg chg="add del mod">
          <ac:chgData name="KevCla12" userId="ef2eb634-4620-450f-93cc-80cc93397e60" providerId="ADAL" clId="{0BF56A33-4BC5-423F-96C0-6A8645FA96BB}" dt="2023-12-03T22:20:39.235" v="34385"/>
          <ac:spMkLst>
            <pc:docMk/>
            <pc:sldMk cId="3355817683" sldId="614"/>
            <ac:spMk id="12" creationId="{F7CEF2CA-FE76-8336-1041-9A4ACF075D21}"/>
          </ac:spMkLst>
        </pc:spChg>
        <pc:spChg chg="add del mod">
          <ac:chgData name="KevCla12" userId="ef2eb634-4620-450f-93cc-80cc93397e60" providerId="ADAL" clId="{0BF56A33-4BC5-423F-96C0-6A8645FA96BB}" dt="2023-12-03T22:20:39.235" v="34385"/>
          <ac:spMkLst>
            <pc:docMk/>
            <pc:sldMk cId="3355817683" sldId="614"/>
            <ac:spMk id="13" creationId="{A392F64C-2527-2755-4E43-7FAD6EECD18A}"/>
          </ac:spMkLst>
        </pc:spChg>
        <pc:spChg chg="add del mod">
          <ac:chgData name="KevCla12" userId="ef2eb634-4620-450f-93cc-80cc93397e60" providerId="ADAL" clId="{0BF56A33-4BC5-423F-96C0-6A8645FA96BB}" dt="2023-12-03T22:20:39.235" v="34385"/>
          <ac:spMkLst>
            <pc:docMk/>
            <pc:sldMk cId="3355817683" sldId="614"/>
            <ac:spMk id="14" creationId="{056E8A0F-A5C4-C52C-95BF-0E76891D6CCA}"/>
          </ac:spMkLst>
        </pc:spChg>
        <pc:spChg chg="add del mod">
          <ac:chgData name="KevCla12" userId="ef2eb634-4620-450f-93cc-80cc93397e60" providerId="ADAL" clId="{0BF56A33-4BC5-423F-96C0-6A8645FA96BB}" dt="2023-12-03T22:20:39.235" v="34385"/>
          <ac:spMkLst>
            <pc:docMk/>
            <pc:sldMk cId="3355817683" sldId="614"/>
            <ac:spMk id="15" creationId="{EE2CE56D-14CB-C5C4-1182-C118C318FA30}"/>
          </ac:spMkLst>
        </pc:spChg>
        <pc:spChg chg="add del mod">
          <ac:chgData name="KevCla12" userId="ef2eb634-4620-450f-93cc-80cc93397e60" providerId="ADAL" clId="{0BF56A33-4BC5-423F-96C0-6A8645FA96BB}" dt="2023-12-03T22:20:39.235" v="34385"/>
          <ac:spMkLst>
            <pc:docMk/>
            <pc:sldMk cId="3355817683" sldId="614"/>
            <ac:spMk id="16" creationId="{72D9935D-E88C-990D-1FA6-983F77247FD5}"/>
          </ac:spMkLst>
        </pc:spChg>
        <pc:spChg chg="add del mod">
          <ac:chgData name="KevCla12" userId="ef2eb634-4620-450f-93cc-80cc93397e60" providerId="ADAL" clId="{0BF56A33-4BC5-423F-96C0-6A8645FA96BB}" dt="2023-12-03T22:20:39.235" v="34385"/>
          <ac:spMkLst>
            <pc:docMk/>
            <pc:sldMk cId="3355817683" sldId="614"/>
            <ac:spMk id="17" creationId="{30D5F2EB-73F7-41F5-CE69-D1B7895180E2}"/>
          </ac:spMkLst>
        </pc:spChg>
        <pc:spChg chg="add del mod">
          <ac:chgData name="KevCla12" userId="ef2eb634-4620-450f-93cc-80cc93397e60" providerId="ADAL" clId="{0BF56A33-4BC5-423F-96C0-6A8645FA96BB}" dt="2023-12-03T22:20:39.235" v="34385"/>
          <ac:spMkLst>
            <pc:docMk/>
            <pc:sldMk cId="3355817683" sldId="614"/>
            <ac:spMk id="18" creationId="{7244C869-A58B-2656-293D-BD7573D01892}"/>
          </ac:spMkLst>
        </pc:spChg>
        <pc:spChg chg="add del mod">
          <ac:chgData name="KevCla12" userId="ef2eb634-4620-450f-93cc-80cc93397e60" providerId="ADAL" clId="{0BF56A33-4BC5-423F-96C0-6A8645FA96BB}" dt="2023-12-03T22:20:39.235" v="34385"/>
          <ac:spMkLst>
            <pc:docMk/>
            <pc:sldMk cId="3355817683" sldId="614"/>
            <ac:spMk id="19" creationId="{296A5046-EA88-28BB-4984-9ECE55FAA527}"/>
          </ac:spMkLst>
        </pc:spChg>
        <pc:spChg chg="add del mod modVis">
          <ac:chgData name="KevCla12" userId="ef2eb634-4620-450f-93cc-80cc93397e60" providerId="ADAL" clId="{0BF56A33-4BC5-423F-96C0-6A8645FA96BB}" dt="2023-12-03T22:20:39.235" v="34385"/>
          <ac:spMkLst>
            <pc:docMk/>
            <pc:sldMk cId="3355817683" sldId="614"/>
            <ac:spMk id="20" creationId="{4F3C5C0B-AD21-48A7-92A4-4DC4875E3EA6}"/>
          </ac:spMkLst>
        </pc:spChg>
        <pc:spChg chg="add del mod modVis">
          <ac:chgData name="KevCla12" userId="ef2eb634-4620-450f-93cc-80cc93397e60" providerId="ADAL" clId="{0BF56A33-4BC5-423F-96C0-6A8645FA96BB}" dt="2023-12-03T22:20:39.938" v="34410"/>
          <ac:spMkLst>
            <pc:docMk/>
            <pc:sldMk cId="3355817683" sldId="614"/>
            <ac:spMk id="22" creationId="{677BEBDB-BFC9-5FBA-370E-A9A5F0271F20}"/>
          </ac:spMkLst>
        </pc:spChg>
        <pc:graphicFrameChg chg="add del mod ord modVis replST delST">
          <ac:chgData name="KevCla12" userId="ef2eb634-4620-450f-93cc-80cc93397e60" providerId="ADAL" clId="{0BF56A33-4BC5-423F-96C0-6A8645FA96BB}" dt="2023-12-03T22:20:39.235" v="34385"/>
          <ac:graphicFrameMkLst>
            <pc:docMk/>
            <pc:sldMk cId="3355817683" sldId="614"/>
            <ac:graphicFrameMk id="21" creationId="{70AB032B-3ED9-0A27-9614-6E234ADDC715}"/>
          </ac:graphicFrameMkLst>
        </pc:graphicFrameChg>
        <pc:graphicFrameChg chg="add mod ord modVis replST">
          <ac:chgData name="KevCla12" userId="ef2eb634-4620-450f-93cc-80cc93397e60" providerId="ADAL" clId="{0BF56A33-4BC5-423F-96C0-6A8645FA96BB}" dt="2023-12-03T22:20:39.962" v="34425"/>
          <ac:graphicFrameMkLst>
            <pc:docMk/>
            <pc:sldMk cId="3355817683" sldId="614"/>
            <ac:graphicFrameMk id="23" creationId="{6EA08FAF-C07F-7010-4C56-A4B0FE4C62A7}"/>
          </ac:graphicFrameMkLst>
        </pc:graphicFrameChg>
      </pc:sldChg>
      <pc:sldChg chg="addSp delSp modSp add del mod delTag modNotes">
        <pc:chgData name="KevCla12" userId="ef2eb634-4620-450f-93cc-80cc93397e60" providerId="ADAL" clId="{0BF56A33-4BC5-423F-96C0-6A8645FA96BB}" dt="2023-11-30T15:02:44.018" v="2613" actId="47"/>
        <pc:sldMkLst>
          <pc:docMk/>
          <pc:sldMk cId="3250523345" sldId="647"/>
        </pc:sldMkLst>
        <pc:spChg chg="add mod">
          <ac:chgData name="KevCla12" userId="ef2eb634-4620-450f-93cc-80cc93397e60" providerId="ADAL" clId="{0BF56A33-4BC5-423F-96C0-6A8645FA96BB}" dt="2023-11-30T15:02:41.639" v="2568"/>
          <ac:spMkLst>
            <pc:docMk/>
            <pc:sldMk cId="3250523345" sldId="647"/>
            <ac:spMk id="2" creationId="{CF3CB067-D10F-6B1E-2309-434964EBD49F}"/>
          </ac:spMkLst>
        </pc:spChg>
        <pc:spChg chg="add mod">
          <ac:chgData name="KevCla12" userId="ef2eb634-4620-450f-93cc-80cc93397e60" providerId="ADAL" clId="{0BF56A33-4BC5-423F-96C0-6A8645FA96BB}" dt="2023-11-30T15:02:41.639" v="2568"/>
          <ac:spMkLst>
            <pc:docMk/>
            <pc:sldMk cId="3250523345" sldId="647"/>
            <ac:spMk id="3" creationId="{A225F5D6-ABAB-4DD1-A57D-7644D7121917}"/>
          </ac:spMkLst>
        </pc:spChg>
        <pc:spChg chg="add mod">
          <ac:chgData name="KevCla12" userId="ef2eb634-4620-450f-93cc-80cc93397e60" providerId="ADAL" clId="{0BF56A33-4BC5-423F-96C0-6A8645FA96BB}" dt="2023-11-30T15:02:41.639" v="2568"/>
          <ac:spMkLst>
            <pc:docMk/>
            <pc:sldMk cId="3250523345" sldId="647"/>
            <ac:spMk id="4" creationId="{A9E51D39-E6C8-EBD4-8856-A1A789175CD4}"/>
          </ac:spMkLst>
        </pc:spChg>
        <pc:spChg chg="add mod">
          <ac:chgData name="KevCla12" userId="ef2eb634-4620-450f-93cc-80cc93397e60" providerId="ADAL" clId="{0BF56A33-4BC5-423F-96C0-6A8645FA96BB}" dt="2023-11-30T15:02:41.639" v="2568"/>
          <ac:spMkLst>
            <pc:docMk/>
            <pc:sldMk cId="3250523345" sldId="647"/>
            <ac:spMk id="5" creationId="{0C040CAD-BD78-101D-A049-F13F7ACD03CA}"/>
          </ac:spMkLst>
        </pc:spChg>
        <pc:spChg chg="add del mod modVis">
          <ac:chgData name="KevCla12" userId="ef2eb634-4620-450f-93cc-80cc93397e60" providerId="ADAL" clId="{0BF56A33-4BC5-423F-96C0-6A8645FA96BB}" dt="2023-11-30T15:02:42.469" v="2597"/>
          <ac:spMkLst>
            <pc:docMk/>
            <pc:sldMk cId="3250523345" sldId="647"/>
            <ac:spMk id="6" creationId="{9F1EFF4A-AF4C-BBC5-396E-6B28137B4382}"/>
          </ac:spMkLst>
        </pc:spChg>
        <pc:spChg chg="mod">
          <ac:chgData name="KevCla12" userId="ef2eb634-4620-450f-93cc-80cc93397e60" providerId="ADAL" clId="{0BF56A33-4BC5-423F-96C0-6A8645FA96BB}" dt="2023-11-30T15:02:42.322" v="2573" actId="948"/>
          <ac:spMkLst>
            <pc:docMk/>
            <pc:sldMk cId="3250523345" sldId="647"/>
            <ac:spMk id="59" creationId="{00000000-0000-0000-0000-000000000000}"/>
          </ac:spMkLst>
        </pc:spChg>
        <pc:graphicFrameChg chg="add mod ord modVis replST">
          <ac:chgData name="KevCla12" userId="ef2eb634-4620-450f-93cc-80cc93397e60" providerId="ADAL" clId="{0BF56A33-4BC5-423F-96C0-6A8645FA96BB}" dt="2023-11-30T15:02:42.554" v="2612"/>
          <ac:graphicFrameMkLst>
            <pc:docMk/>
            <pc:sldMk cId="3250523345" sldId="647"/>
            <ac:graphicFrameMk id="7" creationId="{D54CC34C-7D62-D7A2-5143-FB9106790290}"/>
          </ac:graphicFrameMkLst>
        </pc:graphicFrameChg>
      </pc:sldChg>
      <pc:sldChg chg="modSp add mod modNotes modNotesTx">
        <pc:chgData name="KevCla12" userId="ef2eb634-4620-450f-93cc-80cc93397e60" providerId="ADAL" clId="{0BF56A33-4BC5-423F-96C0-6A8645FA96BB}" dt="2023-12-03T21:48:08.749" v="32197" actId="790"/>
        <pc:sldMkLst>
          <pc:docMk/>
          <pc:sldMk cId="3009496252" sldId="715"/>
        </pc:sldMkLst>
        <pc:spChg chg="mod">
          <ac:chgData name="KevCla12" userId="ef2eb634-4620-450f-93cc-80cc93397e60" providerId="ADAL" clId="{0BF56A33-4BC5-423F-96C0-6A8645FA96BB}" dt="2023-12-03T21:48:08.701" v="32185" actId="790"/>
          <ac:spMkLst>
            <pc:docMk/>
            <pc:sldMk cId="3009496252" sldId="715"/>
            <ac:spMk id="2" creationId="{00000000-0000-0000-0000-000000000000}"/>
          </ac:spMkLst>
        </pc:spChg>
        <pc:spChg chg="mod">
          <ac:chgData name="KevCla12" userId="ef2eb634-4620-450f-93cc-80cc93397e60" providerId="ADAL" clId="{0BF56A33-4BC5-423F-96C0-6A8645FA96BB}" dt="2023-12-03T21:48:08.703" v="32186" actId="790"/>
          <ac:spMkLst>
            <pc:docMk/>
            <pc:sldMk cId="3009496252" sldId="715"/>
            <ac:spMk id="4" creationId="{2C475FEA-EB33-FAFD-C681-A9610DA02B2D}"/>
          </ac:spMkLst>
        </pc:spChg>
        <pc:spChg chg="mod">
          <ac:chgData name="KevCla12" userId="ef2eb634-4620-450f-93cc-80cc93397e60" providerId="ADAL" clId="{0BF56A33-4BC5-423F-96C0-6A8645FA96BB}" dt="2023-12-03T21:48:08.704" v="32187" actId="790"/>
          <ac:spMkLst>
            <pc:docMk/>
            <pc:sldMk cId="3009496252" sldId="715"/>
            <ac:spMk id="5" creationId="{E023A984-2885-E765-3253-516100F49EAB}"/>
          </ac:spMkLst>
        </pc:spChg>
        <pc:spChg chg="mod">
          <ac:chgData name="KevCla12" userId="ef2eb634-4620-450f-93cc-80cc93397e60" providerId="ADAL" clId="{0BF56A33-4BC5-423F-96C0-6A8645FA96BB}" dt="2023-12-03T21:48:08.705" v="32188" actId="790"/>
          <ac:spMkLst>
            <pc:docMk/>
            <pc:sldMk cId="3009496252" sldId="715"/>
            <ac:spMk id="6" creationId="{78781860-EFC7-AC64-6E0A-A21D457A663A}"/>
          </ac:spMkLst>
        </pc:spChg>
        <pc:spChg chg="mod">
          <ac:chgData name="KevCla12" userId="ef2eb634-4620-450f-93cc-80cc93397e60" providerId="ADAL" clId="{0BF56A33-4BC5-423F-96C0-6A8645FA96BB}" dt="2023-12-03T21:48:08.715" v="32189" actId="790"/>
          <ac:spMkLst>
            <pc:docMk/>
            <pc:sldMk cId="3009496252" sldId="715"/>
            <ac:spMk id="8" creationId="{00000000-0000-0000-0000-000000000000}"/>
          </ac:spMkLst>
        </pc:spChg>
        <pc:spChg chg="mod">
          <ac:chgData name="KevCla12" userId="ef2eb634-4620-450f-93cc-80cc93397e60" providerId="ADAL" clId="{0BF56A33-4BC5-423F-96C0-6A8645FA96BB}" dt="2023-12-03T21:48:08.717" v="32190" actId="790"/>
          <ac:spMkLst>
            <pc:docMk/>
            <pc:sldMk cId="3009496252" sldId="715"/>
            <ac:spMk id="9" creationId="{00000000-0000-0000-0000-000000000000}"/>
          </ac:spMkLst>
        </pc:spChg>
        <pc:spChg chg="mod">
          <ac:chgData name="KevCla12" userId="ef2eb634-4620-450f-93cc-80cc93397e60" providerId="ADAL" clId="{0BF56A33-4BC5-423F-96C0-6A8645FA96BB}" dt="2023-12-03T21:48:08.722" v="32191" actId="790"/>
          <ac:spMkLst>
            <pc:docMk/>
            <pc:sldMk cId="3009496252" sldId="715"/>
            <ac:spMk id="10" creationId="{00000000-0000-0000-0000-000000000000}"/>
          </ac:spMkLst>
        </pc:spChg>
        <pc:spChg chg="mod">
          <ac:chgData name="KevCla12" userId="ef2eb634-4620-450f-93cc-80cc93397e60" providerId="ADAL" clId="{0BF56A33-4BC5-423F-96C0-6A8645FA96BB}" dt="2023-12-03T21:48:08.723" v="32192" actId="790"/>
          <ac:spMkLst>
            <pc:docMk/>
            <pc:sldMk cId="3009496252" sldId="715"/>
            <ac:spMk id="11" creationId="{00000000-0000-0000-0000-000000000000}"/>
          </ac:spMkLst>
        </pc:spChg>
        <pc:spChg chg="mod">
          <ac:chgData name="KevCla12" userId="ef2eb634-4620-450f-93cc-80cc93397e60" providerId="ADAL" clId="{0BF56A33-4BC5-423F-96C0-6A8645FA96BB}" dt="2023-12-03T21:48:08.698" v="32184" actId="790"/>
          <ac:spMkLst>
            <pc:docMk/>
            <pc:sldMk cId="3009496252" sldId="715"/>
            <ac:spMk id="15" creationId="{00000000-0000-0000-0000-000000000000}"/>
          </ac:spMkLst>
        </pc:spChg>
        <pc:spChg chg="mod">
          <ac:chgData name="KevCla12" userId="ef2eb634-4620-450f-93cc-80cc93397e60" providerId="ADAL" clId="{0BF56A33-4BC5-423F-96C0-6A8645FA96BB}" dt="2023-12-03T21:48:08.731" v="32193" actId="790"/>
          <ac:spMkLst>
            <pc:docMk/>
            <pc:sldMk cId="3009496252" sldId="715"/>
            <ac:spMk id="16" creationId="{00000000-0000-0000-0000-000000000000}"/>
          </ac:spMkLst>
        </pc:spChg>
        <pc:spChg chg="mod">
          <ac:chgData name="KevCla12" userId="ef2eb634-4620-450f-93cc-80cc93397e60" providerId="ADAL" clId="{0BF56A33-4BC5-423F-96C0-6A8645FA96BB}" dt="2023-12-03T21:48:08.739" v="32194" actId="790"/>
          <ac:spMkLst>
            <pc:docMk/>
            <pc:sldMk cId="3009496252" sldId="715"/>
            <ac:spMk id="17" creationId="{00000000-0000-0000-0000-000000000000}"/>
          </ac:spMkLst>
        </pc:spChg>
        <pc:spChg chg="mod">
          <ac:chgData name="KevCla12" userId="ef2eb634-4620-450f-93cc-80cc93397e60" providerId="ADAL" clId="{0BF56A33-4BC5-423F-96C0-6A8645FA96BB}" dt="2023-12-03T21:48:08.747" v="32195" actId="790"/>
          <ac:spMkLst>
            <pc:docMk/>
            <pc:sldMk cId="3009496252" sldId="715"/>
            <ac:spMk id="18" creationId="{00000000-0000-0000-0000-000000000000}"/>
          </ac:spMkLst>
        </pc:spChg>
      </pc:sldChg>
      <pc:sldChg chg="addSp delSp modSp add mod ord delTag modNotes modNotesTx">
        <pc:chgData name="KevCla12" userId="ef2eb634-4620-450f-93cc-80cc93397e60" providerId="ADAL" clId="{0BF56A33-4BC5-423F-96C0-6A8645FA96BB}" dt="2023-12-03T21:48:07.398" v="31335" actId="790"/>
        <pc:sldMkLst>
          <pc:docMk/>
          <pc:sldMk cId="3303445572" sldId="746"/>
        </pc:sldMkLst>
        <pc:spChg chg="add mod">
          <ac:chgData name="KevCla12" userId="ef2eb634-4620-450f-93cc-80cc93397e60" providerId="ADAL" clId="{0BF56A33-4BC5-423F-96C0-6A8645FA96BB}" dt="2023-12-03T21:48:07.396" v="31333" actId="790"/>
          <ac:spMkLst>
            <pc:docMk/>
            <pc:sldMk cId="3303445572" sldId="746"/>
            <ac:spMk id="2" creationId="{78DF36EB-8809-C9CF-16AA-8592C3A366A9}"/>
          </ac:spMkLst>
        </pc:spChg>
        <pc:spChg chg="add del mod modVis">
          <ac:chgData name="KevCla12" userId="ef2eb634-4620-450f-93cc-80cc93397e60" providerId="ADAL" clId="{0BF56A33-4BC5-423F-96C0-6A8645FA96BB}" dt="2023-12-03T19:15:04.978" v="25483"/>
          <ac:spMkLst>
            <pc:docMk/>
            <pc:sldMk cId="3303445572" sldId="746"/>
            <ac:spMk id="3" creationId="{22790012-AEF4-AC97-2370-A9A37C17E5B1}"/>
          </ac:spMkLst>
        </pc:spChg>
        <pc:spChg chg="add del mod">
          <ac:chgData name="KevCla12" userId="ef2eb634-4620-450f-93cc-80cc93397e60" providerId="ADAL" clId="{0BF56A33-4BC5-423F-96C0-6A8645FA96BB}" dt="2023-11-30T17:50:41.739" v="3381" actId="478"/>
          <ac:spMkLst>
            <pc:docMk/>
            <pc:sldMk cId="3303445572" sldId="746"/>
            <ac:spMk id="3" creationId="{AFC1A927-2A9D-BFBF-E1D5-93676431417E}"/>
          </ac:spMkLst>
        </pc:spChg>
        <pc:spChg chg="add mod">
          <ac:chgData name="KevCla12" userId="ef2eb634-4620-450f-93cc-80cc93397e60" providerId="ADAL" clId="{0BF56A33-4BC5-423F-96C0-6A8645FA96BB}" dt="2023-12-03T21:48:07.317" v="31310" actId="790"/>
          <ac:spMkLst>
            <pc:docMk/>
            <pc:sldMk cId="3303445572" sldId="746"/>
            <ac:spMk id="4" creationId="{7E9D4D57-C012-C642-9267-75501651B22E}"/>
          </ac:spMkLst>
        </pc:spChg>
        <pc:spChg chg="add mod">
          <ac:chgData name="KevCla12" userId="ef2eb634-4620-450f-93cc-80cc93397e60" providerId="ADAL" clId="{0BF56A33-4BC5-423F-96C0-6A8645FA96BB}" dt="2023-12-03T21:48:07.320" v="31311" actId="790"/>
          <ac:spMkLst>
            <pc:docMk/>
            <pc:sldMk cId="3303445572" sldId="746"/>
            <ac:spMk id="5" creationId="{41B67B3C-E9EC-2F3E-A70E-C9031AE86237}"/>
          </ac:spMkLst>
        </pc:spChg>
        <pc:spChg chg="add mod">
          <ac:chgData name="KevCla12" userId="ef2eb634-4620-450f-93cc-80cc93397e60" providerId="ADAL" clId="{0BF56A33-4BC5-423F-96C0-6A8645FA96BB}" dt="2023-12-03T21:48:07.321" v="31312" actId="790"/>
          <ac:spMkLst>
            <pc:docMk/>
            <pc:sldMk cId="3303445572" sldId="746"/>
            <ac:spMk id="6" creationId="{2A95E1B2-1BF0-D5CD-225E-EAD02897945A}"/>
          </ac:spMkLst>
        </pc:spChg>
        <pc:spChg chg="add del mod modVis">
          <ac:chgData name="KevCla12" userId="ef2eb634-4620-450f-93cc-80cc93397e60" providerId="ADAL" clId="{0BF56A33-4BC5-423F-96C0-6A8645FA96BB}" dt="2023-12-03T19:15:06.385" v="25517"/>
          <ac:spMkLst>
            <pc:docMk/>
            <pc:sldMk cId="3303445572" sldId="746"/>
            <ac:spMk id="7" creationId="{63A6D699-FFB2-6EB5-5F91-06D0B790BA2C}"/>
          </ac:spMkLst>
        </pc:spChg>
        <pc:spChg chg="add del mod modVis">
          <ac:chgData name="KevCla12" userId="ef2eb634-4620-450f-93cc-80cc93397e60" providerId="ADAL" clId="{0BF56A33-4BC5-423F-96C0-6A8645FA96BB}" dt="2023-11-30T17:50:39.013" v="3365"/>
          <ac:spMkLst>
            <pc:docMk/>
            <pc:sldMk cId="3303445572" sldId="746"/>
            <ac:spMk id="7" creationId="{FDD4C91F-7D0C-BB9C-D6FE-1E41C5B97BC9}"/>
          </ac:spMkLst>
        </pc:spChg>
        <pc:spChg chg="add del mod modVis">
          <ac:chgData name="KevCla12" userId="ef2eb634-4620-450f-93cc-80cc93397e60" providerId="ADAL" clId="{0BF56A33-4BC5-423F-96C0-6A8645FA96BB}" dt="2023-12-03T19:15:09.707" v="25557"/>
          <ac:spMkLst>
            <pc:docMk/>
            <pc:sldMk cId="3303445572" sldId="746"/>
            <ac:spMk id="9" creationId="{9DED7C5E-E9DF-6CFC-F514-21A043FA89C9}"/>
          </ac:spMkLst>
        </pc:spChg>
        <pc:spChg chg="mod">
          <ac:chgData name="KevCla12" userId="ef2eb634-4620-450f-93cc-80cc93397e60" providerId="ADAL" clId="{0BF56A33-4BC5-423F-96C0-6A8645FA96BB}" dt="2023-11-30T17:52:40.285" v="3464" actId="255"/>
          <ac:spMkLst>
            <pc:docMk/>
            <pc:sldMk cId="3303445572" sldId="746"/>
            <ac:spMk id="10" creationId="{00000000-0000-0000-0000-000000000000}"/>
          </ac:spMkLst>
        </pc:spChg>
        <pc:spChg chg="add del mod modVis">
          <ac:chgData name="KevCla12" userId="ef2eb634-4620-450f-93cc-80cc93397e60" providerId="ADAL" clId="{0BF56A33-4BC5-423F-96C0-6A8645FA96BB}" dt="2023-12-03T19:16:33.698" v="25585"/>
          <ac:spMkLst>
            <pc:docMk/>
            <pc:sldMk cId="3303445572" sldId="746"/>
            <ac:spMk id="10" creationId="{34076628-B262-8A85-B1AD-BC0CA4458E61}"/>
          </ac:spMkLst>
        </pc:spChg>
        <pc:spChg chg="mod">
          <ac:chgData name="KevCla12" userId="ef2eb634-4620-450f-93cc-80cc93397e60" providerId="ADAL" clId="{0BF56A33-4BC5-423F-96C0-6A8645FA96BB}" dt="2023-11-30T17:52:40.285" v="3464" actId="255"/>
          <ac:spMkLst>
            <pc:docMk/>
            <pc:sldMk cId="3303445572" sldId="746"/>
            <ac:spMk id="11" creationId="{00000000-0000-0000-0000-000000000000}"/>
          </ac:spMkLst>
        </pc:spChg>
        <pc:spChg chg="add del mod modVis">
          <ac:chgData name="KevCla12" userId="ef2eb634-4620-450f-93cc-80cc93397e60" providerId="ADAL" clId="{0BF56A33-4BC5-423F-96C0-6A8645FA96BB}" dt="2023-12-03T19:16:35.328" v="25615"/>
          <ac:spMkLst>
            <pc:docMk/>
            <pc:sldMk cId="3303445572" sldId="746"/>
            <ac:spMk id="11" creationId="{1BF95D09-3947-6380-8C2B-DBF90DAE0F01}"/>
          </ac:spMkLst>
        </pc:spChg>
        <pc:spChg chg="add del mod modVis">
          <ac:chgData name="KevCla12" userId="ef2eb634-4620-450f-93cc-80cc93397e60" providerId="ADAL" clId="{0BF56A33-4BC5-423F-96C0-6A8645FA96BB}" dt="2023-12-03T19:16:39.154" v="25656"/>
          <ac:spMkLst>
            <pc:docMk/>
            <pc:sldMk cId="3303445572" sldId="746"/>
            <ac:spMk id="12" creationId="{1EFED9CD-7253-09F7-DCC3-52131B1F01D8}"/>
          </ac:spMkLst>
        </pc:spChg>
        <pc:spChg chg="add del mod modVis">
          <ac:chgData name="KevCla12" userId="ef2eb634-4620-450f-93cc-80cc93397e60" providerId="ADAL" clId="{0BF56A33-4BC5-423F-96C0-6A8645FA96BB}" dt="2023-12-03T19:16:40.149" v="25686"/>
          <ac:spMkLst>
            <pc:docMk/>
            <pc:sldMk cId="3303445572" sldId="746"/>
            <ac:spMk id="13" creationId="{67354564-2DBE-C5B0-E694-3364C6DBCA2E}"/>
          </ac:spMkLst>
        </pc:spChg>
        <pc:spChg chg="mod">
          <ac:chgData name="KevCla12" userId="ef2eb634-4620-450f-93cc-80cc93397e60" providerId="ADAL" clId="{0BF56A33-4BC5-423F-96C0-6A8645FA96BB}" dt="2023-11-30T17:52:29.327" v="3462" actId="255"/>
          <ac:spMkLst>
            <pc:docMk/>
            <pc:sldMk cId="3303445572" sldId="746"/>
            <ac:spMk id="13" creationId="{DE8F1B53-695E-4A93-B52B-128CC2D7CC1B}"/>
          </ac:spMkLst>
        </pc:spChg>
        <pc:spChg chg="mod">
          <ac:chgData name="KevCla12" userId="ef2eb634-4620-450f-93cc-80cc93397e60" providerId="ADAL" clId="{0BF56A33-4BC5-423F-96C0-6A8645FA96BB}" dt="2023-11-30T17:52:29.327" v="3462" actId="255"/>
          <ac:spMkLst>
            <pc:docMk/>
            <pc:sldMk cId="3303445572" sldId="746"/>
            <ac:spMk id="14" creationId="{6C2865A3-1D32-4EA1-8006-975519D46B78}"/>
          </ac:spMkLst>
        </pc:spChg>
        <pc:spChg chg="add del mod modVis">
          <ac:chgData name="KevCla12" userId="ef2eb634-4620-450f-93cc-80cc93397e60" providerId="ADAL" clId="{0BF56A33-4BC5-423F-96C0-6A8645FA96BB}" dt="2023-12-03T19:16:42.668" v="25724"/>
          <ac:spMkLst>
            <pc:docMk/>
            <pc:sldMk cId="3303445572" sldId="746"/>
            <ac:spMk id="14" creationId="{EA4B2266-EA4A-E1C2-7EC0-4D79C1C4F420}"/>
          </ac:spMkLst>
        </pc:spChg>
        <pc:spChg chg="add del mod modVis">
          <ac:chgData name="KevCla12" userId="ef2eb634-4620-450f-93cc-80cc93397e60" providerId="ADAL" clId="{0BF56A33-4BC5-423F-96C0-6A8645FA96BB}" dt="2023-12-03T19:16:45.389" v="25755"/>
          <ac:spMkLst>
            <pc:docMk/>
            <pc:sldMk cId="3303445572" sldId="746"/>
            <ac:spMk id="15" creationId="{FD0CD78F-1AA5-0856-B7DB-29E60C0C937D}"/>
          </ac:spMkLst>
        </pc:spChg>
        <pc:spChg chg="add del mod modVis">
          <ac:chgData name="KevCla12" userId="ef2eb634-4620-450f-93cc-80cc93397e60" providerId="ADAL" clId="{0BF56A33-4BC5-423F-96C0-6A8645FA96BB}" dt="2023-12-03T19:16:47.529" v="25786"/>
          <ac:spMkLst>
            <pc:docMk/>
            <pc:sldMk cId="3303445572" sldId="746"/>
            <ac:spMk id="16" creationId="{D301A0B9-8A4F-9F13-8DC1-BE7CF26B74CD}"/>
          </ac:spMkLst>
        </pc:spChg>
        <pc:spChg chg="mod">
          <ac:chgData name="KevCla12" userId="ef2eb634-4620-450f-93cc-80cc93397e60" providerId="ADAL" clId="{0BF56A33-4BC5-423F-96C0-6A8645FA96BB}" dt="2023-11-30T17:52:37.276" v="3463" actId="255"/>
          <ac:spMkLst>
            <pc:docMk/>
            <pc:sldMk cId="3303445572" sldId="746"/>
            <ac:spMk id="16" creationId="{DD16BFFB-8F2B-4F07-B39E-B3A970CA8678}"/>
          </ac:spMkLst>
        </pc:spChg>
        <pc:spChg chg="mod">
          <ac:chgData name="KevCla12" userId="ef2eb634-4620-450f-93cc-80cc93397e60" providerId="ADAL" clId="{0BF56A33-4BC5-423F-96C0-6A8645FA96BB}" dt="2023-11-30T17:52:37.276" v="3463" actId="255"/>
          <ac:spMkLst>
            <pc:docMk/>
            <pc:sldMk cId="3303445572" sldId="746"/>
            <ac:spMk id="17" creationId="{6605B832-3B08-4AF8-B87B-08B54343BCCB}"/>
          </ac:spMkLst>
        </pc:spChg>
        <pc:spChg chg="add del mod modVis">
          <ac:chgData name="KevCla12" userId="ef2eb634-4620-450f-93cc-80cc93397e60" providerId="ADAL" clId="{0BF56A33-4BC5-423F-96C0-6A8645FA96BB}" dt="2023-12-03T19:16:50.464" v="25823"/>
          <ac:spMkLst>
            <pc:docMk/>
            <pc:sldMk cId="3303445572" sldId="746"/>
            <ac:spMk id="17" creationId="{703C46FA-17D3-2C8B-A1EC-AE8F7FECE577}"/>
          </ac:spMkLst>
        </pc:spChg>
        <pc:spChg chg="add del mod modVis">
          <ac:chgData name="KevCla12" userId="ef2eb634-4620-450f-93cc-80cc93397e60" providerId="ADAL" clId="{0BF56A33-4BC5-423F-96C0-6A8645FA96BB}" dt="2023-12-03T19:16:52.699" v="25862"/>
          <ac:spMkLst>
            <pc:docMk/>
            <pc:sldMk cId="3303445572" sldId="746"/>
            <ac:spMk id="18" creationId="{1DC4193F-E947-86B4-610C-CA1E74D6B36C}"/>
          </ac:spMkLst>
        </pc:spChg>
        <pc:spChg chg="add del mod">
          <ac:chgData name="KevCla12" userId="ef2eb634-4620-450f-93cc-80cc93397e60" providerId="ADAL" clId="{0BF56A33-4BC5-423F-96C0-6A8645FA96BB}" dt="2023-11-30T17:58:26.979" v="3541" actId="478"/>
          <ac:spMkLst>
            <pc:docMk/>
            <pc:sldMk cId="3303445572" sldId="746"/>
            <ac:spMk id="18" creationId="{9AFFDB26-7AFD-6BBB-99AB-731B04DC91C3}"/>
          </ac:spMkLst>
        </pc:spChg>
        <pc:spChg chg="add del mod modVis">
          <ac:chgData name="KevCla12" userId="ef2eb634-4620-450f-93cc-80cc93397e60" providerId="ADAL" clId="{0BF56A33-4BC5-423F-96C0-6A8645FA96BB}" dt="2023-12-03T19:16:56.213" v="25895"/>
          <ac:spMkLst>
            <pc:docMk/>
            <pc:sldMk cId="3303445572" sldId="746"/>
            <ac:spMk id="19" creationId="{274EA1D4-320B-7AA6-9268-B68E1BF142FF}"/>
          </ac:spMkLst>
        </pc:spChg>
        <pc:spChg chg="add del mod modVis">
          <ac:chgData name="KevCla12" userId="ef2eb634-4620-450f-93cc-80cc93397e60" providerId="ADAL" clId="{0BF56A33-4BC5-423F-96C0-6A8645FA96BB}" dt="2023-12-03T19:17:02.429" v="25935"/>
          <ac:spMkLst>
            <pc:docMk/>
            <pc:sldMk cId="3303445572" sldId="746"/>
            <ac:spMk id="20" creationId="{3E75A009-019D-B23A-BA93-B86ABF325F21}"/>
          </ac:spMkLst>
        </pc:spChg>
        <pc:spChg chg="add del">
          <ac:chgData name="KevCla12" userId="ef2eb634-4620-450f-93cc-80cc93397e60" providerId="ADAL" clId="{0BF56A33-4BC5-423F-96C0-6A8645FA96BB}" dt="2023-11-30T17:57:11.912" v="3504" actId="22"/>
          <ac:spMkLst>
            <pc:docMk/>
            <pc:sldMk cId="3303445572" sldId="746"/>
            <ac:spMk id="20" creationId="{78982E5D-FF1E-A1E5-D0AA-41902F487DCB}"/>
          </ac:spMkLst>
        </pc:spChg>
        <pc:spChg chg="add del mod modVis">
          <ac:chgData name="KevCla12" userId="ef2eb634-4620-450f-93cc-80cc93397e60" providerId="ADAL" clId="{0BF56A33-4BC5-423F-96C0-6A8645FA96BB}" dt="2023-12-03T19:17:03.118" v="25963"/>
          <ac:spMkLst>
            <pc:docMk/>
            <pc:sldMk cId="3303445572" sldId="746"/>
            <ac:spMk id="21" creationId="{DB055280-6650-0663-D178-F4F8F8139A0F}"/>
          </ac:spMkLst>
        </pc:spChg>
        <pc:spChg chg="mod">
          <ac:chgData name="KevCla12" userId="ef2eb634-4620-450f-93cc-80cc93397e60" providerId="ADAL" clId="{0BF56A33-4BC5-423F-96C0-6A8645FA96BB}" dt="2023-12-03T21:48:07.316" v="31309" actId="790"/>
          <ac:spMkLst>
            <pc:docMk/>
            <pc:sldMk cId="3303445572" sldId="746"/>
            <ac:spMk id="22" creationId="{00000000-0000-0000-0000-000000000000}"/>
          </ac:spMkLst>
        </pc:spChg>
        <pc:spChg chg="add mod">
          <ac:chgData name="KevCla12" userId="ef2eb634-4620-450f-93cc-80cc93397e60" providerId="ADAL" clId="{0BF56A33-4BC5-423F-96C0-6A8645FA96BB}" dt="2023-12-03T21:48:07.332" v="31313" actId="790"/>
          <ac:spMkLst>
            <pc:docMk/>
            <pc:sldMk cId="3303445572" sldId="746"/>
            <ac:spMk id="23" creationId="{CA1B20F7-AF25-BA03-C93C-CA2FE59B440F}"/>
          </ac:spMkLst>
        </pc:spChg>
        <pc:spChg chg="add mod">
          <ac:chgData name="KevCla12" userId="ef2eb634-4620-450f-93cc-80cc93397e60" providerId="ADAL" clId="{0BF56A33-4BC5-423F-96C0-6A8645FA96BB}" dt="2023-12-03T21:48:07.344" v="31314" actId="790"/>
          <ac:spMkLst>
            <pc:docMk/>
            <pc:sldMk cId="3303445572" sldId="746"/>
            <ac:spMk id="24" creationId="{8DA32ECE-FAC7-524A-76D0-E18C8074FDD9}"/>
          </ac:spMkLst>
        </pc:spChg>
        <pc:spChg chg="add mod">
          <ac:chgData name="KevCla12" userId="ef2eb634-4620-450f-93cc-80cc93397e60" providerId="ADAL" clId="{0BF56A33-4BC5-423F-96C0-6A8645FA96BB}" dt="2023-12-03T21:48:07.357" v="31315" actId="790"/>
          <ac:spMkLst>
            <pc:docMk/>
            <pc:sldMk cId="3303445572" sldId="746"/>
            <ac:spMk id="25" creationId="{3662099C-B53E-C473-C66F-E0798294A303}"/>
          </ac:spMkLst>
        </pc:spChg>
        <pc:spChg chg="add del mod modVis">
          <ac:chgData name="KevCla12" userId="ef2eb634-4620-450f-93cc-80cc93397e60" providerId="ADAL" clId="{0BF56A33-4BC5-423F-96C0-6A8645FA96BB}" dt="2023-12-03T19:17:03.804" v="25991"/>
          <ac:spMkLst>
            <pc:docMk/>
            <pc:sldMk cId="3303445572" sldId="746"/>
            <ac:spMk id="26" creationId="{0780E250-D52F-03BC-1F14-A591B881BCCF}"/>
          </ac:spMkLst>
        </pc:spChg>
        <pc:spChg chg="add del mod">
          <ac:chgData name="KevCla12" userId="ef2eb634-4620-450f-93cc-80cc93397e60" providerId="ADAL" clId="{0BF56A33-4BC5-423F-96C0-6A8645FA96BB}" dt="2023-11-30T18:00:59.416" v="3586" actId="478"/>
          <ac:spMkLst>
            <pc:docMk/>
            <pc:sldMk cId="3303445572" sldId="746"/>
            <ac:spMk id="26" creationId="{C9F5C039-76F7-FC86-2215-3E234B8BD854}"/>
          </ac:spMkLst>
        </pc:spChg>
        <pc:spChg chg="add del mod modVis">
          <ac:chgData name="KevCla12" userId="ef2eb634-4620-450f-93cc-80cc93397e60" providerId="ADAL" clId="{0BF56A33-4BC5-423F-96C0-6A8645FA96BB}" dt="2023-12-03T19:17:09.028" v="26019"/>
          <ac:spMkLst>
            <pc:docMk/>
            <pc:sldMk cId="3303445572" sldId="746"/>
            <ac:spMk id="27" creationId="{86928DC6-F3F7-9C20-47B8-0C3936AA358B}"/>
          </ac:spMkLst>
        </pc:spChg>
        <pc:spChg chg="add mod">
          <ac:chgData name="KevCla12" userId="ef2eb634-4620-450f-93cc-80cc93397e60" providerId="ADAL" clId="{0BF56A33-4BC5-423F-96C0-6A8645FA96BB}" dt="2023-12-03T21:48:07.359" v="31316" actId="790"/>
          <ac:spMkLst>
            <pc:docMk/>
            <pc:sldMk cId="3303445572" sldId="746"/>
            <ac:spMk id="30" creationId="{010EF957-9069-E418-FA7D-E5C27D38F8A2}"/>
          </ac:spMkLst>
        </pc:spChg>
        <pc:spChg chg="add mod">
          <ac:chgData name="KevCla12" userId="ef2eb634-4620-450f-93cc-80cc93397e60" providerId="ADAL" clId="{0BF56A33-4BC5-423F-96C0-6A8645FA96BB}" dt="2023-12-03T21:48:07.362" v="31317" actId="790"/>
          <ac:spMkLst>
            <pc:docMk/>
            <pc:sldMk cId="3303445572" sldId="746"/>
            <ac:spMk id="31" creationId="{4267EE7D-0407-EE3E-F796-36E4B0C2903A}"/>
          </ac:spMkLst>
        </pc:spChg>
        <pc:spChg chg="add mod">
          <ac:chgData name="KevCla12" userId="ef2eb634-4620-450f-93cc-80cc93397e60" providerId="ADAL" clId="{0BF56A33-4BC5-423F-96C0-6A8645FA96BB}" dt="2023-12-03T21:48:07.364" v="31318" actId="790"/>
          <ac:spMkLst>
            <pc:docMk/>
            <pc:sldMk cId="3303445572" sldId="746"/>
            <ac:spMk id="32" creationId="{22518558-CFAC-D1DE-9BDC-2EF3BE87523F}"/>
          </ac:spMkLst>
        </pc:spChg>
        <pc:spChg chg="add del mod modVis">
          <ac:chgData name="KevCla12" userId="ef2eb634-4620-450f-93cc-80cc93397e60" providerId="ADAL" clId="{0BF56A33-4BC5-423F-96C0-6A8645FA96BB}" dt="2023-11-30T18:02:16.005" v="3774"/>
          <ac:spMkLst>
            <pc:docMk/>
            <pc:sldMk cId="3303445572" sldId="746"/>
            <ac:spMk id="33" creationId="{551F9DD2-BE3C-9C02-7589-AFBA7D9C25AE}"/>
          </ac:spMkLst>
        </pc:spChg>
        <pc:spChg chg="add del mod modVis">
          <ac:chgData name="KevCla12" userId="ef2eb634-4620-450f-93cc-80cc93397e60" providerId="ADAL" clId="{0BF56A33-4BC5-423F-96C0-6A8645FA96BB}" dt="2023-11-30T18:02:17.642" v="3814"/>
          <ac:spMkLst>
            <pc:docMk/>
            <pc:sldMk cId="3303445572" sldId="746"/>
            <ac:spMk id="34" creationId="{A0D58C11-00CD-982E-EC9E-6E3E0BE8A1E0}"/>
          </ac:spMkLst>
        </pc:spChg>
        <pc:spChg chg="add mod">
          <ac:chgData name="KevCla12" userId="ef2eb634-4620-450f-93cc-80cc93397e60" providerId="ADAL" clId="{0BF56A33-4BC5-423F-96C0-6A8645FA96BB}" dt="2023-12-03T21:48:07.382" v="31319" actId="790"/>
          <ac:spMkLst>
            <pc:docMk/>
            <pc:sldMk cId="3303445572" sldId="746"/>
            <ac:spMk id="41" creationId="{40F6D3F8-2570-3C5D-0446-01736B598A28}"/>
          </ac:spMkLst>
        </pc:spChg>
        <pc:spChg chg="add mod">
          <ac:chgData name="KevCla12" userId="ef2eb634-4620-450f-93cc-80cc93397e60" providerId="ADAL" clId="{0BF56A33-4BC5-423F-96C0-6A8645FA96BB}" dt="2023-12-03T21:48:07.383" v="31320" actId="790"/>
          <ac:spMkLst>
            <pc:docMk/>
            <pc:sldMk cId="3303445572" sldId="746"/>
            <ac:spMk id="42" creationId="{A50A530A-9289-0AC7-4E0F-FBAC59C10D90}"/>
          </ac:spMkLst>
        </pc:spChg>
        <pc:spChg chg="add mod">
          <ac:chgData name="KevCla12" userId="ef2eb634-4620-450f-93cc-80cc93397e60" providerId="ADAL" clId="{0BF56A33-4BC5-423F-96C0-6A8645FA96BB}" dt="2023-12-03T21:48:07.383" v="31321" actId="790"/>
          <ac:spMkLst>
            <pc:docMk/>
            <pc:sldMk cId="3303445572" sldId="746"/>
            <ac:spMk id="43" creationId="{9E5F4FFF-157B-C135-D08C-909D2CDAB2FB}"/>
          </ac:spMkLst>
        </pc:spChg>
        <pc:spChg chg="add mod">
          <ac:chgData name="KevCla12" userId="ef2eb634-4620-450f-93cc-80cc93397e60" providerId="ADAL" clId="{0BF56A33-4BC5-423F-96C0-6A8645FA96BB}" dt="2023-12-03T21:48:07.384" v="31322" actId="790"/>
          <ac:spMkLst>
            <pc:docMk/>
            <pc:sldMk cId="3303445572" sldId="746"/>
            <ac:spMk id="44" creationId="{5A1A94E0-34E8-FE4D-802D-D319F4A5A787}"/>
          </ac:spMkLst>
        </pc:spChg>
        <pc:spChg chg="add mod">
          <ac:chgData name="KevCla12" userId="ef2eb634-4620-450f-93cc-80cc93397e60" providerId="ADAL" clId="{0BF56A33-4BC5-423F-96C0-6A8645FA96BB}" dt="2023-12-03T21:48:07.385" v="31323" actId="790"/>
          <ac:spMkLst>
            <pc:docMk/>
            <pc:sldMk cId="3303445572" sldId="746"/>
            <ac:spMk id="45" creationId="{3BFF4756-CE38-3D8C-BD0C-AE8C2C99CADC}"/>
          </ac:spMkLst>
        </pc:spChg>
        <pc:spChg chg="add mod">
          <ac:chgData name="KevCla12" userId="ef2eb634-4620-450f-93cc-80cc93397e60" providerId="ADAL" clId="{0BF56A33-4BC5-423F-96C0-6A8645FA96BB}" dt="2023-12-03T21:48:07.385" v="31324" actId="790"/>
          <ac:spMkLst>
            <pc:docMk/>
            <pc:sldMk cId="3303445572" sldId="746"/>
            <ac:spMk id="46" creationId="{A536E3BC-6D83-AD38-3ED6-294E7A5148C4}"/>
          </ac:spMkLst>
        </pc:spChg>
        <pc:spChg chg="add mod">
          <ac:chgData name="KevCla12" userId="ef2eb634-4620-450f-93cc-80cc93397e60" providerId="ADAL" clId="{0BF56A33-4BC5-423F-96C0-6A8645FA96BB}" dt="2023-12-03T21:48:07.386" v="31325" actId="790"/>
          <ac:spMkLst>
            <pc:docMk/>
            <pc:sldMk cId="3303445572" sldId="746"/>
            <ac:spMk id="47" creationId="{F190AF56-7A1F-4AD7-1A17-76AFC1EB25D2}"/>
          </ac:spMkLst>
        </pc:spChg>
        <pc:spChg chg="add mod">
          <ac:chgData name="KevCla12" userId="ef2eb634-4620-450f-93cc-80cc93397e60" providerId="ADAL" clId="{0BF56A33-4BC5-423F-96C0-6A8645FA96BB}" dt="2023-12-03T21:48:07.387" v="31326" actId="790"/>
          <ac:spMkLst>
            <pc:docMk/>
            <pc:sldMk cId="3303445572" sldId="746"/>
            <ac:spMk id="48" creationId="{53CA9369-E697-C281-D096-FF705A499C7E}"/>
          </ac:spMkLst>
        </pc:spChg>
        <pc:spChg chg="add mod">
          <ac:chgData name="KevCla12" userId="ef2eb634-4620-450f-93cc-80cc93397e60" providerId="ADAL" clId="{0BF56A33-4BC5-423F-96C0-6A8645FA96BB}" dt="2023-12-03T21:48:07.388" v="31327" actId="790"/>
          <ac:spMkLst>
            <pc:docMk/>
            <pc:sldMk cId="3303445572" sldId="746"/>
            <ac:spMk id="49" creationId="{E7FE4F5E-0BD6-BDAD-55D6-7326A8868F98}"/>
          </ac:spMkLst>
        </pc:spChg>
        <pc:spChg chg="add mod">
          <ac:chgData name="KevCla12" userId="ef2eb634-4620-450f-93cc-80cc93397e60" providerId="ADAL" clId="{0BF56A33-4BC5-423F-96C0-6A8645FA96BB}" dt="2023-12-03T21:48:07.388" v="31328" actId="790"/>
          <ac:spMkLst>
            <pc:docMk/>
            <pc:sldMk cId="3303445572" sldId="746"/>
            <ac:spMk id="50" creationId="{0E16EAC5-EEE8-C42A-7E13-FA371F5E370E}"/>
          </ac:spMkLst>
        </pc:spChg>
        <pc:spChg chg="add mod">
          <ac:chgData name="KevCla12" userId="ef2eb634-4620-450f-93cc-80cc93397e60" providerId="ADAL" clId="{0BF56A33-4BC5-423F-96C0-6A8645FA96BB}" dt="2023-12-03T21:48:07.389" v="31329" actId="790"/>
          <ac:spMkLst>
            <pc:docMk/>
            <pc:sldMk cId="3303445572" sldId="746"/>
            <ac:spMk id="51" creationId="{D2C68446-4456-3E03-8AC9-AD6A52F1395D}"/>
          </ac:spMkLst>
        </pc:spChg>
        <pc:spChg chg="add mod">
          <ac:chgData name="KevCla12" userId="ef2eb634-4620-450f-93cc-80cc93397e60" providerId="ADAL" clId="{0BF56A33-4BC5-423F-96C0-6A8645FA96BB}" dt="2023-12-03T21:48:07.390" v="31330" actId="790"/>
          <ac:spMkLst>
            <pc:docMk/>
            <pc:sldMk cId="3303445572" sldId="746"/>
            <ac:spMk id="52" creationId="{7FB2CFDA-762E-5E8D-0517-748E1F76CD8B}"/>
          </ac:spMkLst>
        </pc:spChg>
        <pc:spChg chg="add mod">
          <ac:chgData name="KevCla12" userId="ef2eb634-4620-450f-93cc-80cc93397e60" providerId="ADAL" clId="{0BF56A33-4BC5-423F-96C0-6A8645FA96BB}" dt="2023-12-03T21:48:07.391" v="31331" actId="790"/>
          <ac:spMkLst>
            <pc:docMk/>
            <pc:sldMk cId="3303445572" sldId="746"/>
            <ac:spMk id="53" creationId="{AAADA9F6-E307-F94B-5F1C-52B4693B6D5E}"/>
          </ac:spMkLst>
        </pc:spChg>
        <pc:spChg chg="add mod">
          <ac:chgData name="KevCla12" userId="ef2eb634-4620-450f-93cc-80cc93397e60" providerId="ADAL" clId="{0BF56A33-4BC5-423F-96C0-6A8645FA96BB}" dt="2023-12-03T21:48:07.395" v="31332" actId="790"/>
          <ac:spMkLst>
            <pc:docMk/>
            <pc:sldMk cId="3303445572" sldId="746"/>
            <ac:spMk id="54" creationId="{F9CAAEC8-C69B-DED0-B77E-6AFBC809D85B}"/>
          </ac:spMkLst>
        </pc:spChg>
        <pc:spChg chg="add del mod modVis">
          <ac:chgData name="KevCla12" userId="ef2eb634-4620-450f-93cc-80cc93397e60" providerId="ADAL" clId="{0BF56A33-4BC5-423F-96C0-6A8645FA96BB}" dt="2023-11-30T18:14:33.776" v="6300"/>
          <ac:spMkLst>
            <pc:docMk/>
            <pc:sldMk cId="3303445572" sldId="746"/>
            <ac:spMk id="55" creationId="{BF26D4DD-76A4-4191-63FE-2F7CCE270CD8}"/>
          </ac:spMkLst>
        </pc:spChg>
        <pc:spChg chg="add del mod modVis">
          <ac:chgData name="KevCla12" userId="ef2eb634-4620-450f-93cc-80cc93397e60" providerId="ADAL" clId="{0BF56A33-4BC5-423F-96C0-6A8645FA96BB}" dt="2023-11-30T18:14:41.962" v="8318"/>
          <ac:spMkLst>
            <pc:docMk/>
            <pc:sldMk cId="3303445572" sldId="746"/>
            <ac:spMk id="56" creationId="{601270FD-7A72-CD34-8962-D2D7B407D1B0}"/>
          </ac:spMkLst>
        </pc:spChg>
        <pc:grpChg chg="del mod">
          <ac:chgData name="KevCla12" userId="ef2eb634-4620-450f-93cc-80cc93397e60" providerId="ADAL" clId="{0BF56A33-4BC5-423F-96C0-6A8645FA96BB}" dt="2023-11-30T17:53:01.512" v="3467" actId="478"/>
          <ac:grpSpMkLst>
            <pc:docMk/>
            <pc:sldMk cId="3303445572" sldId="746"/>
            <ac:grpSpMk id="2" creationId="{F1D61C55-70B1-4257-9EF5-AE88EF0846DA}"/>
          </ac:grpSpMkLst>
        </pc:grpChg>
        <pc:grpChg chg="del mod">
          <ac:chgData name="KevCla12" userId="ef2eb634-4620-450f-93cc-80cc93397e60" providerId="ADAL" clId="{0BF56A33-4BC5-423F-96C0-6A8645FA96BB}" dt="2023-11-30T17:52:59.819" v="3465" actId="478"/>
          <ac:grpSpMkLst>
            <pc:docMk/>
            <pc:sldMk cId="3303445572" sldId="746"/>
            <ac:grpSpMk id="12" creationId="{F9D9BFEE-8680-45F6-BAD8-E5E94D865BDD}"/>
          </ac:grpSpMkLst>
        </pc:grpChg>
        <pc:grpChg chg="del mod">
          <ac:chgData name="KevCla12" userId="ef2eb634-4620-450f-93cc-80cc93397e60" providerId="ADAL" clId="{0BF56A33-4BC5-423F-96C0-6A8645FA96BB}" dt="2023-11-30T17:53:00.475" v="3466" actId="478"/>
          <ac:grpSpMkLst>
            <pc:docMk/>
            <pc:sldMk cId="3303445572" sldId="746"/>
            <ac:grpSpMk id="15" creationId="{27B02ADB-7A64-4E5D-95E7-346E0CC20169}"/>
          </ac:grpSpMkLst>
        </pc:grpChg>
        <pc:graphicFrameChg chg="add mod ord modVis replST">
          <ac:chgData name="KevCla12" userId="ef2eb634-4620-450f-93cc-80cc93397e60" providerId="ADAL" clId="{0BF56A33-4BC5-423F-96C0-6A8645FA96BB}" dt="2023-12-03T19:17:09.033" v="26021"/>
          <ac:graphicFrameMkLst>
            <pc:docMk/>
            <pc:sldMk cId="3303445572" sldId="746"/>
            <ac:graphicFrameMk id="8" creationId="{B72921D6-4295-BF0A-DA24-43A86B04CE6C}"/>
          </ac:graphicFrameMkLst>
        </pc:graphicFrameChg>
        <pc:cxnChg chg="add mod">
          <ac:chgData name="KevCla12" userId="ef2eb634-4620-450f-93cc-80cc93397e60" providerId="ADAL" clId="{0BF56A33-4BC5-423F-96C0-6A8645FA96BB}" dt="2023-11-30T18:07:58.717" v="3952" actId="1036"/>
          <ac:cxnSpMkLst>
            <pc:docMk/>
            <pc:sldMk cId="3303445572" sldId="746"/>
            <ac:cxnSpMk id="28" creationId="{4826A400-27C8-28A8-94AC-AE03DE69832C}"/>
          </ac:cxnSpMkLst>
        </pc:cxnChg>
        <pc:cxnChg chg="add mod">
          <ac:chgData name="KevCla12" userId="ef2eb634-4620-450f-93cc-80cc93397e60" providerId="ADAL" clId="{0BF56A33-4BC5-423F-96C0-6A8645FA96BB}" dt="2023-11-30T18:07:58.717" v="3952" actId="1036"/>
          <ac:cxnSpMkLst>
            <pc:docMk/>
            <pc:sldMk cId="3303445572" sldId="746"/>
            <ac:cxnSpMk id="29" creationId="{4B1FEBCE-89DA-A41F-6D0E-4064241E3049}"/>
          </ac:cxnSpMkLst>
        </pc:cxnChg>
        <pc:cxnChg chg="add mod">
          <ac:chgData name="KevCla12" userId="ef2eb634-4620-450f-93cc-80cc93397e60" providerId="ADAL" clId="{0BF56A33-4BC5-423F-96C0-6A8645FA96BB}" dt="2023-11-30T18:03:07.297" v="3886"/>
          <ac:cxnSpMkLst>
            <pc:docMk/>
            <pc:sldMk cId="3303445572" sldId="746"/>
            <ac:cxnSpMk id="35" creationId="{0DD41C66-2CCD-DC8F-0D48-3E1EF9C2B713}"/>
          </ac:cxnSpMkLst>
        </pc:cxnChg>
        <pc:cxnChg chg="add mod">
          <ac:chgData name="KevCla12" userId="ef2eb634-4620-450f-93cc-80cc93397e60" providerId="ADAL" clId="{0BF56A33-4BC5-423F-96C0-6A8645FA96BB}" dt="2023-11-30T18:03:07.297" v="3886"/>
          <ac:cxnSpMkLst>
            <pc:docMk/>
            <pc:sldMk cId="3303445572" sldId="746"/>
            <ac:cxnSpMk id="36" creationId="{620BEB80-21AA-C180-5AAA-A621E20DB2FB}"/>
          </ac:cxnSpMkLst>
        </pc:cxnChg>
        <pc:cxnChg chg="add mod">
          <ac:chgData name="KevCla12" userId="ef2eb634-4620-450f-93cc-80cc93397e60" providerId="ADAL" clId="{0BF56A33-4BC5-423F-96C0-6A8645FA96BB}" dt="2023-11-30T18:07:58.717" v="3952" actId="1036"/>
          <ac:cxnSpMkLst>
            <pc:docMk/>
            <pc:sldMk cId="3303445572" sldId="746"/>
            <ac:cxnSpMk id="37" creationId="{28CFDE56-E500-E9B7-C853-8A8FBD5A9F75}"/>
          </ac:cxnSpMkLst>
        </pc:cxnChg>
      </pc:sldChg>
      <pc:sldChg chg="modSp add mod delCm modNotes modNotesTx">
        <pc:chgData name="KevCla12" userId="ef2eb634-4620-450f-93cc-80cc93397e60" providerId="ADAL" clId="{0BF56A33-4BC5-423F-96C0-6A8645FA96BB}" dt="2023-12-03T21:48:08.843" v="32271" actId="790"/>
        <pc:sldMkLst>
          <pc:docMk/>
          <pc:sldMk cId="3794737383" sldId="752"/>
        </pc:sldMkLst>
        <pc:spChg chg="mod">
          <ac:chgData name="KevCla12" userId="ef2eb634-4620-450f-93cc-80cc93397e60" providerId="ADAL" clId="{0BF56A33-4BC5-423F-96C0-6A8645FA96BB}" dt="2023-12-03T21:48:08.790" v="32252" actId="790"/>
          <ac:spMkLst>
            <pc:docMk/>
            <pc:sldMk cId="3794737383" sldId="752"/>
            <ac:spMk id="3" creationId="{975F35E9-AA86-D52A-D8B0-A5293C4800BF}"/>
          </ac:spMkLst>
        </pc:spChg>
        <pc:spChg chg="mod">
          <ac:chgData name="KevCla12" userId="ef2eb634-4620-450f-93cc-80cc93397e60" providerId="ADAL" clId="{0BF56A33-4BC5-423F-96C0-6A8645FA96BB}" dt="2023-12-03T21:48:08.791" v="32253" actId="790"/>
          <ac:spMkLst>
            <pc:docMk/>
            <pc:sldMk cId="3794737383" sldId="752"/>
            <ac:spMk id="4" creationId="{D68442E4-FA7F-2BD9-A83E-17FC26E2DA5C}"/>
          </ac:spMkLst>
        </pc:spChg>
        <pc:spChg chg="mod">
          <ac:chgData name="KevCla12" userId="ef2eb634-4620-450f-93cc-80cc93397e60" providerId="ADAL" clId="{0BF56A33-4BC5-423F-96C0-6A8645FA96BB}" dt="2023-12-03T21:48:08.792" v="32254" actId="790"/>
          <ac:spMkLst>
            <pc:docMk/>
            <pc:sldMk cId="3794737383" sldId="752"/>
            <ac:spMk id="5" creationId="{6D983D1C-9AE7-A74C-E2FA-09649784CC16}"/>
          </ac:spMkLst>
        </pc:spChg>
        <pc:spChg chg="mod">
          <ac:chgData name="KevCla12" userId="ef2eb634-4620-450f-93cc-80cc93397e60" providerId="ADAL" clId="{0BF56A33-4BC5-423F-96C0-6A8645FA96BB}" dt="2023-12-03T21:48:08.832" v="32259" actId="790"/>
          <ac:spMkLst>
            <pc:docMk/>
            <pc:sldMk cId="3794737383" sldId="752"/>
            <ac:spMk id="12" creationId="{58415BBB-D126-5FA9-8571-9BCA4D1BD163}"/>
          </ac:spMkLst>
        </pc:spChg>
        <pc:spChg chg="mod">
          <ac:chgData name="KevCla12" userId="ef2eb634-4620-450f-93cc-80cc93397e60" providerId="ADAL" clId="{0BF56A33-4BC5-423F-96C0-6A8645FA96BB}" dt="2023-12-03T21:48:08.833" v="32260" actId="790"/>
          <ac:spMkLst>
            <pc:docMk/>
            <pc:sldMk cId="3794737383" sldId="752"/>
            <ac:spMk id="13" creationId="{CA89FD93-5C7E-4486-0196-B5CDAC1BAE76}"/>
          </ac:spMkLst>
        </pc:spChg>
        <pc:spChg chg="mod">
          <ac:chgData name="KevCla12" userId="ef2eb634-4620-450f-93cc-80cc93397e60" providerId="ADAL" clId="{0BF56A33-4BC5-423F-96C0-6A8645FA96BB}" dt="2023-12-03T21:48:08.834" v="32261" actId="790"/>
          <ac:spMkLst>
            <pc:docMk/>
            <pc:sldMk cId="3794737383" sldId="752"/>
            <ac:spMk id="14" creationId="{5A835963-B8AE-1DC3-95C6-4FA63D396822}"/>
          </ac:spMkLst>
        </pc:spChg>
        <pc:spChg chg="mod">
          <ac:chgData name="KevCla12" userId="ef2eb634-4620-450f-93cc-80cc93397e60" providerId="ADAL" clId="{0BF56A33-4BC5-423F-96C0-6A8645FA96BB}" dt="2023-12-03T21:48:08.835" v="32262" actId="790"/>
          <ac:spMkLst>
            <pc:docMk/>
            <pc:sldMk cId="3794737383" sldId="752"/>
            <ac:spMk id="15" creationId="{38501824-A2D2-A6D6-8CB3-490F0E0A868B}"/>
          </ac:spMkLst>
        </pc:spChg>
        <pc:spChg chg="mod">
          <ac:chgData name="KevCla12" userId="ef2eb634-4620-450f-93cc-80cc93397e60" providerId="ADAL" clId="{0BF56A33-4BC5-423F-96C0-6A8645FA96BB}" dt="2023-12-03T21:48:08.836" v="32263" actId="790"/>
          <ac:spMkLst>
            <pc:docMk/>
            <pc:sldMk cId="3794737383" sldId="752"/>
            <ac:spMk id="16" creationId="{0084BDC9-2803-D7D0-5E47-ED76EE4CE2A0}"/>
          </ac:spMkLst>
        </pc:spChg>
        <pc:spChg chg="mod">
          <ac:chgData name="KevCla12" userId="ef2eb634-4620-450f-93cc-80cc93397e60" providerId="ADAL" clId="{0BF56A33-4BC5-423F-96C0-6A8645FA96BB}" dt="2023-12-03T21:48:08.837" v="32264" actId="790"/>
          <ac:spMkLst>
            <pc:docMk/>
            <pc:sldMk cId="3794737383" sldId="752"/>
            <ac:spMk id="17" creationId="{8E9FF1ED-535B-BBC1-A30E-0EDE2E6BC0DB}"/>
          </ac:spMkLst>
        </pc:spChg>
        <pc:spChg chg="mod">
          <ac:chgData name="KevCla12" userId="ef2eb634-4620-450f-93cc-80cc93397e60" providerId="ADAL" clId="{0BF56A33-4BC5-423F-96C0-6A8645FA96BB}" dt="2023-12-03T21:48:08.838" v="32265" actId="790"/>
          <ac:spMkLst>
            <pc:docMk/>
            <pc:sldMk cId="3794737383" sldId="752"/>
            <ac:spMk id="18" creationId="{CEA3C4EE-D1C2-F879-08D8-C3297EE6DFE8}"/>
          </ac:spMkLst>
        </pc:spChg>
        <pc:spChg chg="mod">
          <ac:chgData name="KevCla12" userId="ef2eb634-4620-450f-93cc-80cc93397e60" providerId="ADAL" clId="{0BF56A33-4BC5-423F-96C0-6A8645FA96BB}" dt="2023-12-03T21:48:08.839" v="32266" actId="790"/>
          <ac:spMkLst>
            <pc:docMk/>
            <pc:sldMk cId="3794737383" sldId="752"/>
            <ac:spMk id="19" creationId="{23552411-2E17-5ADE-F2C8-8FFDEAC43479}"/>
          </ac:spMkLst>
        </pc:spChg>
        <pc:spChg chg="mod">
          <ac:chgData name="KevCla12" userId="ef2eb634-4620-450f-93cc-80cc93397e60" providerId="ADAL" clId="{0BF56A33-4BC5-423F-96C0-6A8645FA96BB}" dt="2023-12-03T21:48:08.839" v="32267" actId="790"/>
          <ac:spMkLst>
            <pc:docMk/>
            <pc:sldMk cId="3794737383" sldId="752"/>
            <ac:spMk id="20" creationId="{405CC8D1-5BFE-EDD9-7EB7-A7F4D3767143}"/>
          </ac:spMkLst>
        </pc:spChg>
        <pc:spChg chg="mod">
          <ac:chgData name="KevCla12" userId="ef2eb634-4620-450f-93cc-80cc93397e60" providerId="ADAL" clId="{0BF56A33-4BC5-423F-96C0-6A8645FA96BB}" dt="2023-12-03T21:48:08.840" v="32268" actId="790"/>
          <ac:spMkLst>
            <pc:docMk/>
            <pc:sldMk cId="3794737383" sldId="752"/>
            <ac:spMk id="21" creationId="{10BAD2D5-D5DA-BBCA-7E37-8C3AD1E42568}"/>
          </ac:spMkLst>
        </pc:spChg>
        <pc:spChg chg="mod">
          <ac:chgData name="KevCla12" userId="ef2eb634-4620-450f-93cc-80cc93397e60" providerId="ADAL" clId="{0BF56A33-4BC5-423F-96C0-6A8645FA96BB}" dt="2023-12-03T21:48:08.841" v="32269" actId="790"/>
          <ac:spMkLst>
            <pc:docMk/>
            <pc:sldMk cId="3794737383" sldId="752"/>
            <ac:spMk id="22" creationId="{75E13937-9F03-9E2A-F90E-7DCE3007AC79}"/>
          </ac:spMkLst>
        </pc:spChg>
        <pc:spChg chg="mod">
          <ac:chgData name="KevCla12" userId="ef2eb634-4620-450f-93cc-80cc93397e60" providerId="ADAL" clId="{0BF56A33-4BC5-423F-96C0-6A8645FA96BB}" dt="2023-12-03T21:48:08.754" v="32207" actId="790"/>
          <ac:spMkLst>
            <pc:docMk/>
            <pc:sldMk cId="3794737383" sldId="752"/>
            <ac:spMk id="24" creationId="{C07A6F77-1A78-ED51-A174-25AD52515BF8}"/>
          </ac:spMkLst>
        </pc:spChg>
        <pc:spChg chg="mod">
          <ac:chgData name="KevCla12" userId="ef2eb634-4620-450f-93cc-80cc93397e60" providerId="ADAL" clId="{0BF56A33-4BC5-423F-96C0-6A8645FA96BB}" dt="2023-12-03T21:48:08.755" v="32208" actId="790"/>
          <ac:spMkLst>
            <pc:docMk/>
            <pc:sldMk cId="3794737383" sldId="752"/>
            <ac:spMk id="25" creationId="{4987787E-FA2E-E778-3247-BB7D61B37187}"/>
          </ac:spMkLst>
        </pc:spChg>
        <pc:spChg chg="mod">
          <ac:chgData name="KevCla12" userId="ef2eb634-4620-450f-93cc-80cc93397e60" providerId="ADAL" clId="{0BF56A33-4BC5-423F-96C0-6A8645FA96BB}" dt="2023-12-03T21:48:08.755" v="32209" actId="790"/>
          <ac:spMkLst>
            <pc:docMk/>
            <pc:sldMk cId="3794737383" sldId="752"/>
            <ac:spMk id="26" creationId="{5A226903-EF3E-B6E2-CE24-D2A48747B498}"/>
          </ac:spMkLst>
        </pc:spChg>
        <pc:spChg chg="mod">
          <ac:chgData name="KevCla12" userId="ef2eb634-4620-450f-93cc-80cc93397e60" providerId="ADAL" clId="{0BF56A33-4BC5-423F-96C0-6A8645FA96BB}" dt="2023-12-03T21:48:08.756" v="32210" actId="790"/>
          <ac:spMkLst>
            <pc:docMk/>
            <pc:sldMk cId="3794737383" sldId="752"/>
            <ac:spMk id="27" creationId="{A913E90F-AC65-385B-8C35-C5DDD6E8582D}"/>
          </ac:spMkLst>
        </pc:spChg>
        <pc:spChg chg="mod">
          <ac:chgData name="KevCla12" userId="ef2eb634-4620-450f-93cc-80cc93397e60" providerId="ADAL" clId="{0BF56A33-4BC5-423F-96C0-6A8645FA96BB}" dt="2023-12-03T21:48:08.757" v="32211" actId="790"/>
          <ac:spMkLst>
            <pc:docMk/>
            <pc:sldMk cId="3794737383" sldId="752"/>
            <ac:spMk id="28" creationId="{843A2846-675D-845A-3123-E37A26A11B52}"/>
          </ac:spMkLst>
        </pc:spChg>
        <pc:spChg chg="mod">
          <ac:chgData name="KevCla12" userId="ef2eb634-4620-450f-93cc-80cc93397e60" providerId="ADAL" clId="{0BF56A33-4BC5-423F-96C0-6A8645FA96BB}" dt="2023-12-03T21:48:08.757" v="32212" actId="790"/>
          <ac:spMkLst>
            <pc:docMk/>
            <pc:sldMk cId="3794737383" sldId="752"/>
            <ac:spMk id="29" creationId="{3147778E-CA3B-6A45-6EA5-B73C79236990}"/>
          </ac:spMkLst>
        </pc:spChg>
        <pc:spChg chg="mod">
          <ac:chgData name="KevCla12" userId="ef2eb634-4620-450f-93cc-80cc93397e60" providerId="ADAL" clId="{0BF56A33-4BC5-423F-96C0-6A8645FA96BB}" dt="2023-12-03T21:48:08.758" v="32213" actId="790"/>
          <ac:spMkLst>
            <pc:docMk/>
            <pc:sldMk cId="3794737383" sldId="752"/>
            <ac:spMk id="30" creationId="{5837E905-8B4A-B3B0-36F9-A0EDB26241BF}"/>
          </ac:spMkLst>
        </pc:spChg>
        <pc:spChg chg="mod">
          <ac:chgData name="KevCla12" userId="ef2eb634-4620-450f-93cc-80cc93397e60" providerId="ADAL" clId="{0BF56A33-4BC5-423F-96C0-6A8645FA96BB}" dt="2023-12-03T21:48:08.759" v="32214" actId="790"/>
          <ac:spMkLst>
            <pc:docMk/>
            <pc:sldMk cId="3794737383" sldId="752"/>
            <ac:spMk id="31" creationId="{910716FC-BF91-3ADD-A7EF-B6583C5B4770}"/>
          </ac:spMkLst>
        </pc:spChg>
        <pc:spChg chg="mod">
          <ac:chgData name="KevCla12" userId="ef2eb634-4620-450f-93cc-80cc93397e60" providerId="ADAL" clId="{0BF56A33-4BC5-423F-96C0-6A8645FA96BB}" dt="2023-12-03T21:48:08.759" v="32215" actId="790"/>
          <ac:spMkLst>
            <pc:docMk/>
            <pc:sldMk cId="3794737383" sldId="752"/>
            <ac:spMk id="32" creationId="{89FB9A6B-1F8C-F540-6BED-DBAD3AD59A66}"/>
          </ac:spMkLst>
        </pc:spChg>
        <pc:spChg chg="mod">
          <ac:chgData name="KevCla12" userId="ef2eb634-4620-450f-93cc-80cc93397e60" providerId="ADAL" clId="{0BF56A33-4BC5-423F-96C0-6A8645FA96BB}" dt="2023-12-03T21:48:08.760" v="32216" actId="790"/>
          <ac:spMkLst>
            <pc:docMk/>
            <pc:sldMk cId="3794737383" sldId="752"/>
            <ac:spMk id="33" creationId="{6F0F3595-EA4A-C051-97D5-B64F00E7341C}"/>
          </ac:spMkLst>
        </pc:spChg>
        <pc:spChg chg="mod">
          <ac:chgData name="KevCla12" userId="ef2eb634-4620-450f-93cc-80cc93397e60" providerId="ADAL" clId="{0BF56A33-4BC5-423F-96C0-6A8645FA96BB}" dt="2023-12-03T21:48:08.761" v="32217" actId="790"/>
          <ac:spMkLst>
            <pc:docMk/>
            <pc:sldMk cId="3794737383" sldId="752"/>
            <ac:spMk id="34" creationId="{B925D901-1352-83C8-DD05-B38B41A14B61}"/>
          </ac:spMkLst>
        </pc:spChg>
        <pc:spChg chg="mod">
          <ac:chgData name="KevCla12" userId="ef2eb634-4620-450f-93cc-80cc93397e60" providerId="ADAL" clId="{0BF56A33-4BC5-423F-96C0-6A8645FA96BB}" dt="2023-12-03T21:48:08.762" v="32218" actId="790"/>
          <ac:spMkLst>
            <pc:docMk/>
            <pc:sldMk cId="3794737383" sldId="752"/>
            <ac:spMk id="35" creationId="{20AAC5E0-BD65-280D-1453-660A8934CFCF}"/>
          </ac:spMkLst>
        </pc:spChg>
        <pc:spChg chg="mod">
          <ac:chgData name="KevCla12" userId="ef2eb634-4620-450f-93cc-80cc93397e60" providerId="ADAL" clId="{0BF56A33-4BC5-423F-96C0-6A8645FA96BB}" dt="2023-12-03T21:48:08.763" v="32219" actId="790"/>
          <ac:spMkLst>
            <pc:docMk/>
            <pc:sldMk cId="3794737383" sldId="752"/>
            <ac:spMk id="36" creationId="{DC038803-2DAB-CA4D-29FB-C1DBBACF67DD}"/>
          </ac:spMkLst>
        </pc:spChg>
        <pc:spChg chg="mod">
          <ac:chgData name="KevCla12" userId="ef2eb634-4620-450f-93cc-80cc93397e60" providerId="ADAL" clId="{0BF56A33-4BC5-423F-96C0-6A8645FA96BB}" dt="2023-12-03T21:48:08.764" v="32220" actId="790"/>
          <ac:spMkLst>
            <pc:docMk/>
            <pc:sldMk cId="3794737383" sldId="752"/>
            <ac:spMk id="37" creationId="{F69D04A8-5499-2589-7F07-4EA782083FB2}"/>
          </ac:spMkLst>
        </pc:spChg>
        <pc:spChg chg="mod">
          <ac:chgData name="KevCla12" userId="ef2eb634-4620-450f-93cc-80cc93397e60" providerId="ADAL" clId="{0BF56A33-4BC5-423F-96C0-6A8645FA96BB}" dt="2023-12-03T21:48:08.764" v="32221" actId="790"/>
          <ac:spMkLst>
            <pc:docMk/>
            <pc:sldMk cId="3794737383" sldId="752"/>
            <ac:spMk id="38" creationId="{EE31D6DA-CC89-ED4E-7A94-ABF12AED234B}"/>
          </ac:spMkLst>
        </pc:spChg>
        <pc:spChg chg="mod">
          <ac:chgData name="KevCla12" userId="ef2eb634-4620-450f-93cc-80cc93397e60" providerId="ADAL" clId="{0BF56A33-4BC5-423F-96C0-6A8645FA96BB}" dt="2023-12-03T21:48:08.765" v="32222" actId="790"/>
          <ac:spMkLst>
            <pc:docMk/>
            <pc:sldMk cId="3794737383" sldId="752"/>
            <ac:spMk id="39" creationId="{D46D8344-830E-FFB1-0398-BB9208A091AE}"/>
          </ac:spMkLst>
        </pc:spChg>
        <pc:spChg chg="mod">
          <ac:chgData name="KevCla12" userId="ef2eb634-4620-450f-93cc-80cc93397e60" providerId="ADAL" clId="{0BF56A33-4BC5-423F-96C0-6A8645FA96BB}" dt="2023-12-03T21:48:08.766" v="32223" actId="790"/>
          <ac:spMkLst>
            <pc:docMk/>
            <pc:sldMk cId="3794737383" sldId="752"/>
            <ac:spMk id="40" creationId="{8B1C427C-2385-FF21-6DC6-1949694D16D0}"/>
          </ac:spMkLst>
        </pc:spChg>
        <pc:spChg chg="mod">
          <ac:chgData name="KevCla12" userId="ef2eb634-4620-450f-93cc-80cc93397e60" providerId="ADAL" clId="{0BF56A33-4BC5-423F-96C0-6A8645FA96BB}" dt="2023-12-03T21:48:08.766" v="32224" actId="790"/>
          <ac:spMkLst>
            <pc:docMk/>
            <pc:sldMk cId="3794737383" sldId="752"/>
            <ac:spMk id="41" creationId="{05C0FBE4-8B6E-4AFA-559B-983D3D343B29}"/>
          </ac:spMkLst>
        </pc:spChg>
        <pc:spChg chg="mod">
          <ac:chgData name="KevCla12" userId="ef2eb634-4620-450f-93cc-80cc93397e60" providerId="ADAL" clId="{0BF56A33-4BC5-423F-96C0-6A8645FA96BB}" dt="2023-12-03T21:48:08.767" v="32225" actId="790"/>
          <ac:spMkLst>
            <pc:docMk/>
            <pc:sldMk cId="3794737383" sldId="752"/>
            <ac:spMk id="42" creationId="{2EDF0138-B96E-6449-42AB-130048D3BDE7}"/>
          </ac:spMkLst>
        </pc:spChg>
        <pc:spChg chg="mod">
          <ac:chgData name="KevCla12" userId="ef2eb634-4620-450f-93cc-80cc93397e60" providerId="ADAL" clId="{0BF56A33-4BC5-423F-96C0-6A8645FA96BB}" dt="2023-12-03T21:48:08.768" v="32226" actId="790"/>
          <ac:spMkLst>
            <pc:docMk/>
            <pc:sldMk cId="3794737383" sldId="752"/>
            <ac:spMk id="43" creationId="{2592B062-E931-E392-7E30-88DB3A96AA36}"/>
          </ac:spMkLst>
        </pc:spChg>
        <pc:spChg chg="mod">
          <ac:chgData name="KevCla12" userId="ef2eb634-4620-450f-93cc-80cc93397e60" providerId="ADAL" clId="{0BF56A33-4BC5-423F-96C0-6A8645FA96BB}" dt="2023-12-03T21:48:08.769" v="32227" actId="790"/>
          <ac:spMkLst>
            <pc:docMk/>
            <pc:sldMk cId="3794737383" sldId="752"/>
            <ac:spMk id="44" creationId="{3780E251-9A33-1AB6-0E63-92645A0C4EBC}"/>
          </ac:spMkLst>
        </pc:spChg>
        <pc:spChg chg="mod">
          <ac:chgData name="KevCla12" userId="ef2eb634-4620-450f-93cc-80cc93397e60" providerId="ADAL" clId="{0BF56A33-4BC5-423F-96C0-6A8645FA96BB}" dt="2023-12-03T21:48:08.770" v="32228" actId="790"/>
          <ac:spMkLst>
            <pc:docMk/>
            <pc:sldMk cId="3794737383" sldId="752"/>
            <ac:spMk id="45" creationId="{5709830C-419C-B676-EBF4-4B8576B1E675}"/>
          </ac:spMkLst>
        </pc:spChg>
        <pc:spChg chg="mod">
          <ac:chgData name="KevCla12" userId="ef2eb634-4620-450f-93cc-80cc93397e60" providerId="ADAL" clId="{0BF56A33-4BC5-423F-96C0-6A8645FA96BB}" dt="2023-12-03T21:48:08.770" v="32229" actId="790"/>
          <ac:spMkLst>
            <pc:docMk/>
            <pc:sldMk cId="3794737383" sldId="752"/>
            <ac:spMk id="46" creationId="{C8715E02-AF92-434A-43C7-8A6B6961FF7E}"/>
          </ac:spMkLst>
        </pc:spChg>
        <pc:spChg chg="mod">
          <ac:chgData name="KevCla12" userId="ef2eb634-4620-450f-93cc-80cc93397e60" providerId="ADAL" clId="{0BF56A33-4BC5-423F-96C0-6A8645FA96BB}" dt="2023-12-03T21:48:08.771" v="32230" actId="790"/>
          <ac:spMkLst>
            <pc:docMk/>
            <pc:sldMk cId="3794737383" sldId="752"/>
            <ac:spMk id="47" creationId="{C8B9568A-F843-D28E-ADE1-8ACBE0B72B1E}"/>
          </ac:spMkLst>
        </pc:spChg>
        <pc:spChg chg="mod">
          <ac:chgData name="KevCla12" userId="ef2eb634-4620-450f-93cc-80cc93397e60" providerId="ADAL" clId="{0BF56A33-4BC5-423F-96C0-6A8645FA96BB}" dt="2023-12-03T21:48:08.831" v="32258" actId="790"/>
          <ac:spMkLst>
            <pc:docMk/>
            <pc:sldMk cId="3794737383" sldId="752"/>
            <ac:spMk id="48" creationId="{1D4CC69E-24A6-44E1-80A9-34FFF8CA5D8E}"/>
          </ac:spMkLst>
        </pc:spChg>
        <pc:spChg chg="mod">
          <ac:chgData name="KevCla12" userId="ef2eb634-4620-450f-93cc-80cc93397e60" providerId="ADAL" clId="{0BF56A33-4BC5-423F-96C0-6A8645FA96BB}" dt="2023-12-03T21:48:08.805" v="32255" actId="790"/>
          <ac:spMkLst>
            <pc:docMk/>
            <pc:sldMk cId="3794737383" sldId="752"/>
            <ac:spMk id="55" creationId="{00000000-0000-0000-0000-000000000000}"/>
          </ac:spMkLst>
        </pc:spChg>
        <pc:spChg chg="mod">
          <ac:chgData name="KevCla12" userId="ef2eb634-4620-450f-93cc-80cc93397e60" providerId="ADAL" clId="{0BF56A33-4BC5-423F-96C0-6A8645FA96BB}" dt="2023-12-03T21:48:08.789" v="32251" actId="790"/>
          <ac:spMkLst>
            <pc:docMk/>
            <pc:sldMk cId="3794737383" sldId="752"/>
            <ac:spMk id="59" creationId="{00000000-0000-0000-0000-000000000000}"/>
          </ac:spMkLst>
        </pc:spChg>
        <pc:spChg chg="mod">
          <ac:chgData name="KevCla12" userId="ef2eb634-4620-450f-93cc-80cc93397e60" providerId="ADAL" clId="{0BF56A33-4BC5-423F-96C0-6A8645FA96BB}" dt="2023-12-03T21:48:08.772" v="32231" actId="790"/>
          <ac:spMkLst>
            <pc:docMk/>
            <pc:sldMk cId="3794737383" sldId="752"/>
            <ac:spMk id="70" creationId="{7E691956-6DB3-6A98-104B-F648DB3BB47A}"/>
          </ac:spMkLst>
        </pc:spChg>
        <pc:spChg chg="mod">
          <ac:chgData name="KevCla12" userId="ef2eb634-4620-450f-93cc-80cc93397e60" providerId="ADAL" clId="{0BF56A33-4BC5-423F-96C0-6A8645FA96BB}" dt="2023-12-03T21:48:08.772" v="32232" actId="790"/>
          <ac:spMkLst>
            <pc:docMk/>
            <pc:sldMk cId="3794737383" sldId="752"/>
            <ac:spMk id="71" creationId="{84A9F944-5430-F991-6E54-9B8E11C30DBF}"/>
          </ac:spMkLst>
        </pc:spChg>
        <pc:spChg chg="mod">
          <ac:chgData name="KevCla12" userId="ef2eb634-4620-450f-93cc-80cc93397e60" providerId="ADAL" clId="{0BF56A33-4BC5-423F-96C0-6A8645FA96BB}" dt="2023-12-03T21:48:08.773" v="32233" actId="790"/>
          <ac:spMkLst>
            <pc:docMk/>
            <pc:sldMk cId="3794737383" sldId="752"/>
            <ac:spMk id="72" creationId="{1FF2DEAC-0763-1E4E-F497-31A2403869F4}"/>
          </ac:spMkLst>
        </pc:spChg>
        <pc:spChg chg="mod">
          <ac:chgData name="KevCla12" userId="ef2eb634-4620-450f-93cc-80cc93397e60" providerId="ADAL" clId="{0BF56A33-4BC5-423F-96C0-6A8645FA96BB}" dt="2023-12-03T21:48:08.774" v="32234" actId="790"/>
          <ac:spMkLst>
            <pc:docMk/>
            <pc:sldMk cId="3794737383" sldId="752"/>
            <ac:spMk id="73" creationId="{581B1927-A16F-12F3-375E-D42FDCEF305F}"/>
          </ac:spMkLst>
        </pc:spChg>
        <pc:spChg chg="mod">
          <ac:chgData name="KevCla12" userId="ef2eb634-4620-450f-93cc-80cc93397e60" providerId="ADAL" clId="{0BF56A33-4BC5-423F-96C0-6A8645FA96BB}" dt="2023-12-03T21:48:08.775" v="32235" actId="790"/>
          <ac:spMkLst>
            <pc:docMk/>
            <pc:sldMk cId="3794737383" sldId="752"/>
            <ac:spMk id="74" creationId="{62598EF3-51B2-A5EA-018E-7A1E0A418A02}"/>
          </ac:spMkLst>
        </pc:spChg>
        <pc:spChg chg="mod">
          <ac:chgData name="KevCla12" userId="ef2eb634-4620-450f-93cc-80cc93397e60" providerId="ADAL" clId="{0BF56A33-4BC5-423F-96C0-6A8645FA96BB}" dt="2023-12-03T21:48:08.776" v="32236" actId="790"/>
          <ac:spMkLst>
            <pc:docMk/>
            <pc:sldMk cId="3794737383" sldId="752"/>
            <ac:spMk id="77" creationId="{A7667443-D5EA-BD8A-91FA-5482EDABE4F6}"/>
          </ac:spMkLst>
        </pc:spChg>
        <pc:spChg chg="mod">
          <ac:chgData name="KevCla12" userId="ef2eb634-4620-450f-93cc-80cc93397e60" providerId="ADAL" clId="{0BF56A33-4BC5-423F-96C0-6A8645FA96BB}" dt="2023-12-03T21:48:08.776" v="32237" actId="790"/>
          <ac:spMkLst>
            <pc:docMk/>
            <pc:sldMk cId="3794737383" sldId="752"/>
            <ac:spMk id="78" creationId="{13540DA3-F2F5-19B0-1E60-FA0F283E8E53}"/>
          </ac:spMkLst>
        </pc:spChg>
        <pc:spChg chg="mod">
          <ac:chgData name="KevCla12" userId="ef2eb634-4620-450f-93cc-80cc93397e60" providerId="ADAL" clId="{0BF56A33-4BC5-423F-96C0-6A8645FA96BB}" dt="2023-12-03T21:48:08.777" v="32238" actId="790"/>
          <ac:spMkLst>
            <pc:docMk/>
            <pc:sldMk cId="3794737383" sldId="752"/>
            <ac:spMk id="79" creationId="{D07415C4-1D29-EF71-DE53-D12FCD61ACBE}"/>
          </ac:spMkLst>
        </pc:spChg>
        <pc:spChg chg="mod">
          <ac:chgData name="KevCla12" userId="ef2eb634-4620-450f-93cc-80cc93397e60" providerId="ADAL" clId="{0BF56A33-4BC5-423F-96C0-6A8645FA96BB}" dt="2023-12-03T21:48:08.777" v="32239" actId="790"/>
          <ac:spMkLst>
            <pc:docMk/>
            <pc:sldMk cId="3794737383" sldId="752"/>
            <ac:spMk id="80" creationId="{39B97608-C5B9-30ED-7301-A92C2A0A382D}"/>
          </ac:spMkLst>
        </pc:spChg>
        <pc:spChg chg="mod">
          <ac:chgData name="KevCla12" userId="ef2eb634-4620-450f-93cc-80cc93397e60" providerId="ADAL" clId="{0BF56A33-4BC5-423F-96C0-6A8645FA96BB}" dt="2023-12-03T21:48:08.778" v="32240" actId="790"/>
          <ac:spMkLst>
            <pc:docMk/>
            <pc:sldMk cId="3794737383" sldId="752"/>
            <ac:spMk id="81" creationId="{20CB87C3-05BF-5676-2336-04D4E7F27725}"/>
          </ac:spMkLst>
        </pc:spChg>
        <pc:spChg chg="mod">
          <ac:chgData name="KevCla12" userId="ef2eb634-4620-450f-93cc-80cc93397e60" providerId="ADAL" clId="{0BF56A33-4BC5-423F-96C0-6A8645FA96BB}" dt="2023-12-03T21:48:08.779" v="32241" actId="790"/>
          <ac:spMkLst>
            <pc:docMk/>
            <pc:sldMk cId="3794737383" sldId="752"/>
            <ac:spMk id="82" creationId="{6611B538-3365-60C6-8E31-CF045932DAA4}"/>
          </ac:spMkLst>
        </pc:spChg>
        <pc:spChg chg="mod">
          <ac:chgData name="KevCla12" userId="ef2eb634-4620-450f-93cc-80cc93397e60" providerId="ADAL" clId="{0BF56A33-4BC5-423F-96C0-6A8645FA96BB}" dt="2023-12-03T21:48:08.780" v="32242" actId="790"/>
          <ac:spMkLst>
            <pc:docMk/>
            <pc:sldMk cId="3794737383" sldId="752"/>
            <ac:spMk id="83" creationId="{6DDA6AE4-E2E9-0345-11BF-0890DF4B7BB0}"/>
          </ac:spMkLst>
        </pc:spChg>
        <pc:spChg chg="mod">
          <ac:chgData name="KevCla12" userId="ef2eb634-4620-450f-93cc-80cc93397e60" providerId="ADAL" clId="{0BF56A33-4BC5-423F-96C0-6A8645FA96BB}" dt="2023-12-03T21:48:08.780" v="32243" actId="790"/>
          <ac:spMkLst>
            <pc:docMk/>
            <pc:sldMk cId="3794737383" sldId="752"/>
            <ac:spMk id="84" creationId="{EB730573-4423-DE8E-DC86-05C6EE12A93F}"/>
          </ac:spMkLst>
        </pc:spChg>
        <pc:spChg chg="mod">
          <ac:chgData name="KevCla12" userId="ef2eb634-4620-450f-93cc-80cc93397e60" providerId="ADAL" clId="{0BF56A33-4BC5-423F-96C0-6A8645FA96BB}" dt="2023-12-03T21:48:08.781" v="32244" actId="790"/>
          <ac:spMkLst>
            <pc:docMk/>
            <pc:sldMk cId="3794737383" sldId="752"/>
            <ac:spMk id="85" creationId="{C4EDC63A-40FB-98BF-5D32-916B5B0CDCD2}"/>
          </ac:spMkLst>
        </pc:spChg>
        <pc:spChg chg="mod">
          <ac:chgData name="KevCla12" userId="ef2eb634-4620-450f-93cc-80cc93397e60" providerId="ADAL" clId="{0BF56A33-4BC5-423F-96C0-6A8645FA96BB}" dt="2023-12-03T21:48:08.782" v="32245" actId="790"/>
          <ac:spMkLst>
            <pc:docMk/>
            <pc:sldMk cId="3794737383" sldId="752"/>
            <ac:spMk id="86" creationId="{6070B1AF-8D89-8699-4376-5190DE2A5274}"/>
          </ac:spMkLst>
        </pc:spChg>
        <pc:spChg chg="mod">
          <ac:chgData name="KevCla12" userId="ef2eb634-4620-450f-93cc-80cc93397e60" providerId="ADAL" clId="{0BF56A33-4BC5-423F-96C0-6A8645FA96BB}" dt="2023-12-03T21:48:08.782" v="32246" actId="790"/>
          <ac:spMkLst>
            <pc:docMk/>
            <pc:sldMk cId="3794737383" sldId="752"/>
            <ac:spMk id="87" creationId="{22041C0C-1573-D2FC-6D61-8D71DD9974AE}"/>
          </ac:spMkLst>
        </pc:spChg>
        <pc:spChg chg="mod">
          <ac:chgData name="KevCla12" userId="ef2eb634-4620-450f-93cc-80cc93397e60" providerId="ADAL" clId="{0BF56A33-4BC5-423F-96C0-6A8645FA96BB}" dt="2023-12-03T21:48:08.783" v="32247" actId="790"/>
          <ac:spMkLst>
            <pc:docMk/>
            <pc:sldMk cId="3794737383" sldId="752"/>
            <ac:spMk id="88" creationId="{1D56D8F7-5C8F-D09E-E5AF-19CA6E30A5EE}"/>
          </ac:spMkLst>
        </pc:spChg>
        <pc:spChg chg="mod">
          <ac:chgData name="KevCla12" userId="ef2eb634-4620-450f-93cc-80cc93397e60" providerId="ADAL" clId="{0BF56A33-4BC5-423F-96C0-6A8645FA96BB}" dt="2023-12-03T21:48:08.783" v="32248" actId="790"/>
          <ac:spMkLst>
            <pc:docMk/>
            <pc:sldMk cId="3794737383" sldId="752"/>
            <ac:spMk id="89" creationId="{765C1018-7EBD-B6F6-E453-DF475C27DE3F}"/>
          </ac:spMkLst>
        </pc:spChg>
        <pc:spChg chg="mod">
          <ac:chgData name="KevCla12" userId="ef2eb634-4620-450f-93cc-80cc93397e60" providerId="ADAL" clId="{0BF56A33-4BC5-423F-96C0-6A8645FA96BB}" dt="2023-12-03T21:48:08.784" v="32249" actId="790"/>
          <ac:spMkLst>
            <pc:docMk/>
            <pc:sldMk cId="3794737383" sldId="752"/>
            <ac:spMk id="91" creationId="{22EB2A84-4DA3-2756-8D1B-CD23A3724614}"/>
          </ac:spMkLst>
        </pc:spChg>
        <pc:spChg chg="mod">
          <ac:chgData name="KevCla12" userId="ef2eb634-4620-450f-93cc-80cc93397e60" providerId="ADAL" clId="{0BF56A33-4BC5-423F-96C0-6A8645FA96BB}" dt="2023-12-03T21:48:08.785" v="32250" actId="790"/>
          <ac:spMkLst>
            <pc:docMk/>
            <pc:sldMk cId="3794737383" sldId="752"/>
            <ac:spMk id="92" creationId="{7E430AB1-DEFD-AD54-DB45-80AEAA987455}"/>
          </ac:spMkLst>
        </pc:spChg>
        <pc:spChg chg="mod">
          <ac:chgData name="KevCla12" userId="ef2eb634-4620-450f-93cc-80cc93397e60" providerId="ADAL" clId="{0BF56A33-4BC5-423F-96C0-6A8645FA96BB}" dt="2023-12-03T21:48:08.750" v="32198" actId="790"/>
          <ac:spMkLst>
            <pc:docMk/>
            <pc:sldMk cId="3794737383" sldId="752"/>
            <ac:spMk id="94" creationId="{7E2DAA32-284F-F0E5-F5EA-D17AED6A759A}"/>
          </ac:spMkLst>
        </pc:spChg>
        <pc:spChg chg="mod">
          <ac:chgData name="KevCla12" userId="ef2eb634-4620-450f-93cc-80cc93397e60" providerId="ADAL" clId="{0BF56A33-4BC5-423F-96C0-6A8645FA96BB}" dt="2023-12-03T21:48:08.750" v="32199"/>
          <ac:spMkLst>
            <pc:docMk/>
            <pc:sldMk cId="3794737383" sldId="752"/>
            <ac:spMk id="95" creationId="{C4D76CF2-5050-9FBE-7F1A-914B0FC98311}"/>
          </ac:spMkLst>
        </pc:spChg>
        <pc:spChg chg="mod">
          <ac:chgData name="KevCla12" userId="ef2eb634-4620-450f-93cc-80cc93397e60" providerId="ADAL" clId="{0BF56A33-4BC5-423F-96C0-6A8645FA96BB}" dt="2023-12-03T21:48:08.751" v="32200" actId="790"/>
          <ac:spMkLst>
            <pc:docMk/>
            <pc:sldMk cId="3794737383" sldId="752"/>
            <ac:spMk id="96" creationId="{67A6E103-3D05-6828-04C0-39819819AEBF}"/>
          </ac:spMkLst>
        </pc:spChg>
        <pc:spChg chg="mod">
          <ac:chgData name="KevCla12" userId="ef2eb634-4620-450f-93cc-80cc93397e60" providerId="ADAL" clId="{0BF56A33-4BC5-423F-96C0-6A8645FA96BB}" dt="2023-12-03T21:48:08.751" v="32201"/>
          <ac:spMkLst>
            <pc:docMk/>
            <pc:sldMk cId="3794737383" sldId="752"/>
            <ac:spMk id="97" creationId="{6E43443F-6C75-0830-5D26-12719CDA7581}"/>
          </ac:spMkLst>
        </pc:spChg>
        <pc:spChg chg="mod">
          <ac:chgData name="KevCla12" userId="ef2eb634-4620-450f-93cc-80cc93397e60" providerId="ADAL" clId="{0BF56A33-4BC5-423F-96C0-6A8645FA96BB}" dt="2023-12-03T21:48:08.751" v="32202"/>
          <ac:spMkLst>
            <pc:docMk/>
            <pc:sldMk cId="3794737383" sldId="752"/>
            <ac:spMk id="98" creationId="{B5F03878-1CC4-0DA9-3AD4-1CA74E7B4FE1}"/>
          </ac:spMkLst>
        </pc:spChg>
        <pc:spChg chg="mod">
          <ac:chgData name="KevCla12" userId="ef2eb634-4620-450f-93cc-80cc93397e60" providerId="ADAL" clId="{0BF56A33-4BC5-423F-96C0-6A8645FA96BB}" dt="2023-12-03T21:48:08.752" v="32203"/>
          <ac:spMkLst>
            <pc:docMk/>
            <pc:sldMk cId="3794737383" sldId="752"/>
            <ac:spMk id="99" creationId="{345C8DF4-C826-A16C-EDAE-1572D4F99FFA}"/>
          </ac:spMkLst>
        </pc:spChg>
        <pc:spChg chg="mod">
          <ac:chgData name="KevCla12" userId="ef2eb634-4620-450f-93cc-80cc93397e60" providerId="ADAL" clId="{0BF56A33-4BC5-423F-96C0-6A8645FA96BB}" dt="2023-12-03T21:48:08.752" v="32204"/>
          <ac:spMkLst>
            <pc:docMk/>
            <pc:sldMk cId="3794737383" sldId="752"/>
            <ac:spMk id="100" creationId="{1B11A092-721E-9C6E-E13A-C6C62FBED6F4}"/>
          </ac:spMkLst>
        </pc:spChg>
        <pc:spChg chg="mod">
          <ac:chgData name="KevCla12" userId="ef2eb634-4620-450f-93cc-80cc93397e60" providerId="ADAL" clId="{0BF56A33-4BC5-423F-96C0-6A8645FA96BB}" dt="2023-12-03T21:48:08.752" v="32205"/>
          <ac:spMkLst>
            <pc:docMk/>
            <pc:sldMk cId="3794737383" sldId="752"/>
            <ac:spMk id="101" creationId="{1F062931-90E5-6262-1A45-7B6F0AD5837E}"/>
          </ac:spMkLst>
        </pc:spChg>
        <pc:spChg chg="mod">
          <ac:chgData name="KevCla12" userId="ef2eb634-4620-450f-93cc-80cc93397e60" providerId="ADAL" clId="{0BF56A33-4BC5-423F-96C0-6A8645FA96BB}" dt="2023-12-03T21:48:08.753" v="32206"/>
          <ac:spMkLst>
            <pc:docMk/>
            <pc:sldMk cId="3794737383" sldId="752"/>
            <ac:spMk id="102" creationId="{928251C2-7A17-AADB-8F84-9365D988967E}"/>
          </ac:spMkLst>
        </pc:spChg>
        <pc:spChg chg="mod">
          <ac:chgData name="KevCla12" userId="ef2eb634-4620-450f-93cc-80cc93397e60" providerId="ADAL" clId="{0BF56A33-4BC5-423F-96C0-6A8645FA96BB}" dt="2023-12-03T21:48:08.816" v="32256" actId="790"/>
          <ac:spMkLst>
            <pc:docMk/>
            <pc:sldMk cId="3794737383" sldId="752"/>
            <ac:spMk id="184" creationId="{D9ED1504-ED70-4927-9B6A-A7581A311781}"/>
          </ac:spMkLst>
        </pc:spChg>
        <pc:spChg chg="mod">
          <ac:chgData name="KevCla12" userId="ef2eb634-4620-450f-93cc-80cc93397e60" providerId="ADAL" clId="{0BF56A33-4BC5-423F-96C0-6A8645FA96BB}" dt="2023-12-03T21:48:08.823" v="32257" actId="790"/>
          <ac:spMkLst>
            <pc:docMk/>
            <pc:sldMk cId="3794737383" sldId="752"/>
            <ac:spMk id="185" creationId="{71E603A7-03DA-4427-918D-58CA0A98563F}"/>
          </ac:spMkLst>
        </pc:spChg>
        <pc:extLst>
          <p:ext xmlns:p="http://schemas.openxmlformats.org/presentationml/2006/main" uri="{D6D511B9-2390-475A-947B-AFAB55BFBCF1}">
            <pc226:cmChg xmlns:pc226="http://schemas.microsoft.com/office/powerpoint/2022/06/main/command" chg="del">
              <pc226:chgData name="KevCla12" userId="ef2eb634-4620-450f-93cc-80cc93397e60" providerId="ADAL" clId="{0BF56A33-4BC5-423F-96C0-6A8645FA96BB}" dt="2023-11-30T20:02:45.623" v="9379"/>
              <pc2:cmMkLst xmlns:pc2="http://schemas.microsoft.com/office/powerpoint/2019/9/main/command">
                <pc:docMk/>
                <pc:sldMk cId="3794737383" sldId="752"/>
                <pc2:cmMk id="{4D9E115E-38F4-45B3-98F9-A09B866E88C8}"/>
              </pc2:cmMkLst>
            </pc226:cmChg>
          </p:ext>
        </pc:extLst>
      </pc:sldChg>
      <pc:sldChg chg="add del">
        <pc:chgData name="KevCla12" userId="ef2eb634-4620-450f-93cc-80cc93397e60" providerId="ADAL" clId="{0BF56A33-4BC5-423F-96C0-6A8645FA96BB}" dt="2023-11-26T18:50:50.376" v="1438" actId="47"/>
        <pc:sldMkLst>
          <pc:docMk/>
          <pc:sldMk cId="2623469786" sldId="754"/>
        </pc:sldMkLst>
      </pc:sldChg>
      <pc:sldChg chg="modSp add mod ord modNotes">
        <pc:chgData name="KevCla12" userId="ef2eb634-4620-450f-93cc-80cc93397e60" providerId="ADAL" clId="{0BF56A33-4BC5-423F-96C0-6A8645FA96BB}" dt="2023-12-03T21:48:09.160" v="32351" actId="790"/>
        <pc:sldMkLst>
          <pc:docMk/>
          <pc:sldMk cId="3940979350" sldId="756"/>
        </pc:sldMkLst>
        <pc:spChg chg="mod">
          <ac:chgData name="KevCla12" userId="ef2eb634-4620-450f-93cc-80cc93397e60" providerId="ADAL" clId="{0BF56A33-4BC5-423F-96C0-6A8645FA96BB}" dt="2023-12-03T21:48:09.096" v="32317" actId="790"/>
          <ac:spMkLst>
            <pc:docMk/>
            <pc:sldMk cId="3940979350" sldId="756"/>
            <ac:spMk id="2" creationId="{9267E514-6D75-B2F2-03A1-ABB77C9C1487}"/>
          </ac:spMkLst>
        </pc:spChg>
        <pc:spChg chg="mod">
          <ac:chgData name="KevCla12" userId="ef2eb634-4620-450f-93cc-80cc93397e60" providerId="ADAL" clId="{0BF56A33-4BC5-423F-96C0-6A8645FA96BB}" dt="2023-12-03T21:48:09.097" v="32318" actId="790"/>
          <ac:spMkLst>
            <pc:docMk/>
            <pc:sldMk cId="3940979350" sldId="756"/>
            <ac:spMk id="4" creationId="{F2A3C2F4-2623-4F4B-9774-A224D2B7E96B}"/>
          </ac:spMkLst>
        </pc:spChg>
        <pc:spChg chg="mod">
          <ac:chgData name="KevCla12" userId="ef2eb634-4620-450f-93cc-80cc93397e60" providerId="ADAL" clId="{0BF56A33-4BC5-423F-96C0-6A8645FA96BB}" dt="2023-12-03T21:48:09.099" v="32319" actId="790"/>
          <ac:spMkLst>
            <pc:docMk/>
            <pc:sldMk cId="3940979350" sldId="756"/>
            <ac:spMk id="5" creationId="{6BF01F86-98FD-4B79-4539-E5DC35A07CFA}"/>
          </ac:spMkLst>
        </pc:spChg>
        <pc:spChg chg="mod">
          <ac:chgData name="KevCla12" userId="ef2eb634-4620-450f-93cc-80cc93397e60" providerId="ADAL" clId="{0BF56A33-4BC5-423F-96C0-6A8645FA96BB}" dt="2023-12-03T21:48:09.105" v="32320" actId="790"/>
          <ac:spMkLst>
            <pc:docMk/>
            <pc:sldMk cId="3940979350" sldId="756"/>
            <ac:spMk id="8" creationId="{AEEC7AB2-C3F6-AC7F-5E08-E9E5C5F86264}"/>
          </ac:spMkLst>
        </pc:spChg>
        <pc:spChg chg="mod">
          <ac:chgData name="KevCla12" userId="ef2eb634-4620-450f-93cc-80cc93397e60" providerId="ADAL" clId="{0BF56A33-4BC5-423F-96C0-6A8645FA96BB}" dt="2023-12-03T21:48:09.110" v="32321" actId="790"/>
          <ac:spMkLst>
            <pc:docMk/>
            <pc:sldMk cId="3940979350" sldId="756"/>
            <ac:spMk id="16" creationId="{3EB6EC1C-C547-93B2-4E54-578262DE919B}"/>
          </ac:spMkLst>
        </pc:spChg>
        <pc:spChg chg="mod">
          <ac:chgData name="KevCla12" userId="ef2eb634-4620-450f-93cc-80cc93397e60" providerId="ADAL" clId="{0BF56A33-4BC5-423F-96C0-6A8645FA96BB}" dt="2023-12-03T21:48:09.113" v="32322" actId="790"/>
          <ac:spMkLst>
            <pc:docMk/>
            <pc:sldMk cId="3940979350" sldId="756"/>
            <ac:spMk id="22" creationId="{19B3F426-7594-5F7C-6E5D-BF3194EB673C}"/>
          </ac:spMkLst>
        </pc:spChg>
        <pc:spChg chg="mod">
          <ac:chgData name="KevCla12" userId="ef2eb634-4620-450f-93cc-80cc93397e60" providerId="ADAL" clId="{0BF56A33-4BC5-423F-96C0-6A8645FA96BB}" dt="2023-12-03T21:48:09.114" v="32323" actId="790"/>
          <ac:spMkLst>
            <pc:docMk/>
            <pc:sldMk cId="3940979350" sldId="756"/>
            <ac:spMk id="23" creationId="{49B18D1A-C7A9-5A4A-0C76-2FC8C3FFAC93}"/>
          </ac:spMkLst>
        </pc:spChg>
        <pc:spChg chg="mod">
          <ac:chgData name="KevCla12" userId="ef2eb634-4620-450f-93cc-80cc93397e60" providerId="ADAL" clId="{0BF56A33-4BC5-423F-96C0-6A8645FA96BB}" dt="2023-12-03T21:48:09.116" v="32324" actId="790"/>
          <ac:spMkLst>
            <pc:docMk/>
            <pc:sldMk cId="3940979350" sldId="756"/>
            <ac:spMk id="24" creationId="{9603599C-3A99-0CBC-EBED-6A6729D3634E}"/>
          </ac:spMkLst>
        </pc:spChg>
        <pc:spChg chg="mod">
          <ac:chgData name="KevCla12" userId="ef2eb634-4620-450f-93cc-80cc93397e60" providerId="ADAL" clId="{0BF56A33-4BC5-423F-96C0-6A8645FA96BB}" dt="2023-12-03T21:48:09.117" v="32325" actId="790"/>
          <ac:spMkLst>
            <pc:docMk/>
            <pc:sldMk cId="3940979350" sldId="756"/>
            <ac:spMk id="25" creationId="{DF0BC1E2-13CC-7168-1DDE-990E56B09FA8}"/>
          </ac:spMkLst>
        </pc:spChg>
        <pc:spChg chg="mod">
          <ac:chgData name="KevCla12" userId="ef2eb634-4620-450f-93cc-80cc93397e60" providerId="ADAL" clId="{0BF56A33-4BC5-423F-96C0-6A8645FA96BB}" dt="2023-12-03T21:48:09.091" v="32316" actId="790"/>
          <ac:spMkLst>
            <pc:docMk/>
            <pc:sldMk cId="3940979350" sldId="756"/>
            <ac:spMk id="26" creationId="{75EFEBD8-35EF-213A-42A3-17E11A4A2309}"/>
          </ac:spMkLst>
        </pc:spChg>
        <pc:spChg chg="mod">
          <ac:chgData name="KevCla12" userId="ef2eb634-4620-450f-93cc-80cc93397e60" providerId="ADAL" clId="{0BF56A33-4BC5-423F-96C0-6A8645FA96BB}" dt="2023-12-03T21:48:09.118" v="32326" actId="790"/>
          <ac:spMkLst>
            <pc:docMk/>
            <pc:sldMk cId="3940979350" sldId="756"/>
            <ac:spMk id="28" creationId="{B81CF343-C0CE-3840-46AC-714DD6F76A45}"/>
          </ac:spMkLst>
        </pc:spChg>
        <pc:spChg chg="mod">
          <ac:chgData name="KevCla12" userId="ef2eb634-4620-450f-93cc-80cc93397e60" providerId="ADAL" clId="{0BF56A33-4BC5-423F-96C0-6A8645FA96BB}" dt="2023-12-03T21:48:09.119" v="32327" actId="790"/>
          <ac:spMkLst>
            <pc:docMk/>
            <pc:sldMk cId="3940979350" sldId="756"/>
            <ac:spMk id="29" creationId="{DB5227EC-25E7-85F1-61D3-D8E895847BBD}"/>
          </ac:spMkLst>
        </pc:spChg>
        <pc:spChg chg="mod">
          <ac:chgData name="KevCla12" userId="ef2eb634-4620-450f-93cc-80cc93397e60" providerId="ADAL" clId="{0BF56A33-4BC5-423F-96C0-6A8645FA96BB}" dt="2023-12-03T21:48:09.121" v="32328" actId="790"/>
          <ac:spMkLst>
            <pc:docMk/>
            <pc:sldMk cId="3940979350" sldId="756"/>
            <ac:spMk id="30" creationId="{4A24595D-8B28-EEC9-5E59-3CF80EC07C91}"/>
          </ac:spMkLst>
        </pc:spChg>
        <pc:spChg chg="mod">
          <ac:chgData name="KevCla12" userId="ef2eb634-4620-450f-93cc-80cc93397e60" providerId="ADAL" clId="{0BF56A33-4BC5-423F-96C0-6A8645FA96BB}" dt="2023-12-03T21:48:09.122" v="32329" actId="790"/>
          <ac:spMkLst>
            <pc:docMk/>
            <pc:sldMk cId="3940979350" sldId="756"/>
            <ac:spMk id="33" creationId="{E2C70A6E-4C29-E939-51A8-B24FB6CB1B0C}"/>
          </ac:spMkLst>
        </pc:spChg>
        <pc:spChg chg="mod">
          <ac:chgData name="KevCla12" userId="ef2eb634-4620-450f-93cc-80cc93397e60" providerId="ADAL" clId="{0BF56A33-4BC5-423F-96C0-6A8645FA96BB}" dt="2023-12-03T21:48:09.129" v="32338" actId="790"/>
          <ac:spMkLst>
            <pc:docMk/>
            <pc:sldMk cId="3940979350" sldId="756"/>
            <ac:spMk id="35" creationId="{6DBD1B4C-81C4-388D-DBF5-FDE277250A2E}"/>
          </ac:spMkLst>
        </pc:spChg>
        <pc:spChg chg="mod">
          <ac:chgData name="KevCla12" userId="ef2eb634-4620-450f-93cc-80cc93397e60" providerId="ADAL" clId="{0BF56A33-4BC5-423F-96C0-6A8645FA96BB}" dt="2023-12-03T21:48:09.131" v="32339" actId="790"/>
          <ac:spMkLst>
            <pc:docMk/>
            <pc:sldMk cId="3940979350" sldId="756"/>
            <ac:spMk id="36" creationId="{A41C5E55-D9EC-1DAB-FF08-D3C8D463C7A9}"/>
          </ac:spMkLst>
        </pc:spChg>
        <pc:spChg chg="mod">
          <ac:chgData name="KevCla12" userId="ef2eb634-4620-450f-93cc-80cc93397e60" providerId="ADAL" clId="{0BF56A33-4BC5-423F-96C0-6A8645FA96BB}" dt="2023-12-03T21:48:09.132" v="32340" actId="790"/>
          <ac:spMkLst>
            <pc:docMk/>
            <pc:sldMk cId="3940979350" sldId="756"/>
            <ac:spMk id="37" creationId="{28A8D097-4DCD-F9A9-A936-460A4D1A6266}"/>
          </ac:spMkLst>
        </pc:spChg>
        <pc:spChg chg="mod">
          <ac:chgData name="KevCla12" userId="ef2eb634-4620-450f-93cc-80cc93397e60" providerId="ADAL" clId="{0BF56A33-4BC5-423F-96C0-6A8645FA96BB}" dt="2023-12-03T21:48:09.133" v="32341" actId="790"/>
          <ac:spMkLst>
            <pc:docMk/>
            <pc:sldMk cId="3940979350" sldId="756"/>
            <ac:spMk id="38" creationId="{34E9EB11-F842-F91A-67C8-6CFD57361FB3}"/>
          </ac:spMkLst>
        </pc:spChg>
        <pc:spChg chg="mod">
          <ac:chgData name="KevCla12" userId="ef2eb634-4620-450f-93cc-80cc93397e60" providerId="ADAL" clId="{0BF56A33-4BC5-423F-96C0-6A8645FA96BB}" dt="2023-12-03T21:48:09.134" v="32342" actId="790"/>
          <ac:spMkLst>
            <pc:docMk/>
            <pc:sldMk cId="3940979350" sldId="756"/>
            <ac:spMk id="39" creationId="{B3EEC884-8E51-2836-0AB4-ED0520BAF71D}"/>
          </ac:spMkLst>
        </pc:spChg>
        <pc:spChg chg="mod">
          <ac:chgData name="KevCla12" userId="ef2eb634-4620-450f-93cc-80cc93397e60" providerId="ADAL" clId="{0BF56A33-4BC5-423F-96C0-6A8645FA96BB}" dt="2023-12-03T21:48:09.135" v="32343" actId="790"/>
          <ac:spMkLst>
            <pc:docMk/>
            <pc:sldMk cId="3940979350" sldId="756"/>
            <ac:spMk id="40" creationId="{53504B55-8FB8-7853-F406-988F706DF87F}"/>
          </ac:spMkLst>
        </pc:spChg>
        <pc:spChg chg="mod">
          <ac:chgData name="KevCla12" userId="ef2eb634-4620-450f-93cc-80cc93397e60" providerId="ADAL" clId="{0BF56A33-4BC5-423F-96C0-6A8645FA96BB}" dt="2023-12-03T21:48:09.136" v="32344" actId="790"/>
          <ac:spMkLst>
            <pc:docMk/>
            <pc:sldMk cId="3940979350" sldId="756"/>
            <ac:spMk id="41" creationId="{788F1F9F-C8B5-A2FB-FA39-833976474408}"/>
          </ac:spMkLst>
        </pc:spChg>
        <pc:spChg chg="mod">
          <ac:chgData name="KevCla12" userId="ef2eb634-4620-450f-93cc-80cc93397e60" providerId="ADAL" clId="{0BF56A33-4BC5-423F-96C0-6A8645FA96BB}" dt="2023-12-03T21:48:09.137" v="32345" actId="790"/>
          <ac:spMkLst>
            <pc:docMk/>
            <pc:sldMk cId="3940979350" sldId="756"/>
            <ac:spMk id="42" creationId="{EEAA3442-DC00-2F48-CDDA-8CF5D866DF37}"/>
          </ac:spMkLst>
        </pc:spChg>
        <pc:spChg chg="mod">
          <ac:chgData name="KevCla12" userId="ef2eb634-4620-450f-93cc-80cc93397e60" providerId="ADAL" clId="{0BF56A33-4BC5-423F-96C0-6A8645FA96BB}" dt="2023-12-03T21:48:09.138" v="32346" actId="790"/>
          <ac:spMkLst>
            <pc:docMk/>
            <pc:sldMk cId="3940979350" sldId="756"/>
            <ac:spMk id="43" creationId="{33D20CC3-3181-F42B-3E44-5FEFC709B933}"/>
          </ac:spMkLst>
        </pc:spChg>
        <pc:spChg chg="mod">
          <ac:chgData name="KevCla12" userId="ef2eb634-4620-450f-93cc-80cc93397e60" providerId="ADAL" clId="{0BF56A33-4BC5-423F-96C0-6A8645FA96BB}" dt="2023-12-03T21:48:09.139" v="32347" actId="790"/>
          <ac:spMkLst>
            <pc:docMk/>
            <pc:sldMk cId="3940979350" sldId="756"/>
            <ac:spMk id="44" creationId="{54BD2E39-456D-2FF0-F007-8FBA5DADB7BE}"/>
          </ac:spMkLst>
        </pc:spChg>
        <pc:spChg chg="mod">
          <ac:chgData name="KevCla12" userId="ef2eb634-4620-450f-93cc-80cc93397e60" providerId="ADAL" clId="{0BF56A33-4BC5-423F-96C0-6A8645FA96BB}" dt="2023-12-03T21:48:09.146" v="32348" actId="790"/>
          <ac:spMkLst>
            <pc:docMk/>
            <pc:sldMk cId="3940979350" sldId="756"/>
            <ac:spMk id="45" creationId="{218DDAA1-F98E-AFA8-35D6-2B6353A2CF97}"/>
          </ac:spMkLst>
        </pc:spChg>
        <pc:spChg chg="mod">
          <ac:chgData name="KevCla12" userId="ef2eb634-4620-450f-93cc-80cc93397e60" providerId="ADAL" clId="{0BF56A33-4BC5-423F-96C0-6A8645FA96BB}" dt="2023-12-03T21:48:09.157" v="32349" actId="790"/>
          <ac:spMkLst>
            <pc:docMk/>
            <pc:sldMk cId="3940979350" sldId="756"/>
            <ac:spMk id="46" creationId="{EA6697DD-7D69-953C-E63F-B05F0AC99A53}"/>
          </ac:spMkLst>
        </pc:spChg>
        <pc:graphicFrameChg chg="modGraphic">
          <ac:chgData name="KevCla12" userId="ef2eb634-4620-450f-93cc-80cc93397e60" providerId="ADAL" clId="{0BF56A33-4BC5-423F-96C0-6A8645FA96BB}" dt="2023-12-03T21:48:09.128" v="32337" actId="790"/>
          <ac:graphicFrameMkLst>
            <pc:docMk/>
            <pc:sldMk cId="3940979350" sldId="756"/>
            <ac:graphicFrameMk id="34" creationId="{0C3786F3-53FF-1A3C-0D88-8A28572E2BFE}"/>
          </ac:graphicFrameMkLst>
        </pc:graphicFrameChg>
      </pc:sldChg>
      <pc:sldChg chg="addSp delSp modSp add mod modNotes">
        <pc:chgData name="KevCla12" userId="ef2eb634-4620-450f-93cc-80cc93397e60" providerId="ADAL" clId="{0BF56A33-4BC5-423F-96C0-6A8645FA96BB}" dt="2023-12-03T21:48:12.475" v="33746"/>
        <pc:sldMkLst>
          <pc:docMk/>
          <pc:sldMk cId="199872087" sldId="758"/>
        </pc:sldMkLst>
        <pc:spChg chg="mod">
          <ac:chgData name="KevCla12" userId="ef2eb634-4620-450f-93cc-80cc93397e60" providerId="ADAL" clId="{0BF56A33-4BC5-423F-96C0-6A8645FA96BB}" dt="2023-12-03T21:48:12.226" v="33530" actId="948"/>
          <ac:spMkLst>
            <pc:docMk/>
            <pc:sldMk cId="199872087" sldId="758"/>
            <ac:spMk id="2" creationId="{4F1ABED6-1117-76D7-67AF-75B93A4D67FC}"/>
          </ac:spMkLst>
        </pc:spChg>
        <pc:spChg chg="add del mod modVis">
          <ac:chgData name="KevCla12" userId="ef2eb634-4620-450f-93cc-80cc93397e60" providerId="ADAL" clId="{0BF56A33-4BC5-423F-96C0-6A8645FA96BB}" dt="2023-12-03T21:47:50.335" v="30593"/>
          <ac:spMkLst>
            <pc:docMk/>
            <pc:sldMk cId="199872087" sldId="758"/>
            <ac:spMk id="3" creationId="{693FEC9F-74A2-B569-DFE3-7168D655B153}"/>
          </ac:spMkLst>
        </pc:spChg>
        <pc:spChg chg="mod">
          <ac:chgData name="KevCla12" userId="ef2eb634-4620-450f-93cc-80cc93397e60" providerId="ADAL" clId="{0BF56A33-4BC5-423F-96C0-6A8645FA96BB}" dt="2023-12-03T21:48:09.246" v="32387" actId="790"/>
          <ac:spMkLst>
            <pc:docMk/>
            <pc:sldMk cId="199872087" sldId="758"/>
            <ac:spMk id="4" creationId="{9033A810-9F16-D350-4913-22D6F2E511F4}"/>
          </ac:spMkLst>
        </pc:spChg>
        <pc:spChg chg="mod">
          <ac:chgData name="KevCla12" userId="ef2eb634-4620-450f-93cc-80cc93397e60" providerId="ADAL" clId="{0BF56A33-4BC5-423F-96C0-6A8645FA96BB}" dt="2023-12-03T21:48:09.247" v="32388" actId="790"/>
          <ac:spMkLst>
            <pc:docMk/>
            <pc:sldMk cId="199872087" sldId="758"/>
            <ac:spMk id="5" creationId="{3E6A1DF6-BD2B-A948-0A94-A85F950052C3}"/>
          </ac:spMkLst>
        </pc:spChg>
        <pc:spChg chg="mod">
          <ac:chgData name="KevCla12" userId="ef2eb634-4620-450f-93cc-80cc93397e60" providerId="ADAL" clId="{0BF56A33-4BC5-423F-96C0-6A8645FA96BB}" dt="2023-12-03T21:48:09.247" v="32389" actId="790"/>
          <ac:spMkLst>
            <pc:docMk/>
            <pc:sldMk cId="199872087" sldId="758"/>
            <ac:spMk id="6" creationId="{C97AD640-6E1C-3DFE-3AF2-2F416DAFE70B}"/>
          </ac:spMkLst>
        </pc:spChg>
        <pc:spChg chg="mod">
          <ac:chgData name="KevCla12" userId="ef2eb634-4620-450f-93cc-80cc93397e60" providerId="ADAL" clId="{0BF56A33-4BC5-423F-96C0-6A8645FA96BB}" dt="2023-12-03T21:48:09.248" v="32390" actId="790"/>
          <ac:spMkLst>
            <pc:docMk/>
            <pc:sldMk cId="199872087" sldId="758"/>
            <ac:spMk id="7" creationId="{0C4A471A-41C2-8D6F-F6D9-DFE61A9912DF}"/>
          </ac:spMkLst>
        </pc:spChg>
        <pc:spChg chg="add del mod modVis">
          <ac:chgData name="KevCla12" userId="ef2eb634-4620-450f-93cc-80cc93397e60" providerId="ADAL" clId="{0BF56A33-4BC5-423F-96C0-6A8645FA96BB}" dt="2023-12-03T21:48:12.473" v="33744"/>
          <ac:spMkLst>
            <pc:docMk/>
            <pc:sldMk cId="199872087" sldId="758"/>
            <ac:spMk id="8" creationId="{2E16A599-1004-1B0A-A27E-CF289B85AADD}"/>
          </ac:spMkLst>
        </pc:spChg>
        <pc:spChg chg="mod">
          <ac:chgData name="KevCla12" userId="ef2eb634-4620-450f-93cc-80cc93397e60" providerId="ADAL" clId="{0BF56A33-4BC5-423F-96C0-6A8645FA96BB}" dt="2023-12-03T21:48:09.254" v="32391" actId="790"/>
          <ac:spMkLst>
            <pc:docMk/>
            <pc:sldMk cId="199872087" sldId="758"/>
            <ac:spMk id="9" creationId="{E744D276-7F9F-3F6E-EFDF-0B5252A61440}"/>
          </ac:spMkLst>
        </pc:spChg>
        <pc:spChg chg="mod">
          <ac:chgData name="KevCla12" userId="ef2eb634-4620-450f-93cc-80cc93397e60" providerId="ADAL" clId="{0BF56A33-4BC5-423F-96C0-6A8645FA96BB}" dt="2023-12-03T21:48:09.255" v="32392" actId="790"/>
          <ac:spMkLst>
            <pc:docMk/>
            <pc:sldMk cId="199872087" sldId="758"/>
            <ac:spMk id="10" creationId="{E28EE32E-BE22-A23B-F956-BFDA5AF9F7A1}"/>
          </ac:spMkLst>
        </pc:spChg>
        <pc:spChg chg="mod">
          <ac:chgData name="KevCla12" userId="ef2eb634-4620-450f-93cc-80cc93397e60" providerId="ADAL" clId="{0BF56A33-4BC5-423F-96C0-6A8645FA96BB}" dt="2023-12-03T21:48:09.256" v="32393" actId="790"/>
          <ac:spMkLst>
            <pc:docMk/>
            <pc:sldMk cId="199872087" sldId="758"/>
            <ac:spMk id="11" creationId="{C329A689-3A1F-23B3-1AEE-99D3EFEB5715}"/>
          </ac:spMkLst>
        </pc:spChg>
        <pc:spChg chg="mod">
          <ac:chgData name="KevCla12" userId="ef2eb634-4620-450f-93cc-80cc93397e60" providerId="ADAL" clId="{0BF56A33-4BC5-423F-96C0-6A8645FA96BB}" dt="2023-12-03T21:48:09.257" v="32394" actId="790"/>
          <ac:spMkLst>
            <pc:docMk/>
            <pc:sldMk cId="199872087" sldId="758"/>
            <ac:spMk id="12" creationId="{5FFE2EEE-E224-2A87-8730-5DD08472E8C6}"/>
          </ac:spMkLst>
        </pc:spChg>
        <pc:spChg chg="mod">
          <ac:chgData name="KevCla12" userId="ef2eb634-4620-450f-93cc-80cc93397e60" providerId="ADAL" clId="{0BF56A33-4BC5-423F-96C0-6A8645FA96BB}" dt="2023-12-03T21:48:09.258" v="32395" actId="790"/>
          <ac:spMkLst>
            <pc:docMk/>
            <pc:sldMk cId="199872087" sldId="758"/>
            <ac:spMk id="13" creationId="{5B55F92D-6711-91FF-4115-1CA07A40985B}"/>
          </ac:spMkLst>
        </pc:spChg>
        <pc:spChg chg="mod">
          <ac:chgData name="KevCla12" userId="ef2eb634-4620-450f-93cc-80cc93397e60" providerId="ADAL" clId="{0BF56A33-4BC5-423F-96C0-6A8645FA96BB}" dt="2023-12-03T21:48:09.259" v="32396" actId="790"/>
          <ac:spMkLst>
            <pc:docMk/>
            <pc:sldMk cId="199872087" sldId="758"/>
            <ac:spMk id="14" creationId="{14B4F76A-B5D9-3884-4EF4-AE683A1DA7CA}"/>
          </ac:spMkLst>
        </pc:spChg>
        <pc:spChg chg="mod">
          <ac:chgData name="KevCla12" userId="ef2eb634-4620-450f-93cc-80cc93397e60" providerId="ADAL" clId="{0BF56A33-4BC5-423F-96C0-6A8645FA96BB}" dt="2023-12-03T21:48:09.261" v="32397" actId="790"/>
          <ac:spMkLst>
            <pc:docMk/>
            <pc:sldMk cId="199872087" sldId="758"/>
            <ac:spMk id="15" creationId="{AB93E1C0-A2F3-A3F1-1AB8-EE2279432B8D}"/>
          </ac:spMkLst>
        </pc:spChg>
        <pc:spChg chg="mod">
          <ac:chgData name="KevCla12" userId="ef2eb634-4620-450f-93cc-80cc93397e60" providerId="ADAL" clId="{0BF56A33-4BC5-423F-96C0-6A8645FA96BB}" dt="2023-12-03T21:48:09.262" v="32398" actId="790"/>
          <ac:spMkLst>
            <pc:docMk/>
            <pc:sldMk cId="199872087" sldId="758"/>
            <ac:spMk id="16" creationId="{089A5C9D-8D42-BF57-6923-658B75E3BD15}"/>
          </ac:spMkLst>
        </pc:spChg>
        <pc:spChg chg="mod">
          <ac:chgData name="KevCla12" userId="ef2eb634-4620-450f-93cc-80cc93397e60" providerId="ADAL" clId="{0BF56A33-4BC5-423F-96C0-6A8645FA96BB}" dt="2023-12-03T21:48:09.263" v="32399" actId="790"/>
          <ac:spMkLst>
            <pc:docMk/>
            <pc:sldMk cId="199872087" sldId="758"/>
            <ac:spMk id="18" creationId="{3362622E-F116-21E9-E926-1021A045EECB}"/>
          </ac:spMkLst>
        </pc:spChg>
        <pc:spChg chg="mod">
          <ac:chgData name="KevCla12" userId="ef2eb634-4620-450f-93cc-80cc93397e60" providerId="ADAL" clId="{0BF56A33-4BC5-423F-96C0-6A8645FA96BB}" dt="2023-12-03T21:48:09.263" v="32400" actId="790"/>
          <ac:spMkLst>
            <pc:docMk/>
            <pc:sldMk cId="199872087" sldId="758"/>
            <ac:spMk id="19" creationId="{B3122E67-575E-6BF0-8F57-F4CD103497D5}"/>
          </ac:spMkLst>
        </pc:spChg>
        <pc:spChg chg="mod">
          <ac:chgData name="KevCla12" userId="ef2eb634-4620-450f-93cc-80cc93397e60" providerId="ADAL" clId="{0BF56A33-4BC5-423F-96C0-6A8645FA96BB}" dt="2023-12-03T21:48:09.264" v="32401" actId="790"/>
          <ac:spMkLst>
            <pc:docMk/>
            <pc:sldMk cId="199872087" sldId="758"/>
            <ac:spMk id="21" creationId="{B0B16128-37CD-D4F9-D3F1-515CF67639AA}"/>
          </ac:spMkLst>
        </pc:spChg>
        <pc:spChg chg="mod">
          <ac:chgData name="KevCla12" userId="ef2eb634-4620-450f-93cc-80cc93397e60" providerId="ADAL" clId="{0BF56A33-4BC5-423F-96C0-6A8645FA96BB}" dt="2023-12-03T21:48:09.271" v="32402" actId="790"/>
          <ac:spMkLst>
            <pc:docMk/>
            <pc:sldMk cId="199872087" sldId="758"/>
            <ac:spMk id="25" creationId="{A9FE833D-C6EF-96BA-4411-E10D3E7D5E52}"/>
          </ac:spMkLst>
        </pc:spChg>
        <pc:spChg chg="mod">
          <ac:chgData name="KevCla12" userId="ef2eb634-4620-450f-93cc-80cc93397e60" providerId="ADAL" clId="{0BF56A33-4BC5-423F-96C0-6A8645FA96BB}" dt="2023-12-03T21:48:09.289" v="32403" actId="790"/>
          <ac:spMkLst>
            <pc:docMk/>
            <pc:sldMk cId="199872087" sldId="758"/>
            <ac:spMk id="26" creationId="{9E699105-AD65-FA06-70B1-649C1DCA5FEE}"/>
          </ac:spMkLst>
        </pc:spChg>
        <pc:spChg chg="mod">
          <ac:chgData name="KevCla12" userId="ef2eb634-4620-450f-93cc-80cc93397e60" providerId="ADAL" clId="{0BF56A33-4BC5-423F-96C0-6A8645FA96BB}" dt="2023-12-03T21:48:09.290" v="32404" actId="790"/>
          <ac:spMkLst>
            <pc:docMk/>
            <pc:sldMk cId="199872087" sldId="758"/>
            <ac:spMk id="27" creationId="{27525F91-4262-DFC5-0058-2FCADEEB9959}"/>
          </ac:spMkLst>
        </pc:spChg>
        <pc:spChg chg="mod">
          <ac:chgData name="KevCla12" userId="ef2eb634-4620-450f-93cc-80cc93397e60" providerId="ADAL" clId="{0BF56A33-4BC5-423F-96C0-6A8645FA96BB}" dt="2023-12-03T21:48:09.291" v="32405" actId="790"/>
          <ac:spMkLst>
            <pc:docMk/>
            <pc:sldMk cId="199872087" sldId="758"/>
            <ac:spMk id="28" creationId="{2DC92D7E-37AC-B128-9521-CE85D18A1F96}"/>
          </ac:spMkLst>
        </pc:spChg>
        <pc:spChg chg="mod">
          <ac:chgData name="KevCla12" userId="ef2eb634-4620-450f-93cc-80cc93397e60" providerId="ADAL" clId="{0BF56A33-4BC5-423F-96C0-6A8645FA96BB}" dt="2023-12-03T21:48:09.292" v="32406" actId="790"/>
          <ac:spMkLst>
            <pc:docMk/>
            <pc:sldMk cId="199872087" sldId="758"/>
            <ac:spMk id="29" creationId="{BBED0EAD-FE3B-B679-DC17-78BDC7D0FD72}"/>
          </ac:spMkLst>
        </pc:spChg>
        <pc:graphicFrameChg chg="mod">
          <ac:chgData name="KevCla12" userId="ef2eb634-4620-450f-93cc-80cc93397e60" providerId="ADAL" clId="{0BF56A33-4BC5-423F-96C0-6A8645FA96BB}" dt="2023-12-03T21:48:12.475" v="33746"/>
          <ac:graphicFrameMkLst>
            <pc:docMk/>
            <pc:sldMk cId="199872087" sldId="758"/>
            <ac:graphicFrameMk id="30" creationId="{8237EBDA-7196-5A24-0E68-06D11575E950}"/>
          </ac:graphicFrameMkLst>
        </pc:graphicFrameChg>
      </pc:sldChg>
      <pc:sldChg chg="addSp delSp modSp add mod modNotes">
        <pc:chgData name="KevCla12" userId="ef2eb634-4620-450f-93cc-80cc93397e60" providerId="ADAL" clId="{0BF56A33-4BC5-423F-96C0-6A8645FA96BB}" dt="2023-12-03T21:48:12.479" v="33750"/>
        <pc:sldMkLst>
          <pc:docMk/>
          <pc:sldMk cId="2680722172" sldId="759"/>
        </pc:sldMkLst>
        <pc:spChg chg="mod">
          <ac:chgData name="KevCla12" userId="ef2eb634-4620-450f-93cc-80cc93397e60" providerId="ADAL" clId="{0BF56A33-4BC5-423F-96C0-6A8645FA96BB}" dt="2023-12-03T21:48:12.247" v="33551" actId="948"/>
          <ac:spMkLst>
            <pc:docMk/>
            <pc:sldMk cId="2680722172" sldId="759"/>
            <ac:spMk id="2" creationId="{11E94977-00A9-60D6-BE31-9961EE71C54E}"/>
          </ac:spMkLst>
        </pc:spChg>
        <pc:spChg chg="add del mod modVis">
          <ac:chgData name="KevCla12" userId="ef2eb634-4620-450f-93cc-80cc93397e60" providerId="ADAL" clId="{0BF56A33-4BC5-423F-96C0-6A8645FA96BB}" dt="2023-12-03T21:47:50.338" v="30597"/>
          <ac:spMkLst>
            <pc:docMk/>
            <pc:sldMk cId="2680722172" sldId="759"/>
            <ac:spMk id="3" creationId="{B7AB8DA4-86A7-04AA-0558-D7E7DCAD66BE}"/>
          </ac:spMkLst>
        </pc:spChg>
        <pc:spChg chg="mod">
          <ac:chgData name="KevCla12" userId="ef2eb634-4620-450f-93cc-80cc93397e60" providerId="ADAL" clId="{0BF56A33-4BC5-423F-96C0-6A8645FA96BB}" dt="2023-12-03T21:48:09.299" v="32410" actId="790"/>
          <ac:spMkLst>
            <pc:docMk/>
            <pc:sldMk cId="2680722172" sldId="759"/>
            <ac:spMk id="4" creationId="{33082B9C-2612-E99E-2F8E-262C199F7BC6}"/>
          </ac:spMkLst>
        </pc:spChg>
        <pc:spChg chg="mod">
          <ac:chgData name="KevCla12" userId="ef2eb634-4620-450f-93cc-80cc93397e60" providerId="ADAL" clId="{0BF56A33-4BC5-423F-96C0-6A8645FA96BB}" dt="2023-12-03T21:48:09.300" v="32411" actId="790"/>
          <ac:spMkLst>
            <pc:docMk/>
            <pc:sldMk cId="2680722172" sldId="759"/>
            <ac:spMk id="5" creationId="{848D07D1-9249-0877-B3C1-DFDD1518E002}"/>
          </ac:spMkLst>
        </pc:spChg>
        <pc:spChg chg="mod">
          <ac:chgData name="KevCla12" userId="ef2eb634-4620-450f-93cc-80cc93397e60" providerId="ADAL" clId="{0BF56A33-4BC5-423F-96C0-6A8645FA96BB}" dt="2023-12-03T21:48:09.302" v="32412" actId="790"/>
          <ac:spMkLst>
            <pc:docMk/>
            <pc:sldMk cId="2680722172" sldId="759"/>
            <ac:spMk id="6" creationId="{E406F318-5734-C9F9-8A14-086343576680}"/>
          </ac:spMkLst>
        </pc:spChg>
        <pc:spChg chg="mod">
          <ac:chgData name="KevCla12" userId="ef2eb634-4620-450f-93cc-80cc93397e60" providerId="ADAL" clId="{0BF56A33-4BC5-423F-96C0-6A8645FA96BB}" dt="2023-12-03T21:48:09.303" v="32413" actId="790"/>
          <ac:spMkLst>
            <pc:docMk/>
            <pc:sldMk cId="2680722172" sldId="759"/>
            <ac:spMk id="7" creationId="{E3208773-BF43-B1F2-4A0A-2275FA6497E6}"/>
          </ac:spMkLst>
        </pc:spChg>
        <pc:spChg chg="mod">
          <ac:chgData name="KevCla12" userId="ef2eb634-4620-450f-93cc-80cc93397e60" providerId="ADAL" clId="{0BF56A33-4BC5-423F-96C0-6A8645FA96BB}" dt="2023-12-03T21:48:09.304" v="32414" actId="790"/>
          <ac:spMkLst>
            <pc:docMk/>
            <pc:sldMk cId="2680722172" sldId="759"/>
            <ac:spMk id="8" creationId="{726A4910-212D-86FF-9F41-A7C1BA342382}"/>
          </ac:spMkLst>
        </pc:spChg>
        <pc:spChg chg="mod">
          <ac:chgData name="KevCla12" userId="ef2eb634-4620-450f-93cc-80cc93397e60" providerId="ADAL" clId="{0BF56A33-4BC5-423F-96C0-6A8645FA96BB}" dt="2023-12-03T21:48:09.305" v="32415" actId="790"/>
          <ac:spMkLst>
            <pc:docMk/>
            <pc:sldMk cId="2680722172" sldId="759"/>
            <ac:spMk id="9" creationId="{7D512B15-5405-E90C-74B1-7B2F0D4CAECF}"/>
          </ac:spMkLst>
        </pc:spChg>
        <pc:spChg chg="mod">
          <ac:chgData name="KevCla12" userId="ef2eb634-4620-450f-93cc-80cc93397e60" providerId="ADAL" clId="{0BF56A33-4BC5-423F-96C0-6A8645FA96BB}" dt="2023-12-03T21:48:09.306" v="32416" actId="790"/>
          <ac:spMkLst>
            <pc:docMk/>
            <pc:sldMk cId="2680722172" sldId="759"/>
            <ac:spMk id="10" creationId="{5C94F397-6293-6BC1-E257-3FBD64E64BA3}"/>
          </ac:spMkLst>
        </pc:spChg>
        <pc:spChg chg="mod">
          <ac:chgData name="KevCla12" userId="ef2eb634-4620-450f-93cc-80cc93397e60" providerId="ADAL" clId="{0BF56A33-4BC5-423F-96C0-6A8645FA96BB}" dt="2023-12-03T21:48:09.307" v="32417" actId="790"/>
          <ac:spMkLst>
            <pc:docMk/>
            <pc:sldMk cId="2680722172" sldId="759"/>
            <ac:spMk id="11" creationId="{6DABD41D-159A-D5C4-29D6-63C30863FD5B}"/>
          </ac:spMkLst>
        </pc:spChg>
        <pc:spChg chg="mod">
          <ac:chgData name="KevCla12" userId="ef2eb634-4620-450f-93cc-80cc93397e60" providerId="ADAL" clId="{0BF56A33-4BC5-423F-96C0-6A8645FA96BB}" dt="2023-12-03T21:48:09.309" v="32418" actId="790"/>
          <ac:spMkLst>
            <pc:docMk/>
            <pc:sldMk cId="2680722172" sldId="759"/>
            <ac:spMk id="12" creationId="{5F9AB139-16E0-5F2C-E0EB-BD82BFADACBD}"/>
          </ac:spMkLst>
        </pc:spChg>
        <pc:spChg chg="mod">
          <ac:chgData name="KevCla12" userId="ef2eb634-4620-450f-93cc-80cc93397e60" providerId="ADAL" clId="{0BF56A33-4BC5-423F-96C0-6A8645FA96BB}" dt="2023-12-03T21:48:09.310" v="32419" actId="790"/>
          <ac:spMkLst>
            <pc:docMk/>
            <pc:sldMk cId="2680722172" sldId="759"/>
            <ac:spMk id="13" creationId="{78ABBF4A-A66D-0421-9796-A8B671C6E6E5}"/>
          </ac:spMkLst>
        </pc:spChg>
        <pc:spChg chg="mod">
          <ac:chgData name="KevCla12" userId="ef2eb634-4620-450f-93cc-80cc93397e60" providerId="ADAL" clId="{0BF56A33-4BC5-423F-96C0-6A8645FA96BB}" dt="2023-12-03T21:48:09.311" v="32420" actId="790"/>
          <ac:spMkLst>
            <pc:docMk/>
            <pc:sldMk cId="2680722172" sldId="759"/>
            <ac:spMk id="14" creationId="{389F81C5-A9C6-0945-933F-205058FD4587}"/>
          </ac:spMkLst>
        </pc:spChg>
        <pc:spChg chg="mod">
          <ac:chgData name="KevCla12" userId="ef2eb634-4620-450f-93cc-80cc93397e60" providerId="ADAL" clId="{0BF56A33-4BC5-423F-96C0-6A8645FA96BB}" dt="2023-12-03T21:48:09.318" v="32421" actId="790"/>
          <ac:spMkLst>
            <pc:docMk/>
            <pc:sldMk cId="2680722172" sldId="759"/>
            <ac:spMk id="16" creationId="{F190A49C-5A98-AB63-6CF7-984B16610A5D}"/>
          </ac:spMkLst>
        </pc:spChg>
        <pc:spChg chg="mod">
          <ac:chgData name="KevCla12" userId="ef2eb634-4620-450f-93cc-80cc93397e60" providerId="ADAL" clId="{0BF56A33-4BC5-423F-96C0-6A8645FA96BB}" dt="2023-12-03T21:48:09.320" v="32422" actId="790"/>
          <ac:spMkLst>
            <pc:docMk/>
            <pc:sldMk cId="2680722172" sldId="759"/>
            <ac:spMk id="17" creationId="{551C1967-2199-1A64-EED7-621D20F4F13B}"/>
          </ac:spMkLst>
        </pc:spChg>
        <pc:spChg chg="mod">
          <ac:chgData name="KevCla12" userId="ef2eb634-4620-450f-93cc-80cc93397e60" providerId="ADAL" clId="{0BF56A33-4BC5-423F-96C0-6A8645FA96BB}" dt="2023-12-03T21:48:09.340" v="32423" actId="790"/>
          <ac:spMkLst>
            <pc:docMk/>
            <pc:sldMk cId="2680722172" sldId="759"/>
            <ac:spMk id="19" creationId="{F88D7084-E08E-22F4-5A7B-ABA246F2D66D}"/>
          </ac:spMkLst>
        </pc:spChg>
        <pc:spChg chg="mod">
          <ac:chgData name="KevCla12" userId="ef2eb634-4620-450f-93cc-80cc93397e60" providerId="ADAL" clId="{0BF56A33-4BC5-423F-96C0-6A8645FA96BB}" dt="2023-12-03T21:48:09.342" v="32424" actId="790"/>
          <ac:spMkLst>
            <pc:docMk/>
            <pc:sldMk cId="2680722172" sldId="759"/>
            <ac:spMk id="20" creationId="{8E61A389-443C-969E-1DFB-A24D60A5C0BF}"/>
          </ac:spMkLst>
        </pc:spChg>
        <pc:spChg chg="mod">
          <ac:chgData name="KevCla12" userId="ef2eb634-4620-450f-93cc-80cc93397e60" providerId="ADAL" clId="{0BF56A33-4BC5-423F-96C0-6A8645FA96BB}" dt="2023-12-03T21:48:09.353" v="32425" actId="790"/>
          <ac:spMkLst>
            <pc:docMk/>
            <pc:sldMk cId="2680722172" sldId="759"/>
            <ac:spMk id="22" creationId="{6200AA13-3366-2302-8A92-3A6C3352D42B}"/>
          </ac:spMkLst>
        </pc:spChg>
        <pc:spChg chg="mod">
          <ac:chgData name="KevCla12" userId="ef2eb634-4620-450f-93cc-80cc93397e60" providerId="ADAL" clId="{0BF56A33-4BC5-423F-96C0-6A8645FA96BB}" dt="2023-12-03T21:48:09.355" v="32426" actId="790"/>
          <ac:spMkLst>
            <pc:docMk/>
            <pc:sldMk cId="2680722172" sldId="759"/>
            <ac:spMk id="23" creationId="{B2B5B0CD-921E-5C78-611F-0DEFE5BB73CE}"/>
          </ac:spMkLst>
        </pc:spChg>
        <pc:spChg chg="add del mod modVis">
          <ac:chgData name="KevCla12" userId="ef2eb634-4620-450f-93cc-80cc93397e60" providerId="ADAL" clId="{0BF56A33-4BC5-423F-96C0-6A8645FA96BB}" dt="2023-12-03T21:48:12.476" v="33748"/>
          <ac:spMkLst>
            <pc:docMk/>
            <pc:sldMk cId="2680722172" sldId="759"/>
            <ac:spMk id="24" creationId="{24AB8356-7F0C-2D10-3190-258772AB5E4B}"/>
          </ac:spMkLst>
        </pc:spChg>
        <pc:spChg chg="mod">
          <ac:chgData name="KevCla12" userId="ef2eb634-4620-450f-93cc-80cc93397e60" providerId="ADAL" clId="{0BF56A33-4BC5-423F-96C0-6A8645FA96BB}" dt="2023-12-03T21:48:09.357" v="32427" actId="790"/>
          <ac:spMkLst>
            <pc:docMk/>
            <pc:sldMk cId="2680722172" sldId="759"/>
            <ac:spMk id="25" creationId="{9FB3AC8E-33CA-7E8E-3A45-351129E509FD}"/>
          </ac:spMkLst>
        </pc:spChg>
        <pc:spChg chg="mod">
          <ac:chgData name="KevCla12" userId="ef2eb634-4620-450f-93cc-80cc93397e60" providerId="ADAL" clId="{0BF56A33-4BC5-423F-96C0-6A8645FA96BB}" dt="2023-12-03T21:48:09.359" v="32430" actId="790"/>
          <ac:spMkLst>
            <pc:docMk/>
            <pc:sldMk cId="2680722172" sldId="759"/>
            <ac:spMk id="28" creationId="{67DDA284-0FBD-52B4-72D1-9FA2A1072999}"/>
          </ac:spMkLst>
        </pc:spChg>
        <pc:spChg chg="mod">
          <ac:chgData name="KevCla12" userId="ef2eb634-4620-450f-93cc-80cc93397e60" providerId="ADAL" clId="{0BF56A33-4BC5-423F-96C0-6A8645FA96BB}" dt="2023-12-03T21:48:09.358" v="32428" actId="790"/>
          <ac:spMkLst>
            <pc:docMk/>
            <pc:sldMk cId="2680722172" sldId="759"/>
            <ac:spMk id="29" creationId="{FD48086F-6E4F-F8CF-87B2-32E928303AD6}"/>
          </ac:spMkLst>
        </pc:spChg>
        <pc:spChg chg="mod">
          <ac:chgData name="KevCla12" userId="ef2eb634-4620-450f-93cc-80cc93397e60" providerId="ADAL" clId="{0BF56A33-4BC5-423F-96C0-6A8645FA96BB}" dt="2023-12-03T21:48:09.358" v="32429" actId="790"/>
          <ac:spMkLst>
            <pc:docMk/>
            <pc:sldMk cId="2680722172" sldId="759"/>
            <ac:spMk id="30" creationId="{BE377453-6456-574A-2F6B-91C6073922B4}"/>
          </ac:spMkLst>
        </pc:spChg>
        <pc:spChg chg="mod">
          <ac:chgData name="KevCla12" userId="ef2eb634-4620-450f-93cc-80cc93397e60" providerId="ADAL" clId="{0BF56A33-4BC5-423F-96C0-6A8645FA96BB}" dt="2023-12-03T21:48:09.360" v="32431" actId="790"/>
          <ac:spMkLst>
            <pc:docMk/>
            <pc:sldMk cId="2680722172" sldId="759"/>
            <ac:spMk id="32" creationId="{D4E52AE1-8728-4C36-8BD0-20B687A16565}"/>
          </ac:spMkLst>
        </pc:spChg>
        <pc:spChg chg="mod">
          <ac:chgData name="KevCla12" userId="ef2eb634-4620-450f-93cc-80cc93397e60" providerId="ADAL" clId="{0BF56A33-4BC5-423F-96C0-6A8645FA96BB}" dt="2023-12-03T21:48:09.361" v="32432" actId="790"/>
          <ac:spMkLst>
            <pc:docMk/>
            <pc:sldMk cId="2680722172" sldId="759"/>
            <ac:spMk id="33" creationId="{AC20A429-007F-88C6-C2E8-319B79EB8E65}"/>
          </ac:spMkLst>
        </pc:spChg>
        <pc:spChg chg="mod">
          <ac:chgData name="KevCla12" userId="ef2eb634-4620-450f-93cc-80cc93397e60" providerId="ADAL" clId="{0BF56A33-4BC5-423F-96C0-6A8645FA96BB}" dt="2023-12-03T21:48:09.362" v="32433" actId="790"/>
          <ac:spMkLst>
            <pc:docMk/>
            <pc:sldMk cId="2680722172" sldId="759"/>
            <ac:spMk id="34" creationId="{660092BF-9571-DDCE-0126-03C99E93424F}"/>
          </ac:spMkLst>
        </pc:spChg>
        <pc:spChg chg="mod">
          <ac:chgData name="KevCla12" userId="ef2eb634-4620-450f-93cc-80cc93397e60" providerId="ADAL" clId="{0BF56A33-4BC5-423F-96C0-6A8645FA96BB}" dt="2023-12-03T21:48:09.363" v="32434" actId="790"/>
          <ac:spMkLst>
            <pc:docMk/>
            <pc:sldMk cId="2680722172" sldId="759"/>
            <ac:spMk id="35" creationId="{F6232496-20F5-3957-2435-6A9F93932F38}"/>
          </ac:spMkLst>
        </pc:spChg>
        <pc:spChg chg="mod">
          <ac:chgData name="KevCla12" userId="ef2eb634-4620-450f-93cc-80cc93397e60" providerId="ADAL" clId="{0BF56A33-4BC5-423F-96C0-6A8645FA96BB}" dt="2023-12-03T21:48:09.364" v="32435" actId="790"/>
          <ac:spMkLst>
            <pc:docMk/>
            <pc:sldMk cId="2680722172" sldId="759"/>
            <ac:spMk id="36" creationId="{122AB99F-19AC-B551-D130-1A6CAD1DDA77}"/>
          </ac:spMkLst>
        </pc:spChg>
        <pc:spChg chg="mod">
          <ac:chgData name="KevCla12" userId="ef2eb634-4620-450f-93cc-80cc93397e60" providerId="ADAL" clId="{0BF56A33-4BC5-423F-96C0-6A8645FA96BB}" dt="2023-12-03T21:48:09.365" v="32436" actId="790"/>
          <ac:spMkLst>
            <pc:docMk/>
            <pc:sldMk cId="2680722172" sldId="759"/>
            <ac:spMk id="37" creationId="{A7309421-0EC4-1407-1BA7-34F40BD689A9}"/>
          </ac:spMkLst>
        </pc:spChg>
        <pc:spChg chg="mod">
          <ac:chgData name="KevCla12" userId="ef2eb634-4620-450f-93cc-80cc93397e60" providerId="ADAL" clId="{0BF56A33-4BC5-423F-96C0-6A8645FA96BB}" dt="2023-12-03T21:48:09.366" v="32437" actId="790"/>
          <ac:spMkLst>
            <pc:docMk/>
            <pc:sldMk cId="2680722172" sldId="759"/>
            <ac:spMk id="38" creationId="{FF76B284-ECFF-8746-F01F-9C35E1022406}"/>
          </ac:spMkLst>
        </pc:spChg>
        <pc:spChg chg="mod">
          <ac:chgData name="KevCla12" userId="ef2eb634-4620-450f-93cc-80cc93397e60" providerId="ADAL" clId="{0BF56A33-4BC5-423F-96C0-6A8645FA96BB}" dt="2023-12-03T21:48:09.367" v="32438" actId="790"/>
          <ac:spMkLst>
            <pc:docMk/>
            <pc:sldMk cId="2680722172" sldId="759"/>
            <ac:spMk id="39" creationId="{B8E2AC88-BAA2-FEE4-14DD-47C951D41DFF}"/>
          </ac:spMkLst>
        </pc:spChg>
        <pc:spChg chg="mod">
          <ac:chgData name="KevCla12" userId="ef2eb634-4620-450f-93cc-80cc93397e60" providerId="ADAL" clId="{0BF56A33-4BC5-423F-96C0-6A8645FA96BB}" dt="2023-12-03T21:48:09.368" v="32439" actId="790"/>
          <ac:spMkLst>
            <pc:docMk/>
            <pc:sldMk cId="2680722172" sldId="759"/>
            <ac:spMk id="40" creationId="{A0E65CB5-C344-9AD9-B45D-BDC4D3097552}"/>
          </ac:spMkLst>
        </pc:spChg>
        <pc:spChg chg="mod">
          <ac:chgData name="KevCla12" userId="ef2eb634-4620-450f-93cc-80cc93397e60" providerId="ADAL" clId="{0BF56A33-4BC5-423F-96C0-6A8645FA96BB}" dt="2023-12-03T21:48:09.369" v="32440" actId="790"/>
          <ac:spMkLst>
            <pc:docMk/>
            <pc:sldMk cId="2680722172" sldId="759"/>
            <ac:spMk id="42" creationId="{15718550-BCD3-0EE3-AE2F-72150DE9798F}"/>
          </ac:spMkLst>
        </pc:spChg>
        <pc:spChg chg="mod">
          <ac:chgData name="KevCla12" userId="ef2eb634-4620-450f-93cc-80cc93397e60" providerId="ADAL" clId="{0BF56A33-4BC5-423F-96C0-6A8645FA96BB}" dt="2023-12-03T21:48:09.369" v="32441" actId="790"/>
          <ac:spMkLst>
            <pc:docMk/>
            <pc:sldMk cId="2680722172" sldId="759"/>
            <ac:spMk id="43" creationId="{79BCC855-A304-0EBF-85C9-F069DB8D7D35}"/>
          </ac:spMkLst>
        </pc:spChg>
        <pc:spChg chg="mod">
          <ac:chgData name="KevCla12" userId="ef2eb634-4620-450f-93cc-80cc93397e60" providerId="ADAL" clId="{0BF56A33-4BC5-423F-96C0-6A8645FA96BB}" dt="2023-12-03T21:48:09.370" v="32442" actId="790"/>
          <ac:spMkLst>
            <pc:docMk/>
            <pc:sldMk cId="2680722172" sldId="759"/>
            <ac:spMk id="44" creationId="{6FA84715-9378-F3CE-B4FC-3DA6A208E12D}"/>
          </ac:spMkLst>
        </pc:spChg>
        <pc:spChg chg="mod">
          <ac:chgData name="KevCla12" userId="ef2eb634-4620-450f-93cc-80cc93397e60" providerId="ADAL" clId="{0BF56A33-4BC5-423F-96C0-6A8645FA96BB}" dt="2023-12-03T21:48:09.371" v="32443" actId="790"/>
          <ac:spMkLst>
            <pc:docMk/>
            <pc:sldMk cId="2680722172" sldId="759"/>
            <ac:spMk id="45" creationId="{D74A4146-978F-2353-3142-9AAF590AF359}"/>
          </ac:spMkLst>
        </pc:spChg>
        <pc:spChg chg="mod">
          <ac:chgData name="KevCla12" userId="ef2eb634-4620-450f-93cc-80cc93397e60" providerId="ADAL" clId="{0BF56A33-4BC5-423F-96C0-6A8645FA96BB}" dt="2023-12-03T21:48:09.372" v="32444" actId="790"/>
          <ac:spMkLst>
            <pc:docMk/>
            <pc:sldMk cId="2680722172" sldId="759"/>
            <ac:spMk id="46" creationId="{6F24FA16-0B06-FC65-5CB3-015874C722C0}"/>
          </ac:spMkLst>
        </pc:spChg>
        <pc:spChg chg="mod">
          <ac:chgData name="KevCla12" userId="ef2eb634-4620-450f-93cc-80cc93397e60" providerId="ADAL" clId="{0BF56A33-4BC5-423F-96C0-6A8645FA96BB}" dt="2023-12-03T21:48:09.373" v="32445" actId="790"/>
          <ac:spMkLst>
            <pc:docMk/>
            <pc:sldMk cId="2680722172" sldId="759"/>
            <ac:spMk id="47" creationId="{903A4F55-8E3F-97A0-0636-11048E9C3666}"/>
          </ac:spMkLst>
        </pc:spChg>
        <pc:spChg chg="mod">
          <ac:chgData name="KevCla12" userId="ef2eb634-4620-450f-93cc-80cc93397e60" providerId="ADAL" clId="{0BF56A33-4BC5-423F-96C0-6A8645FA96BB}" dt="2023-12-03T21:48:09.374" v="32446" actId="790"/>
          <ac:spMkLst>
            <pc:docMk/>
            <pc:sldMk cId="2680722172" sldId="759"/>
            <ac:spMk id="48" creationId="{699E0D1C-1CC6-510C-03CC-A2075BCDADD8}"/>
          </ac:spMkLst>
        </pc:spChg>
        <pc:spChg chg="mod">
          <ac:chgData name="KevCla12" userId="ef2eb634-4620-450f-93cc-80cc93397e60" providerId="ADAL" clId="{0BF56A33-4BC5-423F-96C0-6A8645FA96BB}" dt="2023-12-03T21:48:09.375" v="32447" actId="790"/>
          <ac:spMkLst>
            <pc:docMk/>
            <pc:sldMk cId="2680722172" sldId="759"/>
            <ac:spMk id="49" creationId="{D6A819D8-68B2-662C-DCD8-231A8E863C1F}"/>
          </ac:spMkLst>
        </pc:spChg>
        <pc:spChg chg="mod">
          <ac:chgData name="KevCla12" userId="ef2eb634-4620-450f-93cc-80cc93397e60" providerId="ADAL" clId="{0BF56A33-4BC5-423F-96C0-6A8645FA96BB}" dt="2023-12-03T21:48:09.377" v="32448" actId="790"/>
          <ac:spMkLst>
            <pc:docMk/>
            <pc:sldMk cId="2680722172" sldId="759"/>
            <ac:spMk id="50" creationId="{1660D524-2764-A5B9-7083-886242414650}"/>
          </ac:spMkLst>
        </pc:spChg>
        <pc:spChg chg="mod">
          <ac:chgData name="KevCla12" userId="ef2eb634-4620-450f-93cc-80cc93397e60" providerId="ADAL" clId="{0BF56A33-4BC5-423F-96C0-6A8645FA96BB}" dt="2023-12-03T21:48:09.378" v="32449" actId="790"/>
          <ac:spMkLst>
            <pc:docMk/>
            <pc:sldMk cId="2680722172" sldId="759"/>
            <ac:spMk id="51" creationId="{4629D47B-E629-AFFC-7A53-60E1E9B4DBE1}"/>
          </ac:spMkLst>
        </pc:spChg>
        <pc:spChg chg="mod">
          <ac:chgData name="KevCla12" userId="ef2eb634-4620-450f-93cc-80cc93397e60" providerId="ADAL" clId="{0BF56A33-4BC5-423F-96C0-6A8645FA96BB}" dt="2023-12-03T21:48:09.381" v="32450" actId="790"/>
          <ac:spMkLst>
            <pc:docMk/>
            <pc:sldMk cId="2680722172" sldId="759"/>
            <ac:spMk id="52" creationId="{D1CB0A0F-FD7B-4A17-85B3-3A8039858DE1}"/>
          </ac:spMkLst>
        </pc:spChg>
        <pc:spChg chg="mod">
          <ac:chgData name="KevCla12" userId="ef2eb634-4620-450f-93cc-80cc93397e60" providerId="ADAL" clId="{0BF56A33-4BC5-423F-96C0-6A8645FA96BB}" dt="2023-12-03T21:48:09.382" v="32451" actId="790"/>
          <ac:spMkLst>
            <pc:docMk/>
            <pc:sldMk cId="2680722172" sldId="759"/>
            <ac:spMk id="53" creationId="{840939EE-EE13-4F80-0EE0-5E002941DF87}"/>
          </ac:spMkLst>
        </pc:spChg>
        <pc:spChg chg="mod">
          <ac:chgData name="KevCla12" userId="ef2eb634-4620-450f-93cc-80cc93397e60" providerId="ADAL" clId="{0BF56A33-4BC5-423F-96C0-6A8645FA96BB}" dt="2023-12-03T21:48:09.384" v="32452" actId="790"/>
          <ac:spMkLst>
            <pc:docMk/>
            <pc:sldMk cId="2680722172" sldId="759"/>
            <ac:spMk id="54" creationId="{2FD5DBA2-51D4-048B-9F7F-14E265521E30}"/>
          </ac:spMkLst>
        </pc:spChg>
        <pc:spChg chg="mod">
          <ac:chgData name="KevCla12" userId="ef2eb634-4620-450f-93cc-80cc93397e60" providerId="ADAL" clId="{0BF56A33-4BC5-423F-96C0-6A8645FA96BB}" dt="2023-12-03T21:48:09.385" v="32453" actId="790"/>
          <ac:spMkLst>
            <pc:docMk/>
            <pc:sldMk cId="2680722172" sldId="759"/>
            <ac:spMk id="55" creationId="{C73F0652-8A10-90AA-FD44-227D2EB78763}"/>
          </ac:spMkLst>
        </pc:spChg>
        <pc:graphicFrameChg chg="mod">
          <ac:chgData name="KevCla12" userId="ef2eb634-4620-450f-93cc-80cc93397e60" providerId="ADAL" clId="{0BF56A33-4BC5-423F-96C0-6A8645FA96BB}" dt="2023-12-03T21:48:12.479" v="33750"/>
          <ac:graphicFrameMkLst>
            <pc:docMk/>
            <pc:sldMk cId="2680722172" sldId="759"/>
            <ac:graphicFrameMk id="56" creationId="{A063CEC7-C753-B4E9-CCA4-D83F49DF45A2}"/>
          </ac:graphicFrameMkLst>
        </pc:graphicFrameChg>
      </pc:sldChg>
      <pc:sldChg chg="modSp add del mod ord modNotes">
        <pc:chgData name="KevCla12" userId="ef2eb634-4620-450f-93cc-80cc93397e60" providerId="ADAL" clId="{0BF56A33-4BC5-423F-96C0-6A8645FA96BB}" dt="2023-12-03T21:48:11.181" v="33137" actId="790"/>
        <pc:sldMkLst>
          <pc:docMk/>
          <pc:sldMk cId="636565381" sldId="761"/>
        </pc:sldMkLst>
        <pc:spChg chg="mod">
          <ac:chgData name="KevCla12" userId="ef2eb634-4620-450f-93cc-80cc93397e60" providerId="ADAL" clId="{0BF56A33-4BC5-423F-96C0-6A8645FA96BB}" dt="2023-12-03T21:48:11.100" v="33125" actId="790"/>
          <ac:spMkLst>
            <pc:docMk/>
            <pc:sldMk cId="636565381" sldId="761"/>
            <ac:spMk id="2" creationId="{BB261A67-E7F4-3E4D-F69F-969A19AAD897}"/>
          </ac:spMkLst>
        </pc:spChg>
        <pc:spChg chg="mod">
          <ac:chgData name="KevCla12" userId="ef2eb634-4620-450f-93cc-80cc93397e60" providerId="ADAL" clId="{0BF56A33-4BC5-423F-96C0-6A8645FA96BB}" dt="2023-12-03T21:48:11.102" v="33126" actId="790"/>
          <ac:spMkLst>
            <pc:docMk/>
            <pc:sldMk cId="636565381" sldId="761"/>
            <ac:spMk id="4" creationId="{879753C8-B78B-A1CB-10B0-EFC6E96DC861}"/>
          </ac:spMkLst>
        </pc:spChg>
        <pc:spChg chg="mod">
          <ac:chgData name="KevCla12" userId="ef2eb634-4620-450f-93cc-80cc93397e60" providerId="ADAL" clId="{0BF56A33-4BC5-423F-96C0-6A8645FA96BB}" dt="2023-12-03T21:48:11.104" v="33127" actId="790"/>
          <ac:spMkLst>
            <pc:docMk/>
            <pc:sldMk cId="636565381" sldId="761"/>
            <ac:spMk id="5" creationId="{A4CCB9AF-22DE-A9F8-D563-DA854989CF82}"/>
          </ac:spMkLst>
        </pc:spChg>
        <pc:spChg chg="mod">
          <ac:chgData name="KevCla12" userId="ef2eb634-4620-450f-93cc-80cc93397e60" providerId="ADAL" clId="{0BF56A33-4BC5-423F-96C0-6A8645FA96BB}" dt="2023-12-03T21:48:11.106" v="33128" actId="790"/>
          <ac:spMkLst>
            <pc:docMk/>
            <pc:sldMk cId="636565381" sldId="761"/>
            <ac:spMk id="6" creationId="{10B81DC4-7806-495A-8027-37209D8B6BB3}"/>
          </ac:spMkLst>
        </pc:spChg>
        <pc:spChg chg="mod">
          <ac:chgData name="KevCla12" userId="ef2eb634-4620-450f-93cc-80cc93397e60" providerId="ADAL" clId="{0BF56A33-4BC5-423F-96C0-6A8645FA96BB}" dt="2023-12-03T21:48:11.107" v="33129" actId="790"/>
          <ac:spMkLst>
            <pc:docMk/>
            <pc:sldMk cId="636565381" sldId="761"/>
            <ac:spMk id="7" creationId="{4CC22B2F-9A24-0FFE-55CA-92C8AE5480AE}"/>
          </ac:spMkLst>
        </pc:spChg>
        <pc:spChg chg="mod">
          <ac:chgData name="KevCla12" userId="ef2eb634-4620-450f-93cc-80cc93397e60" providerId="ADAL" clId="{0BF56A33-4BC5-423F-96C0-6A8645FA96BB}" dt="2023-12-03T21:48:11.108" v="33130" actId="790"/>
          <ac:spMkLst>
            <pc:docMk/>
            <pc:sldMk cId="636565381" sldId="761"/>
            <ac:spMk id="8" creationId="{09DA7079-80AB-36AF-5B3A-F89B09C60FE5}"/>
          </ac:spMkLst>
        </pc:spChg>
        <pc:spChg chg="mod">
          <ac:chgData name="KevCla12" userId="ef2eb634-4620-450f-93cc-80cc93397e60" providerId="ADAL" clId="{0BF56A33-4BC5-423F-96C0-6A8645FA96BB}" dt="2023-12-03T21:48:11.109" v="33131" actId="790"/>
          <ac:spMkLst>
            <pc:docMk/>
            <pc:sldMk cId="636565381" sldId="761"/>
            <ac:spMk id="9" creationId="{462E83F7-5A5C-8B1A-1DDB-3924BD6E17B7}"/>
          </ac:spMkLst>
        </pc:spChg>
        <pc:spChg chg="mod">
          <ac:chgData name="KevCla12" userId="ef2eb634-4620-450f-93cc-80cc93397e60" providerId="ADAL" clId="{0BF56A33-4BC5-423F-96C0-6A8645FA96BB}" dt="2023-12-03T21:48:11.138" v="33132" actId="790"/>
          <ac:spMkLst>
            <pc:docMk/>
            <pc:sldMk cId="636565381" sldId="761"/>
            <ac:spMk id="10" creationId="{0EC66004-7EE0-403C-1D91-C580274DF75B}"/>
          </ac:spMkLst>
        </pc:spChg>
        <pc:spChg chg="mod">
          <ac:chgData name="KevCla12" userId="ef2eb634-4620-450f-93cc-80cc93397e60" providerId="ADAL" clId="{0BF56A33-4BC5-423F-96C0-6A8645FA96BB}" dt="2023-12-03T21:48:11.141" v="33133" actId="790"/>
          <ac:spMkLst>
            <pc:docMk/>
            <pc:sldMk cId="636565381" sldId="761"/>
            <ac:spMk id="13" creationId="{2D9FE939-B39D-2767-7B78-80FFABF1BA0F}"/>
          </ac:spMkLst>
        </pc:spChg>
        <pc:spChg chg="mod">
          <ac:chgData name="KevCla12" userId="ef2eb634-4620-450f-93cc-80cc93397e60" providerId="ADAL" clId="{0BF56A33-4BC5-423F-96C0-6A8645FA96BB}" dt="2023-12-03T21:48:11.143" v="33134" actId="790"/>
          <ac:spMkLst>
            <pc:docMk/>
            <pc:sldMk cId="636565381" sldId="761"/>
            <ac:spMk id="14" creationId="{0B7B7703-F73A-3F29-CDEF-98E8B6F32511}"/>
          </ac:spMkLst>
        </pc:spChg>
        <pc:spChg chg="mod">
          <ac:chgData name="KevCla12" userId="ef2eb634-4620-450f-93cc-80cc93397e60" providerId="ADAL" clId="{0BF56A33-4BC5-423F-96C0-6A8645FA96BB}" dt="2023-12-03T21:48:11.179" v="33135" actId="790"/>
          <ac:spMkLst>
            <pc:docMk/>
            <pc:sldMk cId="636565381" sldId="761"/>
            <ac:spMk id="15" creationId="{1BBF0ED2-2965-8138-998D-58FDD5F47D17}"/>
          </ac:spMkLst>
        </pc:spChg>
        <pc:spChg chg="mod">
          <ac:chgData name="KevCla12" userId="ef2eb634-4620-450f-93cc-80cc93397e60" providerId="ADAL" clId="{0BF56A33-4BC5-423F-96C0-6A8645FA96BB}" dt="2023-12-03T21:48:11.096" v="33124" actId="790"/>
          <ac:spMkLst>
            <pc:docMk/>
            <pc:sldMk cId="636565381" sldId="761"/>
            <ac:spMk id="16" creationId="{9E026891-9074-5DE5-6147-87E72B4536A9}"/>
          </ac:spMkLst>
        </pc:spChg>
      </pc:sldChg>
      <pc:sldChg chg="modSp add del mod ord modNotes">
        <pc:chgData name="KevCla12" userId="ef2eb634-4620-450f-93cc-80cc93397e60" providerId="ADAL" clId="{0BF56A33-4BC5-423F-96C0-6A8645FA96BB}" dt="2023-12-03T21:48:11.213" v="33147" actId="790"/>
        <pc:sldMkLst>
          <pc:docMk/>
          <pc:sldMk cId="2683917040" sldId="763"/>
        </pc:sldMkLst>
        <pc:spChg chg="mod">
          <ac:chgData name="KevCla12" userId="ef2eb634-4620-450f-93cc-80cc93397e60" providerId="ADAL" clId="{0BF56A33-4BC5-423F-96C0-6A8645FA96BB}" dt="2023-12-03T21:48:11.184" v="33138" actId="790"/>
          <ac:spMkLst>
            <pc:docMk/>
            <pc:sldMk cId="2683917040" sldId="763"/>
            <ac:spMk id="2" creationId="{74AD4928-F65C-7D0B-194F-4554F1369009}"/>
          </ac:spMkLst>
        </pc:spChg>
        <pc:spChg chg="mod">
          <ac:chgData name="KevCla12" userId="ef2eb634-4620-450f-93cc-80cc93397e60" providerId="ADAL" clId="{0BF56A33-4BC5-423F-96C0-6A8645FA96BB}" dt="2023-12-03T21:48:11.185" v="33139" actId="790"/>
          <ac:spMkLst>
            <pc:docMk/>
            <pc:sldMk cId="2683917040" sldId="763"/>
            <ac:spMk id="4" creationId="{7605E686-7D4C-0D84-167E-89C88D7C23CF}"/>
          </ac:spMkLst>
        </pc:spChg>
        <pc:spChg chg="mod">
          <ac:chgData name="KevCla12" userId="ef2eb634-4620-450f-93cc-80cc93397e60" providerId="ADAL" clId="{0BF56A33-4BC5-423F-96C0-6A8645FA96BB}" dt="2023-12-03T21:48:11.186" v="33140" actId="790"/>
          <ac:spMkLst>
            <pc:docMk/>
            <pc:sldMk cId="2683917040" sldId="763"/>
            <ac:spMk id="6" creationId="{BDDB07A2-10BA-4AE2-9ABE-F378ADFE4F7D}"/>
          </ac:spMkLst>
        </pc:spChg>
        <pc:spChg chg="mod">
          <ac:chgData name="KevCla12" userId="ef2eb634-4620-450f-93cc-80cc93397e60" providerId="ADAL" clId="{0BF56A33-4BC5-423F-96C0-6A8645FA96BB}" dt="2023-12-03T21:48:11.187" v="33141" actId="790"/>
          <ac:spMkLst>
            <pc:docMk/>
            <pc:sldMk cId="2683917040" sldId="763"/>
            <ac:spMk id="7" creationId="{4754D030-CCEC-F65E-5A03-165E5F49C959}"/>
          </ac:spMkLst>
        </pc:spChg>
        <pc:spChg chg="mod">
          <ac:chgData name="KevCla12" userId="ef2eb634-4620-450f-93cc-80cc93397e60" providerId="ADAL" clId="{0BF56A33-4BC5-423F-96C0-6A8645FA96BB}" dt="2023-12-03T21:48:11.187" v="33142" actId="790"/>
          <ac:spMkLst>
            <pc:docMk/>
            <pc:sldMk cId="2683917040" sldId="763"/>
            <ac:spMk id="8" creationId="{7D79839B-20FA-E36F-1272-443DE4DD3A09}"/>
          </ac:spMkLst>
        </pc:spChg>
        <pc:spChg chg="mod">
          <ac:chgData name="KevCla12" userId="ef2eb634-4620-450f-93cc-80cc93397e60" providerId="ADAL" clId="{0BF56A33-4BC5-423F-96C0-6A8645FA96BB}" dt="2023-12-03T21:48:11.189" v="33143" actId="790"/>
          <ac:spMkLst>
            <pc:docMk/>
            <pc:sldMk cId="2683917040" sldId="763"/>
            <ac:spMk id="9" creationId="{A39C5AC4-747A-3C22-4B53-47081DDBE0BF}"/>
          </ac:spMkLst>
        </pc:spChg>
        <pc:spChg chg="mod">
          <ac:chgData name="KevCla12" userId="ef2eb634-4620-450f-93cc-80cc93397e60" providerId="ADAL" clId="{0BF56A33-4BC5-423F-96C0-6A8645FA96BB}" dt="2023-12-03T21:48:11.209" v="33144" actId="790"/>
          <ac:spMkLst>
            <pc:docMk/>
            <pc:sldMk cId="2683917040" sldId="763"/>
            <ac:spMk id="10" creationId="{63905025-CE5E-58C8-9B4A-C539E97C8E15}"/>
          </ac:spMkLst>
        </pc:spChg>
        <pc:spChg chg="mod">
          <ac:chgData name="KevCla12" userId="ef2eb634-4620-450f-93cc-80cc93397e60" providerId="ADAL" clId="{0BF56A33-4BC5-423F-96C0-6A8645FA96BB}" dt="2023-12-03T21:48:11.211" v="33145" actId="790"/>
          <ac:spMkLst>
            <pc:docMk/>
            <pc:sldMk cId="2683917040" sldId="763"/>
            <ac:spMk id="11" creationId="{E1F82110-D39F-6D09-E9D4-8FCC1A5D0B6B}"/>
          </ac:spMkLst>
        </pc:spChg>
      </pc:sldChg>
      <pc:sldChg chg="delSp modSp add del mod delCm modNotes">
        <pc:chgData name="KevCla12" userId="ef2eb634-4620-450f-93cc-80cc93397e60" providerId="ADAL" clId="{0BF56A33-4BC5-423F-96C0-6A8645FA96BB}" dt="2023-12-03T21:48:10.331" v="32660" actId="790"/>
        <pc:sldMkLst>
          <pc:docMk/>
          <pc:sldMk cId="449866283" sldId="764"/>
        </pc:sldMkLst>
        <pc:spChg chg="del mod">
          <ac:chgData name="KevCla12" userId="ef2eb634-4620-450f-93cc-80cc93397e60" providerId="ADAL" clId="{0BF56A33-4BC5-423F-96C0-6A8645FA96BB}" dt="2023-12-03T14:18:30.688" v="12758" actId="478"/>
          <ac:spMkLst>
            <pc:docMk/>
            <pc:sldMk cId="449866283" sldId="764"/>
            <ac:spMk id="2" creationId="{58464220-FC6A-AC2B-9017-87D8EC22B9E8}"/>
          </ac:spMkLst>
        </pc:spChg>
        <pc:spChg chg="del mod">
          <ac:chgData name="KevCla12" userId="ef2eb634-4620-450f-93cc-80cc93397e60" providerId="ADAL" clId="{0BF56A33-4BC5-423F-96C0-6A8645FA96BB}" dt="2023-12-03T14:18:32.672" v="12759" actId="478"/>
          <ac:spMkLst>
            <pc:docMk/>
            <pc:sldMk cId="449866283" sldId="764"/>
            <ac:spMk id="3" creationId="{A8919C72-FD2E-63E9-C779-D6A86910685F}"/>
          </ac:spMkLst>
        </pc:spChg>
        <pc:spChg chg="mod">
          <ac:chgData name="KevCla12" userId="ef2eb634-4620-450f-93cc-80cc93397e60" providerId="ADAL" clId="{0BF56A33-4BC5-423F-96C0-6A8645FA96BB}" dt="2023-12-03T21:48:10.218" v="32595" actId="790"/>
          <ac:spMkLst>
            <pc:docMk/>
            <pc:sldMk cId="449866283" sldId="764"/>
            <ac:spMk id="4" creationId="{94212443-DB78-B917-492B-FA3E359EBD3F}"/>
          </ac:spMkLst>
        </pc:spChg>
        <pc:spChg chg="mod">
          <ac:chgData name="KevCla12" userId="ef2eb634-4620-450f-93cc-80cc93397e60" providerId="ADAL" clId="{0BF56A33-4BC5-423F-96C0-6A8645FA96BB}" dt="2023-12-03T21:48:10.330" v="32658" actId="790"/>
          <ac:spMkLst>
            <pc:docMk/>
            <pc:sldMk cId="449866283" sldId="764"/>
            <ac:spMk id="5" creationId="{B6865539-3A14-DA37-EE62-F2EC08A7423D}"/>
          </ac:spMkLst>
        </pc:spChg>
        <pc:spChg chg="mod">
          <ac:chgData name="KevCla12" userId="ef2eb634-4620-450f-93cc-80cc93397e60" providerId="ADAL" clId="{0BF56A33-4BC5-423F-96C0-6A8645FA96BB}" dt="2023-12-03T21:48:10.328" v="32656" actId="790"/>
          <ac:spMkLst>
            <pc:docMk/>
            <pc:sldMk cId="449866283" sldId="764"/>
            <ac:spMk id="7" creationId="{EBB26B05-5698-748A-82E9-04B3FA2DEF04}"/>
          </ac:spMkLst>
        </pc:spChg>
        <pc:spChg chg="mod">
          <ac:chgData name="KevCla12" userId="ef2eb634-4620-450f-93cc-80cc93397e60" providerId="ADAL" clId="{0BF56A33-4BC5-423F-96C0-6A8645FA96BB}" dt="2023-12-03T21:48:10.329" v="32657" actId="790"/>
          <ac:spMkLst>
            <pc:docMk/>
            <pc:sldMk cId="449866283" sldId="764"/>
            <ac:spMk id="8" creationId="{1048E254-A411-0908-123E-595C67CA7849}"/>
          </ac:spMkLst>
        </pc:spChg>
        <pc:graphicFrameChg chg="mod modGraphic">
          <ac:chgData name="KevCla12" userId="ef2eb634-4620-450f-93cc-80cc93397e60" providerId="ADAL" clId="{0BF56A33-4BC5-423F-96C0-6A8645FA96BB}" dt="2023-12-03T21:48:10.326" v="32655" actId="790"/>
          <ac:graphicFrameMkLst>
            <pc:docMk/>
            <pc:sldMk cId="449866283" sldId="764"/>
            <ac:graphicFrameMk id="10" creationId="{6750B1E7-D7F1-5E89-5FD4-61949B84F34D}"/>
          </ac:graphicFrameMkLst>
        </pc:graphicFrameChg>
        <pc:extLst>
          <p:ext xmlns:p="http://schemas.openxmlformats.org/presentationml/2006/main" uri="{D6D511B9-2390-475A-947B-AFAB55BFBCF1}">
            <pc226:cmChg xmlns:pc226="http://schemas.microsoft.com/office/powerpoint/2022/06/main/command" chg="del">
              <pc226:chgData name="KevCla12" userId="ef2eb634-4620-450f-93cc-80cc93397e60" providerId="ADAL" clId="{0BF56A33-4BC5-423F-96C0-6A8645FA96BB}" dt="2023-11-26T18:52:02.062" v="1440"/>
              <pc2:cmMkLst xmlns:pc2="http://schemas.microsoft.com/office/powerpoint/2019/9/main/command">
                <pc:docMk/>
                <pc:sldMk cId="449866283" sldId="764"/>
                <pc2:cmMk id="{DE8AAFA3-54C6-4BAA-90E9-1D461DFEEBE1}"/>
              </pc2:cmMkLst>
            </pc226:cmChg>
          </p:ext>
        </pc:extLst>
      </pc:sldChg>
      <pc:sldChg chg="modSp add del mod ord modNotes">
        <pc:chgData name="KevCla12" userId="ef2eb634-4620-450f-93cc-80cc93397e60" providerId="ADAL" clId="{0BF56A33-4BC5-423F-96C0-6A8645FA96BB}" dt="2023-12-03T21:48:10.426" v="32720" actId="790"/>
        <pc:sldMkLst>
          <pc:docMk/>
          <pc:sldMk cId="1726400265" sldId="765"/>
        </pc:sldMkLst>
        <pc:spChg chg="mod">
          <ac:chgData name="KevCla12" userId="ef2eb634-4620-450f-93cc-80cc93397e60" providerId="ADAL" clId="{0BF56A33-4BC5-423F-96C0-6A8645FA96BB}" dt="2023-12-03T21:48:10.336" v="32661" actId="790"/>
          <ac:spMkLst>
            <pc:docMk/>
            <pc:sldMk cId="1726400265" sldId="765"/>
            <ac:spMk id="2" creationId="{550BD79F-B49C-5537-D37C-E096AB115538}"/>
          </ac:spMkLst>
        </pc:spChg>
        <pc:spChg chg="mod">
          <ac:chgData name="KevCla12" userId="ef2eb634-4620-450f-93cc-80cc93397e60" providerId="ADAL" clId="{0BF56A33-4BC5-423F-96C0-6A8645FA96BB}" dt="2023-12-03T21:48:10.405" v="32711" actId="790"/>
          <ac:spMkLst>
            <pc:docMk/>
            <pc:sldMk cId="1726400265" sldId="765"/>
            <ac:spMk id="3" creationId="{56FBE029-F60B-7219-380D-B0D58B80F232}"/>
          </ac:spMkLst>
        </pc:spChg>
        <pc:spChg chg="mod">
          <ac:chgData name="KevCla12" userId="ef2eb634-4620-450f-93cc-80cc93397e60" providerId="ADAL" clId="{0BF56A33-4BC5-423F-96C0-6A8645FA96BB}" dt="2023-12-03T21:48:10.337" v="32662" actId="790"/>
          <ac:spMkLst>
            <pc:docMk/>
            <pc:sldMk cId="1726400265" sldId="765"/>
            <ac:spMk id="4" creationId="{6F7E0533-BFF0-1322-69DC-C8001B823EA9}"/>
          </ac:spMkLst>
        </pc:spChg>
        <pc:spChg chg="mod">
          <ac:chgData name="KevCla12" userId="ef2eb634-4620-450f-93cc-80cc93397e60" providerId="ADAL" clId="{0BF56A33-4BC5-423F-96C0-6A8645FA96BB}" dt="2023-12-03T21:48:10.338" v="32663" actId="790"/>
          <ac:spMkLst>
            <pc:docMk/>
            <pc:sldMk cId="1726400265" sldId="765"/>
            <ac:spMk id="5" creationId="{48DE5F82-CA89-DD5C-D353-E3EA3172FC7A}"/>
          </ac:spMkLst>
        </pc:spChg>
        <pc:spChg chg="mod">
          <ac:chgData name="KevCla12" userId="ef2eb634-4620-450f-93cc-80cc93397e60" providerId="ADAL" clId="{0BF56A33-4BC5-423F-96C0-6A8645FA96BB}" dt="2023-12-03T21:48:10.339" v="32664" actId="790"/>
          <ac:spMkLst>
            <pc:docMk/>
            <pc:sldMk cId="1726400265" sldId="765"/>
            <ac:spMk id="6" creationId="{290A09A6-4ECD-BCF6-D7A8-08F957612577}"/>
          </ac:spMkLst>
        </pc:spChg>
        <pc:spChg chg="mod">
          <ac:chgData name="KevCla12" userId="ef2eb634-4620-450f-93cc-80cc93397e60" providerId="ADAL" clId="{0BF56A33-4BC5-423F-96C0-6A8645FA96BB}" dt="2023-12-03T21:48:10.340" v="32665" actId="790"/>
          <ac:spMkLst>
            <pc:docMk/>
            <pc:sldMk cId="1726400265" sldId="765"/>
            <ac:spMk id="7" creationId="{02A16E9E-7D96-6F4F-3831-9F064F283B8F}"/>
          </ac:spMkLst>
        </pc:spChg>
        <pc:spChg chg="mod">
          <ac:chgData name="KevCla12" userId="ef2eb634-4620-450f-93cc-80cc93397e60" providerId="ADAL" clId="{0BF56A33-4BC5-423F-96C0-6A8645FA96BB}" dt="2023-12-03T21:48:10.347" v="32666" actId="790"/>
          <ac:spMkLst>
            <pc:docMk/>
            <pc:sldMk cId="1726400265" sldId="765"/>
            <ac:spMk id="8" creationId="{FE698CA9-3682-A738-AA5F-C77FC448597C}"/>
          </ac:spMkLst>
        </pc:spChg>
        <pc:spChg chg="mod">
          <ac:chgData name="KevCla12" userId="ef2eb634-4620-450f-93cc-80cc93397e60" providerId="ADAL" clId="{0BF56A33-4BC5-423F-96C0-6A8645FA96BB}" dt="2023-12-03T21:48:10.410" v="32712" actId="790"/>
          <ac:spMkLst>
            <pc:docMk/>
            <pc:sldMk cId="1726400265" sldId="765"/>
            <ac:spMk id="9" creationId="{B13801E3-4203-D3F6-1F43-2C0E43A0964B}"/>
          </ac:spMkLst>
        </pc:spChg>
        <pc:spChg chg="mod">
          <ac:chgData name="KevCla12" userId="ef2eb634-4620-450f-93cc-80cc93397e60" providerId="ADAL" clId="{0BF56A33-4BC5-423F-96C0-6A8645FA96BB}" dt="2023-12-03T21:48:10.349" v="32667" actId="790"/>
          <ac:spMkLst>
            <pc:docMk/>
            <pc:sldMk cId="1726400265" sldId="765"/>
            <ac:spMk id="11" creationId="{2E1B4200-9F79-8653-7A93-9DE714980E68}"/>
          </ac:spMkLst>
        </pc:spChg>
        <pc:spChg chg="mod">
          <ac:chgData name="KevCla12" userId="ef2eb634-4620-450f-93cc-80cc93397e60" providerId="ADAL" clId="{0BF56A33-4BC5-423F-96C0-6A8645FA96BB}" dt="2023-12-03T21:48:10.411" v="32713" actId="790"/>
          <ac:spMkLst>
            <pc:docMk/>
            <pc:sldMk cId="1726400265" sldId="765"/>
            <ac:spMk id="12" creationId="{EE4600D6-061E-49BA-6712-941DEB281D30}"/>
          </ac:spMkLst>
        </pc:spChg>
        <pc:spChg chg="mod">
          <ac:chgData name="KevCla12" userId="ef2eb634-4620-450f-93cc-80cc93397e60" providerId="ADAL" clId="{0BF56A33-4BC5-423F-96C0-6A8645FA96BB}" dt="2023-12-03T21:48:10.350" v="32668" actId="790"/>
          <ac:spMkLst>
            <pc:docMk/>
            <pc:sldMk cId="1726400265" sldId="765"/>
            <ac:spMk id="13" creationId="{664EDF7C-9573-E256-E856-890EDB153E1D}"/>
          </ac:spMkLst>
        </pc:spChg>
        <pc:spChg chg="mod">
          <ac:chgData name="KevCla12" userId="ef2eb634-4620-450f-93cc-80cc93397e60" providerId="ADAL" clId="{0BF56A33-4BC5-423F-96C0-6A8645FA96BB}" dt="2023-12-03T21:48:10.350" v="32669" actId="790"/>
          <ac:spMkLst>
            <pc:docMk/>
            <pc:sldMk cId="1726400265" sldId="765"/>
            <ac:spMk id="14" creationId="{2F5ED647-BE6A-9099-FBCB-1BDBF9849304}"/>
          </ac:spMkLst>
        </pc:spChg>
        <pc:spChg chg="mod">
          <ac:chgData name="KevCla12" userId="ef2eb634-4620-450f-93cc-80cc93397e60" providerId="ADAL" clId="{0BF56A33-4BC5-423F-96C0-6A8645FA96BB}" dt="2023-12-03T21:48:10.352" v="32670" actId="790"/>
          <ac:spMkLst>
            <pc:docMk/>
            <pc:sldMk cId="1726400265" sldId="765"/>
            <ac:spMk id="15" creationId="{10E1575E-3A82-A282-5B42-BC29FC338C3D}"/>
          </ac:spMkLst>
        </pc:spChg>
        <pc:spChg chg="mod">
          <ac:chgData name="KevCla12" userId="ef2eb634-4620-450f-93cc-80cc93397e60" providerId="ADAL" clId="{0BF56A33-4BC5-423F-96C0-6A8645FA96BB}" dt="2023-12-03T21:48:10.412" v="32714" actId="790"/>
          <ac:spMkLst>
            <pc:docMk/>
            <pc:sldMk cId="1726400265" sldId="765"/>
            <ac:spMk id="16" creationId="{24CF72B9-5A2C-6E3A-A97D-8D09A96106DE}"/>
          </ac:spMkLst>
        </pc:spChg>
        <pc:spChg chg="mod">
          <ac:chgData name="KevCla12" userId="ef2eb634-4620-450f-93cc-80cc93397e60" providerId="ADAL" clId="{0BF56A33-4BC5-423F-96C0-6A8645FA96BB}" dt="2023-12-03T21:48:10.416" v="32715" actId="790"/>
          <ac:spMkLst>
            <pc:docMk/>
            <pc:sldMk cId="1726400265" sldId="765"/>
            <ac:spMk id="17" creationId="{C98DF67C-D51F-2A05-08B9-23071029AFBC}"/>
          </ac:spMkLst>
        </pc:spChg>
        <pc:spChg chg="mod">
          <ac:chgData name="KevCla12" userId="ef2eb634-4620-450f-93cc-80cc93397e60" providerId="ADAL" clId="{0BF56A33-4BC5-423F-96C0-6A8645FA96BB}" dt="2023-12-03T21:48:10.421" v="32716" actId="790"/>
          <ac:spMkLst>
            <pc:docMk/>
            <pc:sldMk cId="1726400265" sldId="765"/>
            <ac:spMk id="18" creationId="{2647B316-4811-A27E-343B-5F1270CA4D89}"/>
          </ac:spMkLst>
        </pc:spChg>
        <pc:spChg chg="mod">
          <ac:chgData name="KevCla12" userId="ef2eb634-4620-450f-93cc-80cc93397e60" providerId="ADAL" clId="{0BF56A33-4BC5-423F-96C0-6A8645FA96BB}" dt="2023-12-03T21:48:10.422" v="32717" actId="790"/>
          <ac:spMkLst>
            <pc:docMk/>
            <pc:sldMk cId="1726400265" sldId="765"/>
            <ac:spMk id="19" creationId="{CDFCD635-F0C0-0FAD-C0FF-3EF15C01E8B2}"/>
          </ac:spMkLst>
        </pc:spChg>
        <pc:spChg chg="mod">
          <ac:chgData name="KevCla12" userId="ef2eb634-4620-450f-93cc-80cc93397e60" providerId="ADAL" clId="{0BF56A33-4BC5-423F-96C0-6A8645FA96BB}" dt="2023-12-03T21:48:10.423" v="32718" actId="790"/>
          <ac:spMkLst>
            <pc:docMk/>
            <pc:sldMk cId="1726400265" sldId="765"/>
            <ac:spMk id="20" creationId="{F12D836A-D8A3-2795-AE13-9921C43C4F99}"/>
          </ac:spMkLst>
        </pc:spChg>
        <pc:spChg chg="mod">
          <ac:chgData name="KevCla12" userId="ef2eb634-4620-450f-93cc-80cc93397e60" providerId="ADAL" clId="{0BF56A33-4BC5-423F-96C0-6A8645FA96BB}" dt="2023-12-03T21:48:10.353" v="32671" actId="790"/>
          <ac:spMkLst>
            <pc:docMk/>
            <pc:sldMk cId="1726400265" sldId="765"/>
            <ac:spMk id="61" creationId="{C8238DBF-8553-C080-1BA4-3B210BE8DBED}"/>
          </ac:spMkLst>
        </pc:spChg>
        <pc:spChg chg="mod">
          <ac:chgData name="KevCla12" userId="ef2eb634-4620-450f-93cc-80cc93397e60" providerId="ADAL" clId="{0BF56A33-4BC5-423F-96C0-6A8645FA96BB}" dt="2023-12-03T21:48:10.353" v="32672" actId="790"/>
          <ac:spMkLst>
            <pc:docMk/>
            <pc:sldMk cId="1726400265" sldId="765"/>
            <ac:spMk id="62" creationId="{702BC577-A5BB-BBE2-A487-77925C83690C}"/>
          </ac:spMkLst>
        </pc:spChg>
        <pc:spChg chg="mod">
          <ac:chgData name="KevCla12" userId="ef2eb634-4620-450f-93cc-80cc93397e60" providerId="ADAL" clId="{0BF56A33-4BC5-423F-96C0-6A8645FA96BB}" dt="2023-12-03T21:48:10.354" v="32673" actId="790"/>
          <ac:spMkLst>
            <pc:docMk/>
            <pc:sldMk cId="1726400265" sldId="765"/>
            <ac:spMk id="63" creationId="{8C269363-49C5-A897-ACA3-8D7DA6629EC9}"/>
          </ac:spMkLst>
        </pc:spChg>
        <pc:spChg chg="mod">
          <ac:chgData name="KevCla12" userId="ef2eb634-4620-450f-93cc-80cc93397e60" providerId="ADAL" clId="{0BF56A33-4BC5-423F-96C0-6A8645FA96BB}" dt="2023-12-03T21:48:10.355" v="32674" actId="790"/>
          <ac:spMkLst>
            <pc:docMk/>
            <pc:sldMk cId="1726400265" sldId="765"/>
            <ac:spMk id="64" creationId="{907DAEDC-3DE1-2248-8B8E-00B4B0BD70EF}"/>
          </ac:spMkLst>
        </pc:spChg>
        <pc:spChg chg="mod">
          <ac:chgData name="KevCla12" userId="ef2eb634-4620-450f-93cc-80cc93397e60" providerId="ADAL" clId="{0BF56A33-4BC5-423F-96C0-6A8645FA96BB}" dt="2023-12-03T21:48:10.356" v="32675" actId="790"/>
          <ac:spMkLst>
            <pc:docMk/>
            <pc:sldMk cId="1726400265" sldId="765"/>
            <ac:spMk id="65" creationId="{F9A669B9-84CA-0B9B-6632-992CB89F2446}"/>
          </ac:spMkLst>
        </pc:spChg>
        <pc:spChg chg="mod">
          <ac:chgData name="KevCla12" userId="ef2eb634-4620-450f-93cc-80cc93397e60" providerId="ADAL" clId="{0BF56A33-4BC5-423F-96C0-6A8645FA96BB}" dt="2023-12-03T21:48:10.357" v="32676" actId="790"/>
          <ac:spMkLst>
            <pc:docMk/>
            <pc:sldMk cId="1726400265" sldId="765"/>
            <ac:spMk id="66" creationId="{734BF222-3D02-0763-FD7A-86FA3B82A57F}"/>
          </ac:spMkLst>
        </pc:spChg>
        <pc:spChg chg="mod">
          <ac:chgData name="KevCla12" userId="ef2eb634-4620-450f-93cc-80cc93397e60" providerId="ADAL" clId="{0BF56A33-4BC5-423F-96C0-6A8645FA96BB}" dt="2023-12-03T21:48:10.357" v="32677" actId="790"/>
          <ac:spMkLst>
            <pc:docMk/>
            <pc:sldMk cId="1726400265" sldId="765"/>
            <ac:spMk id="67" creationId="{B73D8701-7780-1009-87B3-50741B64A5BB}"/>
          </ac:spMkLst>
        </pc:spChg>
        <pc:spChg chg="mod">
          <ac:chgData name="KevCla12" userId="ef2eb634-4620-450f-93cc-80cc93397e60" providerId="ADAL" clId="{0BF56A33-4BC5-423F-96C0-6A8645FA96BB}" dt="2023-12-03T21:48:10.358" v="32678" actId="790"/>
          <ac:spMkLst>
            <pc:docMk/>
            <pc:sldMk cId="1726400265" sldId="765"/>
            <ac:spMk id="68" creationId="{D22ED15F-92AA-3625-1D39-7DE8E5B694A4}"/>
          </ac:spMkLst>
        </pc:spChg>
        <pc:spChg chg="mod">
          <ac:chgData name="KevCla12" userId="ef2eb634-4620-450f-93cc-80cc93397e60" providerId="ADAL" clId="{0BF56A33-4BC5-423F-96C0-6A8645FA96BB}" dt="2023-12-03T21:48:10.359" v="32679" actId="790"/>
          <ac:spMkLst>
            <pc:docMk/>
            <pc:sldMk cId="1726400265" sldId="765"/>
            <ac:spMk id="69" creationId="{9FF20863-C786-E2EF-1E74-997A6BE94EAA}"/>
          </ac:spMkLst>
        </pc:spChg>
        <pc:spChg chg="mod">
          <ac:chgData name="KevCla12" userId="ef2eb634-4620-450f-93cc-80cc93397e60" providerId="ADAL" clId="{0BF56A33-4BC5-423F-96C0-6A8645FA96BB}" dt="2023-12-03T21:48:10.362" v="32684" actId="790"/>
          <ac:spMkLst>
            <pc:docMk/>
            <pc:sldMk cId="1726400265" sldId="765"/>
            <ac:spMk id="72" creationId="{01D50084-F6D0-D5F0-82B6-49F5111F0DB4}"/>
          </ac:spMkLst>
        </pc:spChg>
        <pc:spChg chg="mod">
          <ac:chgData name="KevCla12" userId="ef2eb634-4620-450f-93cc-80cc93397e60" providerId="ADAL" clId="{0BF56A33-4BC5-423F-96C0-6A8645FA96BB}" dt="2023-12-03T21:48:10.359" v="32680" actId="790"/>
          <ac:spMkLst>
            <pc:docMk/>
            <pc:sldMk cId="1726400265" sldId="765"/>
            <ac:spMk id="73" creationId="{8FC2DCA7-E551-8996-16A7-6764F9B222B3}"/>
          </ac:spMkLst>
        </pc:spChg>
        <pc:spChg chg="mod">
          <ac:chgData name="KevCla12" userId="ef2eb634-4620-450f-93cc-80cc93397e60" providerId="ADAL" clId="{0BF56A33-4BC5-423F-96C0-6A8645FA96BB}" dt="2023-12-03T21:48:10.360" v="32681" actId="790"/>
          <ac:spMkLst>
            <pc:docMk/>
            <pc:sldMk cId="1726400265" sldId="765"/>
            <ac:spMk id="74" creationId="{445B27C8-4FCF-70CF-C2E8-BAF1652EEF02}"/>
          </ac:spMkLst>
        </pc:spChg>
        <pc:spChg chg="mod">
          <ac:chgData name="KevCla12" userId="ef2eb634-4620-450f-93cc-80cc93397e60" providerId="ADAL" clId="{0BF56A33-4BC5-423F-96C0-6A8645FA96BB}" dt="2023-12-03T21:48:10.361" v="32682" actId="790"/>
          <ac:spMkLst>
            <pc:docMk/>
            <pc:sldMk cId="1726400265" sldId="765"/>
            <ac:spMk id="75" creationId="{DB6C8825-A2F2-63C7-311F-480493277040}"/>
          </ac:spMkLst>
        </pc:spChg>
        <pc:spChg chg="mod">
          <ac:chgData name="KevCla12" userId="ef2eb634-4620-450f-93cc-80cc93397e60" providerId="ADAL" clId="{0BF56A33-4BC5-423F-96C0-6A8645FA96BB}" dt="2023-12-03T21:48:10.362" v="32683" actId="790"/>
          <ac:spMkLst>
            <pc:docMk/>
            <pc:sldMk cId="1726400265" sldId="765"/>
            <ac:spMk id="76" creationId="{391FE4DA-DE07-D7B9-0DBD-691A9FCB8D7D}"/>
          </ac:spMkLst>
        </pc:spChg>
        <pc:spChg chg="mod">
          <ac:chgData name="KevCla12" userId="ef2eb634-4620-450f-93cc-80cc93397e60" providerId="ADAL" clId="{0BF56A33-4BC5-423F-96C0-6A8645FA96BB}" dt="2023-12-03T21:48:10.363" v="32685" actId="790"/>
          <ac:spMkLst>
            <pc:docMk/>
            <pc:sldMk cId="1726400265" sldId="765"/>
            <ac:spMk id="78" creationId="{D66565C2-5D12-7873-5E9D-3205ECA90DAD}"/>
          </ac:spMkLst>
        </pc:spChg>
        <pc:spChg chg="mod">
          <ac:chgData name="KevCla12" userId="ef2eb634-4620-450f-93cc-80cc93397e60" providerId="ADAL" clId="{0BF56A33-4BC5-423F-96C0-6A8645FA96BB}" dt="2023-12-03T21:48:10.364" v="32686" actId="790"/>
          <ac:spMkLst>
            <pc:docMk/>
            <pc:sldMk cId="1726400265" sldId="765"/>
            <ac:spMk id="79" creationId="{F34257C4-E1F8-6577-E2E2-41BFC0DE6855}"/>
          </ac:spMkLst>
        </pc:spChg>
        <pc:spChg chg="mod">
          <ac:chgData name="KevCla12" userId="ef2eb634-4620-450f-93cc-80cc93397e60" providerId="ADAL" clId="{0BF56A33-4BC5-423F-96C0-6A8645FA96BB}" dt="2023-12-03T21:48:10.365" v="32687" actId="790"/>
          <ac:spMkLst>
            <pc:docMk/>
            <pc:sldMk cId="1726400265" sldId="765"/>
            <ac:spMk id="80" creationId="{0DD71EB2-4DAD-970C-B19F-559C5824F8D3}"/>
          </ac:spMkLst>
        </pc:spChg>
        <pc:spChg chg="mod">
          <ac:chgData name="KevCla12" userId="ef2eb634-4620-450f-93cc-80cc93397e60" providerId="ADAL" clId="{0BF56A33-4BC5-423F-96C0-6A8645FA96BB}" dt="2023-12-03T21:48:10.365" v="32688" actId="790"/>
          <ac:spMkLst>
            <pc:docMk/>
            <pc:sldMk cId="1726400265" sldId="765"/>
            <ac:spMk id="81" creationId="{E42AFFDE-8177-6140-B01F-ED6D0B3379F7}"/>
          </ac:spMkLst>
        </pc:spChg>
        <pc:spChg chg="mod">
          <ac:chgData name="KevCla12" userId="ef2eb634-4620-450f-93cc-80cc93397e60" providerId="ADAL" clId="{0BF56A33-4BC5-423F-96C0-6A8645FA96BB}" dt="2023-12-03T21:48:10.366" v="32689" actId="790"/>
          <ac:spMkLst>
            <pc:docMk/>
            <pc:sldMk cId="1726400265" sldId="765"/>
            <ac:spMk id="82" creationId="{0F052AFB-42BE-2243-3D8E-4341C4C02637}"/>
          </ac:spMkLst>
        </pc:spChg>
        <pc:spChg chg="mod">
          <ac:chgData name="KevCla12" userId="ef2eb634-4620-450f-93cc-80cc93397e60" providerId="ADAL" clId="{0BF56A33-4BC5-423F-96C0-6A8645FA96BB}" dt="2023-12-03T21:48:10.366" v="32690" actId="790"/>
          <ac:spMkLst>
            <pc:docMk/>
            <pc:sldMk cId="1726400265" sldId="765"/>
            <ac:spMk id="83" creationId="{E54D8ED8-53F5-A758-2E54-DF8F4C0539B1}"/>
          </ac:spMkLst>
        </pc:spChg>
        <pc:spChg chg="mod">
          <ac:chgData name="KevCla12" userId="ef2eb634-4620-450f-93cc-80cc93397e60" providerId="ADAL" clId="{0BF56A33-4BC5-423F-96C0-6A8645FA96BB}" dt="2023-12-03T21:48:10.367" v="32691" actId="790"/>
          <ac:spMkLst>
            <pc:docMk/>
            <pc:sldMk cId="1726400265" sldId="765"/>
            <ac:spMk id="84" creationId="{F639CC37-7B31-758D-123A-F61AC6C4A4C1}"/>
          </ac:spMkLst>
        </pc:spChg>
        <pc:spChg chg="mod">
          <ac:chgData name="KevCla12" userId="ef2eb634-4620-450f-93cc-80cc93397e60" providerId="ADAL" clId="{0BF56A33-4BC5-423F-96C0-6A8645FA96BB}" dt="2023-12-03T21:48:10.368" v="32692" actId="790"/>
          <ac:spMkLst>
            <pc:docMk/>
            <pc:sldMk cId="1726400265" sldId="765"/>
            <ac:spMk id="85" creationId="{6A773B9B-65AA-051E-A74E-1C87749AEF58}"/>
          </ac:spMkLst>
        </pc:spChg>
        <pc:spChg chg="mod">
          <ac:chgData name="KevCla12" userId="ef2eb634-4620-450f-93cc-80cc93397e60" providerId="ADAL" clId="{0BF56A33-4BC5-423F-96C0-6A8645FA96BB}" dt="2023-12-03T21:48:10.369" v="32693" actId="790"/>
          <ac:spMkLst>
            <pc:docMk/>
            <pc:sldMk cId="1726400265" sldId="765"/>
            <ac:spMk id="86" creationId="{83254ABE-9742-F48A-40E0-16D22839EE7A}"/>
          </ac:spMkLst>
        </pc:spChg>
        <pc:spChg chg="mod">
          <ac:chgData name="KevCla12" userId="ef2eb634-4620-450f-93cc-80cc93397e60" providerId="ADAL" clId="{0BF56A33-4BC5-423F-96C0-6A8645FA96BB}" dt="2023-12-03T21:48:10.369" v="32694" actId="790"/>
          <ac:spMkLst>
            <pc:docMk/>
            <pc:sldMk cId="1726400265" sldId="765"/>
            <ac:spMk id="87" creationId="{42D8ABFA-4A78-B402-D352-A78E3A6C4DB4}"/>
          </ac:spMkLst>
        </pc:spChg>
        <pc:spChg chg="mod">
          <ac:chgData name="KevCla12" userId="ef2eb634-4620-450f-93cc-80cc93397e60" providerId="ADAL" clId="{0BF56A33-4BC5-423F-96C0-6A8645FA96BB}" dt="2023-12-03T21:48:10.370" v="32695" actId="790"/>
          <ac:spMkLst>
            <pc:docMk/>
            <pc:sldMk cId="1726400265" sldId="765"/>
            <ac:spMk id="88" creationId="{4EB38D78-08C8-D514-427F-30E747763046}"/>
          </ac:spMkLst>
        </pc:spChg>
        <pc:spChg chg="mod">
          <ac:chgData name="KevCla12" userId="ef2eb634-4620-450f-93cc-80cc93397e60" providerId="ADAL" clId="{0BF56A33-4BC5-423F-96C0-6A8645FA96BB}" dt="2023-12-03T21:48:10.371" v="32696" actId="790"/>
          <ac:spMkLst>
            <pc:docMk/>
            <pc:sldMk cId="1726400265" sldId="765"/>
            <ac:spMk id="89" creationId="{97D71721-45A3-077E-E0FB-560B30EFC6E0}"/>
          </ac:spMkLst>
        </pc:spChg>
        <pc:spChg chg="mod">
          <ac:chgData name="KevCla12" userId="ef2eb634-4620-450f-93cc-80cc93397e60" providerId="ADAL" clId="{0BF56A33-4BC5-423F-96C0-6A8645FA96BB}" dt="2023-12-03T21:48:10.372" v="32697" actId="790"/>
          <ac:spMkLst>
            <pc:docMk/>
            <pc:sldMk cId="1726400265" sldId="765"/>
            <ac:spMk id="91" creationId="{EF541C4D-7B44-5031-3737-8294BCA4D91F}"/>
          </ac:spMkLst>
        </pc:spChg>
        <pc:spChg chg="mod">
          <ac:chgData name="KevCla12" userId="ef2eb634-4620-450f-93cc-80cc93397e60" providerId="ADAL" clId="{0BF56A33-4BC5-423F-96C0-6A8645FA96BB}" dt="2023-12-03T21:48:10.373" v="32698" actId="790"/>
          <ac:spMkLst>
            <pc:docMk/>
            <pc:sldMk cId="1726400265" sldId="765"/>
            <ac:spMk id="92" creationId="{1CBBCADB-D902-F891-7E8A-FFC8A88227D0}"/>
          </ac:spMkLst>
        </pc:spChg>
        <pc:spChg chg="mod">
          <ac:chgData name="KevCla12" userId="ef2eb634-4620-450f-93cc-80cc93397e60" providerId="ADAL" clId="{0BF56A33-4BC5-423F-96C0-6A8645FA96BB}" dt="2023-12-03T21:48:10.373" v="32699" actId="790"/>
          <ac:spMkLst>
            <pc:docMk/>
            <pc:sldMk cId="1726400265" sldId="765"/>
            <ac:spMk id="93" creationId="{2F030A21-2FCE-C15B-C07E-7EA7B873C01F}"/>
          </ac:spMkLst>
        </pc:spChg>
        <pc:spChg chg="mod">
          <ac:chgData name="KevCla12" userId="ef2eb634-4620-450f-93cc-80cc93397e60" providerId="ADAL" clId="{0BF56A33-4BC5-423F-96C0-6A8645FA96BB}" dt="2023-12-03T21:48:10.374" v="32700" actId="790"/>
          <ac:spMkLst>
            <pc:docMk/>
            <pc:sldMk cId="1726400265" sldId="765"/>
            <ac:spMk id="94" creationId="{5A5346D9-B773-9E0C-4DE5-84C3826BF61E}"/>
          </ac:spMkLst>
        </pc:spChg>
        <pc:spChg chg="mod">
          <ac:chgData name="KevCla12" userId="ef2eb634-4620-450f-93cc-80cc93397e60" providerId="ADAL" clId="{0BF56A33-4BC5-423F-96C0-6A8645FA96BB}" dt="2023-12-03T21:48:10.375" v="32701" actId="790"/>
          <ac:spMkLst>
            <pc:docMk/>
            <pc:sldMk cId="1726400265" sldId="765"/>
            <ac:spMk id="95" creationId="{2B7763DB-DC80-1436-2502-D620746BB3EB}"/>
          </ac:spMkLst>
        </pc:spChg>
        <pc:spChg chg="mod">
          <ac:chgData name="KevCla12" userId="ef2eb634-4620-450f-93cc-80cc93397e60" providerId="ADAL" clId="{0BF56A33-4BC5-423F-96C0-6A8645FA96BB}" dt="2023-12-03T21:48:10.376" v="32702" actId="790"/>
          <ac:spMkLst>
            <pc:docMk/>
            <pc:sldMk cId="1726400265" sldId="765"/>
            <ac:spMk id="96" creationId="{F145FA10-69CB-445D-8F72-7CD249BD2F16}"/>
          </ac:spMkLst>
        </pc:spChg>
        <pc:spChg chg="mod">
          <ac:chgData name="KevCla12" userId="ef2eb634-4620-450f-93cc-80cc93397e60" providerId="ADAL" clId="{0BF56A33-4BC5-423F-96C0-6A8645FA96BB}" dt="2023-12-03T21:48:10.381" v="32703" actId="790"/>
          <ac:spMkLst>
            <pc:docMk/>
            <pc:sldMk cId="1726400265" sldId="765"/>
            <ac:spMk id="97" creationId="{C8819D3F-94D7-2D50-A660-F3A91EAF9705}"/>
          </ac:spMkLst>
        </pc:spChg>
        <pc:spChg chg="mod">
          <ac:chgData name="KevCla12" userId="ef2eb634-4620-450f-93cc-80cc93397e60" providerId="ADAL" clId="{0BF56A33-4BC5-423F-96C0-6A8645FA96BB}" dt="2023-12-03T21:48:10.385" v="32704" actId="790"/>
          <ac:spMkLst>
            <pc:docMk/>
            <pc:sldMk cId="1726400265" sldId="765"/>
            <ac:spMk id="98" creationId="{F0E2D785-FC9F-1B54-EB72-F5CF1DC6AECE}"/>
          </ac:spMkLst>
        </pc:spChg>
        <pc:spChg chg="mod">
          <ac:chgData name="KevCla12" userId="ef2eb634-4620-450f-93cc-80cc93397e60" providerId="ADAL" clId="{0BF56A33-4BC5-423F-96C0-6A8645FA96BB}" dt="2023-12-03T21:48:10.386" v="32705" actId="790"/>
          <ac:spMkLst>
            <pc:docMk/>
            <pc:sldMk cId="1726400265" sldId="765"/>
            <ac:spMk id="99" creationId="{3AC4543C-0C17-4612-E1D2-72D8B3FF9E10}"/>
          </ac:spMkLst>
        </pc:spChg>
        <pc:spChg chg="mod">
          <ac:chgData name="KevCla12" userId="ef2eb634-4620-450f-93cc-80cc93397e60" providerId="ADAL" clId="{0BF56A33-4BC5-423F-96C0-6A8645FA96BB}" dt="2023-12-03T21:48:10.387" v="32706" actId="790"/>
          <ac:spMkLst>
            <pc:docMk/>
            <pc:sldMk cId="1726400265" sldId="765"/>
            <ac:spMk id="100" creationId="{00E1CA25-7431-1F55-4DFA-11F276BF38F2}"/>
          </ac:spMkLst>
        </pc:spChg>
        <pc:spChg chg="mod">
          <ac:chgData name="KevCla12" userId="ef2eb634-4620-450f-93cc-80cc93397e60" providerId="ADAL" clId="{0BF56A33-4BC5-423F-96C0-6A8645FA96BB}" dt="2023-12-03T21:48:10.388" v="32707" actId="790"/>
          <ac:spMkLst>
            <pc:docMk/>
            <pc:sldMk cId="1726400265" sldId="765"/>
            <ac:spMk id="101" creationId="{65506631-1CE5-F3BF-4877-B75BFD14F7D4}"/>
          </ac:spMkLst>
        </pc:spChg>
        <pc:spChg chg="mod">
          <ac:chgData name="KevCla12" userId="ef2eb634-4620-450f-93cc-80cc93397e60" providerId="ADAL" clId="{0BF56A33-4BC5-423F-96C0-6A8645FA96BB}" dt="2023-12-03T21:48:10.389" v="32708" actId="790"/>
          <ac:spMkLst>
            <pc:docMk/>
            <pc:sldMk cId="1726400265" sldId="765"/>
            <ac:spMk id="102" creationId="{E7052C96-473F-3B8A-0082-D6E2F74C3695}"/>
          </ac:spMkLst>
        </pc:spChg>
        <pc:spChg chg="mod">
          <ac:chgData name="KevCla12" userId="ef2eb634-4620-450f-93cc-80cc93397e60" providerId="ADAL" clId="{0BF56A33-4BC5-423F-96C0-6A8645FA96BB}" dt="2023-12-03T21:48:10.392" v="32709" actId="790"/>
          <ac:spMkLst>
            <pc:docMk/>
            <pc:sldMk cId="1726400265" sldId="765"/>
            <ac:spMk id="103" creationId="{A542130A-F470-6E6D-94B5-BF72F6330D9D}"/>
          </ac:spMkLst>
        </pc:spChg>
        <pc:spChg chg="mod">
          <ac:chgData name="KevCla12" userId="ef2eb634-4620-450f-93cc-80cc93397e60" providerId="ADAL" clId="{0BF56A33-4BC5-423F-96C0-6A8645FA96BB}" dt="2023-12-03T21:48:10.396" v="32710" actId="790"/>
          <ac:spMkLst>
            <pc:docMk/>
            <pc:sldMk cId="1726400265" sldId="765"/>
            <ac:spMk id="104" creationId="{14291C56-843B-55A8-57B0-3E4DDCCF105B}"/>
          </ac:spMkLst>
        </pc:spChg>
        <pc:grpChg chg="mod">
          <ac:chgData name="KevCla12" userId="ef2eb634-4620-450f-93cc-80cc93397e60" providerId="ADAL" clId="{0BF56A33-4BC5-423F-96C0-6A8645FA96BB}" dt="2023-12-03T14:58:48.427" v="12976" actId="1038"/>
          <ac:grpSpMkLst>
            <pc:docMk/>
            <pc:sldMk cId="1726400265" sldId="765"/>
            <ac:grpSpMk id="77" creationId="{53D5E1C9-CF40-C391-09AA-E5BD83CF25C3}"/>
          </ac:grpSpMkLst>
        </pc:grpChg>
        <pc:grpChg chg="mod">
          <ac:chgData name="KevCla12" userId="ef2eb634-4620-450f-93cc-80cc93397e60" providerId="ADAL" clId="{0BF56A33-4BC5-423F-96C0-6A8645FA96BB}" dt="2023-12-03T14:58:48.427" v="12976" actId="1038"/>
          <ac:grpSpMkLst>
            <pc:docMk/>
            <pc:sldMk cId="1726400265" sldId="765"/>
            <ac:grpSpMk id="90" creationId="{E654095D-D76B-461E-0934-4CBC5654C13C}"/>
          </ac:grpSpMkLst>
        </pc:grpChg>
        <pc:cxnChg chg="mod">
          <ac:chgData name="KevCla12" userId="ef2eb634-4620-450f-93cc-80cc93397e60" providerId="ADAL" clId="{0BF56A33-4BC5-423F-96C0-6A8645FA96BB}" dt="2023-12-03T14:58:32.619" v="12958"/>
          <ac:cxnSpMkLst>
            <pc:docMk/>
            <pc:sldMk cId="1726400265" sldId="765"/>
            <ac:cxnSpMk id="10" creationId="{69BA7ED1-6EB5-EA6E-A43C-8FDFAC25BDF3}"/>
          </ac:cxnSpMkLst>
        </pc:cxnChg>
      </pc:sldChg>
      <pc:sldChg chg="modSp add del mod ord modNotes">
        <pc:chgData name="KevCla12" userId="ef2eb634-4620-450f-93cc-80cc93397e60" providerId="ADAL" clId="{0BF56A33-4BC5-423F-96C0-6A8645FA96BB}" dt="2023-12-03T21:48:10.793" v="33007" actId="790"/>
        <pc:sldMkLst>
          <pc:docMk/>
          <pc:sldMk cId="610489140" sldId="767"/>
        </pc:sldMkLst>
        <pc:spChg chg="mod">
          <ac:chgData name="KevCla12" userId="ef2eb634-4620-450f-93cc-80cc93397e60" providerId="ADAL" clId="{0BF56A33-4BC5-423F-96C0-6A8645FA96BB}" dt="2023-12-03T21:48:10.668" v="32941" actId="790"/>
          <ac:spMkLst>
            <pc:docMk/>
            <pc:sldMk cId="610489140" sldId="767"/>
            <ac:spMk id="2" creationId="{C8A0FE02-F397-AAFE-898D-181CDFBCB696}"/>
          </ac:spMkLst>
        </pc:spChg>
        <pc:spChg chg="mod">
          <ac:chgData name="KevCla12" userId="ef2eb634-4620-450f-93cc-80cc93397e60" providerId="ADAL" clId="{0BF56A33-4BC5-423F-96C0-6A8645FA96BB}" dt="2023-12-03T21:48:10.670" v="32942" actId="790"/>
          <ac:spMkLst>
            <pc:docMk/>
            <pc:sldMk cId="610489140" sldId="767"/>
            <ac:spMk id="4" creationId="{11896CE6-8D05-808D-3AF9-D77BE3BC271E}"/>
          </ac:spMkLst>
        </pc:spChg>
        <pc:spChg chg="mod">
          <ac:chgData name="KevCla12" userId="ef2eb634-4620-450f-93cc-80cc93397e60" providerId="ADAL" clId="{0BF56A33-4BC5-423F-96C0-6A8645FA96BB}" dt="2023-12-03T21:48:10.672" v="32943" actId="790"/>
          <ac:spMkLst>
            <pc:docMk/>
            <pc:sldMk cId="610489140" sldId="767"/>
            <ac:spMk id="5" creationId="{FCE2ABA5-D261-FCE8-2B4C-67D8F6F4CE97}"/>
          </ac:spMkLst>
        </pc:spChg>
        <pc:spChg chg="mod">
          <ac:chgData name="KevCla12" userId="ef2eb634-4620-450f-93cc-80cc93397e60" providerId="ADAL" clId="{0BF56A33-4BC5-423F-96C0-6A8645FA96BB}" dt="2023-12-03T21:48:10.673" v="32944" actId="790"/>
          <ac:spMkLst>
            <pc:docMk/>
            <pc:sldMk cId="610489140" sldId="767"/>
            <ac:spMk id="6" creationId="{6AFCEF6B-4988-3446-8E8B-3303F5E6402F}"/>
          </ac:spMkLst>
        </pc:spChg>
        <pc:spChg chg="mod">
          <ac:chgData name="KevCla12" userId="ef2eb634-4620-450f-93cc-80cc93397e60" providerId="ADAL" clId="{0BF56A33-4BC5-423F-96C0-6A8645FA96BB}" dt="2023-12-03T21:48:10.675" v="32945" actId="790"/>
          <ac:spMkLst>
            <pc:docMk/>
            <pc:sldMk cId="610489140" sldId="767"/>
            <ac:spMk id="7" creationId="{9CBD7700-C7CD-8D5A-83B6-5786BCACF77D}"/>
          </ac:spMkLst>
        </pc:spChg>
        <pc:spChg chg="mod">
          <ac:chgData name="KevCla12" userId="ef2eb634-4620-450f-93cc-80cc93397e60" providerId="ADAL" clId="{0BF56A33-4BC5-423F-96C0-6A8645FA96BB}" dt="2023-12-03T21:48:10.682" v="32946" actId="790"/>
          <ac:spMkLst>
            <pc:docMk/>
            <pc:sldMk cId="610489140" sldId="767"/>
            <ac:spMk id="8" creationId="{96A2183E-B7A8-7EFD-ACEC-A1CD31C567B5}"/>
          </ac:spMkLst>
        </pc:spChg>
        <pc:spChg chg="mod">
          <ac:chgData name="KevCla12" userId="ef2eb634-4620-450f-93cc-80cc93397e60" providerId="ADAL" clId="{0BF56A33-4BC5-423F-96C0-6A8645FA96BB}" dt="2023-12-03T21:48:10.662" v="32940" actId="790"/>
          <ac:spMkLst>
            <pc:docMk/>
            <pc:sldMk cId="610489140" sldId="767"/>
            <ac:spMk id="10" creationId="{4CB95A16-3F24-DC2A-43D1-1440597D6AD7}"/>
          </ac:spMkLst>
        </pc:spChg>
        <pc:spChg chg="mod">
          <ac:chgData name="KevCla12" userId="ef2eb634-4620-450f-93cc-80cc93397e60" providerId="ADAL" clId="{0BF56A33-4BC5-423F-96C0-6A8645FA96BB}" dt="2023-12-03T21:48:10.767" v="32974"/>
          <ac:spMkLst>
            <pc:docMk/>
            <pc:sldMk cId="610489140" sldId="767"/>
            <ac:spMk id="13" creationId="{E5BEC35F-3143-1E56-955A-D4BC2A64B653}"/>
          </ac:spMkLst>
        </pc:spChg>
        <pc:spChg chg="mod">
          <ac:chgData name="KevCla12" userId="ef2eb634-4620-450f-93cc-80cc93397e60" providerId="ADAL" clId="{0BF56A33-4BC5-423F-96C0-6A8645FA96BB}" dt="2023-12-03T21:48:10.768" v="32975"/>
          <ac:spMkLst>
            <pc:docMk/>
            <pc:sldMk cId="610489140" sldId="767"/>
            <ac:spMk id="14" creationId="{D7129847-2163-0693-3A27-BD490969FB76}"/>
          </ac:spMkLst>
        </pc:spChg>
        <pc:spChg chg="mod">
          <ac:chgData name="KevCla12" userId="ef2eb634-4620-450f-93cc-80cc93397e60" providerId="ADAL" clId="{0BF56A33-4BC5-423F-96C0-6A8645FA96BB}" dt="2023-12-03T21:48:10.660" v="32938" actId="790"/>
          <ac:spMkLst>
            <pc:docMk/>
            <pc:sldMk cId="610489140" sldId="767"/>
            <ac:spMk id="15" creationId="{E3573472-8904-A0E9-77F1-4810859DA35C}"/>
          </ac:spMkLst>
        </pc:spChg>
        <pc:spChg chg="mod">
          <ac:chgData name="KevCla12" userId="ef2eb634-4620-450f-93cc-80cc93397e60" providerId="ADAL" clId="{0BF56A33-4BC5-423F-96C0-6A8645FA96BB}" dt="2023-12-03T21:48:10.661" v="32939" actId="790"/>
          <ac:spMkLst>
            <pc:docMk/>
            <pc:sldMk cId="610489140" sldId="767"/>
            <ac:spMk id="16" creationId="{22023733-3994-D35A-61B5-0FE35A7DA6E1}"/>
          </ac:spMkLst>
        </pc:spChg>
        <pc:spChg chg="mod">
          <ac:chgData name="KevCla12" userId="ef2eb634-4620-450f-93cc-80cc93397e60" providerId="ADAL" clId="{0BF56A33-4BC5-423F-96C0-6A8645FA96BB}" dt="2023-12-03T21:48:10.768" v="32976"/>
          <ac:spMkLst>
            <pc:docMk/>
            <pc:sldMk cId="610489140" sldId="767"/>
            <ac:spMk id="17" creationId="{136962FA-55E3-EC3B-7F58-FE02B8914DDC}"/>
          </ac:spMkLst>
        </pc:spChg>
        <pc:spChg chg="mod">
          <ac:chgData name="KevCla12" userId="ef2eb634-4620-450f-93cc-80cc93397e60" providerId="ADAL" clId="{0BF56A33-4BC5-423F-96C0-6A8645FA96BB}" dt="2023-12-03T21:48:10.683" v="32947" actId="790"/>
          <ac:spMkLst>
            <pc:docMk/>
            <pc:sldMk cId="610489140" sldId="767"/>
            <ac:spMk id="18" creationId="{C6F1AED4-07FB-6256-27CE-05132DF5B78C}"/>
          </ac:spMkLst>
        </pc:spChg>
        <pc:spChg chg="mod">
          <ac:chgData name="KevCla12" userId="ef2eb634-4620-450f-93cc-80cc93397e60" providerId="ADAL" clId="{0BF56A33-4BC5-423F-96C0-6A8645FA96BB}" dt="2023-12-03T21:48:10.685" v="32948" actId="790"/>
          <ac:spMkLst>
            <pc:docMk/>
            <pc:sldMk cId="610489140" sldId="767"/>
            <ac:spMk id="19" creationId="{9008BF11-23D9-DAD3-1A0F-D7C1C1D1B416}"/>
          </ac:spMkLst>
        </pc:spChg>
        <pc:spChg chg="mod">
          <ac:chgData name="KevCla12" userId="ef2eb634-4620-450f-93cc-80cc93397e60" providerId="ADAL" clId="{0BF56A33-4BC5-423F-96C0-6A8645FA96BB}" dt="2023-12-03T21:48:10.691" v="32949" actId="790"/>
          <ac:spMkLst>
            <pc:docMk/>
            <pc:sldMk cId="610489140" sldId="767"/>
            <ac:spMk id="20" creationId="{2B4BD477-DC19-3B6B-C70F-6AF8C7014F08}"/>
          </ac:spMkLst>
        </pc:spChg>
        <pc:spChg chg="mod">
          <ac:chgData name="KevCla12" userId="ef2eb634-4620-450f-93cc-80cc93397e60" providerId="ADAL" clId="{0BF56A33-4BC5-423F-96C0-6A8645FA96BB}" dt="2023-12-03T21:48:10.696" v="32950" actId="790"/>
          <ac:spMkLst>
            <pc:docMk/>
            <pc:sldMk cId="610489140" sldId="767"/>
            <ac:spMk id="21" creationId="{038B02E0-D851-455A-C3B9-60C16383BF07}"/>
          </ac:spMkLst>
        </pc:spChg>
        <pc:spChg chg="mod">
          <ac:chgData name="KevCla12" userId="ef2eb634-4620-450f-93cc-80cc93397e60" providerId="ADAL" clId="{0BF56A33-4BC5-423F-96C0-6A8645FA96BB}" dt="2023-12-03T21:48:10.700" v="32951" actId="790"/>
          <ac:spMkLst>
            <pc:docMk/>
            <pc:sldMk cId="610489140" sldId="767"/>
            <ac:spMk id="22" creationId="{F41290B3-F6B7-8A34-0333-1736FD7E22A7}"/>
          </ac:spMkLst>
        </pc:spChg>
        <pc:spChg chg="mod">
          <ac:chgData name="KevCla12" userId="ef2eb634-4620-450f-93cc-80cc93397e60" providerId="ADAL" clId="{0BF56A33-4BC5-423F-96C0-6A8645FA96BB}" dt="2023-12-03T21:48:10.705" v="32952" actId="790"/>
          <ac:spMkLst>
            <pc:docMk/>
            <pc:sldMk cId="610489140" sldId="767"/>
            <ac:spMk id="23" creationId="{E2358D4E-1676-3DBC-5CCD-E846BAD61416}"/>
          </ac:spMkLst>
        </pc:spChg>
        <pc:spChg chg="mod">
          <ac:chgData name="KevCla12" userId="ef2eb634-4620-450f-93cc-80cc93397e60" providerId="ADAL" clId="{0BF56A33-4BC5-423F-96C0-6A8645FA96BB}" dt="2023-12-03T21:48:10.707" v="32953" actId="790"/>
          <ac:spMkLst>
            <pc:docMk/>
            <pc:sldMk cId="610489140" sldId="767"/>
            <ac:spMk id="24" creationId="{CC07C104-BB35-B3F5-9FDD-6B8B647F9AE5}"/>
          </ac:spMkLst>
        </pc:spChg>
        <pc:spChg chg="mod">
          <ac:chgData name="KevCla12" userId="ef2eb634-4620-450f-93cc-80cc93397e60" providerId="ADAL" clId="{0BF56A33-4BC5-423F-96C0-6A8645FA96BB}" dt="2023-12-03T21:48:10.708" v="32954" actId="790"/>
          <ac:spMkLst>
            <pc:docMk/>
            <pc:sldMk cId="610489140" sldId="767"/>
            <ac:spMk id="25" creationId="{D7B17A7B-35A5-226D-93DE-A4DC53BF157C}"/>
          </ac:spMkLst>
        </pc:spChg>
        <pc:spChg chg="mod">
          <ac:chgData name="KevCla12" userId="ef2eb634-4620-450f-93cc-80cc93397e60" providerId="ADAL" clId="{0BF56A33-4BC5-423F-96C0-6A8645FA96BB}" dt="2023-12-03T21:48:10.713" v="32955" actId="790"/>
          <ac:spMkLst>
            <pc:docMk/>
            <pc:sldMk cId="610489140" sldId="767"/>
            <ac:spMk id="26" creationId="{8FB12A0A-D6FD-54B8-ED39-1930641AA16F}"/>
          </ac:spMkLst>
        </pc:spChg>
        <pc:spChg chg="mod">
          <ac:chgData name="KevCla12" userId="ef2eb634-4620-450f-93cc-80cc93397e60" providerId="ADAL" clId="{0BF56A33-4BC5-423F-96C0-6A8645FA96BB}" dt="2023-12-03T21:48:10.717" v="32956" actId="790"/>
          <ac:spMkLst>
            <pc:docMk/>
            <pc:sldMk cId="610489140" sldId="767"/>
            <ac:spMk id="27" creationId="{906DD234-1334-A651-8E6E-633B310CF1BA}"/>
          </ac:spMkLst>
        </pc:spChg>
        <pc:spChg chg="mod">
          <ac:chgData name="KevCla12" userId="ef2eb634-4620-450f-93cc-80cc93397e60" providerId="ADAL" clId="{0BF56A33-4BC5-423F-96C0-6A8645FA96BB}" dt="2023-12-03T21:48:10.720" v="32957" actId="790"/>
          <ac:spMkLst>
            <pc:docMk/>
            <pc:sldMk cId="610489140" sldId="767"/>
            <ac:spMk id="28" creationId="{E145124C-73DF-414D-B34E-D6522318B776}"/>
          </ac:spMkLst>
        </pc:spChg>
        <pc:spChg chg="mod">
          <ac:chgData name="KevCla12" userId="ef2eb634-4620-450f-93cc-80cc93397e60" providerId="ADAL" clId="{0BF56A33-4BC5-423F-96C0-6A8645FA96BB}" dt="2023-12-03T21:48:10.726" v="32958" actId="790"/>
          <ac:spMkLst>
            <pc:docMk/>
            <pc:sldMk cId="610489140" sldId="767"/>
            <ac:spMk id="29" creationId="{8B141678-E687-FDB8-C32A-AAF39F205E6C}"/>
          </ac:spMkLst>
        </pc:spChg>
        <pc:spChg chg="mod">
          <ac:chgData name="KevCla12" userId="ef2eb634-4620-450f-93cc-80cc93397e60" providerId="ADAL" clId="{0BF56A33-4BC5-423F-96C0-6A8645FA96BB}" dt="2023-12-03T21:48:10.728" v="32959" actId="790"/>
          <ac:spMkLst>
            <pc:docMk/>
            <pc:sldMk cId="610489140" sldId="767"/>
            <ac:spMk id="30" creationId="{992C763D-BB08-B590-BD83-1B5B31D58B17}"/>
          </ac:spMkLst>
        </pc:spChg>
        <pc:spChg chg="mod">
          <ac:chgData name="KevCla12" userId="ef2eb634-4620-450f-93cc-80cc93397e60" providerId="ADAL" clId="{0BF56A33-4BC5-423F-96C0-6A8645FA96BB}" dt="2023-12-03T21:48:10.735" v="32960" actId="790"/>
          <ac:spMkLst>
            <pc:docMk/>
            <pc:sldMk cId="610489140" sldId="767"/>
            <ac:spMk id="31" creationId="{819BBA6A-B6A0-EE29-0767-89E576D9F9C0}"/>
          </ac:spMkLst>
        </pc:spChg>
        <pc:spChg chg="mod">
          <ac:chgData name="KevCla12" userId="ef2eb634-4620-450f-93cc-80cc93397e60" providerId="ADAL" clId="{0BF56A33-4BC5-423F-96C0-6A8645FA96BB}" dt="2023-12-03T21:48:10.741" v="32961" actId="790"/>
          <ac:spMkLst>
            <pc:docMk/>
            <pc:sldMk cId="610489140" sldId="767"/>
            <ac:spMk id="32" creationId="{F30EE381-B6FF-5B55-43F8-9FE50FF33D6D}"/>
          </ac:spMkLst>
        </pc:spChg>
        <pc:spChg chg="mod">
          <ac:chgData name="KevCla12" userId="ef2eb634-4620-450f-93cc-80cc93397e60" providerId="ADAL" clId="{0BF56A33-4BC5-423F-96C0-6A8645FA96BB}" dt="2023-12-03T21:48:10.743" v="32962" actId="790"/>
          <ac:spMkLst>
            <pc:docMk/>
            <pc:sldMk cId="610489140" sldId="767"/>
            <ac:spMk id="33" creationId="{301ECC39-7282-53D8-EDD9-45432EB51EB2}"/>
          </ac:spMkLst>
        </pc:spChg>
        <pc:spChg chg="mod">
          <ac:chgData name="KevCla12" userId="ef2eb634-4620-450f-93cc-80cc93397e60" providerId="ADAL" clId="{0BF56A33-4BC5-423F-96C0-6A8645FA96BB}" dt="2023-12-03T21:48:10.750" v="32963" actId="790"/>
          <ac:spMkLst>
            <pc:docMk/>
            <pc:sldMk cId="610489140" sldId="767"/>
            <ac:spMk id="34" creationId="{D60CE5DE-2E2C-8D1F-DF0D-F506826046FE}"/>
          </ac:spMkLst>
        </pc:spChg>
        <pc:spChg chg="mod">
          <ac:chgData name="KevCla12" userId="ef2eb634-4620-450f-93cc-80cc93397e60" providerId="ADAL" clId="{0BF56A33-4BC5-423F-96C0-6A8645FA96BB}" dt="2023-12-03T21:48:10.752" v="32964" actId="790"/>
          <ac:spMkLst>
            <pc:docMk/>
            <pc:sldMk cId="610489140" sldId="767"/>
            <ac:spMk id="35" creationId="{E8D69AFD-0E3D-B412-3102-D9C1198D86A5}"/>
          </ac:spMkLst>
        </pc:spChg>
        <pc:spChg chg="mod">
          <ac:chgData name="KevCla12" userId="ef2eb634-4620-450f-93cc-80cc93397e60" providerId="ADAL" clId="{0BF56A33-4BC5-423F-96C0-6A8645FA96BB}" dt="2023-12-03T21:48:10.753" v="32965" actId="790"/>
          <ac:spMkLst>
            <pc:docMk/>
            <pc:sldMk cId="610489140" sldId="767"/>
            <ac:spMk id="36" creationId="{A6DE65E6-5113-1311-54B0-17FA5A0BB1E8}"/>
          </ac:spMkLst>
        </pc:spChg>
        <pc:spChg chg="mod">
          <ac:chgData name="KevCla12" userId="ef2eb634-4620-450f-93cc-80cc93397e60" providerId="ADAL" clId="{0BF56A33-4BC5-423F-96C0-6A8645FA96BB}" dt="2023-12-03T21:48:10.754" v="32966" actId="790"/>
          <ac:spMkLst>
            <pc:docMk/>
            <pc:sldMk cId="610489140" sldId="767"/>
            <ac:spMk id="37" creationId="{AC28775C-9188-F63D-6F95-A6C8943F1B08}"/>
          </ac:spMkLst>
        </pc:spChg>
        <pc:spChg chg="mod">
          <ac:chgData name="KevCla12" userId="ef2eb634-4620-450f-93cc-80cc93397e60" providerId="ADAL" clId="{0BF56A33-4BC5-423F-96C0-6A8645FA96BB}" dt="2023-12-03T21:48:10.762" v="32967" actId="790"/>
          <ac:spMkLst>
            <pc:docMk/>
            <pc:sldMk cId="610489140" sldId="767"/>
            <ac:spMk id="38" creationId="{ABEFC7AC-C771-53F1-16FB-41C72D52BA2C}"/>
          </ac:spMkLst>
        </pc:spChg>
        <pc:spChg chg="mod">
          <ac:chgData name="KevCla12" userId="ef2eb634-4620-450f-93cc-80cc93397e60" providerId="ADAL" clId="{0BF56A33-4BC5-423F-96C0-6A8645FA96BB}" dt="2023-12-03T21:48:10.769" v="32977"/>
          <ac:spMkLst>
            <pc:docMk/>
            <pc:sldMk cId="610489140" sldId="767"/>
            <ac:spMk id="39" creationId="{20938168-14F1-15AF-FAC2-A1F01ED287D4}"/>
          </ac:spMkLst>
        </pc:spChg>
        <pc:spChg chg="mod">
          <ac:chgData name="KevCla12" userId="ef2eb634-4620-450f-93cc-80cc93397e60" providerId="ADAL" clId="{0BF56A33-4BC5-423F-96C0-6A8645FA96BB}" dt="2023-12-03T21:48:10.769" v="32978"/>
          <ac:spMkLst>
            <pc:docMk/>
            <pc:sldMk cId="610489140" sldId="767"/>
            <ac:spMk id="40" creationId="{59BA5083-3CD9-0BAD-CBF6-997922068549}"/>
          </ac:spMkLst>
        </pc:spChg>
        <pc:spChg chg="mod">
          <ac:chgData name="KevCla12" userId="ef2eb634-4620-450f-93cc-80cc93397e60" providerId="ADAL" clId="{0BF56A33-4BC5-423F-96C0-6A8645FA96BB}" dt="2023-12-03T21:48:10.770" v="32979" actId="790"/>
          <ac:spMkLst>
            <pc:docMk/>
            <pc:sldMk cId="610489140" sldId="767"/>
            <ac:spMk id="41" creationId="{BBFA5B98-170A-C6AB-AB52-421A4BE6AD79}"/>
          </ac:spMkLst>
        </pc:spChg>
        <pc:spChg chg="mod">
          <ac:chgData name="KevCla12" userId="ef2eb634-4620-450f-93cc-80cc93397e60" providerId="ADAL" clId="{0BF56A33-4BC5-423F-96C0-6A8645FA96BB}" dt="2023-12-03T21:48:10.771" v="32980" actId="790"/>
          <ac:spMkLst>
            <pc:docMk/>
            <pc:sldMk cId="610489140" sldId="767"/>
            <ac:spMk id="42" creationId="{FAC5AD17-4135-ED9A-1FEB-9EA9B629B034}"/>
          </ac:spMkLst>
        </pc:spChg>
        <pc:spChg chg="mod">
          <ac:chgData name="KevCla12" userId="ef2eb634-4620-450f-93cc-80cc93397e60" providerId="ADAL" clId="{0BF56A33-4BC5-423F-96C0-6A8645FA96BB}" dt="2023-12-03T21:48:10.772" v="32981" actId="790"/>
          <ac:spMkLst>
            <pc:docMk/>
            <pc:sldMk cId="610489140" sldId="767"/>
            <ac:spMk id="43" creationId="{C15497A0-985E-8BF0-73D1-F31E60732F36}"/>
          </ac:spMkLst>
        </pc:spChg>
        <pc:spChg chg="mod">
          <ac:chgData name="KevCla12" userId="ef2eb634-4620-450f-93cc-80cc93397e60" providerId="ADAL" clId="{0BF56A33-4BC5-423F-96C0-6A8645FA96BB}" dt="2023-12-03T21:48:10.773" v="32982" actId="790"/>
          <ac:spMkLst>
            <pc:docMk/>
            <pc:sldMk cId="610489140" sldId="767"/>
            <ac:spMk id="44" creationId="{5E1D1C1D-8204-7EA7-2977-427BDD232A35}"/>
          </ac:spMkLst>
        </pc:spChg>
        <pc:spChg chg="mod">
          <ac:chgData name="KevCla12" userId="ef2eb634-4620-450f-93cc-80cc93397e60" providerId="ADAL" clId="{0BF56A33-4BC5-423F-96C0-6A8645FA96BB}" dt="2023-12-03T21:48:10.764" v="32968"/>
          <ac:spMkLst>
            <pc:docMk/>
            <pc:sldMk cId="610489140" sldId="767"/>
            <ac:spMk id="45" creationId="{BD5B48FD-F948-82F7-A61C-1E656892F540}"/>
          </ac:spMkLst>
        </pc:spChg>
        <pc:spChg chg="mod">
          <ac:chgData name="KevCla12" userId="ef2eb634-4620-450f-93cc-80cc93397e60" providerId="ADAL" clId="{0BF56A33-4BC5-423F-96C0-6A8645FA96BB}" dt="2023-12-03T21:48:10.764" v="32969"/>
          <ac:spMkLst>
            <pc:docMk/>
            <pc:sldMk cId="610489140" sldId="767"/>
            <ac:spMk id="46" creationId="{AC4F1E46-0FDB-1366-C315-8F9881C140A7}"/>
          </ac:spMkLst>
        </pc:spChg>
        <pc:spChg chg="mod">
          <ac:chgData name="KevCla12" userId="ef2eb634-4620-450f-93cc-80cc93397e60" providerId="ADAL" clId="{0BF56A33-4BC5-423F-96C0-6A8645FA96BB}" dt="2023-12-03T21:48:10.765" v="32970"/>
          <ac:spMkLst>
            <pc:docMk/>
            <pc:sldMk cId="610489140" sldId="767"/>
            <ac:spMk id="47" creationId="{8EDEE7F2-33D0-7EBA-3FDE-96ECF0D47DB2}"/>
          </ac:spMkLst>
        </pc:spChg>
        <pc:spChg chg="mod">
          <ac:chgData name="KevCla12" userId="ef2eb634-4620-450f-93cc-80cc93397e60" providerId="ADAL" clId="{0BF56A33-4BC5-423F-96C0-6A8645FA96BB}" dt="2023-12-03T21:48:10.766" v="32971"/>
          <ac:spMkLst>
            <pc:docMk/>
            <pc:sldMk cId="610489140" sldId="767"/>
            <ac:spMk id="48" creationId="{8D4BE004-4EA4-9D82-D398-7C5692A4B39D}"/>
          </ac:spMkLst>
        </pc:spChg>
        <pc:spChg chg="mod">
          <ac:chgData name="KevCla12" userId="ef2eb634-4620-450f-93cc-80cc93397e60" providerId="ADAL" clId="{0BF56A33-4BC5-423F-96C0-6A8645FA96BB}" dt="2023-12-03T21:48:10.766" v="32972"/>
          <ac:spMkLst>
            <pc:docMk/>
            <pc:sldMk cId="610489140" sldId="767"/>
            <ac:spMk id="49" creationId="{40312D52-E5E9-86ED-DBD1-7CE8C5E50846}"/>
          </ac:spMkLst>
        </pc:spChg>
        <pc:spChg chg="mod">
          <ac:chgData name="KevCla12" userId="ef2eb634-4620-450f-93cc-80cc93397e60" providerId="ADAL" clId="{0BF56A33-4BC5-423F-96C0-6A8645FA96BB}" dt="2023-12-03T21:48:10.767" v="32973"/>
          <ac:spMkLst>
            <pc:docMk/>
            <pc:sldMk cId="610489140" sldId="767"/>
            <ac:spMk id="50" creationId="{CAA79BE8-3863-A351-112B-E069662D774C}"/>
          </ac:spMkLst>
        </pc:spChg>
        <pc:spChg chg="mod">
          <ac:chgData name="KevCla12" userId="ef2eb634-4620-450f-93cc-80cc93397e60" providerId="ADAL" clId="{0BF56A33-4BC5-423F-96C0-6A8645FA96BB}" dt="2023-12-03T21:48:10.774" v="32983" actId="790"/>
          <ac:spMkLst>
            <pc:docMk/>
            <pc:sldMk cId="610489140" sldId="767"/>
            <ac:spMk id="52" creationId="{AB614E3C-0D33-2360-DB6A-F7177AA3EA7A}"/>
          </ac:spMkLst>
        </pc:spChg>
        <pc:spChg chg="mod">
          <ac:chgData name="KevCla12" userId="ef2eb634-4620-450f-93cc-80cc93397e60" providerId="ADAL" clId="{0BF56A33-4BC5-423F-96C0-6A8645FA96BB}" dt="2023-12-03T21:48:10.775" v="32984" actId="790"/>
          <ac:spMkLst>
            <pc:docMk/>
            <pc:sldMk cId="610489140" sldId="767"/>
            <ac:spMk id="53" creationId="{AAA5D83C-DA7A-2D20-2AA4-6690499B2152}"/>
          </ac:spMkLst>
        </pc:spChg>
        <pc:spChg chg="mod">
          <ac:chgData name="KevCla12" userId="ef2eb634-4620-450f-93cc-80cc93397e60" providerId="ADAL" clId="{0BF56A33-4BC5-423F-96C0-6A8645FA96BB}" dt="2023-12-03T21:48:10.776" v="32985" actId="790"/>
          <ac:spMkLst>
            <pc:docMk/>
            <pc:sldMk cId="610489140" sldId="767"/>
            <ac:spMk id="54" creationId="{0CDE6B9E-C8C5-0B7A-9D22-0740E5B98F5A}"/>
          </ac:spMkLst>
        </pc:spChg>
        <pc:spChg chg="mod">
          <ac:chgData name="KevCla12" userId="ef2eb634-4620-450f-93cc-80cc93397e60" providerId="ADAL" clId="{0BF56A33-4BC5-423F-96C0-6A8645FA96BB}" dt="2023-12-03T21:48:10.777" v="32986" actId="790"/>
          <ac:spMkLst>
            <pc:docMk/>
            <pc:sldMk cId="610489140" sldId="767"/>
            <ac:spMk id="55" creationId="{DE0C32C2-A978-BC16-5CE7-11E78238E195}"/>
          </ac:spMkLst>
        </pc:spChg>
        <pc:spChg chg="mod">
          <ac:chgData name="KevCla12" userId="ef2eb634-4620-450f-93cc-80cc93397e60" providerId="ADAL" clId="{0BF56A33-4BC5-423F-96C0-6A8645FA96BB}" dt="2023-12-03T21:48:10.778" v="32987" actId="790"/>
          <ac:spMkLst>
            <pc:docMk/>
            <pc:sldMk cId="610489140" sldId="767"/>
            <ac:spMk id="56" creationId="{ACDCC522-1D2A-0FE5-B723-A0F17C1DA968}"/>
          </ac:spMkLst>
        </pc:spChg>
        <pc:spChg chg="mod">
          <ac:chgData name="KevCla12" userId="ef2eb634-4620-450f-93cc-80cc93397e60" providerId="ADAL" clId="{0BF56A33-4BC5-423F-96C0-6A8645FA96BB}" dt="2023-12-03T21:48:10.779" v="32988" actId="790"/>
          <ac:spMkLst>
            <pc:docMk/>
            <pc:sldMk cId="610489140" sldId="767"/>
            <ac:spMk id="57" creationId="{4BE6E286-30AE-A0BE-63F0-19B049349B80}"/>
          </ac:spMkLst>
        </pc:spChg>
        <pc:spChg chg="mod">
          <ac:chgData name="KevCla12" userId="ef2eb634-4620-450f-93cc-80cc93397e60" providerId="ADAL" clId="{0BF56A33-4BC5-423F-96C0-6A8645FA96BB}" dt="2023-12-03T21:48:10.779" v="32989" actId="790"/>
          <ac:spMkLst>
            <pc:docMk/>
            <pc:sldMk cId="610489140" sldId="767"/>
            <ac:spMk id="58" creationId="{B69DC1FD-E3CF-CEEB-AFC2-D5BFEF1FECC7}"/>
          </ac:spMkLst>
        </pc:spChg>
        <pc:spChg chg="mod">
          <ac:chgData name="KevCla12" userId="ef2eb634-4620-450f-93cc-80cc93397e60" providerId="ADAL" clId="{0BF56A33-4BC5-423F-96C0-6A8645FA96BB}" dt="2023-12-03T21:48:10.780" v="32990" actId="790"/>
          <ac:spMkLst>
            <pc:docMk/>
            <pc:sldMk cId="610489140" sldId="767"/>
            <ac:spMk id="59" creationId="{6DA29500-9C10-CD07-30BF-D04C0D8472CB}"/>
          </ac:spMkLst>
        </pc:spChg>
        <pc:spChg chg="mod">
          <ac:chgData name="KevCla12" userId="ef2eb634-4620-450f-93cc-80cc93397e60" providerId="ADAL" clId="{0BF56A33-4BC5-423F-96C0-6A8645FA96BB}" dt="2023-12-03T21:48:10.781" v="32991" actId="790"/>
          <ac:spMkLst>
            <pc:docMk/>
            <pc:sldMk cId="610489140" sldId="767"/>
            <ac:spMk id="60" creationId="{8C03C026-74BB-873D-1B69-CF9022FE5940}"/>
          </ac:spMkLst>
        </pc:spChg>
        <pc:spChg chg="mod">
          <ac:chgData name="KevCla12" userId="ef2eb634-4620-450f-93cc-80cc93397e60" providerId="ADAL" clId="{0BF56A33-4BC5-423F-96C0-6A8645FA96BB}" dt="2023-12-03T21:48:10.781" v="32992" actId="790"/>
          <ac:spMkLst>
            <pc:docMk/>
            <pc:sldMk cId="610489140" sldId="767"/>
            <ac:spMk id="62" creationId="{6916D860-11E4-06B7-E315-AD5431EF88A8}"/>
          </ac:spMkLst>
        </pc:spChg>
        <pc:spChg chg="mod">
          <ac:chgData name="KevCla12" userId="ef2eb634-4620-450f-93cc-80cc93397e60" providerId="ADAL" clId="{0BF56A33-4BC5-423F-96C0-6A8645FA96BB}" dt="2023-12-03T21:48:10.782" v="32993" actId="790"/>
          <ac:spMkLst>
            <pc:docMk/>
            <pc:sldMk cId="610489140" sldId="767"/>
            <ac:spMk id="63" creationId="{9D805F0B-9754-2FE3-88CD-3C7F332CA290}"/>
          </ac:spMkLst>
        </pc:spChg>
        <pc:spChg chg="mod">
          <ac:chgData name="KevCla12" userId="ef2eb634-4620-450f-93cc-80cc93397e60" providerId="ADAL" clId="{0BF56A33-4BC5-423F-96C0-6A8645FA96BB}" dt="2023-12-03T21:48:10.783" v="32994" actId="790"/>
          <ac:spMkLst>
            <pc:docMk/>
            <pc:sldMk cId="610489140" sldId="767"/>
            <ac:spMk id="64" creationId="{B9248898-1129-0143-52BE-DBE99145E0A0}"/>
          </ac:spMkLst>
        </pc:spChg>
        <pc:spChg chg="mod">
          <ac:chgData name="KevCla12" userId="ef2eb634-4620-450f-93cc-80cc93397e60" providerId="ADAL" clId="{0BF56A33-4BC5-423F-96C0-6A8645FA96BB}" dt="2023-12-03T21:48:10.783" v="32995" actId="790"/>
          <ac:spMkLst>
            <pc:docMk/>
            <pc:sldMk cId="610489140" sldId="767"/>
            <ac:spMk id="65" creationId="{CB4EDCEB-BF2B-7C42-D81A-771CC5DBC598}"/>
          </ac:spMkLst>
        </pc:spChg>
        <pc:spChg chg="mod">
          <ac:chgData name="KevCla12" userId="ef2eb634-4620-450f-93cc-80cc93397e60" providerId="ADAL" clId="{0BF56A33-4BC5-423F-96C0-6A8645FA96BB}" dt="2023-12-03T21:48:10.784" v="32996" actId="790"/>
          <ac:spMkLst>
            <pc:docMk/>
            <pc:sldMk cId="610489140" sldId="767"/>
            <ac:spMk id="66" creationId="{421A8004-51A2-8BE8-9D5E-044F514984D3}"/>
          </ac:spMkLst>
        </pc:spChg>
        <pc:spChg chg="mod">
          <ac:chgData name="KevCla12" userId="ef2eb634-4620-450f-93cc-80cc93397e60" providerId="ADAL" clId="{0BF56A33-4BC5-423F-96C0-6A8645FA96BB}" dt="2023-12-03T21:48:10.785" v="32997" actId="790"/>
          <ac:spMkLst>
            <pc:docMk/>
            <pc:sldMk cId="610489140" sldId="767"/>
            <ac:spMk id="67" creationId="{B1D1DCF2-963C-3FB3-D418-CFD022227B2A}"/>
          </ac:spMkLst>
        </pc:spChg>
        <pc:spChg chg="mod">
          <ac:chgData name="KevCla12" userId="ef2eb634-4620-450f-93cc-80cc93397e60" providerId="ADAL" clId="{0BF56A33-4BC5-423F-96C0-6A8645FA96BB}" dt="2023-12-03T21:48:10.786" v="32998" actId="790"/>
          <ac:spMkLst>
            <pc:docMk/>
            <pc:sldMk cId="610489140" sldId="767"/>
            <ac:spMk id="68" creationId="{E979414F-6096-14FA-707D-34E1D9FE3DC0}"/>
          </ac:spMkLst>
        </pc:spChg>
        <pc:spChg chg="mod">
          <ac:chgData name="KevCla12" userId="ef2eb634-4620-450f-93cc-80cc93397e60" providerId="ADAL" clId="{0BF56A33-4BC5-423F-96C0-6A8645FA96BB}" dt="2023-12-03T21:48:10.786" v="32999" actId="790"/>
          <ac:spMkLst>
            <pc:docMk/>
            <pc:sldMk cId="610489140" sldId="767"/>
            <ac:spMk id="69" creationId="{CB37F2A8-8DCD-D5F4-9F02-5E881C541440}"/>
          </ac:spMkLst>
        </pc:spChg>
        <pc:spChg chg="mod">
          <ac:chgData name="KevCla12" userId="ef2eb634-4620-450f-93cc-80cc93397e60" providerId="ADAL" clId="{0BF56A33-4BC5-423F-96C0-6A8645FA96BB}" dt="2023-12-03T21:48:10.787" v="33000" actId="790"/>
          <ac:spMkLst>
            <pc:docMk/>
            <pc:sldMk cId="610489140" sldId="767"/>
            <ac:spMk id="70" creationId="{33740E20-2F8A-E619-A9BF-C8EDEF80649C}"/>
          </ac:spMkLst>
        </pc:spChg>
        <pc:spChg chg="mod">
          <ac:chgData name="KevCla12" userId="ef2eb634-4620-450f-93cc-80cc93397e60" providerId="ADAL" clId="{0BF56A33-4BC5-423F-96C0-6A8645FA96BB}" dt="2023-12-03T21:48:10.788" v="33001" actId="790"/>
          <ac:spMkLst>
            <pc:docMk/>
            <pc:sldMk cId="610489140" sldId="767"/>
            <ac:spMk id="71" creationId="{2A534DDE-605A-E5C0-A888-A2C758E4301B}"/>
          </ac:spMkLst>
        </pc:spChg>
        <pc:spChg chg="mod">
          <ac:chgData name="KevCla12" userId="ef2eb634-4620-450f-93cc-80cc93397e60" providerId="ADAL" clId="{0BF56A33-4BC5-423F-96C0-6A8645FA96BB}" dt="2023-12-03T21:48:10.789" v="33002" actId="790"/>
          <ac:spMkLst>
            <pc:docMk/>
            <pc:sldMk cId="610489140" sldId="767"/>
            <ac:spMk id="72" creationId="{783BBBF9-017F-C850-A93A-9087FD4B9A58}"/>
          </ac:spMkLst>
        </pc:spChg>
        <pc:spChg chg="mod">
          <ac:chgData name="KevCla12" userId="ef2eb634-4620-450f-93cc-80cc93397e60" providerId="ADAL" clId="{0BF56A33-4BC5-423F-96C0-6A8645FA96BB}" dt="2023-12-03T21:48:10.789" v="33003" actId="790"/>
          <ac:spMkLst>
            <pc:docMk/>
            <pc:sldMk cId="610489140" sldId="767"/>
            <ac:spMk id="73" creationId="{0A3EE934-6A4D-FF8A-1CE4-B3D006187619}"/>
          </ac:spMkLst>
        </pc:spChg>
        <pc:spChg chg="mod">
          <ac:chgData name="KevCla12" userId="ef2eb634-4620-450f-93cc-80cc93397e60" providerId="ADAL" clId="{0BF56A33-4BC5-423F-96C0-6A8645FA96BB}" dt="2023-12-03T21:48:10.790" v="33004" actId="790"/>
          <ac:spMkLst>
            <pc:docMk/>
            <pc:sldMk cId="610489140" sldId="767"/>
            <ac:spMk id="74" creationId="{31718A0D-0D31-0C61-C794-C1EF5B537562}"/>
          </ac:spMkLst>
        </pc:spChg>
        <pc:spChg chg="mod">
          <ac:chgData name="KevCla12" userId="ef2eb634-4620-450f-93cc-80cc93397e60" providerId="ADAL" clId="{0BF56A33-4BC5-423F-96C0-6A8645FA96BB}" dt="2023-12-03T21:48:10.791" v="33005" actId="790"/>
          <ac:spMkLst>
            <pc:docMk/>
            <pc:sldMk cId="610489140" sldId="767"/>
            <ac:spMk id="75" creationId="{43BC011E-CACB-30D9-F310-D962B67C27D5}"/>
          </ac:spMkLst>
        </pc:spChg>
      </pc:sldChg>
      <pc:sldChg chg="modSp add del mod ord modNotes">
        <pc:chgData name="KevCla12" userId="ef2eb634-4620-450f-93cc-80cc93397e60" providerId="ADAL" clId="{0BF56A33-4BC5-423F-96C0-6A8645FA96BB}" dt="2023-12-03T21:48:10.925" v="33057" actId="790"/>
        <pc:sldMkLst>
          <pc:docMk/>
          <pc:sldMk cId="401320605" sldId="768"/>
        </pc:sldMkLst>
        <pc:spChg chg="mod">
          <ac:chgData name="KevCla12" userId="ef2eb634-4620-450f-93cc-80cc93397e60" providerId="ADAL" clId="{0BF56A33-4BC5-423F-96C0-6A8645FA96BB}" dt="2023-12-03T21:48:10.856" v="33042" actId="790"/>
          <ac:spMkLst>
            <pc:docMk/>
            <pc:sldMk cId="401320605" sldId="768"/>
            <ac:spMk id="2" creationId="{F478E9E4-47B6-B190-3754-39282680B0C2}"/>
          </ac:spMkLst>
        </pc:spChg>
        <pc:spChg chg="mod">
          <ac:chgData name="KevCla12" userId="ef2eb634-4620-450f-93cc-80cc93397e60" providerId="ADAL" clId="{0BF56A33-4BC5-423F-96C0-6A8645FA96BB}" dt="2023-12-03T21:48:10.857" v="33043" actId="790"/>
          <ac:spMkLst>
            <pc:docMk/>
            <pc:sldMk cId="401320605" sldId="768"/>
            <ac:spMk id="4" creationId="{59EEADDF-5D40-2320-49EB-6AB7BDD88AAD}"/>
          </ac:spMkLst>
        </pc:spChg>
        <pc:spChg chg="mod">
          <ac:chgData name="KevCla12" userId="ef2eb634-4620-450f-93cc-80cc93397e60" providerId="ADAL" clId="{0BF56A33-4BC5-423F-96C0-6A8645FA96BB}" dt="2023-12-03T21:48:10.858" v="33044" actId="790"/>
          <ac:spMkLst>
            <pc:docMk/>
            <pc:sldMk cId="401320605" sldId="768"/>
            <ac:spMk id="5" creationId="{7E5F98BF-2CAA-2412-D9DC-2F20DC71AE73}"/>
          </ac:spMkLst>
        </pc:spChg>
        <pc:spChg chg="mod">
          <ac:chgData name="KevCla12" userId="ef2eb634-4620-450f-93cc-80cc93397e60" providerId="ADAL" clId="{0BF56A33-4BC5-423F-96C0-6A8645FA96BB}" dt="2023-12-03T21:48:10.859" v="33045" actId="790"/>
          <ac:spMkLst>
            <pc:docMk/>
            <pc:sldMk cId="401320605" sldId="768"/>
            <ac:spMk id="6" creationId="{D60FB8A0-AC42-55FB-1795-91591394DD3D}"/>
          </ac:spMkLst>
        </pc:spChg>
        <pc:spChg chg="mod">
          <ac:chgData name="KevCla12" userId="ef2eb634-4620-450f-93cc-80cc93397e60" providerId="ADAL" clId="{0BF56A33-4BC5-423F-96C0-6A8645FA96BB}" dt="2023-12-03T21:48:10.860" v="33046" actId="790"/>
          <ac:spMkLst>
            <pc:docMk/>
            <pc:sldMk cId="401320605" sldId="768"/>
            <ac:spMk id="7" creationId="{6D2A7B1D-C602-FEF9-285E-45E1A5C65B51}"/>
          </ac:spMkLst>
        </pc:spChg>
        <pc:spChg chg="mod">
          <ac:chgData name="KevCla12" userId="ef2eb634-4620-450f-93cc-80cc93397e60" providerId="ADAL" clId="{0BF56A33-4BC5-423F-96C0-6A8645FA96BB}" dt="2023-12-03T21:48:10.865" v="33047" actId="790"/>
          <ac:spMkLst>
            <pc:docMk/>
            <pc:sldMk cId="401320605" sldId="768"/>
            <ac:spMk id="8" creationId="{8382F8B9-9B02-378F-FD9E-7E2120CCEC41}"/>
          </ac:spMkLst>
        </pc:spChg>
        <pc:spChg chg="mod">
          <ac:chgData name="KevCla12" userId="ef2eb634-4620-450f-93cc-80cc93397e60" providerId="ADAL" clId="{0BF56A33-4BC5-423F-96C0-6A8645FA96BB}" dt="2023-12-03T21:48:10.879" v="33048" actId="790"/>
          <ac:spMkLst>
            <pc:docMk/>
            <pc:sldMk cId="401320605" sldId="768"/>
            <ac:spMk id="9" creationId="{113CF301-FF16-CB57-C120-506E44C08138}"/>
          </ac:spMkLst>
        </pc:spChg>
        <pc:spChg chg="mod">
          <ac:chgData name="KevCla12" userId="ef2eb634-4620-450f-93cc-80cc93397e60" providerId="ADAL" clId="{0BF56A33-4BC5-423F-96C0-6A8645FA96BB}" dt="2023-12-03T21:48:10.882" v="33049" actId="790"/>
          <ac:spMkLst>
            <pc:docMk/>
            <pc:sldMk cId="401320605" sldId="768"/>
            <ac:spMk id="10" creationId="{8179BED9-75C1-CF3D-1D10-0B9299726973}"/>
          </ac:spMkLst>
        </pc:spChg>
        <pc:spChg chg="mod">
          <ac:chgData name="KevCla12" userId="ef2eb634-4620-450f-93cc-80cc93397e60" providerId="ADAL" clId="{0BF56A33-4BC5-423F-96C0-6A8645FA96BB}" dt="2023-12-03T21:48:10.893" v="33050" actId="790"/>
          <ac:spMkLst>
            <pc:docMk/>
            <pc:sldMk cId="401320605" sldId="768"/>
            <ac:spMk id="12" creationId="{E1753A39-53AA-6878-AFDA-FA998761BF33}"/>
          </ac:spMkLst>
        </pc:spChg>
        <pc:spChg chg="mod">
          <ac:chgData name="KevCla12" userId="ef2eb634-4620-450f-93cc-80cc93397e60" providerId="ADAL" clId="{0BF56A33-4BC5-423F-96C0-6A8645FA96BB}" dt="2023-12-03T21:48:10.894" v="33051" actId="790"/>
          <ac:spMkLst>
            <pc:docMk/>
            <pc:sldMk cId="401320605" sldId="768"/>
            <ac:spMk id="13" creationId="{60C7BCA3-5D83-D273-956E-A16C4AC47D3F}"/>
          </ac:spMkLst>
        </pc:spChg>
        <pc:spChg chg="mod">
          <ac:chgData name="KevCla12" userId="ef2eb634-4620-450f-93cc-80cc93397e60" providerId="ADAL" clId="{0BF56A33-4BC5-423F-96C0-6A8645FA96BB}" dt="2023-12-03T21:48:10.909" v="33052" actId="790"/>
          <ac:spMkLst>
            <pc:docMk/>
            <pc:sldMk cId="401320605" sldId="768"/>
            <ac:spMk id="14" creationId="{1E74F517-113B-7DAD-7FAD-ADCAF396963A}"/>
          </ac:spMkLst>
        </pc:spChg>
        <pc:spChg chg="mod">
          <ac:chgData name="KevCla12" userId="ef2eb634-4620-450f-93cc-80cc93397e60" providerId="ADAL" clId="{0BF56A33-4BC5-423F-96C0-6A8645FA96BB}" dt="2023-12-03T21:48:10.911" v="33053" actId="790"/>
          <ac:spMkLst>
            <pc:docMk/>
            <pc:sldMk cId="401320605" sldId="768"/>
            <ac:spMk id="15" creationId="{B77AB291-6849-AF42-C529-F71EC75AB951}"/>
          </ac:spMkLst>
        </pc:spChg>
        <pc:spChg chg="mod">
          <ac:chgData name="KevCla12" userId="ef2eb634-4620-450f-93cc-80cc93397e60" providerId="ADAL" clId="{0BF56A33-4BC5-423F-96C0-6A8645FA96BB}" dt="2023-12-03T21:48:10.921" v="33054" actId="790"/>
          <ac:spMkLst>
            <pc:docMk/>
            <pc:sldMk cId="401320605" sldId="768"/>
            <ac:spMk id="16" creationId="{34A89B6C-FBF7-8A83-E9A4-828BA66FA3B8}"/>
          </ac:spMkLst>
        </pc:spChg>
        <pc:spChg chg="mod">
          <ac:chgData name="KevCla12" userId="ef2eb634-4620-450f-93cc-80cc93397e60" providerId="ADAL" clId="{0BF56A33-4BC5-423F-96C0-6A8645FA96BB}" dt="2023-12-03T21:48:10.923" v="33055" actId="790"/>
          <ac:spMkLst>
            <pc:docMk/>
            <pc:sldMk cId="401320605" sldId="768"/>
            <ac:spMk id="17" creationId="{EC47E702-F6B7-6B50-C517-9093433DEF41}"/>
          </ac:spMkLst>
        </pc:spChg>
      </pc:sldChg>
      <pc:sldChg chg="addSp delSp modSp add del mod ord modNotes modNotesTx">
        <pc:chgData name="KevCla12" userId="ef2eb634-4620-450f-93cc-80cc93397e60" providerId="ADAL" clId="{0BF56A33-4BC5-423F-96C0-6A8645FA96BB}" dt="2023-12-03T21:48:10.852" v="33041" actId="790"/>
        <pc:sldMkLst>
          <pc:docMk/>
          <pc:sldMk cId="1534347547" sldId="770"/>
        </pc:sldMkLst>
        <pc:spChg chg="add del mod">
          <ac:chgData name="KevCla12" userId="ef2eb634-4620-450f-93cc-80cc93397e60" providerId="ADAL" clId="{0BF56A33-4BC5-423F-96C0-6A8645FA96BB}" dt="2023-12-03T16:08:18.059" v="15298" actId="21"/>
          <ac:spMkLst>
            <pc:docMk/>
            <pc:sldMk cId="1534347547" sldId="770"/>
            <ac:spMk id="2" creationId="{3CE53E3C-67D4-EF24-0EE4-5DE6C2B05CAE}"/>
          </ac:spMkLst>
        </pc:spChg>
        <pc:spChg chg="mod">
          <ac:chgData name="KevCla12" userId="ef2eb634-4620-450f-93cc-80cc93397e60" providerId="ADAL" clId="{0BF56A33-4BC5-423F-96C0-6A8645FA96BB}" dt="2023-12-03T21:48:10.798" v="33008" actId="790"/>
          <ac:spMkLst>
            <pc:docMk/>
            <pc:sldMk cId="1534347547" sldId="770"/>
            <ac:spMk id="3" creationId="{00000000-0000-0000-0000-000000000000}"/>
          </ac:spMkLst>
        </pc:spChg>
        <pc:spChg chg="mod">
          <ac:chgData name="KevCla12" userId="ef2eb634-4620-450f-93cc-80cc93397e60" providerId="ADAL" clId="{0BF56A33-4BC5-423F-96C0-6A8645FA96BB}" dt="2023-12-03T21:48:10.801" v="33009" actId="790"/>
          <ac:spMkLst>
            <pc:docMk/>
            <pc:sldMk cId="1534347547" sldId="770"/>
            <ac:spMk id="4" creationId="{7467BC07-73BC-D70F-1024-47D0849911C0}"/>
          </ac:spMkLst>
        </pc:spChg>
        <pc:spChg chg="mod">
          <ac:chgData name="KevCla12" userId="ef2eb634-4620-450f-93cc-80cc93397e60" providerId="ADAL" clId="{0BF56A33-4BC5-423F-96C0-6A8645FA96BB}" dt="2023-12-03T21:48:10.802" v="33010" actId="790"/>
          <ac:spMkLst>
            <pc:docMk/>
            <pc:sldMk cId="1534347547" sldId="770"/>
            <ac:spMk id="5" creationId="{8AC33134-E36C-08C6-818E-2DE1BA2E6641}"/>
          </ac:spMkLst>
        </pc:spChg>
        <pc:spChg chg="mod">
          <ac:chgData name="KevCla12" userId="ef2eb634-4620-450f-93cc-80cc93397e60" providerId="ADAL" clId="{0BF56A33-4BC5-423F-96C0-6A8645FA96BB}" dt="2023-12-03T21:48:10.803" v="33011" actId="790"/>
          <ac:spMkLst>
            <pc:docMk/>
            <pc:sldMk cId="1534347547" sldId="770"/>
            <ac:spMk id="6" creationId="{1FEF047D-5790-D395-CD42-BF7396C785D3}"/>
          </ac:spMkLst>
        </pc:spChg>
        <pc:spChg chg="mod">
          <ac:chgData name="KevCla12" userId="ef2eb634-4620-450f-93cc-80cc93397e60" providerId="ADAL" clId="{0BF56A33-4BC5-423F-96C0-6A8645FA96BB}" dt="2023-12-03T21:48:10.835" v="33018" actId="790"/>
          <ac:spMkLst>
            <pc:docMk/>
            <pc:sldMk cId="1534347547" sldId="770"/>
            <ac:spMk id="10" creationId="{F111D800-C56B-C2FF-B089-9F4F21DED8DD}"/>
          </ac:spMkLst>
        </pc:spChg>
        <pc:spChg chg="mod">
          <ac:chgData name="KevCla12" userId="ef2eb634-4620-450f-93cc-80cc93397e60" providerId="ADAL" clId="{0BF56A33-4BC5-423F-96C0-6A8645FA96BB}" dt="2023-12-03T21:48:10.837" v="33019" actId="790"/>
          <ac:spMkLst>
            <pc:docMk/>
            <pc:sldMk cId="1534347547" sldId="770"/>
            <ac:spMk id="11" creationId="{55FA2D3A-4E02-F762-9A6F-DB11C4E2EB5E}"/>
          </ac:spMkLst>
        </pc:spChg>
        <pc:spChg chg="mod">
          <ac:chgData name="KevCla12" userId="ef2eb634-4620-450f-93cc-80cc93397e60" providerId="ADAL" clId="{0BF56A33-4BC5-423F-96C0-6A8645FA96BB}" dt="2023-12-03T21:48:10.838" v="33020"/>
          <ac:spMkLst>
            <pc:docMk/>
            <pc:sldMk cId="1534347547" sldId="770"/>
            <ac:spMk id="13" creationId="{96664462-679E-0A0A-3205-9C0945EF3D0F}"/>
          </ac:spMkLst>
        </pc:spChg>
        <pc:spChg chg="mod">
          <ac:chgData name="KevCla12" userId="ef2eb634-4620-450f-93cc-80cc93397e60" providerId="ADAL" clId="{0BF56A33-4BC5-423F-96C0-6A8645FA96BB}" dt="2023-12-03T21:48:10.839" v="33021"/>
          <ac:spMkLst>
            <pc:docMk/>
            <pc:sldMk cId="1534347547" sldId="770"/>
            <ac:spMk id="14" creationId="{CF67BAE6-F991-8311-1BD0-96AE4073B654}"/>
          </ac:spMkLst>
        </pc:spChg>
        <pc:spChg chg="mod">
          <ac:chgData name="KevCla12" userId="ef2eb634-4620-450f-93cc-80cc93397e60" providerId="ADAL" clId="{0BF56A33-4BC5-423F-96C0-6A8645FA96BB}" dt="2023-12-03T21:48:10.840" v="33022"/>
          <ac:spMkLst>
            <pc:docMk/>
            <pc:sldMk cId="1534347547" sldId="770"/>
            <ac:spMk id="15" creationId="{10AF6A04-BF80-BDF7-F496-A25316CCCE6C}"/>
          </ac:spMkLst>
        </pc:spChg>
        <pc:spChg chg="mod">
          <ac:chgData name="KevCla12" userId="ef2eb634-4620-450f-93cc-80cc93397e60" providerId="ADAL" clId="{0BF56A33-4BC5-423F-96C0-6A8645FA96BB}" dt="2023-12-03T21:48:10.840" v="33023"/>
          <ac:spMkLst>
            <pc:docMk/>
            <pc:sldMk cId="1534347547" sldId="770"/>
            <ac:spMk id="16" creationId="{F0E280C1-67C5-2DDE-8D50-8D9317AD8CB0}"/>
          </ac:spMkLst>
        </pc:spChg>
        <pc:spChg chg="mod">
          <ac:chgData name="KevCla12" userId="ef2eb634-4620-450f-93cc-80cc93397e60" providerId="ADAL" clId="{0BF56A33-4BC5-423F-96C0-6A8645FA96BB}" dt="2023-12-03T21:48:10.841" v="33024"/>
          <ac:spMkLst>
            <pc:docMk/>
            <pc:sldMk cId="1534347547" sldId="770"/>
            <ac:spMk id="17" creationId="{B13C7E71-B9E7-65E6-7667-46FAEC59C612}"/>
          </ac:spMkLst>
        </pc:spChg>
        <pc:spChg chg="mod">
          <ac:chgData name="KevCla12" userId="ef2eb634-4620-450f-93cc-80cc93397e60" providerId="ADAL" clId="{0BF56A33-4BC5-423F-96C0-6A8645FA96BB}" dt="2023-12-03T21:48:10.841" v="33025"/>
          <ac:spMkLst>
            <pc:docMk/>
            <pc:sldMk cId="1534347547" sldId="770"/>
            <ac:spMk id="18" creationId="{FE3B43D3-2310-A495-0D37-D21E9E1E8A45}"/>
          </ac:spMkLst>
        </pc:spChg>
        <pc:spChg chg="mod">
          <ac:chgData name="KevCla12" userId="ef2eb634-4620-450f-93cc-80cc93397e60" providerId="ADAL" clId="{0BF56A33-4BC5-423F-96C0-6A8645FA96BB}" dt="2023-12-03T21:48:10.842" v="33026"/>
          <ac:spMkLst>
            <pc:docMk/>
            <pc:sldMk cId="1534347547" sldId="770"/>
            <ac:spMk id="19" creationId="{2B43534A-FF08-A7F3-F57F-2ABC5687AC03}"/>
          </ac:spMkLst>
        </pc:spChg>
        <pc:spChg chg="mod">
          <ac:chgData name="KevCla12" userId="ef2eb634-4620-450f-93cc-80cc93397e60" providerId="ADAL" clId="{0BF56A33-4BC5-423F-96C0-6A8645FA96BB}" dt="2023-12-03T21:48:10.842" v="33027"/>
          <ac:spMkLst>
            <pc:docMk/>
            <pc:sldMk cId="1534347547" sldId="770"/>
            <ac:spMk id="20" creationId="{59A762FC-1C2E-163A-2FF8-DBA942572615}"/>
          </ac:spMkLst>
        </pc:spChg>
        <pc:spChg chg="mod">
          <ac:chgData name="KevCla12" userId="ef2eb634-4620-450f-93cc-80cc93397e60" providerId="ADAL" clId="{0BF56A33-4BC5-423F-96C0-6A8645FA96BB}" dt="2023-12-03T21:48:10.843" v="33028"/>
          <ac:spMkLst>
            <pc:docMk/>
            <pc:sldMk cId="1534347547" sldId="770"/>
            <ac:spMk id="21" creationId="{32EC83CF-B1F8-9950-3C68-A9D9EDDBCC5A}"/>
          </ac:spMkLst>
        </pc:spChg>
        <pc:spChg chg="mod">
          <ac:chgData name="KevCla12" userId="ef2eb634-4620-450f-93cc-80cc93397e60" providerId="ADAL" clId="{0BF56A33-4BC5-423F-96C0-6A8645FA96BB}" dt="2023-12-03T21:48:10.843" v="33029"/>
          <ac:spMkLst>
            <pc:docMk/>
            <pc:sldMk cId="1534347547" sldId="770"/>
            <ac:spMk id="22" creationId="{BD27E4AC-D663-8DC3-1BB8-13BA21F85B87}"/>
          </ac:spMkLst>
        </pc:spChg>
        <pc:spChg chg="mod">
          <ac:chgData name="KevCla12" userId="ef2eb634-4620-450f-93cc-80cc93397e60" providerId="ADAL" clId="{0BF56A33-4BC5-423F-96C0-6A8645FA96BB}" dt="2023-12-03T21:48:10.844" v="33030" actId="790"/>
          <ac:spMkLst>
            <pc:docMk/>
            <pc:sldMk cId="1534347547" sldId="770"/>
            <ac:spMk id="24" creationId="{36901ABF-E886-AD80-A584-07C9D746F630}"/>
          </ac:spMkLst>
        </pc:spChg>
        <pc:spChg chg="mod">
          <ac:chgData name="KevCla12" userId="ef2eb634-4620-450f-93cc-80cc93397e60" providerId="ADAL" clId="{0BF56A33-4BC5-423F-96C0-6A8645FA96BB}" dt="2023-12-03T21:48:10.845" v="33031" actId="790"/>
          <ac:spMkLst>
            <pc:docMk/>
            <pc:sldMk cId="1534347547" sldId="770"/>
            <ac:spMk id="25" creationId="{97AA3D23-0D12-6EB7-CFC6-0E5F8F690403}"/>
          </ac:spMkLst>
        </pc:spChg>
        <pc:spChg chg="mod">
          <ac:chgData name="KevCla12" userId="ef2eb634-4620-450f-93cc-80cc93397e60" providerId="ADAL" clId="{0BF56A33-4BC5-423F-96C0-6A8645FA96BB}" dt="2023-12-03T21:48:10.846" v="33032" actId="790"/>
          <ac:spMkLst>
            <pc:docMk/>
            <pc:sldMk cId="1534347547" sldId="770"/>
            <ac:spMk id="26" creationId="{32A8B989-6C0C-318A-A97D-432FAA1C3F25}"/>
          </ac:spMkLst>
        </pc:spChg>
        <pc:spChg chg="mod">
          <ac:chgData name="KevCla12" userId="ef2eb634-4620-450f-93cc-80cc93397e60" providerId="ADAL" clId="{0BF56A33-4BC5-423F-96C0-6A8645FA96BB}" dt="2023-12-03T21:48:10.846" v="33033" actId="790"/>
          <ac:spMkLst>
            <pc:docMk/>
            <pc:sldMk cId="1534347547" sldId="770"/>
            <ac:spMk id="27" creationId="{C6B60B3F-DAE6-20F7-6379-6461ECE85684}"/>
          </ac:spMkLst>
        </pc:spChg>
        <pc:spChg chg="mod">
          <ac:chgData name="KevCla12" userId="ef2eb634-4620-450f-93cc-80cc93397e60" providerId="ADAL" clId="{0BF56A33-4BC5-423F-96C0-6A8645FA96BB}" dt="2023-12-03T21:48:10.847" v="33034" actId="790"/>
          <ac:spMkLst>
            <pc:docMk/>
            <pc:sldMk cId="1534347547" sldId="770"/>
            <ac:spMk id="28" creationId="{72896BBF-8F8D-2BF8-9420-1110BE692E3D}"/>
          </ac:spMkLst>
        </pc:spChg>
        <pc:spChg chg="mod">
          <ac:chgData name="KevCla12" userId="ef2eb634-4620-450f-93cc-80cc93397e60" providerId="ADAL" clId="{0BF56A33-4BC5-423F-96C0-6A8645FA96BB}" dt="2023-12-03T21:48:10.848" v="33035" actId="790"/>
          <ac:spMkLst>
            <pc:docMk/>
            <pc:sldMk cId="1534347547" sldId="770"/>
            <ac:spMk id="29" creationId="{03A25F9C-A81B-B6EC-C713-BF4264864821}"/>
          </ac:spMkLst>
        </pc:spChg>
        <pc:spChg chg="mod">
          <ac:chgData name="KevCla12" userId="ef2eb634-4620-450f-93cc-80cc93397e60" providerId="ADAL" clId="{0BF56A33-4BC5-423F-96C0-6A8645FA96BB}" dt="2023-12-03T21:48:10.849" v="33036" actId="790"/>
          <ac:spMkLst>
            <pc:docMk/>
            <pc:sldMk cId="1534347547" sldId="770"/>
            <ac:spMk id="30" creationId="{FBD68345-1598-12A2-5308-82F840162DD8}"/>
          </ac:spMkLst>
        </pc:spChg>
        <pc:spChg chg="mod">
          <ac:chgData name="KevCla12" userId="ef2eb634-4620-450f-93cc-80cc93397e60" providerId="ADAL" clId="{0BF56A33-4BC5-423F-96C0-6A8645FA96BB}" dt="2023-12-03T21:48:10.849" v="33037" actId="790"/>
          <ac:spMkLst>
            <pc:docMk/>
            <pc:sldMk cId="1534347547" sldId="770"/>
            <ac:spMk id="31" creationId="{B50B2B46-81C0-DC66-0F69-401751CFE46B}"/>
          </ac:spMkLst>
        </pc:spChg>
        <pc:spChg chg="mod">
          <ac:chgData name="KevCla12" userId="ef2eb634-4620-450f-93cc-80cc93397e60" providerId="ADAL" clId="{0BF56A33-4BC5-423F-96C0-6A8645FA96BB}" dt="2023-12-03T21:48:10.809" v="33012" actId="790"/>
          <ac:spMkLst>
            <pc:docMk/>
            <pc:sldMk cId="1534347547" sldId="770"/>
            <ac:spMk id="41" creationId="{00000000-0000-0000-0000-000000000000}"/>
          </ac:spMkLst>
        </pc:spChg>
        <pc:spChg chg="mod">
          <ac:chgData name="KevCla12" userId="ef2eb634-4620-450f-93cc-80cc93397e60" providerId="ADAL" clId="{0BF56A33-4BC5-423F-96C0-6A8645FA96BB}" dt="2023-12-03T21:48:10.814" v="33013" actId="790"/>
          <ac:spMkLst>
            <pc:docMk/>
            <pc:sldMk cId="1534347547" sldId="770"/>
            <ac:spMk id="42" creationId="{00000000-0000-0000-0000-000000000000}"/>
          </ac:spMkLst>
        </pc:spChg>
        <pc:spChg chg="mod">
          <ac:chgData name="KevCla12" userId="ef2eb634-4620-450f-93cc-80cc93397e60" providerId="ADAL" clId="{0BF56A33-4BC5-423F-96C0-6A8645FA96BB}" dt="2023-12-03T21:48:10.820" v="33014" actId="790"/>
          <ac:spMkLst>
            <pc:docMk/>
            <pc:sldMk cId="1534347547" sldId="770"/>
            <ac:spMk id="43" creationId="{00000000-0000-0000-0000-000000000000}"/>
          </ac:spMkLst>
        </pc:spChg>
        <pc:spChg chg="mod">
          <ac:chgData name="KevCla12" userId="ef2eb634-4620-450f-93cc-80cc93397e60" providerId="ADAL" clId="{0BF56A33-4BC5-423F-96C0-6A8645FA96BB}" dt="2023-12-03T21:48:10.822" v="33015" actId="790"/>
          <ac:spMkLst>
            <pc:docMk/>
            <pc:sldMk cId="1534347547" sldId="770"/>
            <ac:spMk id="44" creationId="{74A014B2-D5F4-43AC-89F4-8D11C6BEA7C3}"/>
          </ac:spMkLst>
        </pc:spChg>
        <pc:spChg chg="mod">
          <ac:chgData name="KevCla12" userId="ef2eb634-4620-450f-93cc-80cc93397e60" providerId="ADAL" clId="{0BF56A33-4BC5-423F-96C0-6A8645FA96BB}" dt="2023-12-03T21:48:10.824" v="33016" actId="790"/>
          <ac:spMkLst>
            <pc:docMk/>
            <pc:sldMk cId="1534347547" sldId="770"/>
            <ac:spMk id="45" creationId="{EBBCE548-B7DF-4268-9D66-F44618ADD21E}"/>
          </ac:spMkLst>
        </pc:spChg>
        <pc:spChg chg="mod">
          <ac:chgData name="KevCla12" userId="ef2eb634-4620-450f-93cc-80cc93397e60" providerId="ADAL" clId="{0BF56A33-4BC5-423F-96C0-6A8645FA96BB}" dt="2023-12-03T21:48:10.825" v="33017" actId="790"/>
          <ac:spMkLst>
            <pc:docMk/>
            <pc:sldMk cId="1534347547" sldId="770"/>
            <ac:spMk id="46" creationId="{3A6AFEF1-6947-49FC-BED0-7578783C8312}"/>
          </ac:spMkLst>
        </pc:spChg>
        <pc:spChg chg="mod">
          <ac:chgData name="KevCla12" userId="ef2eb634-4620-450f-93cc-80cc93397e60" providerId="ADAL" clId="{0BF56A33-4BC5-423F-96C0-6A8645FA96BB}" dt="2023-12-03T21:48:10.850" v="33038" actId="790"/>
          <ac:spMkLst>
            <pc:docMk/>
            <pc:sldMk cId="1534347547" sldId="770"/>
            <ac:spMk id="57" creationId="{357AEC56-B9BB-7E09-E329-0EAD4DBAB05C}"/>
          </ac:spMkLst>
        </pc:spChg>
        <pc:spChg chg="mod">
          <ac:chgData name="KevCla12" userId="ef2eb634-4620-450f-93cc-80cc93397e60" providerId="ADAL" clId="{0BF56A33-4BC5-423F-96C0-6A8645FA96BB}" dt="2023-12-03T21:48:10.851" v="33039" actId="790"/>
          <ac:spMkLst>
            <pc:docMk/>
            <pc:sldMk cId="1534347547" sldId="770"/>
            <ac:spMk id="58" creationId="{3180468E-FBD8-CCD1-0B05-65086AA19F3C}"/>
          </ac:spMkLst>
        </pc:spChg>
      </pc:sldChg>
      <pc:sldChg chg="modSp add del mod ord modNotes">
        <pc:chgData name="KevCla12" userId="ef2eb634-4620-450f-93cc-80cc93397e60" providerId="ADAL" clId="{0BF56A33-4BC5-423F-96C0-6A8645FA96BB}" dt="2023-12-03T21:48:11.016" v="33074" actId="790"/>
        <pc:sldMkLst>
          <pc:docMk/>
          <pc:sldMk cId="1310180072" sldId="771"/>
        </pc:sldMkLst>
        <pc:spChg chg="mod">
          <ac:chgData name="KevCla12" userId="ef2eb634-4620-450f-93cc-80cc93397e60" providerId="ADAL" clId="{0BF56A33-4BC5-423F-96C0-6A8645FA96BB}" dt="2023-12-03T21:48:10.929" v="33058" actId="790"/>
          <ac:spMkLst>
            <pc:docMk/>
            <pc:sldMk cId="1310180072" sldId="771"/>
            <ac:spMk id="2" creationId="{7B349D17-D0C4-20F7-C5E1-D5D59ED21408}"/>
          </ac:spMkLst>
        </pc:spChg>
        <pc:spChg chg="mod">
          <ac:chgData name="KevCla12" userId="ef2eb634-4620-450f-93cc-80cc93397e60" providerId="ADAL" clId="{0BF56A33-4BC5-423F-96C0-6A8645FA96BB}" dt="2023-12-03T21:48:10.930" v="33059" actId="790"/>
          <ac:spMkLst>
            <pc:docMk/>
            <pc:sldMk cId="1310180072" sldId="771"/>
            <ac:spMk id="4" creationId="{F62BDF4E-DD80-345B-C668-D4F50859A7CC}"/>
          </ac:spMkLst>
        </pc:spChg>
        <pc:spChg chg="mod">
          <ac:chgData name="KevCla12" userId="ef2eb634-4620-450f-93cc-80cc93397e60" providerId="ADAL" clId="{0BF56A33-4BC5-423F-96C0-6A8645FA96BB}" dt="2023-12-03T21:48:10.931" v="33060" actId="790"/>
          <ac:spMkLst>
            <pc:docMk/>
            <pc:sldMk cId="1310180072" sldId="771"/>
            <ac:spMk id="5" creationId="{225A2183-B7F3-EA02-06AD-69D9E73CFFCD}"/>
          </ac:spMkLst>
        </pc:spChg>
        <pc:spChg chg="mod">
          <ac:chgData name="KevCla12" userId="ef2eb634-4620-450f-93cc-80cc93397e60" providerId="ADAL" clId="{0BF56A33-4BC5-423F-96C0-6A8645FA96BB}" dt="2023-12-03T21:48:10.932" v="33061" actId="790"/>
          <ac:spMkLst>
            <pc:docMk/>
            <pc:sldMk cId="1310180072" sldId="771"/>
            <ac:spMk id="6" creationId="{E1881E36-B8B5-E089-DFBF-6DFB51292A72}"/>
          </ac:spMkLst>
        </pc:spChg>
        <pc:spChg chg="mod">
          <ac:chgData name="KevCla12" userId="ef2eb634-4620-450f-93cc-80cc93397e60" providerId="ADAL" clId="{0BF56A33-4BC5-423F-96C0-6A8645FA96BB}" dt="2023-12-03T21:48:10.933" v="33062" actId="790"/>
          <ac:spMkLst>
            <pc:docMk/>
            <pc:sldMk cId="1310180072" sldId="771"/>
            <ac:spMk id="7" creationId="{A3FDA1B2-AB85-3C4B-F6B4-69F1352DDE34}"/>
          </ac:spMkLst>
        </pc:spChg>
        <pc:spChg chg="mod">
          <ac:chgData name="KevCla12" userId="ef2eb634-4620-450f-93cc-80cc93397e60" providerId="ADAL" clId="{0BF56A33-4BC5-423F-96C0-6A8645FA96BB}" dt="2023-12-03T21:48:10.939" v="33063" actId="790"/>
          <ac:spMkLst>
            <pc:docMk/>
            <pc:sldMk cId="1310180072" sldId="771"/>
            <ac:spMk id="10" creationId="{FFC925B3-6CA3-ECF2-93D4-84322070F86C}"/>
          </ac:spMkLst>
        </pc:spChg>
        <pc:spChg chg="mod">
          <ac:chgData name="KevCla12" userId="ef2eb634-4620-450f-93cc-80cc93397e60" providerId="ADAL" clId="{0BF56A33-4BC5-423F-96C0-6A8645FA96BB}" dt="2023-12-03T21:48:10.949" v="33064" actId="790"/>
          <ac:spMkLst>
            <pc:docMk/>
            <pc:sldMk cId="1310180072" sldId="771"/>
            <ac:spMk id="18" creationId="{9C039F56-81F4-705C-3CAD-B5C247F1CE76}"/>
          </ac:spMkLst>
        </pc:spChg>
        <pc:spChg chg="mod">
          <ac:chgData name="KevCla12" userId="ef2eb634-4620-450f-93cc-80cc93397e60" providerId="ADAL" clId="{0BF56A33-4BC5-423F-96C0-6A8645FA96BB}" dt="2023-12-03T21:48:10.952" v="33065" actId="790"/>
          <ac:spMkLst>
            <pc:docMk/>
            <pc:sldMk cId="1310180072" sldId="771"/>
            <ac:spMk id="19" creationId="{C5E9F2FD-59A6-132C-33DB-60B45910BA8D}"/>
          </ac:spMkLst>
        </pc:spChg>
        <pc:spChg chg="mod">
          <ac:chgData name="KevCla12" userId="ef2eb634-4620-450f-93cc-80cc93397e60" providerId="ADAL" clId="{0BF56A33-4BC5-423F-96C0-6A8645FA96BB}" dt="2023-12-03T21:48:10.962" v="33066" actId="790"/>
          <ac:spMkLst>
            <pc:docMk/>
            <pc:sldMk cId="1310180072" sldId="771"/>
            <ac:spMk id="20" creationId="{25E94A19-5B8C-CF31-0FB9-4FEA600B4CBE}"/>
          </ac:spMkLst>
        </pc:spChg>
        <pc:spChg chg="mod">
          <ac:chgData name="KevCla12" userId="ef2eb634-4620-450f-93cc-80cc93397e60" providerId="ADAL" clId="{0BF56A33-4BC5-423F-96C0-6A8645FA96BB}" dt="2023-12-03T21:48:10.967" v="33067" actId="790"/>
          <ac:spMkLst>
            <pc:docMk/>
            <pc:sldMk cId="1310180072" sldId="771"/>
            <ac:spMk id="21" creationId="{F6D8969F-8D76-1EB9-65B4-A76BF5BDB4A0}"/>
          </ac:spMkLst>
        </pc:spChg>
        <pc:spChg chg="mod">
          <ac:chgData name="KevCla12" userId="ef2eb634-4620-450f-93cc-80cc93397e60" providerId="ADAL" clId="{0BF56A33-4BC5-423F-96C0-6A8645FA96BB}" dt="2023-12-03T21:48:10.981" v="33068" actId="790"/>
          <ac:spMkLst>
            <pc:docMk/>
            <pc:sldMk cId="1310180072" sldId="771"/>
            <ac:spMk id="22" creationId="{D246E2AF-6B50-FEFD-2D1E-6AA0BF812668}"/>
          </ac:spMkLst>
        </pc:spChg>
        <pc:spChg chg="mod">
          <ac:chgData name="KevCla12" userId="ef2eb634-4620-450f-93cc-80cc93397e60" providerId="ADAL" clId="{0BF56A33-4BC5-423F-96C0-6A8645FA96BB}" dt="2023-12-03T21:48:10.991" v="33069" actId="790"/>
          <ac:spMkLst>
            <pc:docMk/>
            <pc:sldMk cId="1310180072" sldId="771"/>
            <ac:spMk id="27" creationId="{A3F88A9F-D274-6923-53AB-958C1A3C3312}"/>
          </ac:spMkLst>
        </pc:spChg>
        <pc:spChg chg="mod">
          <ac:chgData name="KevCla12" userId="ef2eb634-4620-450f-93cc-80cc93397e60" providerId="ADAL" clId="{0BF56A33-4BC5-423F-96C0-6A8645FA96BB}" dt="2023-12-03T21:48:10.993" v="33070" actId="790"/>
          <ac:spMkLst>
            <pc:docMk/>
            <pc:sldMk cId="1310180072" sldId="771"/>
            <ac:spMk id="28" creationId="{2AE60127-9933-30CD-7619-5A095B802F79}"/>
          </ac:spMkLst>
        </pc:spChg>
        <pc:spChg chg="mod">
          <ac:chgData name="KevCla12" userId="ef2eb634-4620-450f-93cc-80cc93397e60" providerId="ADAL" clId="{0BF56A33-4BC5-423F-96C0-6A8645FA96BB}" dt="2023-12-03T21:48:11.003" v="33071" actId="790"/>
          <ac:spMkLst>
            <pc:docMk/>
            <pc:sldMk cId="1310180072" sldId="771"/>
            <ac:spMk id="32" creationId="{75A9BBAB-D432-C3D8-A8F0-A3642A02E6E6}"/>
          </ac:spMkLst>
        </pc:spChg>
        <pc:spChg chg="mod">
          <ac:chgData name="KevCla12" userId="ef2eb634-4620-450f-93cc-80cc93397e60" providerId="ADAL" clId="{0BF56A33-4BC5-423F-96C0-6A8645FA96BB}" dt="2023-12-03T21:48:11.013" v="33072" actId="790"/>
          <ac:spMkLst>
            <pc:docMk/>
            <pc:sldMk cId="1310180072" sldId="771"/>
            <ac:spMk id="33" creationId="{1CDB0C0A-4E29-BF99-61AB-F14D7A13C582}"/>
          </ac:spMkLst>
        </pc:spChg>
      </pc:sldChg>
      <pc:sldChg chg="addSp delSp modSp add del mod ord delCm modNotes modNotesTx">
        <pc:chgData name="KevCla12" userId="ef2eb634-4620-450f-93cc-80cc93397e60" providerId="ADAL" clId="{0BF56A33-4BC5-423F-96C0-6A8645FA96BB}" dt="2023-12-03T21:48:11.095" v="33123" actId="790"/>
        <pc:sldMkLst>
          <pc:docMk/>
          <pc:sldMk cId="783547928" sldId="773"/>
        </pc:sldMkLst>
        <pc:spChg chg="mod">
          <ac:chgData name="KevCla12" userId="ef2eb634-4620-450f-93cc-80cc93397e60" providerId="ADAL" clId="{0BF56A33-4BC5-423F-96C0-6A8645FA96BB}" dt="2023-12-03T21:48:11.020" v="33075" actId="790"/>
          <ac:spMkLst>
            <pc:docMk/>
            <pc:sldMk cId="783547928" sldId="773"/>
            <ac:spMk id="3" creationId="{00000000-0000-0000-0000-000000000000}"/>
          </ac:spMkLst>
        </pc:spChg>
        <pc:spChg chg="mod">
          <ac:chgData name="KevCla12" userId="ef2eb634-4620-450f-93cc-80cc93397e60" providerId="ADAL" clId="{0BF56A33-4BC5-423F-96C0-6A8645FA96BB}" dt="2023-12-03T21:48:11.023" v="33076" actId="790"/>
          <ac:spMkLst>
            <pc:docMk/>
            <pc:sldMk cId="783547928" sldId="773"/>
            <ac:spMk id="4" creationId="{7467BC07-73BC-D70F-1024-47D0849911C0}"/>
          </ac:spMkLst>
        </pc:spChg>
        <pc:spChg chg="mod">
          <ac:chgData name="KevCla12" userId="ef2eb634-4620-450f-93cc-80cc93397e60" providerId="ADAL" clId="{0BF56A33-4BC5-423F-96C0-6A8645FA96BB}" dt="2023-12-03T21:48:11.026" v="33077" actId="790"/>
          <ac:spMkLst>
            <pc:docMk/>
            <pc:sldMk cId="783547928" sldId="773"/>
            <ac:spMk id="5" creationId="{8AC33134-E36C-08C6-818E-2DE1BA2E6641}"/>
          </ac:spMkLst>
        </pc:spChg>
        <pc:spChg chg="mod">
          <ac:chgData name="KevCla12" userId="ef2eb634-4620-450f-93cc-80cc93397e60" providerId="ADAL" clId="{0BF56A33-4BC5-423F-96C0-6A8645FA96BB}" dt="2023-12-03T21:48:11.028" v="33078" actId="790"/>
          <ac:spMkLst>
            <pc:docMk/>
            <pc:sldMk cId="783547928" sldId="773"/>
            <ac:spMk id="6" creationId="{1FEF047D-5790-D395-CD42-BF7396C785D3}"/>
          </ac:spMkLst>
        </pc:spChg>
        <pc:spChg chg="mod">
          <ac:chgData name="KevCla12" userId="ef2eb634-4620-450f-93cc-80cc93397e60" providerId="ADAL" clId="{0BF56A33-4BC5-423F-96C0-6A8645FA96BB}" dt="2023-12-03T21:48:11.062" v="33085" actId="790"/>
          <ac:spMkLst>
            <pc:docMk/>
            <pc:sldMk cId="783547928" sldId="773"/>
            <ac:spMk id="7" creationId="{FBD7427F-17E6-3029-590D-2B4601DCCF21}"/>
          </ac:spMkLst>
        </pc:spChg>
        <pc:spChg chg="mod">
          <ac:chgData name="KevCla12" userId="ef2eb634-4620-450f-93cc-80cc93397e60" providerId="ADAL" clId="{0BF56A33-4BC5-423F-96C0-6A8645FA96BB}" dt="2023-12-03T21:48:11.064" v="33086" actId="790"/>
          <ac:spMkLst>
            <pc:docMk/>
            <pc:sldMk cId="783547928" sldId="773"/>
            <ac:spMk id="9" creationId="{B1CA1701-ABF4-E560-197A-F9EB58FEDE74}"/>
          </ac:spMkLst>
        </pc:spChg>
        <pc:spChg chg="mod">
          <ac:chgData name="KevCla12" userId="ef2eb634-4620-450f-93cc-80cc93397e60" providerId="ADAL" clId="{0BF56A33-4BC5-423F-96C0-6A8645FA96BB}" dt="2023-12-03T21:48:11.061" v="33084" actId="790"/>
          <ac:spMkLst>
            <pc:docMk/>
            <pc:sldMk cId="783547928" sldId="773"/>
            <ac:spMk id="10" creationId="{F111D800-C56B-C2FF-B089-9F4F21DED8DD}"/>
          </ac:spMkLst>
        </pc:spChg>
        <pc:spChg chg="mod">
          <ac:chgData name="KevCla12" userId="ef2eb634-4620-450f-93cc-80cc93397e60" providerId="ADAL" clId="{0BF56A33-4BC5-423F-96C0-6A8645FA96BB}" dt="2023-12-03T21:48:11.065" v="33087"/>
          <ac:spMkLst>
            <pc:docMk/>
            <pc:sldMk cId="783547928" sldId="773"/>
            <ac:spMk id="11" creationId="{DC4F11C9-6FCF-B09C-17F8-F41AF12E2BAC}"/>
          </ac:spMkLst>
        </pc:spChg>
        <pc:spChg chg="mod">
          <ac:chgData name="KevCla12" userId="ef2eb634-4620-450f-93cc-80cc93397e60" providerId="ADAL" clId="{0BF56A33-4BC5-423F-96C0-6A8645FA96BB}" dt="2023-12-03T21:48:11.065" v="33088" actId="790"/>
          <ac:spMkLst>
            <pc:docMk/>
            <pc:sldMk cId="783547928" sldId="773"/>
            <ac:spMk id="12" creationId="{01E32B21-E0F0-FC8D-AE7E-D7F0A2E6A722}"/>
          </ac:spMkLst>
        </pc:spChg>
        <pc:spChg chg="mod">
          <ac:chgData name="KevCla12" userId="ef2eb634-4620-450f-93cc-80cc93397e60" providerId="ADAL" clId="{0BF56A33-4BC5-423F-96C0-6A8645FA96BB}" dt="2023-12-03T21:48:11.066" v="33089" actId="790"/>
          <ac:spMkLst>
            <pc:docMk/>
            <pc:sldMk cId="783547928" sldId="773"/>
            <ac:spMk id="13" creationId="{291FECAD-BC6E-14A4-D841-2012FE3C3909}"/>
          </ac:spMkLst>
        </pc:spChg>
        <pc:spChg chg="mod">
          <ac:chgData name="KevCla12" userId="ef2eb634-4620-450f-93cc-80cc93397e60" providerId="ADAL" clId="{0BF56A33-4BC5-423F-96C0-6A8645FA96BB}" dt="2023-12-03T21:48:11.067" v="33090" actId="790"/>
          <ac:spMkLst>
            <pc:docMk/>
            <pc:sldMk cId="783547928" sldId="773"/>
            <ac:spMk id="14" creationId="{BABEBD72-082F-630A-609B-DD49A7906F8A}"/>
          </ac:spMkLst>
        </pc:spChg>
        <pc:spChg chg="mod">
          <ac:chgData name="KevCla12" userId="ef2eb634-4620-450f-93cc-80cc93397e60" providerId="ADAL" clId="{0BF56A33-4BC5-423F-96C0-6A8645FA96BB}" dt="2023-12-03T21:48:11.067" v="33091"/>
          <ac:spMkLst>
            <pc:docMk/>
            <pc:sldMk cId="783547928" sldId="773"/>
            <ac:spMk id="15" creationId="{724C8B84-B3A4-59AB-A696-18B174C7FFEA}"/>
          </ac:spMkLst>
        </pc:spChg>
        <pc:spChg chg="mod">
          <ac:chgData name="KevCla12" userId="ef2eb634-4620-450f-93cc-80cc93397e60" providerId="ADAL" clId="{0BF56A33-4BC5-423F-96C0-6A8645FA96BB}" dt="2023-12-03T21:48:11.068" v="33092"/>
          <ac:spMkLst>
            <pc:docMk/>
            <pc:sldMk cId="783547928" sldId="773"/>
            <ac:spMk id="16" creationId="{95863D5A-4B2B-694B-9901-EC7E1C7ACCEF}"/>
          </ac:spMkLst>
        </pc:spChg>
        <pc:spChg chg="mod">
          <ac:chgData name="KevCla12" userId="ef2eb634-4620-450f-93cc-80cc93397e60" providerId="ADAL" clId="{0BF56A33-4BC5-423F-96C0-6A8645FA96BB}" dt="2023-12-03T21:48:11.068" v="33093" actId="790"/>
          <ac:spMkLst>
            <pc:docMk/>
            <pc:sldMk cId="783547928" sldId="773"/>
            <ac:spMk id="17" creationId="{04230636-C40B-3873-FAE5-3E649B5BA2DA}"/>
          </ac:spMkLst>
        </pc:spChg>
        <pc:spChg chg="mod">
          <ac:chgData name="KevCla12" userId="ef2eb634-4620-450f-93cc-80cc93397e60" providerId="ADAL" clId="{0BF56A33-4BC5-423F-96C0-6A8645FA96BB}" dt="2023-12-03T21:48:11.069" v="33094" actId="790"/>
          <ac:spMkLst>
            <pc:docMk/>
            <pc:sldMk cId="783547928" sldId="773"/>
            <ac:spMk id="18" creationId="{F5E43307-6517-A58D-6719-D1C2D381B065}"/>
          </ac:spMkLst>
        </pc:spChg>
        <pc:spChg chg="mod">
          <ac:chgData name="KevCla12" userId="ef2eb634-4620-450f-93cc-80cc93397e60" providerId="ADAL" clId="{0BF56A33-4BC5-423F-96C0-6A8645FA96BB}" dt="2023-12-03T21:48:11.070" v="33095" actId="790"/>
          <ac:spMkLst>
            <pc:docMk/>
            <pc:sldMk cId="783547928" sldId="773"/>
            <ac:spMk id="19" creationId="{D681D5E2-A472-FD9F-799D-409D560EB49F}"/>
          </ac:spMkLst>
        </pc:spChg>
        <pc:spChg chg="mod">
          <ac:chgData name="KevCla12" userId="ef2eb634-4620-450f-93cc-80cc93397e60" providerId="ADAL" clId="{0BF56A33-4BC5-423F-96C0-6A8645FA96BB}" dt="2023-12-03T21:48:11.071" v="33096" actId="790"/>
          <ac:spMkLst>
            <pc:docMk/>
            <pc:sldMk cId="783547928" sldId="773"/>
            <ac:spMk id="20" creationId="{EC234362-19B1-9A82-2003-243584CBE356}"/>
          </ac:spMkLst>
        </pc:spChg>
        <pc:spChg chg="mod">
          <ac:chgData name="KevCla12" userId="ef2eb634-4620-450f-93cc-80cc93397e60" providerId="ADAL" clId="{0BF56A33-4BC5-423F-96C0-6A8645FA96BB}" dt="2023-12-03T21:48:11.072" v="33097" actId="790"/>
          <ac:spMkLst>
            <pc:docMk/>
            <pc:sldMk cId="783547928" sldId="773"/>
            <ac:spMk id="21" creationId="{2329ADBB-898D-D5D2-2323-5380AF084F21}"/>
          </ac:spMkLst>
        </pc:spChg>
        <pc:spChg chg="mod">
          <ac:chgData name="KevCla12" userId="ef2eb634-4620-450f-93cc-80cc93397e60" providerId="ADAL" clId="{0BF56A33-4BC5-423F-96C0-6A8645FA96BB}" dt="2023-12-03T21:48:11.073" v="33098" actId="790"/>
          <ac:spMkLst>
            <pc:docMk/>
            <pc:sldMk cId="783547928" sldId="773"/>
            <ac:spMk id="22" creationId="{5399BC02-EFA0-9E61-C1D3-19CB92C44390}"/>
          </ac:spMkLst>
        </pc:spChg>
        <pc:spChg chg="mod">
          <ac:chgData name="KevCla12" userId="ef2eb634-4620-450f-93cc-80cc93397e60" providerId="ADAL" clId="{0BF56A33-4BC5-423F-96C0-6A8645FA96BB}" dt="2023-12-03T21:48:11.074" v="33099" actId="790"/>
          <ac:spMkLst>
            <pc:docMk/>
            <pc:sldMk cId="783547928" sldId="773"/>
            <ac:spMk id="23" creationId="{58812D48-ED19-09D1-3176-16272F32BFFE}"/>
          </ac:spMkLst>
        </pc:spChg>
        <pc:spChg chg="mod">
          <ac:chgData name="KevCla12" userId="ef2eb634-4620-450f-93cc-80cc93397e60" providerId="ADAL" clId="{0BF56A33-4BC5-423F-96C0-6A8645FA96BB}" dt="2023-12-03T21:48:11.074" v="33100" actId="790"/>
          <ac:spMkLst>
            <pc:docMk/>
            <pc:sldMk cId="783547928" sldId="773"/>
            <ac:spMk id="24" creationId="{EA1A6378-C14C-8240-26A3-109960CCDF15}"/>
          </ac:spMkLst>
        </pc:spChg>
        <pc:spChg chg="mod">
          <ac:chgData name="KevCla12" userId="ef2eb634-4620-450f-93cc-80cc93397e60" providerId="ADAL" clId="{0BF56A33-4BC5-423F-96C0-6A8645FA96BB}" dt="2023-12-03T21:48:11.075" v="33101" actId="790"/>
          <ac:spMkLst>
            <pc:docMk/>
            <pc:sldMk cId="783547928" sldId="773"/>
            <ac:spMk id="25" creationId="{8F96D4A7-90CE-72B0-676C-7D4A399E6FF5}"/>
          </ac:spMkLst>
        </pc:spChg>
        <pc:spChg chg="mod">
          <ac:chgData name="KevCla12" userId="ef2eb634-4620-450f-93cc-80cc93397e60" providerId="ADAL" clId="{0BF56A33-4BC5-423F-96C0-6A8645FA96BB}" dt="2023-12-03T21:48:11.075" v="33102"/>
          <ac:spMkLst>
            <pc:docMk/>
            <pc:sldMk cId="783547928" sldId="773"/>
            <ac:spMk id="27" creationId="{D254E35B-C97A-690D-BC02-2F2A8F58F7F2}"/>
          </ac:spMkLst>
        </pc:spChg>
        <pc:spChg chg="mod">
          <ac:chgData name="KevCla12" userId="ef2eb634-4620-450f-93cc-80cc93397e60" providerId="ADAL" clId="{0BF56A33-4BC5-423F-96C0-6A8645FA96BB}" dt="2023-12-03T21:48:11.076" v="33103"/>
          <ac:spMkLst>
            <pc:docMk/>
            <pc:sldMk cId="783547928" sldId="773"/>
            <ac:spMk id="28" creationId="{FABAE239-B0B8-7C95-D6C3-D81B8F4F29D9}"/>
          </ac:spMkLst>
        </pc:spChg>
        <pc:spChg chg="mod">
          <ac:chgData name="KevCla12" userId="ef2eb634-4620-450f-93cc-80cc93397e60" providerId="ADAL" clId="{0BF56A33-4BC5-423F-96C0-6A8645FA96BB}" dt="2023-12-03T21:48:11.076" v="33104"/>
          <ac:spMkLst>
            <pc:docMk/>
            <pc:sldMk cId="783547928" sldId="773"/>
            <ac:spMk id="29" creationId="{DFF87C93-769B-2C09-2E91-6C0FFBFC0868}"/>
          </ac:spMkLst>
        </pc:spChg>
        <pc:spChg chg="mod">
          <ac:chgData name="KevCla12" userId="ef2eb634-4620-450f-93cc-80cc93397e60" providerId="ADAL" clId="{0BF56A33-4BC5-423F-96C0-6A8645FA96BB}" dt="2023-12-03T21:48:11.077" v="33105"/>
          <ac:spMkLst>
            <pc:docMk/>
            <pc:sldMk cId="783547928" sldId="773"/>
            <ac:spMk id="30" creationId="{F0310C50-AABA-AC9F-BF4F-FE897E39E35E}"/>
          </ac:spMkLst>
        </pc:spChg>
        <pc:spChg chg="mod">
          <ac:chgData name="KevCla12" userId="ef2eb634-4620-450f-93cc-80cc93397e60" providerId="ADAL" clId="{0BF56A33-4BC5-423F-96C0-6A8645FA96BB}" dt="2023-12-03T21:48:11.077" v="33106"/>
          <ac:spMkLst>
            <pc:docMk/>
            <pc:sldMk cId="783547928" sldId="773"/>
            <ac:spMk id="31" creationId="{BBEDD0E2-444C-E5E4-08F3-AEE62B2A30D5}"/>
          </ac:spMkLst>
        </pc:spChg>
        <pc:spChg chg="mod modVis">
          <ac:chgData name="KevCla12" userId="ef2eb634-4620-450f-93cc-80cc93397e60" providerId="ADAL" clId="{0BF56A33-4BC5-423F-96C0-6A8645FA96BB}" dt="2023-12-03T15:18:41.749" v="13658"/>
          <ac:spMkLst>
            <pc:docMk/>
            <pc:sldMk cId="783547928" sldId="773"/>
            <ac:spMk id="33" creationId="{AECB1E0D-F17D-C83F-B584-17AD54B79086}"/>
          </ac:spMkLst>
        </pc:spChg>
        <pc:spChg chg="mod modVis">
          <ac:chgData name="KevCla12" userId="ef2eb634-4620-450f-93cc-80cc93397e60" providerId="ADAL" clId="{0BF56A33-4BC5-423F-96C0-6A8645FA96BB}" dt="2023-12-03T15:18:41.749" v="13658"/>
          <ac:spMkLst>
            <pc:docMk/>
            <pc:sldMk cId="783547928" sldId="773"/>
            <ac:spMk id="34" creationId="{938C1E91-914A-0DF2-2ADF-A3A32813021C}"/>
          </ac:spMkLst>
        </pc:spChg>
        <pc:spChg chg="mod modVis">
          <ac:chgData name="KevCla12" userId="ef2eb634-4620-450f-93cc-80cc93397e60" providerId="ADAL" clId="{0BF56A33-4BC5-423F-96C0-6A8645FA96BB}" dt="2023-12-03T15:18:41.749" v="13658"/>
          <ac:spMkLst>
            <pc:docMk/>
            <pc:sldMk cId="783547928" sldId="773"/>
            <ac:spMk id="35" creationId="{399AFF0B-DE21-DEC1-A671-48ABDF65B891}"/>
          </ac:spMkLst>
        </pc:spChg>
        <pc:spChg chg="mod modVis">
          <ac:chgData name="KevCla12" userId="ef2eb634-4620-450f-93cc-80cc93397e60" providerId="ADAL" clId="{0BF56A33-4BC5-423F-96C0-6A8645FA96BB}" dt="2023-12-03T15:18:41.749" v="13658"/>
          <ac:spMkLst>
            <pc:docMk/>
            <pc:sldMk cId="783547928" sldId="773"/>
            <ac:spMk id="36" creationId="{E7614992-E0A3-A566-7F4D-B7228AA33DCA}"/>
          </ac:spMkLst>
        </pc:spChg>
        <pc:spChg chg="mod modVis">
          <ac:chgData name="KevCla12" userId="ef2eb634-4620-450f-93cc-80cc93397e60" providerId="ADAL" clId="{0BF56A33-4BC5-423F-96C0-6A8645FA96BB}" dt="2023-12-03T15:18:41.749" v="13658"/>
          <ac:spMkLst>
            <pc:docMk/>
            <pc:sldMk cId="783547928" sldId="773"/>
            <ac:spMk id="37" creationId="{6F93E10C-C1F3-EDE0-78E0-3D1523578F94}"/>
          </ac:spMkLst>
        </pc:spChg>
        <pc:spChg chg="mod modVis">
          <ac:chgData name="KevCla12" userId="ef2eb634-4620-450f-93cc-80cc93397e60" providerId="ADAL" clId="{0BF56A33-4BC5-423F-96C0-6A8645FA96BB}" dt="2023-12-03T15:18:41.749" v="13658"/>
          <ac:spMkLst>
            <pc:docMk/>
            <pc:sldMk cId="783547928" sldId="773"/>
            <ac:spMk id="38" creationId="{F2E7B5EF-C8D1-14C7-4BE9-0B7EBBB49E54}"/>
          </ac:spMkLst>
        </pc:spChg>
        <pc:spChg chg="mod modVis">
          <ac:chgData name="KevCla12" userId="ef2eb634-4620-450f-93cc-80cc93397e60" providerId="ADAL" clId="{0BF56A33-4BC5-423F-96C0-6A8645FA96BB}" dt="2023-12-03T15:18:41.749" v="13658"/>
          <ac:spMkLst>
            <pc:docMk/>
            <pc:sldMk cId="783547928" sldId="773"/>
            <ac:spMk id="39" creationId="{4B6598A0-04F8-7374-16B9-A128590D3674}"/>
          </ac:spMkLst>
        </pc:spChg>
        <pc:spChg chg="mod modVis">
          <ac:chgData name="KevCla12" userId="ef2eb634-4620-450f-93cc-80cc93397e60" providerId="ADAL" clId="{0BF56A33-4BC5-423F-96C0-6A8645FA96BB}" dt="2023-12-03T15:18:41.749" v="13658"/>
          <ac:spMkLst>
            <pc:docMk/>
            <pc:sldMk cId="783547928" sldId="773"/>
            <ac:spMk id="40" creationId="{6BBC070F-B210-57E8-0697-F77EE3495597}"/>
          </ac:spMkLst>
        </pc:spChg>
        <pc:spChg chg="mod modVis">
          <ac:chgData name="KevCla12" userId="ef2eb634-4620-450f-93cc-80cc93397e60" providerId="ADAL" clId="{0BF56A33-4BC5-423F-96C0-6A8645FA96BB}" dt="2023-12-03T15:18:41.749" v="13658"/>
          <ac:spMkLst>
            <pc:docMk/>
            <pc:sldMk cId="783547928" sldId="773"/>
            <ac:spMk id="41" creationId="{DF4558D6-5BD0-6A62-B01D-DB0DC0547613}"/>
          </ac:spMkLst>
        </pc:spChg>
        <pc:spChg chg="mod">
          <ac:chgData name="KevCla12" userId="ef2eb634-4620-450f-93cc-80cc93397e60" providerId="ADAL" clId="{0BF56A33-4BC5-423F-96C0-6A8645FA96BB}" dt="2023-12-03T21:48:11.033" v="33079" actId="790"/>
          <ac:spMkLst>
            <pc:docMk/>
            <pc:sldMk cId="783547928" sldId="773"/>
            <ac:spMk id="42" creationId="{00000000-0000-0000-0000-000000000000}"/>
          </ac:spMkLst>
        </pc:spChg>
        <pc:spChg chg="mod">
          <ac:chgData name="KevCla12" userId="ef2eb634-4620-450f-93cc-80cc93397e60" providerId="ADAL" clId="{0BF56A33-4BC5-423F-96C0-6A8645FA96BB}" dt="2023-12-03T21:48:11.042" v="33080" actId="790"/>
          <ac:spMkLst>
            <pc:docMk/>
            <pc:sldMk cId="783547928" sldId="773"/>
            <ac:spMk id="43" creationId="{00000000-0000-0000-0000-000000000000}"/>
          </ac:spMkLst>
        </pc:spChg>
        <pc:spChg chg="mod">
          <ac:chgData name="KevCla12" userId="ef2eb634-4620-450f-93cc-80cc93397e60" providerId="ADAL" clId="{0BF56A33-4BC5-423F-96C0-6A8645FA96BB}" dt="2023-12-03T21:48:11.044" v="33081" actId="790"/>
          <ac:spMkLst>
            <pc:docMk/>
            <pc:sldMk cId="783547928" sldId="773"/>
            <ac:spMk id="44" creationId="{74A014B2-D5F4-43AC-89F4-8D11C6BEA7C3}"/>
          </ac:spMkLst>
        </pc:spChg>
        <pc:spChg chg="mod">
          <ac:chgData name="KevCla12" userId="ef2eb634-4620-450f-93cc-80cc93397e60" providerId="ADAL" clId="{0BF56A33-4BC5-423F-96C0-6A8645FA96BB}" dt="2023-12-03T21:48:11.046" v="33082" actId="790"/>
          <ac:spMkLst>
            <pc:docMk/>
            <pc:sldMk cId="783547928" sldId="773"/>
            <ac:spMk id="45" creationId="{EBBCE548-B7DF-4268-9D66-F44618ADD21E}"/>
          </ac:spMkLst>
        </pc:spChg>
        <pc:spChg chg="mod">
          <ac:chgData name="KevCla12" userId="ef2eb634-4620-450f-93cc-80cc93397e60" providerId="ADAL" clId="{0BF56A33-4BC5-423F-96C0-6A8645FA96BB}" dt="2023-12-03T21:48:11.047" v="33083" actId="790"/>
          <ac:spMkLst>
            <pc:docMk/>
            <pc:sldMk cId="783547928" sldId="773"/>
            <ac:spMk id="46" creationId="{3A6AFEF1-6947-49FC-BED0-7578783C8312}"/>
          </ac:spMkLst>
        </pc:spChg>
        <pc:spChg chg="mod modVis">
          <ac:chgData name="KevCla12" userId="ef2eb634-4620-450f-93cc-80cc93397e60" providerId="ADAL" clId="{0BF56A33-4BC5-423F-96C0-6A8645FA96BB}" dt="2023-12-03T15:18:41.749" v="13658"/>
          <ac:spMkLst>
            <pc:docMk/>
            <pc:sldMk cId="783547928" sldId="773"/>
            <ac:spMk id="47" creationId="{A0704277-8E1C-54CC-2F5E-DD2CFEC410AE}"/>
          </ac:spMkLst>
        </pc:spChg>
        <pc:spChg chg="mod modVis">
          <ac:chgData name="KevCla12" userId="ef2eb634-4620-450f-93cc-80cc93397e60" providerId="ADAL" clId="{0BF56A33-4BC5-423F-96C0-6A8645FA96BB}" dt="2023-12-03T15:18:41.749" v="13658"/>
          <ac:spMkLst>
            <pc:docMk/>
            <pc:sldMk cId="783547928" sldId="773"/>
            <ac:spMk id="48" creationId="{5D0E1B00-2C78-5023-00FC-BF1BAA8C7522}"/>
          </ac:spMkLst>
        </pc:spChg>
        <pc:spChg chg="mod modVis">
          <ac:chgData name="KevCla12" userId="ef2eb634-4620-450f-93cc-80cc93397e60" providerId="ADAL" clId="{0BF56A33-4BC5-423F-96C0-6A8645FA96BB}" dt="2023-12-03T15:18:41.749" v="13658"/>
          <ac:spMkLst>
            <pc:docMk/>
            <pc:sldMk cId="783547928" sldId="773"/>
            <ac:spMk id="49" creationId="{32E0ACA9-5ED7-4E63-E864-2A8604A5490C}"/>
          </ac:spMkLst>
        </pc:spChg>
        <pc:spChg chg="mod modVis">
          <ac:chgData name="KevCla12" userId="ef2eb634-4620-450f-93cc-80cc93397e60" providerId="ADAL" clId="{0BF56A33-4BC5-423F-96C0-6A8645FA96BB}" dt="2023-12-03T15:18:41.749" v="13658"/>
          <ac:spMkLst>
            <pc:docMk/>
            <pc:sldMk cId="783547928" sldId="773"/>
            <ac:spMk id="50" creationId="{8AE1916D-9C3E-F421-8CD2-81D73471CD64}"/>
          </ac:spMkLst>
        </pc:spChg>
        <pc:spChg chg="mod modVis">
          <ac:chgData name="KevCla12" userId="ef2eb634-4620-450f-93cc-80cc93397e60" providerId="ADAL" clId="{0BF56A33-4BC5-423F-96C0-6A8645FA96BB}" dt="2023-12-03T15:18:41.749" v="13658"/>
          <ac:spMkLst>
            <pc:docMk/>
            <pc:sldMk cId="783547928" sldId="773"/>
            <ac:spMk id="51" creationId="{9BC1323B-6ADA-FEB0-7DD2-543E127D953E}"/>
          </ac:spMkLst>
        </pc:spChg>
        <pc:spChg chg="mod modVis">
          <ac:chgData name="KevCla12" userId="ef2eb634-4620-450f-93cc-80cc93397e60" providerId="ADAL" clId="{0BF56A33-4BC5-423F-96C0-6A8645FA96BB}" dt="2023-12-03T15:19:38.122" v="13672" actId="1076"/>
          <ac:spMkLst>
            <pc:docMk/>
            <pc:sldMk cId="783547928" sldId="773"/>
            <ac:spMk id="53" creationId="{D7B16A8C-EEA7-166B-2120-440089E69AE3}"/>
          </ac:spMkLst>
        </pc:spChg>
        <pc:spChg chg="mod modVis">
          <ac:chgData name="KevCla12" userId="ef2eb634-4620-450f-93cc-80cc93397e60" providerId="ADAL" clId="{0BF56A33-4BC5-423F-96C0-6A8645FA96BB}" dt="2023-12-03T15:19:38.122" v="13672" actId="1076"/>
          <ac:spMkLst>
            <pc:docMk/>
            <pc:sldMk cId="783547928" sldId="773"/>
            <ac:spMk id="54" creationId="{DDC2A25D-6726-D3AF-56DB-4B40066658F6}"/>
          </ac:spMkLst>
        </pc:spChg>
        <pc:spChg chg="mod modVis">
          <ac:chgData name="KevCla12" userId="ef2eb634-4620-450f-93cc-80cc93397e60" providerId="ADAL" clId="{0BF56A33-4BC5-423F-96C0-6A8645FA96BB}" dt="2023-12-03T15:19:38.122" v="13672" actId="1076"/>
          <ac:spMkLst>
            <pc:docMk/>
            <pc:sldMk cId="783547928" sldId="773"/>
            <ac:spMk id="55" creationId="{666587CC-7263-12A8-F194-F5BDB52A1A5F}"/>
          </ac:spMkLst>
        </pc:spChg>
        <pc:spChg chg="mod modVis">
          <ac:chgData name="KevCla12" userId="ef2eb634-4620-450f-93cc-80cc93397e60" providerId="ADAL" clId="{0BF56A33-4BC5-423F-96C0-6A8645FA96BB}" dt="2023-12-03T15:19:38.122" v="13672" actId="1076"/>
          <ac:spMkLst>
            <pc:docMk/>
            <pc:sldMk cId="783547928" sldId="773"/>
            <ac:spMk id="56" creationId="{E35221F9-9458-1231-4782-8932D1B8F0D2}"/>
          </ac:spMkLst>
        </pc:spChg>
        <pc:spChg chg="mod">
          <ac:chgData name="KevCla12" userId="ef2eb634-4620-450f-93cc-80cc93397e60" providerId="ADAL" clId="{0BF56A33-4BC5-423F-96C0-6A8645FA96BB}" dt="2023-12-03T21:48:11.078" v="33107"/>
          <ac:spMkLst>
            <pc:docMk/>
            <pc:sldMk cId="783547928" sldId="773"/>
            <ac:spMk id="57" creationId="{96F6BBB5-B56E-A652-C825-E06904B8AE41}"/>
          </ac:spMkLst>
        </pc:spChg>
        <pc:spChg chg="mod">
          <ac:chgData name="KevCla12" userId="ef2eb634-4620-450f-93cc-80cc93397e60" providerId="ADAL" clId="{0BF56A33-4BC5-423F-96C0-6A8645FA96BB}" dt="2023-12-03T21:48:11.078" v="33108"/>
          <ac:spMkLst>
            <pc:docMk/>
            <pc:sldMk cId="783547928" sldId="773"/>
            <ac:spMk id="58" creationId="{8CA13AA1-D595-C34E-1A55-F9EEC1178D01}"/>
          </ac:spMkLst>
        </pc:spChg>
        <pc:spChg chg="mod">
          <ac:chgData name="KevCla12" userId="ef2eb634-4620-450f-93cc-80cc93397e60" providerId="ADAL" clId="{0BF56A33-4BC5-423F-96C0-6A8645FA96BB}" dt="2023-12-03T21:48:11.078" v="33109"/>
          <ac:spMkLst>
            <pc:docMk/>
            <pc:sldMk cId="783547928" sldId="773"/>
            <ac:spMk id="59" creationId="{4335CDF6-6DC5-78AB-3040-9AC6116E2E35}"/>
          </ac:spMkLst>
        </pc:spChg>
        <pc:spChg chg="mod">
          <ac:chgData name="KevCla12" userId="ef2eb634-4620-450f-93cc-80cc93397e60" providerId="ADAL" clId="{0BF56A33-4BC5-423F-96C0-6A8645FA96BB}" dt="2023-12-03T21:48:11.079" v="33110"/>
          <ac:spMkLst>
            <pc:docMk/>
            <pc:sldMk cId="783547928" sldId="773"/>
            <ac:spMk id="60" creationId="{3F8FA509-2D32-EB7B-47CC-BEC6E31CF887}"/>
          </ac:spMkLst>
        </pc:spChg>
        <pc:spChg chg="mod">
          <ac:chgData name="KevCla12" userId="ef2eb634-4620-450f-93cc-80cc93397e60" providerId="ADAL" clId="{0BF56A33-4BC5-423F-96C0-6A8645FA96BB}" dt="2023-12-03T21:48:11.079" v="33111"/>
          <ac:spMkLst>
            <pc:docMk/>
            <pc:sldMk cId="783547928" sldId="773"/>
            <ac:spMk id="61" creationId="{092DA720-EA83-D4B3-3F9E-D220A1DE2FC7}"/>
          </ac:spMkLst>
        </pc:spChg>
        <pc:spChg chg="mod">
          <ac:chgData name="KevCla12" userId="ef2eb634-4620-450f-93cc-80cc93397e60" providerId="ADAL" clId="{0BF56A33-4BC5-423F-96C0-6A8645FA96BB}" dt="2023-12-03T21:48:11.080" v="33112"/>
          <ac:spMkLst>
            <pc:docMk/>
            <pc:sldMk cId="783547928" sldId="773"/>
            <ac:spMk id="62" creationId="{63F14248-330E-21FD-1CA3-BCA1824F7253}"/>
          </ac:spMkLst>
        </pc:spChg>
        <pc:spChg chg="mod">
          <ac:chgData name="KevCla12" userId="ef2eb634-4620-450f-93cc-80cc93397e60" providerId="ADAL" clId="{0BF56A33-4BC5-423F-96C0-6A8645FA96BB}" dt="2023-12-03T21:48:11.080" v="33113"/>
          <ac:spMkLst>
            <pc:docMk/>
            <pc:sldMk cId="783547928" sldId="773"/>
            <ac:spMk id="63" creationId="{AF4D0190-F150-D40E-854A-328C46493C1F}"/>
          </ac:spMkLst>
        </pc:spChg>
        <pc:spChg chg="mod">
          <ac:chgData name="KevCla12" userId="ef2eb634-4620-450f-93cc-80cc93397e60" providerId="ADAL" clId="{0BF56A33-4BC5-423F-96C0-6A8645FA96BB}" dt="2023-12-03T21:48:11.081" v="33114"/>
          <ac:spMkLst>
            <pc:docMk/>
            <pc:sldMk cId="783547928" sldId="773"/>
            <ac:spMk id="64" creationId="{1462EE1F-C1A2-C8F8-06DF-C1F9B473B7B8}"/>
          </ac:spMkLst>
        </pc:spChg>
        <pc:spChg chg="mod">
          <ac:chgData name="KevCla12" userId="ef2eb634-4620-450f-93cc-80cc93397e60" providerId="ADAL" clId="{0BF56A33-4BC5-423F-96C0-6A8645FA96BB}" dt="2023-12-03T21:48:11.081" v="33115"/>
          <ac:spMkLst>
            <pc:docMk/>
            <pc:sldMk cId="783547928" sldId="773"/>
            <ac:spMk id="66" creationId="{A1200615-9986-8F9F-1C0D-B44F858587FE}"/>
          </ac:spMkLst>
        </pc:spChg>
        <pc:spChg chg="mod">
          <ac:chgData name="KevCla12" userId="ef2eb634-4620-450f-93cc-80cc93397e60" providerId="ADAL" clId="{0BF56A33-4BC5-423F-96C0-6A8645FA96BB}" dt="2023-12-03T21:48:11.082" v="33116"/>
          <ac:spMkLst>
            <pc:docMk/>
            <pc:sldMk cId="783547928" sldId="773"/>
            <ac:spMk id="67" creationId="{F9417E4E-8A41-0A75-F58B-8DF675CDEEF0}"/>
          </ac:spMkLst>
        </pc:spChg>
        <pc:spChg chg="mod">
          <ac:chgData name="KevCla12" userId="ef2eb634-4620-450f-93cc-80cc93397e60" providerId="ADAL" clId="{0BF56A33-4BC5-423F-96C0-6A8645FA96BB}" dt="2023-12-03T21:48:11.083" v="33117" actId="790"/>
          <ac:spMkLst>
            <pc:docMk/>
            <pc:sldMk cId="783547928" sldId="773"/>
            <ac:spMk id="69" creationId="{8465003D-8964-543F-AD91-1D21D5B9BE46}"/>
          </ac:spMkLst>
        </pc:spChg>
        <pc:spChg chg="mod">
          <ac:chgData name="KevCla12" userId="ef2eb634-4620-450f-93cc-80cc93397e60" providerId="ADAL" clId="{0BF56A33-4BC5-423F-96C0-6A8645FA96BB}" dt="2023-12-03T21:48:11.084" v="33118" actId="790"/>
          <ac:spMkLst>
            <pc:docMk/>
            <pc:sldMk cId="783547928" sldId="773"/>
            <ac:spMk id="70" creationId="{350BFE25-7095-77CA-0570-C8051D33D421}"/>
          </ac:spMkLst>
        </pc:spChg>
        <pc:spChg chg="mod">
          <ac:chgData name="KevCla12" userId="ef2eb634-4620-450f-93cc-80cc93397e60" providerId="ADAL" clId="{0BF56A33-4BC5-423F-96C0-6A8645FA96BB}" dt="2023-12-03T21:48:11.085" v="33119" actId="790"/>
          <ac:spMkLst>
            <pc:docMk/>
            <pc:sldMk cId="783547928" sldId="773"/>
            <ac:spMk id="71" creationId="{1304A2EA-1F10-B986-B4F1-4E2F3975196F}"/>
          </ac:spMkLst>
        </pc:spChg>
        <pc:spChg chg="mod">
          <ac:chgData name="KevCla12" userId="ef2eb634-4620-450f-93cc-80cc93397e60" providerId="ADAL" clId="{0BF56A33-4BC5-423F-96C0-6A8645FA96BB}" dt="2023-12-03T21:48:11.086" v="33120" actId="790"/>
          <ac:spMkLst>
            <pc:docMk/>
            <pc:sldMk cId="783547928" sldId="773"/>
            <ac:spMk id="73" creationId="{77A04B3A-26E9-C3AA-1B7B-50CEB648E76F}"/>
          </ac:spMkLst>
        </pc:spChg>
        <pc:spChg chg="mod">
          <ac:chgData name="KevCla12" userId="ef2eb634-4620-450f-93cc-80cc93397e60" providerId="ADAL" clId="{0BF56A33-4BC5-423F-96C0-6A8645FA96BB}" dt="2023-12-03T21:48:11.092" v="33121" actId="790"/>
          <ac:spMkLst>
            <pc:docMk/>
            <pc:sldMk cId="783547928" sldId="773"/>
            <ac:spMk id="74" creationId="{83D4BB2A-E6D0-A296-7935-50B9A977DF54}"/>
          </ac:spMkLst>
        </pc:spChg>
        <pc:spChg chg="add del mod modVis">
          <ac:chgData name="KevCla12" userId="ef2eb634-4620-450f-93cc-80cc93397e60" providerId="ADAL" clId="{0BF56A33-4BC5-423F-96C0-6A8645FA96BB}" dt="2023-12-03T16:13:36.153" v="15491"/>
          <ac:spMkLst>
            <pc:docMk/>
            <pc:sldMk cId="783547928" sldId="773"/>
            <ac:spMk id="75" creationId="{7F1DECD9-F528-23B4-EE76-9A167823D16B}"/>
          </ac:spMkLst>
        </pc:spChg>
        <pc:spChg chg="add del mod modVis">
          <ac:chgData name="KevCla12" userId="ef2eb634-4620-450f-93cc-80cc93397e60" providerId="ADAL" clId="{0BF56A33-4BC5-423F-96C0-6A8645FA96BB}" dt="2023-12-03T16:13:38.724" v="15535"/>
          <ac:spMkLst>
            <pc:docMk/>
            <pc:sldMk cId="783547928" sldId="773"/>
            <ac:spMk id="76" creationId="{EB0D75D0-FFC4-AF90-D69E-662D6AAC0196}"/>
          </ac:spMkLst>
        </pc:spChg>
        <pc:spChg chg="add del mod modVis">
          <ac:chgData name="KevCla12" userId="ef2eb634-4620-450f-93cc-80cc93397e60" providerId="ADAL" clId="{0BF56A33-4BC5-423F-96C0-6A8645FA96BB}" dt="2023-12-03T16:13:43.647" v="15588"/>
          <ac:spMkLst>
            <pc:docMk/>
            <pc:sldMk cId="783547928" sldId="773"/>
            <ac:spMk id="77" creationId="{0A9312E6-7B5D-6364-0683-3E5D4AF522DF}"/>
          </ac:spMkLst>
        </pc:spChg>
        <pc:spChg chg="add del mod modVis">
          <ac:chgData name="KevCla12" userId="ef2eb634-4620-450f-93cc-80cc93397e60" providerId="ADAL" clId="{0BF56A33-4BC5-423F-96C0-6A8645FA96BB}" dt="2023-12-03T16:13:48.100" v="15647"/>
          <ac:spMkLst>
            <pc:docMk/>
            <pc:sldMk cId="783547928" sldId="773"/>
            <ac:spMk id="78" creationId="{A8E488F6-7630-BD9D-949F-296DBE473136}"/>
          </ac:spMkLst>
        </pc:spChg>
        <pc:spChg chg="add del mod modVis">
          <ac:chgData name="KevCla12" userId="ef2eb634-4620-450f-93cc-80cc93397e60" providerId="ADAL" clId="{0BF56A33-4BC5-423F-96C0-6A8645FA96BB}" dt="2023-12-03T16:13:53.136" v="15700"/>
          <ac:spMkLst>
            <pc:docMk/>
            <pc:sldMk cId="783547928" sldId="773"/>
            <ac:spMk id="79" creationId="{CD7B74FE-76CF-4ED2-C91A-F38DCA61C893}"/>
          </ac:spMkLst>
        </pc:spChg>
        <pc:spChg chg="add del mod modVis">
          <ac:chgData name="KevCla12" userId="ef2eb634-4620-450f-93cc-80cc93397e60" providerId="ADAL" clId="{0BF56A33-4BC5-423F-96C0-6A8645FA96BB}" dt="2023-12-03T16:13:55.236" v="15732"/>
          <ac:spMkLst>
            <pc:docMk/>
            <pc:sldMk cId="783547928" sldId="773"/>
            <ac:spMk id="80" creationId="{62633C3C-CEA4-69F2-801F-2AB21C0B2B59}"/>
          </ac:spMkLst>
        </pc:spChg>
        <pc:spChg chg="add del mod modVis">
          <ac:chgData name="KevCla12" userId="ef2eb634-4620-450f-93cc-80cc93397e60" providerId="ADAL" clId="{0BF56A33-4BC5-423F-96C0-6A8645FA96BB}" dt="2023-12-03T16:13:56.919" v="15764"/>
          <ac:spMkLst>
            <pc:docMk/>
            <pc:sldMk cId="783547928" sldId="773"/>
            <ac:spMk id="81" creationId="{D1060A78-C2C9-7C9A-812F-465E5565CBC2}"/>
          </ac:spMkLst>
        </pc:spChg>
        <pc:spChg chg="add del mod modVis">
          <ac:chgData name="KevCla12" userId="ef2eb634-4620-450f-93cc-80cc93397e60" providerId="ADAL" clId="{0BF56A33-4BC5-423F-96C0-6A8645FA96BB}" dt="2023-12-03T16:13:58.509" v="15792"/>
          <ac:spMkLst>
            <pc:docMk/>
            <pc:sldMk cId="783547928" sldId="773"/>
            <ac:spMk id="82" creationId="{464E466C-33C0-728A-3CD6-1450844656E4}"/>
          </ac:spMkLst>
        </pc:spChg>
        <pc:spChg chg="add del mod modVis">
          <ac:chgData name="KevCla12" userId="ef2eb634-4620-450f-93cc-80cc93397e60" providerId="ADAL" clId="{0BF56A33-4BC5-423F-96C0-6A8645FA96BB}" dt="2023-12-03T16:14:01.984" v="15820"/>
          <ac:spMkLst>
            <pc:docMk/>
            <pc:sldMk cId="783547928" sldId="773"/>
            <ac:spMk id="83" creationId="{4A9E8032-9EAE-C784-300A-F29335156906}"/>
          </ac:spMkLst>
        </pc:spChg>
        <pc:spChg chg="add del mod modVis">
          <ac:chgData name="KevCla12" userId="ef2eb634-4620-450f-93cc-80cc93397e60" providerId="ADAL" clId="{0BF56A33-4BC5-423F-96C0-6A8645FA96BB}" dt="2023-12-03T16:14:03.174" v="15848"/>
          <ac:spMkLst>
            <pc:docMk/>
            <pc:sldMk cId="783547928" sldId="773"/>
            <ac:spMk id="84" creationId="{870B59E4-66EB-C473-FBCA-68EA424C38F9}"/>
          </ac:spMkLst>
        </pc:spChg>
        <pc:spChg chg="add del mod modVis">
          <ac:chgData name="KevCla12" userId="ef2eb634-4620-450f-93cc-80cc93397e60" providerId="ADAL" clId="{0BF56A33-4BC5-423F-96C0-6A8645FA96BB}" dt="2023-12-03T16:14:05.731" v="15876"/>
          <ac:spMkLst>
            <pc:docMk/>
            <pc:sldMk cId="783547928" sldId="773"/>
            <ac:spMk id="85" creationId="{235F77F6-A60A-0AA8-1CC1-AB3198FE4624}"/>
          </ac:spMkLst>
        </pc:spChg>
        <pc:spChg chg="add del mod modVis">
          <ac:chgData name="KevCla12" userId="ef2eb634-4620-450f-93cc-80cc93397e60" providerId="ADAL" clId="{0BF56A33-4BC5-423F-96C0-6A8645FA96BB}" dt="2023-12-03T16:14:11.115" v="15919"/>
          <ac:spMkLst>
            <pc:docMk/>
            <pc:sldMk cId="783547928" sldId="773"/>
            <ac:spMk id="86" creationId="{8A32683F-AA62-70BF-2C95-EFF382FD6A89}"/>
          </ac:spMkLst>
        </pc:spChg>
        <pc:spChg chg="add del mod modVis">
          <ac:chgData name="KevCla12" userId="ef2eb634-4620-450f-93cc-80cc93397e60" providerId="ADAL" clId="{0BF56A33-4BC5-423F-96C0-6A8645FA96BB}" dt="2023-12-03T16:14:12.092" v="15949"/>
          <ac:spMkLst>
            <pc:docMk/>
            <pc:sldMk cId="783547928" sldId="773"/>
            <ac:spMk id="87" creationId="{DE774DDC-050A-ECFE-2DE6-04A4D7609C26}"/>
          </ac:spMkLst>
        </pc:spChg>
        <pc:spChg chg="add del mod modVis">
          <ac:chgData name="KevCla12" userId="ef2eb634-4620-450f-93cc-80cc93397e60" providerId="ADAL" clId="{0BF56A33-4BC5-423F-96C0-6A8645FA96BB}" dt="2023-12-03T16:14:13.050" v="15979"/>
          <ac:spMkLst>
            <pc:docMk/>
            <pc:sldMk cId="783547928" sldId="773"/>
            <ac:spMk id="88" creationId="{BB57189B-FB43-4E79-3369-E1C570E5F8EC}"/>
          </ac:spMkLst>
        </pc:spChg>
        <pc:spChg chg="add del mod modVis">
          <ac:chgData name="KevCla12" userId="ef2eb634-4620-450f-93cc-80cc93397e60" providerId="ADAL" clId="{0BF56A33-4BC5-423F-96C0-6A8645FA96BB}" dt="2023-12-03T16:14:18.706" v="16024"/>
          <ac:spMkLst>
            <pc:docMk/>
            <pc:sldMk cId="783547928" sldId="773"/>
            <ac:spMk id="89" creationId="{405AB92B-97C3-527D-B2DF-2B3C340AA412}"/>
          </ac:spMkLst>
        </pc:spChg>
        <pc:spChg chg="add del mod modVis">
          <ac:chgData name="KevCla12" userId="ef2eb634-4620-450f-93cc-80cc93397e60" providerId="ADAL" clId="{0BF56A33-4BC5-423F-96C0-6A8645FA96BB}" dt="2023-12-03T16:14:25.028" v="16074"/>
          <ac:spMkLst>
            <pc:docMk/>
            <pc:sldMk cId="783547928" sldId="773"/>
            <ac:spMk id="90" creationId="{02C8A40A-0ED3-63F7-7870-1AD265944FC5}"/>
          </ac:spMkLst>
        </pc:spChg>
        <pc:grpChg chg="add del mod modVis">
          <ac:chgData name="KevCla12" userId="ef2eb634-4620-450f-93cc-80cc93397e60" providerId="ADAL" clId="{0BF56A33-4BC5-423F-96C0-6A8645FA96BB}" dt="2023-12-03T15:19:39.554" v="13673" actId="21"/>
          <ac:grpSpMkLst>
            <pc:docMk/>
            <pc:sldMk cId="783547928" sldId="773"/>
            <ac:grpSpMk id="32" creationId="{96231625-8698-1011-B41B-1EC44A25C860}"/>
          </ac:grpSpMkLst>
        </pc:grpChg>
        <pc:grpChg chg="add del mod modVis">
          <ac:chgData name="KevCla12" userId="ef2eb634-4620-450f-93cc-80cc93397e60" providerId="ADAL" clId="{0BF56A33-4BC5-423F-96C0-6A8645FA96BB}" dt="2023-12-03T15:19:39.554" v="13673" actId="21"/>
          <ac:grpSpMkLst>
            <pc:docMk/>
            <pc:sldMk cId="783547928" sldId="773"/>
            <ac:grpSpMk id="52" creationId="{CC8C6AC1-E990-9227-855D-4BC19594E53E}"/>
          </ac:grpSpMkLst>
        </pc:grpChg>
        <pc:graphicFrameChg chg="mod">
          <ac:chgData name="KevCla12" userId="ef2eb634-4620-450f-93cc-80cc93397e60" providerId="ADAL" clId="{0BF56A33-4BC5-423F-96C0-6A8645FA96BB}" dt="2023-12-03T16:14:25.033" v="16076"/>
          <ac:graphicFrameMkLst>
            <pc:docMk/>
            <pc:sldMk cId="783547928" sldId="773"/>
            <ac:graphicFrameMk id="8" creationId="{07413AF6-606B-2B87-A383-BC14B48513A8}"/>
          </ac:graphicFrameMkLst>
        </pc:graphicFrameChg>
        <pc:extLst>
          <p:ext xmlns:p="http://schemas.openxmlformats.org/presentationml/2006/main" uri="{D6D511B9-2390-475A-947B-AFAB55BFBCF1}">
            <pc226:cmChg xmlns:pc226="http://schemas.microsoft.com/office/powerpoint/2022/06/main/command" chg="del">
              <pc226:chgData name="KevCla12" userId="ef2eb634-4620-450f-93cc-80cc93397e60" providerId="ADAL" clId="{0BF56A33-4BC5-423F-96C0-6A8645FA96BB}" dt="2023-12-03T14:10:05.243" v="12647"/>
              <pc2:cmMkLst xmlns:pc2="http://schemas.microsoft.com/office/powerpoint/2019/9/main/command">
                <pc:docMk/>
                <pc:sldMk cId="783547928" sldId="773"/>
                <pc2:cmMk id="{6C4FF0CD-00DC-4681-A526-954B8E3CF1EA}"/>
              </pc2:cmMkLst>
            </pc226:cmChg>
          </p:ext>
        </pc:extLst>
      </pc:sldChg>
      <pc:sldChg chg="addSp delSp modSp add del mod ord delCm modCm modNotes modNotesTx">
        <pc:chgData name="KevCla12" userId="ef2eb634-4620-450f-93cc-80cc93397e60" providerId="ADAL" clId="{0BF56A33-4BC5-423F-96C0-6A8645FA96BB}" dt="2023-12-03T21:48:06.105" v="30844" actId="790"/>
        <pc:sldMkLst>
          <pc:docMk/>
          <pc:sldMk cId="1581556713" sldId="776"/>
        </pc:sldMkLst>
        <pc:spChg chg="del mod">
          <ac:chgData name="KevCla12" userId="ef2eb634-4620-450f-93cc-80cc93397e60" providerId="ADAL" clId="{0BF56A33-4BC5-423F-96C0-6A8645FA96BB}" dt="2023-12-03T21:48:06.043" v="30815" actId="790"/>
          <ac:spMkLst>
            <pc:docMk/>
            <pc:sldMk cId="1581556713" sldId="776"/>
            <ac:spMk id="2" creationId="{00000000-0000-0000-0000-000000000000}"/>
          </ac:spMkLst>
        </pc:spChg>
        <pc:spChg chg="mod">
          <ac:chgData name="KevCla12" userId="ef2eb634-4620-450f-93cc-80cc93397e60" providerId="ADAL" clId="{0BF56A33-4BC5-423F-96C0-6A8645FA96BB}" dt="2023-12-03T21:48:06.048" v="30819" actId="790"/>
          <ac:spMkLst>
            <pc:docMk/>
            <pc:sldMk cId="1581556713" sldId="776"/>
            <ac:spMk id="4" creationId="{00000000-0000-0000-0000-000000000000}"/>
          </ac:spMkLst>
        </pc:spChg>
        <pc:spChg chg="mod">
          <ac:chgData name="KevCla12" userId="ef2eb634-4620-450f-93cc-80cc93397e60" providerId="ADAL" clId="{0BF56A33-4BC5-423F-96C0-6A8645FA96BB}" dt="2023-12-03T21:48:06.049" v="30820" actId="790"/>
          <ac:spMkLst>
            <pc:docMk/>
            <pc:sldMk cId="1581556713" sldId="776"/>
            <ac:spMk id="5" creationId="{00000000-0000-0000-0000-000000000000}"/>
          </ac:spMkLst>
        </pc:spChg>
        <pc:spChg chg="mod">
          <ac:chgData name="KevCla12" userId="ef2eb634-4620-450f-93cc-80cc93397e60" providerId="ADAL" clId="{0BF56A33-4BC5-423F-96C0-6A8645FA96BB}" dt="2023-12-03T21:48:06.051" v="30821" actId="790"/>
          <ac:spMkLst>
            <pc:docMk/>
            <pc:sldMk cId="1581556713" sldId="776"/>
            <ac:spMk id="6" creationId="{00000000-0000-0000-0000-000000000000}"/>
          </ac:spMkLst>
        </pc:spChg>
        <pc:spChg chg="mod">
          <ac:chgData name="KevCla12" userId="ef2eb634-4620-450f-93cc-80cc93397e60" providerId="ADAL" clId="{0BF56A33-4BC5-423F-96C0-6A8645FA96BB}" dt="2023-12-03T21:48:06.096" v="30839" actId="790"/>
          <ac:spMkLst>
            <pc:docMk/>
            <pc:sldMk cId="1581556713" sldId="776"/>
            <ac:spMk id="8" creationId="{33768A4B-C8A0-96B9-295B-8EFA5B50D52D}"/>
          </ac:spMkLst>
        </pc:spChg>
        <pc:spChg chg="mod">
          <ac:chgData name="KevCla12" userId="ef2eb634-4620-450f-93cc-80cc93397e60" providerId="ADAL" clId="{0BF56A33-4BC5-423F-96C0-6A8645FA96BB}" dt="2023-12-03T21:48:06.052" v="30822" actId="790"/>
          <ac:spMkLst>
            <pc:docMk/>
            <pc:sldMk cId="1581556713" sldId="776"/>
            <ac:spMk id="9" creationId="{00000000-0000-0000-0000-000000000000}"/>
          </ac:spMkLst>
        </pc:spChg>
        <pc:spChg chg="add del mod modVis">
          <ac:chgData name="KevCla12" userId="ef2eb634-4620-450f-93cc-80cc93397e60" providerId="ADAL" clId="{0BF56A33-4BC5-423F-96C0-6A8645FA96BB}" dt="2023-11-26T12:44:05.940" v="1343"/>
          <ac:spMkLst>
            <pc:docMk/>
            <pc:sldMk cId="1581556713" sldId="776"/>
            <ac:spMk id="10" creationId="{F29B69DB-33DD-71BF-7E7A-E3988BD3A6C7}"/>
          </ac:spMkLst>
        </pc:spChg>
        <pc:spChg chg="mod">
          <ac:chgData name="KevCla12" userId="ef2eb634-4620-450f-93cc-80cc93397e60" providerId="ADAL" clId="{0BF56A33-4BC5-423F-96C0-6A8645FA96BB}" dt="2023-12-03T21:48:06.044" v="30816" actId="790"/>
          <ac:spMkLst>
            <pc:docMk/>
            <pc:sldMk cId="1581556713" sldId="776"/>
            <ac:spMk id="11" creationId="{CC0D1C68-3CEF-5A59-FC41-FC5759D22C26}"/>
          </ac:spMkLst>
        </pc:spChg>
        <pc:spChg chg="mod">
          <ac:chgData name="KevCla12" userId="ef2eb634-4620-450f-93cc-80cc93397e60" providerId="ADAL" clId="{0BF56A33-4BC5-423F-96C0-6A8645FA96BB}" dt="2023-12-03T21:48:06.045" v="30817" actId="790"/>
          <ac:spMkLst>
            <pc:docMk/>
            <pc:sldMk cId="1581556713" sldId="776"/>
            <ac:spMk id="12" creationId="{8D67A70B-D020-B408-CEC8-C5C377A94F89}"/>
          </ac:spMkLst>
        </pc:spChg>
        <pc:spChg chg="mod">
          <ac:chgData name="KevCla12" userId="ef2eb634-4620-450f-93cc-80cc93397e60" providerId="ADAL" clId="{0BF56A33-4BC5-423F-96C0-6A8645FA96BB}" dt="2023-12-03T21:48:06.047" v="30818" actId="790"/>
          <ac:spMkLst>
            <pc:docMk/>
            <pc:sldMk cId="1581556713" sldId="776"/>
            <ac:spMk id="13" creationId="{E919CE4F-20CA-44B9-94C2-837536AE47E1}"/>
          </ac:spMkLst>
        </pc:spChg>
        <pc:spChg chg="add mod">
          <ac:chgData name="KevCla12" userId="ef2eb634-4620-450f-93cc-80cc93397e60" providerId="ADAL" clId="{0BF56A33-4BC5-423F-96C0-6A8645FA96BB}" dt="2023-11-26T12:44:10.945" v="1346" actId="478"/>
          <ac:spMkLst>
            <pc:docMk/>
            <pc:sldMk cId="1581556713" sldId="776"/>
            <ac:spMk id="16" creationId="{2D4B999C-6A1C-315C-79F7-07D3AC870634}"/>
          </ac:spMkLst>
        </pc:spChg>
        <pc:spChg chg="mod">
          <ac:chgData name="KevCla12" userId="ef2eb634-4620-450f-93cc-80cc93397e60" providerId="ADAL" clId="{0BF56A33-4BC5-423F-96C0-6A8645FA96BB}" dt="2023-12-03T21:48:06.096" v="30840" actId="790"/>
          <ac:spMkLst>
            <pc:docMk/>
            <pc:sldMk cId="1581556713" sldId="776"/>
            <ac:spMk id="21" creationId="{360942A8-DB58-205E-3C91-63F2463F268B}"/>
          </ac:spMkLst>
        </pc:spChg>
        <pc:spChg chg="mod">
          <ac:chgData name="KevCla12" userId="ef2eb634-4620-450f-93cc-80cc93397e60" providerId="ADAL" clId="{0BF56A33-4BC5-423F-96C0-6A8645FA96BB}" dt="2023-12-03T21:48:06.055" v="30823" actId="790"/>
          <ac:spMkLst>
            <pc:docMk/>
            <pc:sldMk cId="1581556713" sldId="776"/>
            <ac:spMk id="22" creationId="{87227926-2414-A666-FD19-BDE708F4749D}"/>
          </ac:spMkLst>
        </pc:spChg>
        <pc:spChg chg="mod">
          <ac:chgData name="KevCla12" userId="ef2eb634-4620-450f-93cc-80cc93397e60" providerId="ADAL" clId="{0BF56A33-4BC5-423F-96C0-6A8645FA96BB}" dt="2023-12-03T21:48:06.060" v="30824" actId="790"/>
          <ac:spMkLst>
            <pc:docMk/>
            <pc:sldMk cId="1581556713" sldId="776"/>
            <ac:spMk id="23" creationId="{83DA45EC-B71F-CEDC-1237-0BE9870D49E9}"/>
          </ac:spMkLst>
        </pc:spChg>
        <pc:spChg chg="mod">
          <ac:chgData name="KevCla12" userId="ef2eb634-4620-450f-93cc-80cc93397e60" providerId="ADAL" clId="{0BF56A33-4BC5-423F-96C0-6A8645FA96BB}" dt="2023-12-03T21:48:06.097" v="30841" actId="790"/>
          <ac:spMkLst>
            <pc:docMk/>
            <pc:sldMk cId="1581556713" sldId="776"/>
            <ac:spMk id="24" creationId="{627F3719-7CF7-0F3C-F40F-2B34F9822E55}"/>
          </ac:spMkLst>
        </pc:spChg>
        <pc:spChg chg="mod">
          <ac:chgData name="KevCla12" userId="ef2eb634-4620-450f-93cc-80cc93397e60" providerId="ADAL" clId="{0BF56A33-4BC5-423F-96C0-6A8645FA96BB}" dt="2023-12-03T21:48:06.103" v="30842" actId="790"/>
          <ac:spMkLst>
            <pc:docMk/>
            <pc:sldMk cId="1581556713" sldId="776"/>
            <ac:spMk id="25" creationId="{518D8A0F-17FE-4F72-D54C-DE77F7D7A9EC}"/>
          </ac:spMkLst>
        </pc:spChg>
        <pc:spChg chg="mod">
          <ac:chgData name="KevCla12" userId="ef2eb634-4620-450f-93cc-80cc93397e60" providerId="ADAL" clId="{0BF56A33-4BC5-423F-96C0-6A8645FA96BB}" dt="2023-12-03T21:48:06.066" v="30825" actId="790"/>
          <ac:spMkLst>
            <pc:docMk/>
            <pc:sldMk cId="1581556713" sldId="776"/>
            <ac:spMk id="31" creationId="{F1E6F240-B72E-A102-D179-BB6A34C48A81}"/>
          </ac:spMkLst>
        </pc:spChg>
        <pc:spChg chg="mod">
          <ac:chgData name="KevCla12" userId="ef2eb634-4620-450f-93cc-80cc93397e60" providerId="ADAL" clId="{0BF56A33-4BC5-423F-96C0-6A8645FA96BB}" dt="2023-12-03T21:48:06.073" v="30826" actId="790"/>
          <ac:spMkLst>
            <pc:docMk/>
            <pc:sldMk cId="1581556713" sldId="776"/>
            <ac:spMk id="32" creationId="{05CD629C-7FDA-0799-C98B-470FFB16552A}"/>
          </ac:spMkLst>
        </pc:spChg>
        <pc:spChg chg="mod">
          <ac:chgData name="KevCla12" userId="ef2eb634-4620-450f-93cc-80cc93397e60" providerId="ADAL" clId="{0BF56A33-4BC5-423F-96C0-6A8645FA96BB}" dt="2023-12-03T21:48:06.077" v="30827" actId="790"/>
          <ac:spMkLst>
            <pc:docMk/>
            <pc:sldMk cId="1581556713" sldId="776"/>
            <ac:spMk id="33" creationId="{60B8C8CD-E75F-7AC9-2807-38BFD5170F67}"/>
          </ac:spMkLst>
        </pc:spChg>
        <pc:spChg chg="mod">
          <ac:chgData name="KevCla12" userId="ef2eb634-4620-450f-93cc-80cc93397e60" providerId="ADAL" clId="{0BF56A33-4BC5-423F-96C0-6A8645FA96BB}" dt="2023-12-03T21:48:06.080" v="30828" actId="790"/>
          <ac:spMkLst>
            <pc:docMk/>
            <pc:sldMk cId="1581556713" sldId="776"/>
            <ac:spMk id="34" creationId="{D566F997-9750-4A1F-1194-890287C964FA}"/>
          </ac:spMkLst>
        </pc:spChg>
        <pc:spChg chg="mod">
          <ac:chgData name="KevCla12" userId="ef2eb634-4620-450f-93cc-80cc93397e60" providerId="ADAL" clId="{0BF56A33-4BC5-423F-96C0-6A8645FA96BB}" dt="2023-12-03T21:48:06.083" v="30829" actId="790"/>
          <ac:spMkLst>
            <pc:docMk/>
            <pc:sldMk cId="1581556713" sldId="776"/>
            <ac:spMk id="35" creationId="{D36A588C-1A2D-8B90-3A5D-2E7E44683A4D}"/>
          </ac:spMkLst>
        </pc:spChg>
        <pc:spChg chg="mod">
          <ac:chgData name="KevCla12" userId="ef2eb634-4620-450f-93cc-80cc93397e60" providerId="ADAL" clId="{0BF56A33-4BC5-423F-96C0-6A8645FA96BB}" dt="2023-12-03T21:48:06.085" v="30830" actId="790"/>
          <ac:spMkLst>
            <pc:docMk/>
            <pc:sldMk cId="1581556713" sldId="776"/>
            <ac:spMk id="36" creationId="{94EB4C75-D1A8-E755-369E-3DCFD5A39DA1}"/>
          </ac:spMkLst>
        </pc:spChg>
        <pc:spChg chg="mod">
          <ac:chgData name="KevCla12" userId="ef2eb634-4620-450f-93cc-80cc93397e60" providerId="ADAL" clId="{0BF56A33-4BC5-423F-96C0-6A8645FA96BB}" dt="2023-12-03T21:48:06.087" v="30831" actId="790"/>
          <ac:spMkLst>
            <pc:docMk/>
            <pc:sldMk cId="1581556713" sldId="776"/>
            <ac:spMk id="40" creationId="{2A1CC1C2-9064-37B7-816B-8E883177097A}"/>
          </ac:spMkLst>
        </pc:spChg>
        <pc:spChg chg="mod">
          <ac:chgData name="KevCla12" userId="ef2eb634-4620-450f-93cc-80cc93397e60" providerId="ADAL" clId="{0BF56A33-4BC5-423F-96C0-6A8645FA96BB}" dt="2023-12-03T21:48:06.088" v="30832" actId="790"/>
          <ac:spMkLst>
            <pc:docMk/>
            <pc:sldMk cId="1581556713" sldId="776"/>
            <ac:spMk id="51" creationId="{92D1DA4D-6851-87E4-2B28-B11021F1CBA7}"/>
          </ac:spMkLst>
        </pc:spChg>
        <pc:spChg chg="mod">
          <ac:chgData name="KevCla12" userId="ef2eb634-4620-450f-93cc-80cc93397e60" providerId="ADAL" clId="{0BF56A33-4BC5-423F-96C0-6A8645FA96BB}" dt="2023-12-03T21:48:06.089" v="30833" actId="790"/>
          <ac:spMkLst>
            <pc:docMk/>
            <pc:sldMk cId="1581556713" sldId="776"/>
            <ac:spMk id="61" creationId="{E7D65EEF-7534-05FD-8C82-22577763020B}"/>
          </ac:spMkLst>
        </pc:spChg>
        <pc:spChg chg="mod">
          <ac:chgData name="KevCla12" userId="ef2eb634-4620-450f-93cc-80cc93397e60" providerId="ADAL" clId="{0BF56A33-4BC5-423F-96C0-6A8645FA96BB}" dt="2023-12-03T21:48:06.090" v="30834" actId="790"/>
          <ac:spMkLst>
            <pc:docMk/>
            <pc:sldMk cId="1581556713" sldId="776"/>
            <ac:spMk id="1024" creationId="{9DE87BDD-AE55-7637-0DE5-1125A4E068E3}"/>
          </ac:spMkLst>
        </pc:spChg>
        <pc:spChg chg="mod">
          <ac:chgData name="KevCla12" userId="ef2eb634-4620-450f-93cc-80cc93397e60" providerId="ADAL" clId="{0BF56A33-4BC5-423F-96C0-6A8645FA96BB}" dt="2023-12-03T21:48:06.091" v="30835" actId="790"/>
          <ac:spMkLst>
            <pc:docMk/>
            <pc:sldMk cId="1581556713" sldId="776"/>
            <ac:spMk id="1025" creationId="{F2173324-E26B-5C1C-4D3C-C70D3D12F54A}"/>
          </ac:spMkLst>
        </pc:spChg>
        <pc:spChg chg="mod">
          <ac:chgData name="KevCla12" userId="ef2eb634-4620-450f-93cc-80cc93397e60" providerId="ADAL" clId="{0BF56A33-4BC5-423F-96C0-6A8645FA96BB}" dt="2023-12-03T21:48:06.092" v="30836" actId="790"/>
          <ac:spMkLst>
            <pc:docMk/>
            <pc:sldMk cId="1581556713" sldId="776"/>
            <ac:spMk id="1027" creationId="{C2C25580-E270-7664-1896-C206DB461E7F}"/>
          </ac:spMkLst>
        </pc:spChg>
        <pc:spChg chg="mod">
          <ac:chgData name="KevCla12" userId="ef2eb634-4620-450f-93cc-80cc93397e60" providerId="ADAL" clId="{0BF56A33-4BC5-423F-96C0-6A8645FA96BB}" dt="2023-12-03T21:48:06.093" v="30837" actId="790"/>
          <ac:spMkLst>
            <pc:docMk/>
            <pc:sldMk cId="1581556713" sldId="776"/>
            <ac:spMk id="1029" creationId="{7E803D9A-EEF9-BE5B-7478-A8DE5903D4BB}"/>
          </ac:spMkLst>
        </pc:spChg>
        <pc:spChg chg="mod">
          <ac:chgData name="KevCla12" userId="ef2eb634-4620-450f-93cc-80cc93397e60" providerId="ADAL" clId="{0BF56A33-4BC5-423F-96C0-6A8645FA96BB}" dt="2023-12-03T21:48:06.094" v="30838" actId="790"/>
          <ac:spMkLst>
            <pc:docMk/>
            <pc:sldMk cId="1581556713" sldId="776"/>
            <ac:spMk id="1031" creationId="{2F9888E7-6B8A-CC59-9C45-FDD499B7E62F}"/>
          </ac:spMkLst>
        </pc:spChg>
        <pc:graphicFrameChg chg="mod">
          <ac:chgData name="KevCla12" userId="ef2eb634-4620-450f-93cc-80cc93397e60" providerId="ADAL" clId="{0BF56A33-4BC5-423F-96C0-6A8645FA96BB}" dt="2023-11-26T12:44:11.603" v="1350"/>
          <ac:graphicFrameMkLst>
            <pc:docMk/>
            <pc:sldMk cId="1581556713" sldId="776"/>
            <ac:graphicFrameMk id="15" creationId="{2335164A-86F7-0C4D-BE2F-FBB41B942267}"/>
          </ac:graphicFrameMkLst>
        </pc:graphicFrameChg>
        <pc:picChg chg="mod">
          <ac:chgData name="KevCla12" userId="ef2eb634-4620-450f-93cc-80cc93397e60" providerId="ADAL" clId="{0BF56A33-4BC5-423F-96C0-6A8645FA96BB}" dt="2023-11-26T12:43:19.714" v="1294" actId="1037"/>
          <ac:picMkLst>
            <pc:docMk/>
            <pc:sldMk cId="1581556713" sldId="776"/>
            <ac:picMk id="1026" creationId="{0E522F78-C985-43E5-E8DC-A2911F90F4E3}"/>
          </ac:picMkLst>
        </pc:picChg>
        <pc:picChg chg="mod">
          <ac:chgData name="KevCla12" userId="ef2eb634-4620-450f-93cc-80cc93397e60" providerId="ADAL" clId="{0BF56A33-4BC5-423F-96C0-6A8645FA96BB}" dt="2023-11-26T12:43:19.714" v="1294" actId="1037"/>
          <ac:picMkLst>
            <pc:docMk/>
            <pc:sldMk cId="1581556713" sldId="776"/>
            <ac:picMk id="1028" creationId="{30136D97-2794-B0A9-840D-F6F53B683986}"/>
          </ac:picMkLst>
        </pc:picChg>
        <pc:cxnChg chg="mod">
          <ac:chgData name="KevCla12" userId="ef2eb634-4620-450f-93cc-80cc93397e60" providerId="ADAL" clId="{0BF56A33-4BC5-423F-96C0-6A8645FA96BB}" dt="2023-11-26T12:43:19.714" v="1294" actId="1037"/>
          <ac:cxnSpMkLst>
            <pc:docMk/>
            <pc:sldMk cId="1581556713" sldId="776"/>
            <ac:cxnSpMk id="38" creationId="{DE2E0245-C1E8-9CA3-40B5-5DAF41C2A648}"/>
          </ac:cxnSpMkLst>
        </pc:cxnChg>
        <pc:cxnChg chg="mod">
          <ac:chgData name="KevCla12" userId="ef2eb634-4620-450f-93cc-80cc93397e60" providerId="ADAL" clId="{0BF56A33-4BC5-423F-96C0-6A8645FA96BB}" dt="2023-11-26T12:43:19.714" v="1294" actId="1037"/>
          <ac:cxnSpMkLst>
            <pc:docMk/>
            <pc:sldMk cId="1581556713" sldId="776"/>
            <ac:cxnSpMk id="41" creationId="{2DB98EA4-AB19-3DD4-58B6-6EE16749945D}"/>
          </ac:cxnSpMkLst>
        </pc:cxnChg>
        <pc:cxnChg chg="mod">
          <ac:chgData name="KevCla12" userId="ef2eb634-4620-450f-93cc-80cc93397e60" providerId="ADAL" clId="{0BF56A33-4BC5-423F-96C0-6A8645FA96BB}" dt="2023-11-26T12:43:19.714" v="1294" actId="1037"/>
          <ac:cxnSpMkLst>
            <pc:docMk/>
            <pc:sldMk cId="1581556713" sldId="776"/>
            <ac:cxnSpMk id="48" creationId="{39B33CFE-A1E5-9E33-CC03-F45698F9A982}"/>
          </ac:cxnSpMkLst>
        </pc:cxnChg>
        <pc:extLst>
          <p:ext xmlns:p="http://schemas.openxmlformats.org/presentationml/2006/main" uri="{D6D511B9-2390-475A-947B-AFAB55BFBCF1}">
            <pc226:cmChg xmlns:pc226="http://schemas.microsoft.com/office/powerpoint/2022/06/main/command" chg="del mod">
              <pc226:chgData name="KevCla12" userId="ef2eb634-4620-450f-93cc-80cc93397e60" providerId="ADAL" clId="{0BF56A33-4BC5-423F-96C0-6A8645FA96BB}" dt="2023-11-26T12:33:41.290" v="1191"/>
              <pc2:cmMkLst xmlns:pc2="http://schemas.microsoft.com/office/powerpoint/2019/9/main/command">
                <pc:docMk/>
                <pc:sldMk cId="1581556713" sldId="776"/>
                <pc2:cmMk id="{A5CBB10B-AFD3-4382-B356-347FBD76244C}"/>
              </pc2:cmMkLst>
            </pc226:cmChg>
          </p:ext>
        </pc:extLst>
      </pc:sldChg>
      <pc:sldChg chg="modSp add del mod modNotes">
        <pc:chgData name="KevCla12" userId="ef2eb634-4620-450f-93cc-80cc93397e60" providerId="ADAL" clId="{0BF56A33-4BC5-423F-96C0-6A8645FA96BB}" dt="2023-12-03T21:48:06.553" v="31048" actId="790"/>
        <pc:sldMkLst>
          <pc:docMk/>
          <pc:sldMk cId="3682167214" sldId="777"/>
        </pc:sldMkLst>
        <pc:spChg chg="mod">
          <ac:chgData name="KevCla12" userId="ef2eb634-4620-450f-93cc-80cc93397e60" providerId="ADAL" clId="{0BF56A33-4BC5-423F-96C0-6A8645FA96BB}" dt="2023-12-03T21:48:06.485" v="31008" actId="790"/>
          <ac:spMkLst>
            <pc:docMk/>
            <pc:sldMk cId="3682167214" sldId="777"/>
            <ac:spMk id="2" creationId="{666248B1-65FC-2559-0B6B-7824C80D0EA9}"/>
          </ac:spMkLst>
        </pc:spChg>
        <pc:spChg chg="mod">
          <ac:chgData name="KevCla12" userId="ef2eb634-4620-450f-93cc-80cc93397e60" providerId="ADAL" clId="{0BF56A33-4BC5-423F-96C0-6A8645FA96BB}" dt="2023-12-03T21:48:06.511" v="31029" actId="790"/>
          <ac:spMkLst>
            <pc:docMk/>
            <pc:sldMk cId="3682167214" sldId="777"/>
            <ac:spMk id="3" creationId="{821501B3-43B7-EE02-725C-1AF2FC97E55C}"/>
          </ac:spMkLst>
        </pc:spChg>
        <pc:spChg chg="mod">
          <ac:chgData name="KevCla12" userId="ef2eb634-4620-450f-93cc-80cc93397e60" providerId="ADAL" clId="{0BF56A33-4BC5-423F-96C0-6A8645FA96BB}" dt="2023-12-03T21:48:06.486" v="31009" actId="790"/>
          <ac:spMkLst>
            <pc:docMk/>
            <pc:sldMk cId="3682167214" sldId="777"/>
            <ac:spMk id="4" creationId="{682002F4-0EF5-5107-BB42-E0C296F3AB22}"/>
          </ac:spMkLst>
        </pc:spChg>
        <pc:spChg chg="mod">
          <ac:chgData name="KevCla12" userId="ef2eb634-4620-450f-93cc-80cc93397e60" providerId="ADAL" clId="{0BF56A33-4BC5-423F-96C0-6A8645FA96BB}" dt="2023-12-03T21:48:06.487" v="31010" actId="790"/>
          <ac:spMkLst>
            <pc:docMk/>
            <pc:sldMk cId="3682167214" sldId="777"/>
            <ac:spMk id="5" creationId="{C737F724-F85A-08AA-F79A-4F49E167C067}"/>
          </ac:spMkLst>
        </pc:spChg>
        <pc:spChg chg="mod">
          <ac:chgData name="KevCla12" userId="ef2eb634-4620-450f-93cc-80cc93397e60" providerId="ADAL" clId="{0BF56A33-4BC5-423F-96C0-6A8645FA96BB}" dt="2023-12-03T21:48:06.488" v="31011" actId="790"/>
          <ac:spMkLst>
            <pc:docMk/>
            <pc:sldMk cId="3682167214" sldId="777"/>
            <ac:spMk id="7" creationId="{840C8DF1-55CC-CE92-462B-EFAF88AD83E6}"/>
          </ac:spMkLst>
        </pc:spChg>
        <pc:spChg chg="mod">
          <ac:chgData name="KevCla12" userId="ef2eb634-4620-450f-93cc-80cc93397e60" providerId="ADAL" clId="{0BF56A33-4BC5-423F-96C0-6A8645FA96BB}" dt="2023-12-03T21:48:06.512" v="31030" actId="790"/>
          <ac:spMkLst>
            <pc:docMk/>
            <pc:sldMk cId="3682167214" sldId="777"/>
            <ac:spMk id="9" creationId="{699E85FC-CC8B-9111-8F56-43793634A766}"/>
          </ac:spMkLst>
        </pc:spChg>
        <pc:spChg chg="mod">
          <ac:chgData name="KevCla12" userId="ef2eb634-4620-450f-93cc-80cc93397e60" providerId="ADAL" clId="{0BF56A33-4BC5-423F-96C0-6A8645FA96BB}" dt="2023-12-03T21:48:06.491" v="31012" actId="790"/>
          <ac:spMkLst>
            <pc:docMk/>
            <pc:sldMk cId="3682167214" sldId="777"/>
            <ac:spMk id="19" creationId="{46C5C4F0-09C2-58C6-CF04-F4C55D7288B2}"/>
          </ac:spMkLst>
        </pc:spChg>
        <pc:spChg chg="mod">
          <ac:chgData name="KevCla12" userId="ef2eb634-4620-450f-93cc-80cc93397e60" providerId="ADAL" clId="{0BF56A33-4BC5-423F-96C0-6A8645FA96BB}" dt="2023-12-03T21:48:06.492" v="31013" actId="790"/>
          <ac:spMkLst>
            <pc:docMk/>
            <pc:sldMk cId="3682167214" sldId="777"/>
            <ac:spMk id="20" creationId="{BEF8F405-057D-C376-5A9E-6D030F17C460}"/>
          </ac:spMkLst>
        </pc:spChg>
        <pc:spChg chg="mod">
          <ac:chgData name="KevCla12" userId="ef2eb634-4620-450f-93cc-80cc93397e60" providerId="ADAL" clId="{0BF56A33-4BC5-423F-96C0-6A8645FA96BB}" dt="2023-12-03T21:48:06.493" v="31014" actId="790"/>
          <ac:spMkLst>
            <pc:docMk/>
            <pc:sldMk cId="3682167214" sldId="777"/>
            <ac:spMk id="21" creationId="{46D9CCF1-7905-261B-CC31-B848E0FCA188}"/>
          </ac:spMkLst>
        </pc:spChg>
        <pc:spChg chg="mod">
          <ac:chgData name="KevCla12" userId="ef2eb634-4620-450f-93cc-80cc93397e60" providerId="ADAL" clId="{0BF56A33-4BC5-423F-96C0-6A8645FA96BB}" dt="2023-12-03T21:48:06.494" v="31015" actId="790"/>
          <ac:spMkLst>
            <pc:docMk/>
            <pc:sldMk cId="3682167214" sldId="777"/>
            <ac:spMk id="22" creationId="{7C6AFB4E-7607-D9FA-3282-E892E963808D}"/>
          </ac:spMkLst>
        </pc:spChg>
        <pc:spChg chg="mod">
          <ac:chgData name="KevCla12" userId="ef2eb634-4620-450f-93cc-80cc93397e60" providerId="ADAL" clId="{0BF56A33-4BC5-423F-96C0-6A8645FA96BB}" dt="2023-12-03T21:48:06.495" v="31016" actId="790"/>
          <ac:spMkLst>
            <pc:docMk/>
            <pc:sldMk cId="3682167214" sldId="777"/>
            <ac:spMk id="23" creationId="{211F994C-D8BF-BFAC-B927-D7D000DBA7E1}"/>
          </ac:spMkLst>
        </pc:spChg>
        <pc:spChg chg="mod">
          <ac:chgData name="KevCla12" userId="ef2eb634-4620-450f-93cc-80cc93397e60" providerId="ADAL" clId="{0BF56A33-4BC5-423F-96C0-6A8645FA96BB}" dt="2023-12-03T21:48:06.496" v="31017" actId="790"/>
          <ac:spMkLst>
            <pc:docMk/>
            <pc:sldMk cId="3682167214" sldId="777"/>
            <ac:spMk id="24" creationId="{2F8817F4-9821-4B94-0467-54E9491498A1}"/>
          </ac:spMkLst>
        </pc:spChg>
        <pc:spChg chg="mod">
          <ac:chgData name="KevCla12" userId="ef2eb634-4620-450f-93cc-80cc93397e60" providerId="ADAL" clId="{0BF56A33-4BC5-423F-96C0-6A8645FA96BB}" dt="2023-12-03T21:48:06.497" v="31018" actId="790"/>
          <ac:spMkLst>
            <pc:docMk/>
            <pc:sldMk cId="3682167214" sldId="777"/>
            <ac:spMk id="25" creationId="{C0012D56-0C57-C562-0C1F-EC7236A35210}"/>
          </ac:spMkLst>
        </pc:spChg>
        <pc:spChg chg="mod">
          <ac:chgData name="KevCla12" userId="ef2eb634-4620-450f-93cc-80cc93397e60" providerId="ADAL" clId="{0BF56A33-4BC5-423F-96C0-6A8645FA96BB}" dt="2023-12-03T21:48:06.499" v="31019" actId="790"/>
          <ac:spMkLst>
            <pc:docMk/>
            <pc:sldMk cId="3682167214" sldId="777"/>
            <ac:spMk id="26" creationId="{4E589314-374D-2675-F875-A66933C66CBB}"/>
          </ac:spMkLst>
        </pc:spChg>
        <pc:spChg chg="mod">
          <ac:chgData name="KevCla12" userId="ef2eb634-4620-450f-93cc-80cc93397e60" providerId="ADAL" clId="{0BF56A33-4BC5-423F-96C0-6A8645FA96BB}" dt="2023-12-03T21:48:06.500" v="31020" actId="790"/>
          <ac:spMkLst>
            <pc:docMk/>
            <pc:sldMk cId="3682167214" sldId="777"/>
            <ac:spMk id="28" creationId="{78C67AB8-A746-D555-1B61-A77558ED6C89}"/>
          </ac:spMkLst>
        </pc:spChg>
        <pc:spChg chg="mod">
          <ac:chgData name="KevCla12" userId="ef2eb634-4620-450f-93cc-80cc93397e60" providerId="ADAL" clId="{0BF56A33-4BC5-423F-96C0-6A8645FA96BB}" dt="2023-12-03T21:48:06.513" v="31031" actId="790"/>
          <ac:spMkLst>
            <pc:docMk/>
            <pc:sldMk cId="3682167214" sldId="777"/>
            <ac:spMk id="43" creationId="{0F5EC787-974B-EEF8-2999-42C9E8356053}"/>
          </ac:spMkLst>
        </pc:spChg>
        <pc:spChg chg="mod">
          <ac:chgData name="KevCla12" userId="ef2eb634-4620-450f-93cc-80cc93397e60" providerId="ADAL" clId="{0BF56A33-4BC5-423F-96C0-6A8645FA96BB}" dt="2023-12-03T21:48:06.514" v="31032" actId="790"/>
          <ac:spMkLst>
            <pc:docMk/>
            <pc:sldMk cId="3682167214" sldId="777"/>
            <ac:spMk id="45" creationId="{95299228-6CFB-1F3C-315B-DC4E613967EE}"/>
          </ac:spMkLst>
        </pc:spChg>
        <pc:spChg chg="mod">
          <ac:chgData name="KevCla12" userId="ef2eb634-4620-450f-93cc-80cc93397e60" providerId="ADAL" clId="{0BF56A33-4BC5-423F-96C0-6A8645FA96BB}" dt="2023-12-03T21:48:06.502" v="31021" actId="790"/>
          <ac:spMkLst>
            <pc:docMk/>
            <pc:sldMk cId="3682167214" sldId="777"/>
            <ac:spMk id="46" creationId="{EBCD4002-8B5D-8EE7-5614-6C190B68B558}"/>
          </ac:spMkLst>
        </pc:spChg>
        <pc:spChg chg="mod">
          <ac:chgData name="KevCla12" userId="ef2eb634-4620-450f-93cc-80cc93397e60" providerId="ADAL" clId="{0BF56A33-4BC5-423F-96C0-6A8645FA96BB}" dt="2023-12-03T21:48:06.503" v="31022" actId="790"/>
          <ac:spMkLst>
            <pc:docMk/>
            <pc:sldMk cId="3682167214" sldId="777"/>
            <ac:spMk id="47" creationId="{FAFFD6AA-FF9A-FBE7-C8BB-9B69E916EDA5}"/>
          </ac:spMkLst>
        </pc:spChg>
        <pc:spChg chg="mod">
          <ac:chgData name="KevCla12" userId="ef2eb634-4620-450f-93cc-80cc93397e60" providerId="ADAL" clId="{0BF56A33-4BC5-423F-96C0-6A8645FA96BB}" dt="2023-12-03T21:48:06.504" v="31023" actId="790"/>
          <ac:spMkLst>
            <pc:docMk/>
            <pc:sldMk cId="3682167214" sldId="777"/>
            <ac:spMk id="48" creationId="{D63AC78F-783B-FEAA-03EC-8084E9C485F2}"/>
          </ac:spMkLst>
        </pc:spChg>
        <pc:spChg chg="mod">
          <ac:chgData name="KevCla12" userId="ef2eb634-4620-450f-93cc-80cc93397e60" providerId="ADAL" clId="{0BF56A33-4BC5-423F-96C0-6A8645FA96BB}" dt="2023-12-03T21:48:06.505" v="31024" actId="790"/>
          <ac:spMkLst>
            <pc:docMk/>
            <pc:sldMk cId="3682167214" sldId="777"/>
            <ac:spMk id="49" creationId="{6DD7FA76-8B93-02AE-EF61-FDC49C74F94D}"/>
          </ac:spMkLst>
        </pc:spChg>
        <pc:spChg chg="mod">
          <ac:chgData name="KevCla12" userId="ef2eb634-4620-450f-93cc-80cc93397e60" providerId="ADAL" clId="{0BF56A33-4BC5-423F-96C0-6A8645FA96BB}" dt="2023-12-03T21:48:06.506" v="31025" actId="790"/>
          <ac:spMkLst>
            <pc:docMk/>
            <pc:sldMk cId="3682167214" sldId="777"/>
            <ac:spMk id="50" creationId="{4ACBDBF0-FA3C-A742-A0C8-8626EB6C07B1}"/>
          </ac:spMkLst>
        </pc:spChg>
        <pc:spChg chg="mod">
          <ac:chgData name="KevCla12" userId="ef2eb634-4620-450f-93cc-80cc93397e60" providerId="ADAL" clId="{0BF56A33-4BC5-423F-96C0-6A8645FA96BB}" dt="2023-12-03T21:48:06.508" v="31026" actId="790"/>
          <ac:spMkLst>
            <pc:docMk/>
            <pc:sldMk cId="3682167214" sldId="777"/>
            <ac:spMk id="51" creationId="{CE302C20-6061-8358-453E-35C08DC071A7}"/>
          </ac:spMkLst>
        </pc:spChg>
        <pc:spChg chg="mod">
          <ac:chgData name="KevCla12" userId="ef2eb634-4620-450f-93cc-80cc93397e60" providerId="ADAL" clId="{0BF56A33-4BC5-423F-96C0-6A8645FA96BB}" dt="2023-12-03T21:48:06.509" v="31027" actId="790"/>
          <ac:spMkLst>
            <pc:docMk/>
            <pc:sldMk cId="3682167214" sldId="777"/>
            <ac:spMk id="52" creationId="{2DDBC32F-575F-DDEE-B23E-B8DADA0C34DD}"/>
          </ac:spMkLst>
        </pc:spChg>
        <pc:spChg chg="mod">
          <ac:chgData name="KevCla12" userId="ef2eb634-4620-450f-93cc-80cc93397e60" providerId="ADAL" clId="{0BF56A33-4BC5-423F-96C0-6A8645FA96BB}" dt="2023-12-03T21:48:06.510" v="31028" actId="790"/>
          <ac:spMkLst>
            <pc:docMk/>
            <pc:sldMk cId="3682167214" sldId="777"/>
            <ac:spMk id="53" creationId="{EEF1126B-6243-E7CD-0EA0-C53E6DEFC02B}"/>
          </ac:spMkLst>
        </pc:spChg>
        <pc:spChg chg="mod">
          <ac:chgData name="KevCla12" userId="ef2eb634-4620-450f-93cc-80cc93397e60" providerId="ADAL" clId="{0BF56A33-4BC5-423F-96C0-6A8645FA96BB}" dt="2023-12-03T21:48:06.515" v="31033" actId="790"/>
          <ac:spMkLst>
            <pc:docMk/>
            <pc:sldMk cId="3682167214" sldId="777"/>
            <ac:spMk id="55" creationId="{BBB8832A-7BDB-A245-9DFA-0319A343B55F}"/>
          </ac:spMkLst>
        </pc:spChg>
        <pc:spChg chg="mod">
          <ac:chgData name="KevCla12" userId="ef2eb634-4620-450f-93cc-80cc93397e60" providerId="ADAL" clId="{0BF56A33-4BC5-423F-96C0-6A8645FA96BB}" dt="2023-12-03T21:48:06.516" v="31034" actId="790"/>
          <ac:spMkLst>
            <pc:docMk/>
            <pc:sldMk cId="3682167214" sldId="777"/>
            <ac:spMk id="57" creationId="{D77C15DC-B344-F57A-50A8-D5067791CD29}"/>
          </ac:spMkLst>
        </pc:spChg>
        <pc:spChg chg="mod">
          <ac:chgData name="KevCla12" userId="ef2eb634-4620-450f-93cc-80cc93397e60" providerId="ADAL" clId="{0BF56A33-4BC5-423F-96C0-6A8645FA96BB}" dt="2023-12-03T21:48:06.517" v="31035" actId="790"/>
          <ac:spMkLst>
            <pc:docMk/>
            <pc:sldMk cId="3682167214" sldId="777"/>
            <ac:spMk id="59" creationId="{0E55C272-0C59-ADA2-063D-8956E230F834}"/>
          </ac:spMkLst>
        </pc:spChg>
        <pc:spChg chg="mod">
          <ac:chgData name="KevCla12" userId="ef2eb634-4620-450f-93cc-80cc93397e60" providerId="ADAL" clId="{0BF56A33-4BC5-423F-96C0-6A8645FA96BB}" dt="2023-12-03T21:48:06.517" v="31036" actId="790"/>
          <ac:spMkLst>
            <pc:docMk/>
            <pc:sldMk cId="3682167214" sldId="777"/>
            <ac:spMk id="60" creationId="{3C120F2B-3CAB-A6F6-2645-1D8891CF1ED1}"/>
          </ac:spMkLst>
        </pc:spChg>
        <pc:spChg chg="mod">
          <ac:chgData name="KevCla12" userId="ef2eb634-4620-450f-93cc-80cc93397e60" providerId="ADAL" clId="{0BF56A33-4BC5-423F-96C0-6A8645FA96BB}" dt="2023-12-03T21:48:06.518" v="31037" actId="790"/>
          <ac:spMkLst>
            <pc:docMk/>
            <pc:sldMk cId="3682167214" sldId="777"/>
            <ac:spMk id="64" creationId="{BF973445-31A3-A51C-1D2D-6670A4C9A344}"/>
          </ac:spMkLst>
        </pc:spChg>
        <pc:spChg chg="mod">
          <ac:chgData name="KevCla12" userId="ef2eb634-4620-450f-93cc-80cc93397e60" providerId="ADAL" clId="{0BF56A33-4BC5-423F-96C0-6A8645FA96BB}" dt="2023-12-03T21:48:06.519" v="31038" actId="790"/>
          <ac:spMkLst>
            <pc:docMk/>
            <pc:sldMk cId="3682167214" sldId="777"/>
            <ac:spMk id="65" creationId="{55FBDA2C-4C00-B961-2903-ADDB054C122A}"/>
          </ac:spMkLst>
        </pc:spChg>
        <pc:spChg chg="mod">
          <ac:chgData name="KevCla12" userId="ef2eb634-4620-450f-93cc-80cc93397e60" providerId="ADAL" clId="{0BF56A33-4BC5-423F-96C0-6A8645FA96BB}" dt="2023-12-03T21:48:06.520" v="31039" actId="790"/>
          <ac:spMkLst>
            <pc:docMk/>
            <pc:sldMk cId="3682167214" sldId="777"/>
            <ac:spMk id="66" creationId="{8CF4F200-C01B-442B-AE94-B795C8D4AED7}"/>
          </ac:spMkLst>
        </pc:spChg>
        <pc:spChg chg="mod">
          <ac:chgData name="KevCla12" userId="ef2eb634-4620-450f-93cc-80cc93397e60" providerId="ADAL" clId="{0BF56A33-4BC5-423F-96C0-6A8645FA96BB}" dt="2023-12-03T21:48:06.521" v="31040" actId="790"/>
          <ac:spMkLst>
            <pc:docMk/>
            <pc:sldMk cId="3682167214" sldId="777"/>
            <ac:spMk id="67" creationId="{A159A8A3-FCFA-51B4-9415-3264F822E68F}"/>
          </ac:spMkLst>
        </pc:spChg>
        <pc:spChg chg="mod">
          <ac:chgData name="KevCla12" userId="ef2eb634-4620-450f-93cc-80cc93397e60" providerId="ADAL" clId="{0BF56A33-4BC5-423F-96C0-6A8645FA96BB}" dt="2023-12-03T21:48:06.522" v="31041" actId="790"/>
          <ac:spMkLst>
            <pc:docMk/>
            <pc:sldMk cId="3682167214" sldId="777"/>
            <ac:spMk id="68" creationId="{D3988A56-E241-FE0A-30DB-98B4B3EDD950}"/>
          </ac:spMkLst>
        </pc:spChg>
        <pc:spChg chg="mod">
          <ac:chgData name="KevCla12" userId="ef2eb634-4620-450f-93cc-80cc93397e60" providerId="ADAL" clId="{0BF56A33-4BC5-423F-96C0-6A8645FA96BB}" dt="2023-12-03T21:48:06.523" v="31042" actId="790"/>
          <ac:spMkLst>
            <pc:docMk/>
            <pc:sldMk cId="3682167214" sldId="777"/>
            <ac:spMk id="69" creationId="{675DDD7D-559B-1638-5580-DE78CA366E4B}"/>
          </ac:spMkLst>
        </pc:spChg>
        <pc:spChg chg="mod">
          <ac:chgData name="KevCla12" userId="ef2eb634-4620-450f-93cc-80cc93397e60" providerId="ADAL" clId="{0BF56A33-4BC5-423F-96C0-6A8645FA96BB}" dt="2023-12-03T21:48:06.525" v="31043" actId="790"/>
          <ac:spMkLst>
            <pc:docMk/>
            <pc:sldMk cId="3682167214" sldId="777"/>
            <ac:spMk id="70" creationId="{E7687683-BDDE-EF9E-1B39-183C4D8F62BF}"/>
          </ac:spMkLst>
        </pc:spChg>
        <pc:spChg chg="mod">
          <ac:chgData name="KevCla12" userId="ef2eb634-4620-450f-93cc-80cc93397e60" providerId="ADAL" clId="{0BF56A33-4BC5-423F-96C0-6A8645FA96BB}" dt="2023-12-03T21:48:06.526" v="31044" actId="790"/>
          <ac:spMkLst>
            <pc:docMk/>
            <pc:sldMk cId="3682167214" sldId="777"/>
            <ac:spMk id="71" creationId="{1C2CEDB9-2E34-5956-5C35-7BB38B4E09C6}"/>
          </ac:spMkLst>
        </pc:spChg>
        <pc:spChg chg="mod">
          <ac:chgData name="KevCla12" userId="ef2eb634-4620-450f-93cc-80cc93397e60" providerId="ADAL" clId="{0BF56A33-4BC5-423F-96C0-6A8645FA96BB}" dt="2023-12-03T21:48:06.528" v="31045" actId="790"/>
          <ac:spMkLst>
            <pc:docMk/>
            <pc:sldMk cId="3682167214" sldId="777"/>
            <ac:spMk id="72" creationId="{3CDB64C4-AB67-2152-5D2C-668769DC4A31}"/>
          </ac:spMkLst>
        </pc:spChg>
        <pc:spChg chg="mod">
          <ac:chgData name="KevCla12" userId="ef2eb634-4620-450f-93cc-80cc93397e60" providerId="ADAL" clId="{0BF56A33-4BC5-423F-96C0-6A8645FA96BB}" dt="2023-12-03T21:48:06.550" v="31046" actId="790"/>
          <ac:spMkLst>
            <pc:docMk/>
            <pc:sldMk cId="3682167214" sldId="777"/>
            <ac:spMk id="73" creationId="{14A5680C-31F3-C47C-B756-CD8890BEA372}"/>
          </ac:spMkLst>
        </pc:spChg>
        <pc:graphicFrameChg chg="mod">
          <ac:chgData name="KevCla12" userId="ef2eb634-4620-450f-93cc-80cc93397e60" providerId="ADAL" clId="{0BF56A33-4BC5-423F-96C0-6A8645FA96BB}" dt="2023-12-02T16:21:26.078" v="11761" actId="403"/>
          <ac:graphicFrameMkLst>
            <pc:docMk/>
            <pc:sldMk cId="3682167214" sldId="777"/>
            <ac:graphicFrameMk id="11" creationId="{C2227FC4-2A6A-340C-8045-710EFEEDA04A}"/>
          </ac:graphicFrameMkLst>
        </pc:graphicFrameChg>
        <pc:graphicFrameChg chg="mod">
          <ac:chgData name="KevCla12" userId="ef2eb634-4620-450f-93cc-80cc93397e60" providerId="ADAL" clId="{0BF56A33-4BC5-423F-96C0-6A8645FA96BB}" dt="2023-12-02T16:21:35.559" v="11763" actId="404"/>
          <ac:graphicFrameMkLst>
            <pc:docMk/>
            <pc:sldMk cId="3682167214" sldId="777"/>
            <ac:graphicFrameMk id="29" creationId="{4915985B-F919-6C59-E1AC-425C038DFB11}"/>
          </ac:graphicFrameMkLst>
        </pc:graphicFrameChg>
        <pc:cxnChg chg="mod">
          <ac:chgData name="KevCla12" userId="ef2eb634-4620-450f-93cc-80cc93397e60" providerId="ADAL" clId="{0BF56A33-4BC5-423F-96C0-6A8645FA96BB}" dt="2023-12-02T17:32:19.314" v="12591" actId="208"/>
          <ac:cxnSpMkLst>
            <pc:docMk/>
            <pc:sldMk cId="3682167214" sldId="777"/>
            <ac:cxnSpMk id="12" creationId="{597D3BB5-195B-DA96-F287-1FACD5D978DB}"/>
          </ac:cxnSpMkLst>
        </pc:cxnChg>
      </pc:sldChg>
      <pc:sldChg chg="modSp add del mod modNotes">
        <pc:chgData name="KevCla12" userId="ef2eb634-4620-450f-93cc-80cc93397e60" providerId="ADAL" clId="{0BF56A33-4BC5-423F-96C0-6A8645FA96BB}" dt="2023-12-03T21:48:06.482" v="31007" actId="790"/>
        <pc:sldMkLst>
          <pc:docMk/>
          <pc:sldMk cId="816236436" sldId="778"/>
        </pc:sldMkLst>
        <pc:spChg chg="mod">
          <ac:chgData name="KevCla12" userId="ef2eb634-4620-450f-93cc-80cc93397e60" providerId="ADAL" clId="{0BF56A33-4BC5-423F-96C0-6A8645FA96BB}" dt="2023-12-03T21:48:06.447" v="31000" actId="790"/>
          <ac:spMkLst>
            <pc:docMk/>
            <pc:sldMk cId="816236436" sldId="778"/>
            <ac:spMk id="2" creationId="{8CEF301C-70FA-841E-5063-4EFC043890CE}"/>
          </ac:spMkLst>
        </pc:spChg>
        <pc:spChg chg="mod">
          <ac:chgData name="KevCla12" userId="ef2eb634-4620-450f-93cc-80cc93397e60" providerId="ADAL" clId="{0BF56A33-4BC5-423F-96C0-6A8645FA96BB}" dt="2023-12-03T21:48:06.448" v="31001" actId="790"/>
          <ac:spMkLst>
            <pc:docMk/>
            <pc:sldMk cId="816236436" sldId="778"/>
            <ac:spMk id="4" creationId="{5DC69901-D46F-ED8C-10D2-9DA701738AA0}"/>
          </ac:spMkLst>
        </pc:spChg>
        <pc:spChg chg="mod">
          <ac:chgData name="KevCla12" userId="ef2eb634-4620-450f-93cc-80cc93397e60" providerId="ADAL" clId="{0BF56A33-4BC5-423F-96C0-6A8645FA96BB}" dt="2023-12-03T21:48:06.449" v="31002" actId="790"/>
          <ac:spMkLst>
            <pc:docMk/>
            <pc:sldMk cId="816236436" sldId="778"/>
            <ac:spMk id="5" creationId="{FCC1C85E-6A95-3E21-E40C-5FF5C80DBB75}"/>
          </ac:spMkLst>
        </pc:spChg>
        <pc:spChg chg="mod">
          <ac:chgData name="KevCla12" userId="ef2eb634-4620-450f-93cc-80cc93397e60" providerId="ADAL" clId="{0BF56A33-4BC5-423F-96C0-6A8645FA96BB}" dt="2023-12-03T21:48:06.450" v="31003" actId="790"/>
          <ac:spMkLst>
            <pc:docMk/>
            <pc:sldMk cId="816236436" sldId="778"/>
            <ac:spMk id="6" creationId="{1710318E-2F2D-172F-1C63-04DB50A3DA92}"/>
          </ac:spMkLst>
        </pc:spChg>
        <pc:spChg chg="mod">
          <ac:chgData name="KevCla12" userId="ef2eb634-4620-450f-93cc-80cc93397e60" providerId="ADAL" clId="{0BF56A33-4BC5-423F-96C0-6A8645FA96BB}" dt="2023-12-03T21:48:06.451" v="31004" actId="790"/>
          <ac:spMkLst>
            <pc:docMk/>
            <pc:sldMk cId="816236436" sldId="778"/>
            <ac:spMk id="7" creationId="{B696F7C0-23FD-2C6B-F7E3-632B5DE7779D}"/>
          </ac:spMkLst>
        </pc:spChg>
        <pc:spChg chg="mod">
          <ac:chgData name="KevCla12" userId="ef2eb634-4620-450f-93cc-80cc93397e60" providerId="ADAL" clId="{0BF56A33-4BC5-423F-96C0-6A8645FA96BB}" dt="2023-12-03T21:48:06.480" v="31005" actId="790"/>
          <ac:spMkLst>
            <pc:docMk/>
            <pc:sldMk cId="816236436" sldId="778"/>
            <ac:spMk id="13" creationId="{5B553B68-2E22-451A-3121-B2CE3115C6A5}"/>
          </ac:spMkLst>
        </pc:spChg>
      </pc:sldChg>
      <pc:sldChg chg="addSp delSp modSp add del mod ord delCm modNotes">
        <pc:chgData name="KevCla12" userId="ef2eb634-4620-450f-93cc-80cc93397e60" providerId="ADAL" clId="{0BF56A33-4BC5-423F-96C0-6A8645FA96BB}" dt="2023-12-03T21:48:06.294" v="30926" actId="790"/>
        <pc:sldMkLst>
          <pc:docMk/>
          <pc:sldMk cId="2528291820" sldId="779"/>
        </pc:sldMkLst>
        <pc:spChg chg="mod">
          <ac:chgData name="KevCla12" userId="ef2eb634-4620-450f-93cc-80cc93397e60" providerId="ADAL" clId="{0BF56A33-4BC5-423F-96C0-6A8645FA96BB}" dt="2023-12-03T21:48:06.245" v="30918" actId="790"/>
          <ac:spMkLst>
            <pc:docMk/>
            <pc:sldMk cId="2528291820" sldId="779"/>
            <ac:spMk id="2" creationId="{FADC227B-84CF-6278-1533-5EC3EAB2B8AD}"/>
          </ac:spMkLst>
        </pc:spChg>
        <pc:spChg chg="mod">
          <ac:chgData name="KevCla12" userId="ef2eb634-4620-450f-93cc-80cc93397e60" providerId="ADAL" clId="{0BF56A33-4BC5-423F-96C0-6A8645FA96BB}" dt="2023-12-03T21:48:06.247" v="30919" actId="790"/>
          <ac:spMkLst>
            <pc:docMk/>
            <pc:sldMk cId="2528291820" sldId="779"/>
            <ac:spMk id="4" creationId="{5F1682A5-FC6A-3683-70C2-01763354D70E}"/>
          </ac:spMkLst>
        </pc:spChg>
        <pc:spChg chg="mod">
          <ac:chgData name="KevCla12" userId="ef2eb634-4620-450f-93cc-80cc93397e60" providerId="ADAL" clId="{0BF56A33-4BC5-423F-96C0-6A8645FA96BB}" dt="2023-12-03T21:48:06.249" v="30920" actId="790"/>
          <ac:spMkLst>
            <pc:docMk/>
            <pc:sldMk cId="2528291820" sldId="779"/>
            <ac:spMk id="5" creationId="{120B708C-C705-AA4A-9BE0-ED7E532D9E1B}"/>
          </ac:spMkLst>
        </pc:spChg>
        <pc:spChg chg="mod">
          <ac:chgData name="KevCla12" userId="ef2eb634-4620-450f-93cc-80cc93397e60" providerId="ADAL" clId="{0BF56A33-4BC5-423F-96C0-6A8645FA96BB}" dt="2023-12-03T21:48:06.251" v="30921" actId="790"/>
          <ac:spMkLst>
            <pc:docMk/>
            <pc:sldMk cId="2528291820" sldId="779"/>
            <ac:spMk id="6" creationId="{CB9C63BF-B636-53C4-4914-39D50EF9382A}"/>
          </ac:spMkLst>
        </pc:spChg>
        <pc:spChg chg="mod">
          <ac:chgData name="KevCla12" userId="ef2eb634-4620-450f-93cc-80cc93397e60" providerId="ADAL" clId="{0BF56A33-4BC5-423F-96C0-6A8645FA96BB}" dt="2023-12-03T21:48:06.252" v="30922" actId="790"/>
          <ac:spMkLst>
            <pc:docMk/>
            <pc:sldMk cId="2528291820" sldId="779"/>
            <ac:spMk id="7" creationId="{4F4F810D-E140-0D4A-0DBA-E542280EE9D7}"/>
          </ac:spMkLst>
        </pc:spChg>
        <pc:spChg chg="add del">
          <ac:chgData name="KevCla12" userId="ef2eb634-4620-450f-93cc-80cc93397e60" providerId="ADAL" clId="{0BF56A33-4BC5-423F-96C0-6A8645FA96BB}" dt="2023-12-02T16:33:15.907" v="11819" actId="22"/>
          <ac:spMkLst>
            <pc:docMk/>
            <pc:sldMk cId="2528291820" sldId="779"/>
            <ac:spMk id="9" creationId="{221C9089-1D71-50A1-BEEA-8295E024DCA0}"/>
          </ac:spMkLst>
        </pc:spChg>
        <pc:spChg chg="mod">
          <ac:chgData name="KevCla12" userId="ef2eb634-4620-450f-93cc-80cc93397e60" providerId="ADAL" clId="{0BF56A33-4BC5-423F-96C0-6A8645FA96BB}" dt="2023-12-03T21:48:06.258" v="30923" actId="790"/>
          <ac:spMkLst>
            <pc:docMk/>
            <pc:sldMk cId="2528291820" sldId="779"/>
            <ac:spMk id="14" creationId="{31DEFB82-76B4-C3C1-71C4-A51245F3E4C4}"/>
          </ac:spMkLst>
        </pc:spChg>
        <pc:spChg chg="mod">
          <ac:chgData name="KevCla12" userId="ef2eb634-4620-450f-93cc-80cc93397e60" providerId="ADAL" clId="{0BF56A33-4BC5-423F-96C0-6A8645FA96BB}" dt="2023-12-03T21:48:06.291" v="30924" actId="790"/>
          <ac:spMkLst>
            <pc:docMk/>
            <pc:sldMk cId="2528291820" sldId="779"/>
            <ac:spMk id="15" creationId="{2801FFE0-5296-F268-FBE1-E6D8ACFB1C84}"/>
          </ac:spMkLst>
        </pc:spChg>
        <pc:graphicFrameChg chg="mod">
          <ac:chgData name="KevCla12" userId="ef2eb634-4620-450f-93cc-80cc93397e60" providerId="ADAL" clId="{0BF56A33-4BC5-423F-96C0-6A8645FA96BB}" dt="2023-12-03T16:39:01.362" v="17443" actId="20577"/>
          <ac:graphicFrameMkLst>
            <pc:docMk/>
            <pc:sldMk cId="2528291820" sldId="779"/>
            <ac:graphicFrameMk id="10" creationId="{B342684C-03FF-32FF-BF35-4A47465D20EE}"/>
          </ac:graphicFrameMkLst>
        </pc:graphicFrameChg>
        <pc:graphicFrameChg chg="mod">
          <ac:chgData name="KevCla12" userId="ef2eb634-4620-450f-93cc-80cc93397e60" providerId="ADAL" clId="{0BF56A33-4BC5-423F-96C0-6A8645FA96BB}" dt="2023-12-02T16:28:30.535" v="11794" actId="1037"/>
          <ac:graphicFrameMkLst>
            <pc:docMk/>
            <pc:sldMk cId="2528291820" sldId="779"/>
            <ac:graphicFrameMk id="11" creationId="{C081B7B7-8414-5A6F-480C-622F2B81C39D}"/>
          </ac:graphicFrameMkLst>
        </pc:graphicFrameChg>
        <pc:graphicFrameChg chg="mod">
          <ac:chgData name="KevCla12" userId="ef2eb634-4620-450f-93cc-80cc93397e60" providerId="ADAL" clId="{0BF56A33-4BC5-423F-96C0-6A8645FA96BB}" dt="2023-12-02T16:28:13.422" v="11785" actId="1076"/>
          <ac:graphicFrameMkLst>
            <pc:docMk/>
            <pc:sldMk cId="2528291820" sldId="779"/>
            <ac:graphicFrameMk id="12" creationId="{2BACFAD5-77C7-440A-A759-2E809484D8DA}"/>
          </ac:graphicFrameMkLst>
        </pc:graphicFrameChg>
        <pc:graphicFrameChg chg="add mod replST">
          <ac:chgData name="KevCla12" userId="ef2eb634-4620-450f-93cc-80cc93397e60" providerId="ADAL" clId="{0BF56A33-4BC5-423F-96C0-6A8645FA96BB}" dt="2023-12-02T16:36:46.506" v="11850" actId="208"/>
          <ac:graphicFrameMkLst>
            <pc:docMk/>
            <pc:sldMk cId="2528291820" sldId="779"/>
            <ac:graphicFrameMk id="16" creationId="{3759936B-E862-F4A7-A5EE-B0E3F05F7035}"/>
          </ac:graphicFrameMkLst>
        </pc:graphicFrameChg>
        <pc:extLst>
          <p:ext xmlns:p="http://schemas.openxmlformats.org/presentationml/2006/main" uri="{D6D511B9-2390-475A-947B-AFAB55BFBCF1}">
            <pc226:cmChg xmlns:pc226="http://schemas.microsoft.com/office/powerpoint/2022/06/main/command" chg="del">
              <pc226:chgData name="KevCla12" userId="ef2eb634-4620-450f-93cc-80cc93397e60" providerId="ADAL" clId="{0BF56A33-4BC5-423F-96C0-6A8645FA96BB}" dt="2023-12-03T19:39:09.773" v="26266"/>
              <pc2:cmMkLst xmlns:pc2="http://schemas.microsoft.com/office/powerpoint/2019/9/main/command">
                <pc:docMk/>
                <pc:sldMk cId="2528291820" sldId="779"/>
                <pc2:cmMk id="{40ABD875-1D0C-4383-8197-34CA10FA809E}"/>
              </pc2:cmMkLst>
            </pc226:cmChg>
          </p:ext>
        </pc:extLst>
      </pc:sldChg>
      <pc:sldChg chg="addSp delSp modSp add del mod ord modCm modNotes">
        <pc:chgData name="KevCla12" userId="ef2eb634-4620-450f-93cc-80cc93397e60" providerId="ADAL" clId="{0BF56A33-4BC5-423F-96C0-6A8645FA96BB}" dt="2023-12-03T21:48:06.343" v="30934" actId="790"/>
        <pc:sldMkLst>
          <pc:docMk/>
          <pc:sldMk cId="2021655579" sldId="780"/>
        </pc:sldMkLst>
        <pc:spChg chg="add del mod modVis">
          <ac:chgData name="KevCla12" userId="ef2eb634-4620-450f-93cc-80cc93397e60" providerId="ADAL" clId="{0BF56A33-4BC5-423F-96C0-6A8645FA96BB}" dt="2023-12-02T15:17:33.225" v="10675"/>
          <ac:spMkLst>
            <pc:docMk/>
            <pc:sldMk cId="2021655579" sldId="780"/>
            <ac:spMk id="3" creationId="{D925BC51-32A3-02EA-852F-D21AA91983DA}"/>
          </ac:spMkLst>
        </pc:spChg>
        <pc:spChg chg="mod ord">
          <ac:chgData name="KevCla12" userId="ef2eb634-4620-450f-93cc-80cc93397e60" providerId="ADAL" clId="{0BF56A33-4BC5-423F-96C0-6A8645FA96BB}" dt="2023-12-03T21:48:06.299" v="30927" actId="790"/>
          <ac:spMkLst>
            <pc:docMk/>
            <pc:sldMk cId="2021655579" sldId="780"/>
            <ac:spMk id="4" creationId="{65031C8A-B73D-A3B1-1237-4589974E064D}"/>
          </ac:spMkLst>
        </pc:spChg>
        <pc:spChg chg="mod ord">
          <ac:chgData name="KevCla12" userId="ef2eb634-4620-450f-93cc-80cc93397e60" providerId="ADAL" clId="{0BF56A33-4BC5-423F-96C0-6A8645FA96BB}" dt="2023-12-03T21:48:06.302" v="30928" actId="790"/>
          <ac:spMkLst>
            <pc:docMk/>
            <pc:sldMk cId="2021655579" sldId="780"/>
            <ac:spMk id="6" creationId="{A7C86C26-4362-6963-9B90-7AA23DE2CFFD}"/>
          </ac:spMkLst>
        </pc:spChg>
        <pc:spChg chg="mod ord">
          <ac:chgData name="KevCla12" userId="ef2eb634-4620-450f-93cc-80cc93397e60" providerId="ADAL" clId="{0BF56A33-4BC5-423F-96C0-6A8645FA96BB}" dt="2023-12-03T21:48:06.304" v="30929" actId="790"/>
          <ac:spMkLst>
            <pc:docMk/>
            <pc:sldMk cId="2021655579" sldId="780"/>
            <ac:spMk id="7" creationId="{C3BE0EFA-37A6-1AAE-9238-A75FB08EEB3B}"/>
          </ac:spMkLst>
        </pc:spChg>
        <pc:spChg chg="add mod">
          <ac:chgData name="KevCla12" userId="ef2eb634-4620-450f-93cc-80cc93397e60" providerId="ADAL" clId="{0BF56A33-4BC5-423F-96C0-6A8645FA96BB}" dt="2023-12-03T21:48:06.341" v="30932" actId="790"/>
          <ac:spMkLst>
            <pc:docMk/>
            <pc:sldMk cId="2021655579" sldId="780"/>
            <ac:spMk id="8" creationId="{574501C7-6ECF-931D-3D51-8B3A6EA5CCE5}"/>
          </ac:spMkLst>
        </pc:spChg>
        <pc:spChg chg="add del mod modVis">
          <ac:chgData name="KevCla12" userId="ef2eb634-4620-450f-93cc-80cc93397e60" providerId="ADAL" clId="{0BF56A33-4BC5-423F-96C0-6A8645FA96BB}" dt="2023-12-02T16:19:25.043" v="11463"/>
          <ac:spMkLst>
            <pc:docMk/>
            <pc:sldMk cId="2021655579" sldId="780"/>
            <ac:spMk id="11" creationId="{3D2C9A67-AB9C-026F-6715-EAF4E9A7BA13}"/>
          </ac:spMkLst>
        </pc:spChg>
        <pc:spChg chg="add del mod modVis">
          <ac:chgData name="KevCla12" userId="ef2eb634-4620-450f-93cc-80cc93397e60" providerId="ADAL" clId="{0BF56A33-4BC5-423F-96C0-6A8645FA96BB}" dt="2023-12-02T16:19:25.757" v="11491"/>
          <ac:spMkLst>
            <pc:docMk/>
            <pc:sldMk cId="2021655579" sldId="780"/>
            <ac:spMk id="12" creationId="{2D8AFCAE-1126-2A0A-91CF-05D659FE2A83}"/>
          </ac:spMkLst>
        </pc:spChg>
        <pc:spChg chg="mod ord">
          <ac:chgData name="KevCla12" userId="ef2eb634-4620-450f-93cc-80cc93397e60" providerId="ADAL" clId="{0BF56A33-4BC5-423F-96C0-6A8645FA96BB}" dt="2023-12-03T21:48:06.308" v="30930" actId="790"/>
          <ac:spMkLst>
            <pc:docMk/>
            <pc:sldMk cId="2021655579" sldId="780"/>
            <ac:spMk id="13" creationId="{D388B387-A3E7-7EA1-9070-A31F6FA6879C}"/>
          </ac:spMkLst>
        </pc:spChg>
        <pc:spChg chg="mod ord">
          <ac:chgData name="KevCla12" userId="ef2eb634-4620-450f-93cc-80cc93397e60" providerId="ADAL" clId="{0BF56A33-4BC5-423F-96C0-6A8645FA96BB}" dt="2023-12-03T21:48:06.309" v="30931" actId="790"/>
          <ac:spMkLst>
            <pc:docMk/>
            <pc:sldMk cId="2021655579" sldId="780"/>
            <ac:spMk id="14" creationId="{52AA7DD2-BB60-7533-CCFE-8201A4BCA192}"/>
          </ac:spMkLst>
        </pc:spChg>
        <pc:spChg chg="del mod">
          <ac:chgData name="KevCla12" userId="ef2eb634-4620-450f-93cc-80cc93397e60" providerId="ADAL" clId="{0BF56A33-4BC5-423F-96C0-6A8645FA96BB}" dt="2023-12-02T15:10:45.790" v="10580" actId="478"/>
          <ac:spMkLst>
            <pc:docMk/>
            <pc:sldMk cId="2021655579" sldId="780"/>
            <ac:spMk id="15" creationId="{4EC6CD5C-3F06-1053-82C1-D878CD59DEE3}"/>
          </ac:spMkLst>
        </pc:spChg>
        <pc:spChg chg="add del mod modVis">
          <ac:chgData name="KevCla12" userId="ef2eb634-4620-450f-93cc-80cc93397e60" providerId="ADAL" clId="{0BF56A33-4BC5-423F-96C0-6A8645FA96BB}" dt="2023-12-02T16:19:28.517" v="11522"/>
          <ac:spMkLst>
            <pc:docMk/>
            <pc:sldMk cId="2021655579" sldId="780"/>
            <ac:spMk id="16" creationId="{91A54D2C-D1F3-B7AC-5C8A-F0B26E22C579}"/>
          </ac:spMkLst>
        </pc:spChg>
        <pc:spChg chg="add del mod modVis">
          <ac:chgData name="KevCla12" userId="ef2eb634-4620-450f-93cc-80cc93397e60" providerId="ADAL" clId="{0BF56A33-4BC5-423F-96C0-6A8645FA96BB}" dt="2023-12-02T16:19:31.597" v="11555"/>
          <ac:spMkLst>
            <pc:docMk/>
            <pc:sldMk cId="2021655579" sldId="780"/>
            <ac:spMk id="17" creationId="{42BA4AB9-8466-0738-2C96-F0F128900F06}"/>
          </ac:spMkLst>
        </pc:spChg>
        <pc:spChg chg="add del mod modVis">
          <ac:chgData name="KevCla12" userId="ef2eb634-4620-450f-93cc-80cc93397e60" providerId="ADAL" clId="{0BF56A33-4BC5-423F-96C0-6A8645FA96BB}" dt="2023-12-02T16:19:34.681" v="11583"/>
          <ac:spMkLst>
            <pc:docMk/>
            <pc:sldMk cId="2021655579" sldId="780"/>
            <ac:spMk id="18" creationId="{E865CEFA-005C-76AB-F172-5F6E861012BB}"/>
          </ac:spMkLst>
        </pc:spChg>
        <pc:spChg chg="add del mod modVis">
          <ac:chgData name="KevCla12" userId="ef2eb634-4620-450f-93cc-80cc93397e60" providerId="ADAL" clId="{0BF56A33-4BC5-423F-96C0-6A8645FA96BB}" dt="2023-12-02T16:19:38.471" v="11616"/>
          <ac:spMkLst>
            <pc:docMk/>
            <pc:sldMk cId="2021655579" sldId="780"/>
            <ac:spMk id="19" creationId="{684F9C93-2159-08DC-F372-744E85A36FAF}"/>
          </ac:spMkLst>
        </pc:spChg>
        <pc:spChg chg="add del mod modVis">
          <ac:chgData name="KevCla12" userId="ef2eb634-4620-450f-93cc-80cc93397e60" providerId="ADAL" clId="{0BF56A33-4BC5-423F-96C0-6A8645FA96BB}" dt="2023-12-02T16:19:42.054" v="11647"/>
          <ac:spMkLst>
            <pc:docMk/>
            <pc:sldMk cId="2021655579" sldId="780"/>
            <ac:spMk id="20" creationId="{5FE816E6-E6AD-9A08-51FC-8E2ED804A8EE}"/>
          </ac:spMkLst>
        </pc:spChg>
        <pc:spChg chg="add del mod modVis">
          <ac:chgData name="KevCla12" userId="ef2eb634-4620-450f-93cc-80cc93397e60" providerId="ADAL" clId="{0BF56A33-4BC5-423F-96C0-6A8645FA96BB}" dt="2023-12-02T16:19:43.224" v="11680"/>
          <ac:spMkLst>
            <pc:docMk/>
            <pc:sldMk cId="2021655579" sldId="780"/>
            <ac:spMk id="21" creationId="{3A0D1D0F-D2E7-F3AF-EE42-374D4ADE55DC}"/>
          </ac:spMkLst>
        </pc:spChg>
        <pc:spChg chg="add del mod modVis">
          <ac:chgData name="KevCla12" userId="ef2eb634-4620-450f-93cc-80cc93397e60" providerId="ADAL" clId="{0BF56A33-4BC5-423F-96C0-6A8645FA96BB}" dt="2023-12-02T16:19:47.059" v="11723"/>
          <ac:spMkLst>
            <pc:docMk/>
            <pc:sldMk cId="2021655579" sldId="780"/>
            <ac:spMk id="22" creationId="{103964C6-A48D-48CF-2106-B205C750CDC1}"/>
          </ac:spMkLst>
        </pc:spChg>
        <pc:spChg chg="add del mod modVis">
          <ac:chgData name="KevCla12" userId="ef2eb634-4620-450f-93cc-80cc93397e60" providerId="ADAL" clId="{0BF56A33-4BC5-423F-96C0-6A8645FA96BB}" dt="2023-12-02T16:19:48.056" v="11753"/>
          <ac:spMkLst>
            <pc:docMk/>
            <pc:sldMk cId="2021655579" sldId="780"/>
            <ac:spMk id="23" creationId="{40391CD8-43BA-A500-1B6A-51A79136C856}"/>
          </ac:spMkLst>
        </pc:spChg>
        <pc:graphicFrameChg chg="add mod ord replST">
          <ac:chgData name="KevCla12" userId="ef2eb634-4620-450f-93cc-80cc93397e60" providerId="ADAL" clId="{0BF56A33-4BC5-423F-96C0-6A8645FA96BB}" dt="2023-12-03T13:15:32.068" v="12637"/>
          <ac:graphicFrameMkLst>
            <pc:docMk/>
            <pc:sldMk cId="2021655579" sldId="780"/>
            <ac:graphicFrameMk id="2" creationId="{DC5DE451-4FAD-8833-C61B-77EAD7E809C4}"/>
          </ac:graphicFrameMkLst>
        </pc:graphicFrameChg>
        <pc:graphicFrameChg chg="add mod replST">
          <ac:chgData name="KevCla12" userId="ef2eb634-4620-450f-93cc-80cc93397e60" providerId="ADAL" clId="{0BF56A33-4BC5-423F-96C0-6A8645FA96BB}" dt="2023-12-02T16:14:17.280" v="10976" actId="20577"/>
          <ac:graphicFrameMkLst>
            <pc:docMk/>
            <pc:sldMk cId="2021655579" sldId="780"/>
            <ac:graphicFrameMk id="5" creationId="{5100C9E4-704E-4178-A046-CEEE7A2EF08F}"/>
          </ac:graphicFrameMkLst>
        </pc:graphicFrameChg>
        <pc:graphicFrameChg chg="mod">
          <ac:chgData name="KevCla12" userId="ef2eb634-4620-450f-93cc-80cc93397e60" providerId="ADAL" clId="{0BF56A33-4BC5-423F-96C0-6A8645FA96BB}" dt="2023-12-02T16:19:48.059" v="11755"/>
          <ac:graphicFrameMkLst>
            <pc:docMk/>
            <pc:sldMk cId="2021655579" sldId="780"/>
            <ac:graphicFrameMk id="9" creationId="{9D47155B-043F-D268-F962-759AE4634D51}"/>
          </ac:graphicFrameMkLst>
        </pc:graphicFrameChg>
        <pc:graphicFrameChg chg="del mod ord">
          <ac:chgData name="KevCla12" userId="ef2eb634-4620-450f-93cc-80cc93397e60" providerId="ADAL" clId="{0BF56A33-4BC5-423F-96C0-6A8645FA96BB}" dt="2023-12-02T15:17:35.612" v="10678" actId="478"/>
          <ac:graphicFrameMkLst>
            <pc:docMk/>
            <pc:sldMk cId="2021655579" sldId="780"/>
            <ac:graphicFrameMk id="10" creationId="{DC5DE451-4FAD-8833-C61B-77EAD7E809C4}"/>
          </ac:graphicFrameMkLst>
        </pc:graphicFrameChg>
        <pc:extLst>
          <p:ext xmlns:p="http://schemas.openxmlformats.org/presentationml/2006/main" uri="{D6D511B9-2390-475A-947B-AFAB55BFBCF1}">
            <pc226:cmChg xmlns:pc226="http://schemas.microsoft.com/office/powerpoint/2022/06/main/command" chg="mod modRxn">
              <pc226:chgData name="KevCla12" userId="ef2eb634-4620-450f-93cc-80cc93397e60" providerId="ADAL" clId="{0BF56A33-4BC5-423F-96C0-6A8645FA96BB}" dt="2023-12-02T16:19:59.899" v="11757"/>
              <pc2:cmMkLst xmlns:pc2="http://schemas.microsoft.com/office/powerpoint/2019/9/main/command">
                <pc:docMk/>
                <pc:sldMk cId="2021655579" sldId="780"/>
                <pc2:cmMk id="{C389E707-BF44-4FEC-9109-3F9E928F9F99}"/>
              </pc2:cmMkLst>
            </pc226:cmChg>
          </p:ext>
        </pc:extLst>
      </pc:sldChg>
      <pc:sldChg chg="modSp add del mod ord modNotes">
        <pc:chgData name="KevCla12" userId="ef2eb634-4620-450f-93cc-80cc93397e60" providerId="ADAL" clId="{0BF56A33-4BC5-423F-96C0-6A8645FA96BB}" dt="2023-12-03T21:48:06.156" v="30863" actId="790"/>
        <pc:sldMkLst>
          <pc:docMk/>
          <pc:sldMk cId="2388721765" sldId="782"/>
        </pc:sldMkLst>
        <pc:spChg chg="mod">
          <ac:chgData name="KevCla12" userId="ef2eb634-4620-450f-93cc-80cc93397e60" providerId="ADAL" clId="{0BF56A33-4BC5-423F-96C0-6A8645FA96BB}" dt="2023-12-03T21:48:06.110" v="30845" actId="790"/>
          <ac:spMkLst>
            <pc:docMk/>
            <pc:sldMk cId="2388721765" sldId="782"/>
            <ac:spMk id="2" creationId="{DF5986E9-454E-5287-7C7A-DCF30BB4B999}"/>
          </ac:spMkLst>
        </pc:spChg>
        <pc:spChg chg="mod">
          <ac:chgData name="KevCla12" userId="ef2eb634-4620-450f-93cc-80cc93397e60" providerId="ADAL" clId="{0BF56A33-4BC5-423F-96C0-6A8645FA96BB}" dt="2023-12-03T21:48:06.111" v="30846" actId="790"/>
          <ac:spMkLst>
            <pc:docMk/>
            <pc:sldMk cId="2388721765" sldId="782"/>
            <ac:spMk id="4" creationId="{93DD582D-0A07-95A1-8B7D-6E70B930A0AF}"/>
          </ac:spMkLst>
        </pc:spChg>
        <pc:spChg chg="mod">
          <ac:chgData name="KevCla12" userId="ef2eb634-4620-450f-93cc-80cc93397e60" providerId="ADAL" clId="{0BF56A33-4BC5-423F-96C0-6A8645FA96BB}" dt="2023-12-03T21:48:06.113" v="30847" actId="790"/>
          <ac:spMkLst>
            <pc:docMk/>
            <pc:sldMk cId="2388721765" sldId="782"/>
            <ac:spMk id="6" creationId="{A2D454F0-A0E7-7292-CB65-E1E3E76CBDBF}"/>
          </ac:spMkLst>
        </pc:spChg>
        <pc:spChg chg="mod">
          <ac:chgData name="KevCla12" userId="ef2eb634-4620-450f-93cc-80cc93397e60" providerId="ADAL" clId="{0BF56A33-4BC5-423F-96C0-6A8645FA96BB}" dt="2023-12-03T21:48:06.114" v="30848" actId="790"/>
          <ac:spMkLst>
            <pc:docMk/>
            <pc:sldMk cId="2388721765" sldId="782"/>
            <ac:spMk id="7" creationId="{7BBDE659-AFDF-6C75-011B-0DABB14D910A}"/>
          </ac:spMkLst>
        </pc:spChg>
        <pc:spChg chg="mod">
          <ac:chgData name="KevCla12" userId="ef2eb634-4620-450f-93cc-80cc93397e60" providerId="ADAL" clId="{0BF56A33-4BC5-423F-96C0-6A8645FA96BB}" dt="2023-12-03T21:48:06.120" v="30850" actId="790"/>
          <ac:spMkLst>
            <pc:docMk/>
            <pc:sldMk cId="2388721765" sldId="782"/>
            <ac:spMk id="252" creationId="{83DD8E7C-4972-A389-C5C9-F769EC8BEF1D}"/>
          </ac:spMkLst>
        </pc:spChg>
        <pc:spChg chg="mod">
          <ac:chgData name="KevCla12" userId="ef2eb634-4620-450f-93cc-80cc93397e60" providerId="ADAL" clId="{0BF56A33-4BC5-423F-96C0-6A8645FA96BB}" dt="2023-12-03T21:48:06.121" v="30851" actId="790"/>
          <ac:spMkLst>
            <pc:docMk/>
            <pc:sldMk cId="2388721765" sldId="782"/>
            <ac:spMk id="255" creationId="{7E2C2CC5-2EE3-447C-7B02-FCFCEC7F66E6}"/>
          </ac:spMkLst>
        </pc:spChg>
        <pc:spChg chg="mod">
          <ac:chgData name="KevCla12" userId="ef2eb634-4620-450f-93cc-80cc93397e60" providerId="ADAL" clId="{0BF56A33-4BC5-423F-96C0-6A8645FA96BB}" dt="2023-12-03T21:48:06.115" v="30849" actId="790"/>
          <ac:spMkLst>
            <pc:docMk/>
            <pc:sldMk cId="2388721765" sldId="782"/>
            <ac:spMk id="256" creationId="{E7FEA951-3B89-A540-2544-ABB8A0D617C9}"/>
          </ac:spMkLst>
        </pc:spChg>
        <pc:spChg chg="mod">
          <ac:chgData name="KevCla12" userId="ef2eb634-4620-450f-93cc-80cc93397e60" providerId="ADAL" clId="{0BF56A33-4BC5-423F-96C0-6A8645FA96BB}" dt="2023-12-03T21:48:06.122" v="30852" actId="790"/>
          <ac:spMkLst>
            <pc:docMk/>
            <pc:sldMk cId="2388721765" sldId="782"/>
            <ac:spMk id="258" creationId="{F5203B43-A8F7-36A3-3C94-73A6725DE07D}"/>
          </ac:spMkLst>
        </pc:spChg>
        <pc:spChg chg="mod">
          <ac:chgData name="KevCla12" userId="ef2eb634-4620-450f-93cc-80cc93397e60" providerId="ADAL" clId="{0BF56A33-4BC5-423F-96C0-6A8645FA96BB}" dt="2023-12-03T21:48:06.123" v="30853" actId="790"/>
          <ac:spMkLst>
            <pc:docMk/>
            <pc:sldMk cId="2388721765" sldId="782"/>
            <ac:spMk id="259" creationId="{078A7F5A-E9EC-85F1-0B5D-AA2A1D226773}"/>
          </ac:spMkLst>
        </pc:spChg>
        <pc:spChg chg="mod">
          <ac:chgData name="KevCla12" userId="ef2eb634-4620-450f-93cc-80cc93397e60" providerId="ADAL" clId="{0BF56A33-4BC5-423F-96C0-6A8645FA96BB}" dt="2023-12-03T21:48:06.124" v="30854" actId="790"/>
          <ac:spMkLst>
            <pc:docMk/>
            <pc:sldMk cId="2388721765" sldId="782"/>
            <ac:spMk id="260" creationId="{6529392F-0B3C-F407-2814-A223B83430FA}"/>
          </ac:spMkLst>
        </pc:spChg>
        <pc:spChg chg="mod">
          <ac:chgData name="KevCla12" userId="ef2eb634-4620-450f-93cc-80cc93397e60" providerId="ADAL" clId="{0BF56A33-4BC5-423F-96C0-6A8645FA96BB}" dt="2023-12-03T21:48:06.124" v="30855" actId="790"/>
          <ac:spMkLst>
            <pc:docMk/>
            <pc:sldMk cId="2388721765" sldId="782"/>
            <ac:spMk id="261" creationId="{3476C3C8-10A4-CD3F-BC3E-4DE27E6671FA}"/>
          </ac:spMkLst>
        </pc:spChg>
        <pc:spChg chg="mod">
          <ac:chgData name="KevCla12" userId="ef2eb634-4620-450f-93cc-80cc93397e60" providerId="ADAL" clId="{0BF56A33-4BC5-423F-96C0-6A8645FA96BB}" dt="2023-12-03T21:48:06.125" v="30856" actId="790"/>
          <ac:spMkLst>
            <pc:docMk/>
            <pc:sldMk cId="2388721765" sldId="782"/>
            <ac:spMk id="262" creationId="{D88FCA20-590C-4A3D-1E3C-FA5F5DECA78E}"/>
          </ac:spMkLst>
        </pc:spChg>
        <pc:spChg chg="mod">
          <ac:chgData name="KevCla12" userId="ef2eb634-4620-450f-93cc-80cc93397e60" providerId="ADAL" clId="{0BF56A33-4BC5-423F-96C0-6A8645FA96BB}" dt="2023-12-03T21:48:06.126" v="30857" actId="790"/>
          <ac:spMkLst>
            <pc:docMk/>
            <pc:sldMk cId="2388721765" sldId="782"/>
            <ac:spMk id="263" creationId="{997C2250-0825-E60C-DCCA-0389F08A25E6}"/>
          </ac:spMkLst>
        </pc:spChg>
        <pc:spChg chg="mod">
          <ac:chgData name="KevCla12" userId="ef2eb634-4620-450f-93cc-80cc93397e60" providerId="ADAL" clId="{0BF56A33-4BC5-423F-96C0-6A8645FA96BB}" dt="2023-12-03T21:48:06.127" v="30858" actId="790"/>
          <ac:spMkLst>
            <pc:docMk/>
            <pc:sldMk cId="2388721765" sldId="782"/>
            <ac:spMk id="264" creationId="{92FB604A-3102-0572-D352-98A646111A27}"/>
          </ac:spMkLst>
        </pc:spChg>
        <pc:spChg chg="mod">
          <ac:chgData name="KevCla12" userId="ef2eb634-4620-450f-93cc-80cc93397e60" providerId="ADAL" clId="{0BF56A33-4BC5-423F-96C0-6A8645FA96BB}" dt="2023-12-03T21:48:06.128" v="30859" actId="790"/>
          <ac:spMkLst>
            <pc:docMk/>
            <pc:sldMk cId="2388721765" sldId="782"/>
            <ac:spMk id="265" creationId="{D5995F34-41E9-E615-318B-7A104E850EB6}"/>
          </ac:spMkLst>
        </pc:spChg>
        <pc:spChg chg="mod">
          <ac:chgData name="KevCla12" userId="ef2eb634-4620-450f-93cc-80cc93397e60" providerId="ADAL" clId="{0BF56A33-4BC5-423F-96C0-6A8645FA96BB}" dt="2023-12-03T21:48:06.138" v="30860" actId="790"/>
          <ac:spMkLst>
            <pc:docMk/>
            <pc:sldMk cId="2388721765" sldId="782"/>
            <ac:spMk id="266" creationId="{2A0A7785-0C51-E08D-E25C-F5EDC8CD6329}"/>
          </ac:spMkLst>
        </pc:spChg>
        <pc:spChg chg="mod">
          <ac:chgData name="KevCla12" userId="ef2eb634-4620-450f-93cc-80cc93397e60" providerId="ADAL" clId="{0BF56A33-4BC5-423F-96C0-6A8645FA96BB}" dt="2023-12-03T21:48:06.153" v="30861" actId="790"/>
          <ac:spMkLst>
            <pc:docMk/>
            <pc:sldMk cId="2388721765" sldId="782"/>
            <ac:spMk id="268" creationId="{A7A51E26-E2B6-929B-C6F5-F7E1B987B658}"/>
          </ac:spMkLst>
        </pc:spChg>
      </pc:sldChg>
      <pc:sldChg chg="modSp add del mod ord modNotes">
        <pc:chgData name="KevCla12" userId="ef2eb634-4620-450f-93cc-80cc93397e60" providerId="ADAL" clId="{0BF56A33-4BC5-423F-96C0-6A8645FA96BB}" dt="2023-12-03T21:48:06.240" v="30917" actId="790"/>
        <pc:sldMkLst>
          <pc:docMk/>
          <pc:sldMk cId="1176314380" sldId="783"/>
        </pc:sldMkLst>
        <pc:spChg chg="mod">
          <ac:chgData name="KevCla12" userId="ef2eb634-4620-450f-93cc-80cc93397e60" providerId="ADAL" clId="{0BF56A33-4BC5-423F-96C0-6A8645FA96BB}" dt="2023-12-03T21:48:06.163" v="30864" actId="790"/>
          <ac:spMkLst>
            <pc:docMk/>
            <pc:sldMk cId="1176314380" sldId="783"/>
            <ac:spMk id="2" creationId="{4359AE52-0199-E14A-62AC-22ED34E1C40A}"/>
          </ac:spMkLst>
        </pc:spChg>
        <pc:spChg chg="mod">
          <ac:chgData name="KevCla12" userId="ef2eb634-4620-450f-93cc-80cc93397e60" providerId="ADAL" clId="{0BF56A33-4BC5-423F-96C0-6A8645FA96BB}" dt="2023-12-03T21:48:06.163" v="30865" actId="790"/>
          <ac:spMkLst>
            <pc:docMk/>
            <pc:sldMk cId="1176314380" sldId="783"/>
            <ac:spMk id="4" creationId="{A9C0B4EC-B09E-816F-F484-F496E13D15CD}"/>
          </ac:spMkLst>
        </pc:spChg>
        <pc:spChg chg="mod">
          <ac:chgData name="KevCla12" userId="ef2eb634-4620-450f-93cc-80cc93397e60" providerId="ADAL" clId="{0BF56A33-4BC5-423F-96C0-6A8645FA96BB}" dt="2023-12-03T21:48:06.164" v="30866" actId="790"/>
          <ac:spMkLst>
            <pc:docMk/>
            <pc:sldMk cId="1176314380" sldId="783"/>
            <ac:spMk id="5" creationId="{4E672803-9E25-9C67-0B41-743FA8EE74C2}"/>
          </ac:spMkLst>
        </pc:spChg>
        <pc:spChg chg="mod">
          <ac:chgData name="KevCla12" userId="ef2eb634-4620-450f-93cc-80cc93397e60" providerId="ADAL" clId="{0BF56A33-4BC5-423F-96C0-6A8645FA96BB}" dt="2023-12-03T21:48:06.165" v="30867" actId="790"/>
          <ac:spMkLst>
            <pc:docMk/>
            <pc:sldMk cId="1176314380" sldId="783"/>
            <ac:spMk id="6" creationId="{C94563A1-6605-6716-4043-5C33078FCF85}"/>
          </ac:spMkLst>
        </pc:spChg>
        <pc:spChg chg="mod">
          <ac:chgData name="KevCla12" userId="ef2eb634-4620-450f-93cc-80cc93397e60" providerId="ADAL" clId="{0BF56A33-4BC5-423F-96C0-6A8645FA96BB}" dt="2023-12-03T21:48:06.166" v="30868" actId="790"/>
          <ac:spMkLst>
            <pc:docMk/>
            <pc:sldMk cId="1176314380" sldId="783"/>
            <ac:spMk id="7" creationId="{FD735184-84AE-DE84-D93E-BCF5AD5425EB}"/>
          </ac:spMkLst>
        </pc:spChg>
        <pc:spChg chg="mod">
          <ac:chgData name="KevCla12" userId="ef2eb634-4620-450f-93cc-80cc93397e60" providerId="ADAL" clId="{0BF56A33-4BC5-423F-96C0-6A8645FA96BB}" dt="2023-12-03T21:48:06.167" v="30869" actId="790"/>
          <ac:spMkLst>
            <pc:docMk/>
            <pc:sldMk cId="1176314380" sldId="783"/>
            <ac:spMk id="23" creationId="{13880BCA-EDB9-B778-64FC-1F5B7A45A82F}"/>
          </ac:spMkLst>
        </pc:spChg>
        <pc:spChg chg="mod">
          <ac:chgData name="KevCla12" userId="ef2eb634-4620-450f-93cc-80cc93397e60" providerId="ADAL" clId="{0BF56A33-4BC5-423F-96C0-6A8645FA96BB}" dt="2023-12-03T21:48:06.167" v="30870" actId="790"/>
          <ac:spMkLst>
            <pc:docMk/>
            <pc:sldMk cId="1176314380" sldId="783"/>
            <ac:spMk id="24" creationId="{E3F5D543-A151-DC1E-1E1E-02397F7108B7}"/>
          </ac:spMkLst>
        </pc:spChg>
        <pc:spChg chg="mod">
          <ac:chgData name="KevCla12" userId="ef2eb634-4620-450f-93cc-80cc93397e60" providerId="ADAL" clId="{0BF56A33-4BC5-423F-96C0-6A8645FA96BB}" dt="2023-12-03T21:48:06.168" v="30871" actId="790"/>
          <ac:spMkLst>
            <pc:docMk/>
            <pc:sldMk cId="1176314380" sldId="783"/>
            <ac:spMk id="25" creationId="{1E7908AC-8A07-6364-845C-A9FD39EFE179}"/>
          </ac:spMkLst>
        </pc:spChg>
        <pc:spChg chg="mod">
          <ac:chgData name="KevCla12" userId="ef2eb634-4620-450f-93cc-80cc93397e60" providerId="ADAL" clId="{0BF56A33-4BC5-423F-96C0-6A8645FA96BB}" dt="2023-12-03T21:48:06.169" v="30872" actId="790"/>
          <ac:spMkLst>
            <pc:docMk/>
            <pc:sldMk cId="1176314380" sldId="783"/>
            <ac:spMk id="26" creationId="{B761A0F8-AA6B-49F2-AE59-8D100A9CFBBE}"/>
          </ac:spMkLst>
        </pc:spChg>
        <pc:spChg chg="mod">
          <ac:chgData name="KevCla12" userId="ef2eb634-4620-450f-93cc-80cc93397e60" providerId="ADAL" clId="{0BF56A33-4BC5-423F-96C0-6A8645FA96BB}" dt="2023-12-03T21:48:06.169" v="30873" actId="790"/>
          <ac:spMkLst>
            <pc:docMk/>
            <pc:sldMk cId="1176314380" sldId="783"/>
            <ac:spMk id="27" creationId="{FC70E8AF-6D5A-F0FF-D666-73437BA271E9}"/>
          </ac:spMkLst>
        </pc:spChg>
        <pc:spChg chg="mod">
          <ac:chgData name="KevCla12" userId="ef2eb634-4620-450f-93cc-80cc93397e60" providerId="ADAL" clId="{0BF56A33-4BC5-423F-96C0-6A8645FA96BB}" dt="2023-12-03T21:48:06.170" v="30874" actId="790"/>
          <ac:spMkLst>
            <pc:docMk/>
            <pc:sldMk cId="1176314380" sldId="783"/>
            <ac:spMk id="28" creationId="{3F5CD840-B5D7-07B9-751A-F65FBEC41C5F}"/>
          </ac:spMkLst>
        </pc:spChg>
        <pc:spChg chg="mod">
          <ac:chgData name="KevCla12" userId="ef2eb634-4620-450f-93cc-80cc93397e60" providerId="ADAL" clId="{0BF56A33-4BC5-423F-96C0-6A8645FA96BB}" dt="2023-12-03T21:48:06.171" v="30875" actId="790"/>
          <ac:spMkLst>
            <pc:docMk/>
            <pc:sldMk cId="1176314380" sldId="783"/>
            <ac:spMk id="29" creationId="{F560DB81-4E90-9921-FE07-03F868FD4D14}"/>
          </ac:spMkLst>
        </pc:spChg>
        <pc:spChg chg="mod">
          <ac:chgData name="KevCla12" userId="ef2eb634-4620-450f-93cc-80cc93397e60" providerId="ADAL" clId="{0BF56A33-4BC5-423F-96C0-6A8645FA96BB}" dt="2023-12-03T21:48:06.171" v="30876" actId="790"/>
          <ac:spMkLst>
            <pc:docMk/>
            <pc:sldMk cId="1176314380" sldId="783"/>
            <ac:spMk id="30" creationId="{D2CCC0F1-298E-F497-497F-1634B2B8AC59}"/>
          </ac:spMkLst>
        </pc:spChg>
        <pc:spChg chg="mod">
          <ac:chgData name="KevCla12" userId="ef2eb634-4620-450f-93cc-80cc93397e60" providerId="ADAL" clId="{0BF56A33-4BC5-423F-96C0-6A8645FA96BB}" dt="2023-12-03T21:48:06.172" v="30877" actId="790"/>
          <ac:spMkLst>
            <pc:docMk/>
            <pc:sldMk cId="1176314380" sldId="783"/>
            <ac:spMk id="31" creationId="{54E2763B-3652-327F-F94D-A87E4B5EBA76}"/>
          </ac:spMkLst>
        </pc:spChg>
        <pc:spChg chg="mod">
          <ac:chgData name="KevCla12" userId="ef2eb634-4620-450f-93cc-80cc93397e60" providerId="ADAL" clId="{0BF56A33-4BC5-423F-96C0-6A8645FA96BB}" dt="2023-12-03T21:48:06.173" v="30878" actId="790"/>
          <ac:spMkLst>
            <pc:docMk/>
            <pc:sldMk cId="1176314380" sldId="783"/>
            <ac:spMk id="32" creationId="{3EC9E562-04DB-6AA1-245E-4C53E748774F}"/>
          </ac:spMkLst>
        </pc:spChg>
        <pc:spChg chg="mod">
          <ac:chgData name="KevCla12" userId="ef2eb634-4620-450f-93cc-80cc93397e60" providerId="ADAL" clId="{0BF56A33-4BC5-423F-96C0-6A8645FA96BB}" dt="2023-12-03T21:48:06.174" v="30879" actId="790"/>
          <ac:spMkLst>
            <pc:docMk/>
            <pc:sldMk cId="1176314380" sldId="783"/>
            <ac:spMk id="33" creationId="{23D4A505-DD4F-AEFF-2FE1-14D9A4A7FF78}"/>
          </ac:spMkLst>
        </pc:spChg>
        <pc:spChg chg="mod">
          <ac:chgData name="KevCla12" userId="ef2eb634-4620-450f-93cc-80cc93397e60" providerId="ADAL" clId="{0BF56A33-4BC5-423F-96C0-6A8645FA96BB}" dt="2023-12-03T21:48:06.175" v="30880" actId="790"/>
          <ac:spMkLst>
            <pc:docMk/>
            <pc:sldMk cId="1176314380" sldId="783"/>
            <ac:spMk id="34" creationId="{69867C1B-EAA3-E917-5B99-9F83CBEA1F8E}"/>
          </ac:spMkLst>
        </pc:spChg>
        <pc:spChg chg="mod">
          <ac:chgData name="KevCla12" userId="ef2eb634-4620-450f-93cc-80cc93397e60" providerId="ADAL" clId="{0BF56A33-4BC5-423F-96C0-6A8645FA96BB}" dt="2023-12-03T21:48:06.175" v="30881" actId="790"/>
          <ac:spMkLst>
            <pc:docMk/>
            <pc:sldMk cId="1176314380" sldId="783"/>
            <ac:spMk id="35" creationId="{B2E6ABC5-283B-393E-B4C8-07FEB60906DD}"/>
          </ac:spMkLst>
        </pc:spChg>
        <pc:spChg chg="mod">
          <ac:chgData name="KevCla12" userId="ef2eb634-4620-450f-93cc-80cc93397e60" providerId="ADAL" clId="{0BF56A33-4BC5-423F-96C0-6A8645FA96BB}" dt="2023-12-03T21:48:06.176" v="30882" actId="790"/>
          <ac:spMkLst>
            <pc:docMk/>
            <pc:sldMk cId="1176314380" sldId="783"/>
            <ac:spMk id="36" creationId="{B929994E-3CA7-5774-F782-F00267D49060}"/>
          </ac:spMkLst>
        </pc:spChg>
        <pc:spChg chg="mod">
          <ac:chgData name="KevCla12" userId="ef2eb634-4620-450f-93cc-80cc93397e60" providerId="ADAL" clId="{0BF56A33-4BC5-423F-96C0-6A8645FA96BB}" dt="2023-12-03T21:48:06.177" v="30883" actId="790"/>
          <ac:spMkLst>
            <pc:docMk/>
            <pc:sldMk cId="1176314380" sldId="783"/>
            <ac:spMk id="37" creationId="{6A05A5EB-E1FC-A2F8-097D-704FB5361E10}"/>
          </ac:spMkLst>
        </pc:spChg>
        <pc:spChg chg="mod">
          <ac:chgData name="KevCla12" userId="ef2eb634-4620-450f-93cc-80cc93397e60" providerId="ADAL" clId="{0BF56A33-4BC5-423F-96C0-6A8645FA96BB}" dt="2023-12-03T21:48:06.177" v="30884" actId="790"/>
          <ac:spMkLst>
            <pc:docMk/>
            <pc:sldMk cId="1176314380" sldId="783"/>
            <ac:spMk id="38" creationId="{CA8DEBF7-7044-A7BF-2DB6-9E87D20D04E1}"/>
          </ac:spMkLst>
        </pc:spChg>
        <pc:spChg chg="mod">
          <ac:chgData name="KevCla12" userId="ef2eb634-4620-450f-93cc-80cc93397e60" providerId="ADAL" clId="{0BF56A33-4BC5-423F-96C0-6A8645FA96BB}" dt="2023-12-03T21:48:06.178" v="30885" actId="790"/>
          <ac:spMkLst>
            <pc:docMk/>
            <pc:sldMk cId="1176314380" sldId="783"/>
            <ac:spMk id="40" creationId="{AA2FB70D-8CA1-37C6-B48C-4480B5CED0B7}"/>
          </ac:spMkLst>
        </pc:spChg>
        <pc:spChg chg="mod">
          <ac:chgData name="KevCla12" userId="ef2eb634-4620-450f-93cc-80cc93397e60" providerId="ADAL" clId="{0BF56A33-4BC5-423F-96C0-6A8645FA96BB}" dt="2023-12-03T21:48:06.179" v="30886" actId="790"/>
          <ac:spMkLst>
            <pc:docMk/>
            <pc:sldMk cId="1176314380" sldId="783"/>
            <ac:spMk id="41" creationId="{16BC6F5D-BE7D-E2E4-78E3-74021A4340FC}"/>
          </ac:spMkLst>
        </pc:spChg>
        <pc:spChg chg="mod">
          <ac:chgData name="KevCla12" userId="ef2eb634-4620-450f-93cc-80cc93397e60" providerId="ADAL" clId="{0BF56A33-4BC5-423F-96C0-6A8645FA96BB}" dt="2023-12-03T21:48:06.179" v="30887" actId="790"/>
          <ac:spMkLst>
            <pc:docMk/>
            <pc:sldMk cId="1176314380" sldId="783"/>
            <ac:spMk id="42" creationId="{ADD98AA7-9F73-7633-8445-869CA05DC5A9}"/>
          </ac:spMkLst>
        </pc:spChg>
        <pc:spChg chg="mod">
          <ac:chgData name="KevCla12" userId="ef2eb634-4620-450f-93cc-80cc93397e60" providerId="ADAL" clId="{0BF56A33-4BC5-423F-96C0-6A8645FA96BB}" dt="2023-12-03T21:48:06.180" v="30888" actId="790"/>
          <ac:spMkLst>
            <pc:docMk/>
            <pc:sldMk cId="1176314380" sldId="783"/>
            <ac:spMk id="43" creationId="{73588013-0E49-68C9-5BC0-2E55E26C8052}"/>
          </ac:spMkLst>
        </pc:spChg>
        <pc:spChg chg="mod">
          <ac:chgData name="KevCla12" userId="ef2eb634-4620-450f-93cc-80cc93397e60" providerId="ADAL" clId="{0BF56A33-4BC5-423F-96C0-6A8645FA96BB}" dt="2023-12-03T21:48:06.181" v="30889" actId="790"/>
          <ac:spMkLst>
            <pc:docMk/>
            <pc:sldMk cId="1176314380" sldId="783"/>
            <ac:spMk id="44" creationId="{87DB5793-43F5-E6D8-4A54-CD535E66223C}"/>
          </ac:spMkLst>
        </pc:spChg>
        <pc:spChg chg="mod">
          <ac:chgData name="KevCla12" userId="ef2eb634-4620-450f-93cc-80cc93397e60" providerId="ADAL" clId="{0BF56A33-4BC5-423F-96C0-6A8645FA96BB}" dt="2023-12-03T21:48:06.181" v="30890" actId="790"/>
          <ac:spMkLst>
            <pc:docMk/>
            <pc:sldMk cId="1176314380" sldId="783"/>
            <ac:spMk id="45" creationId="{5310D2BD-E041-60C6-BACA-BA9E431BA027}"/>
          </ac:spMkLst>
        </pc:spChg>
        <pc:spChg chg="mod">
          <ac:chgData name="KevCla12" userId="ef2eb634-4620-450f-93cc-80cc93397e60" providerId="ADAL" clId="{0BF56A33-4BC5-423F-96C0-6A8645FA96BB}" dt="2023-12-03T21:48:06.182" v="30891" actId="790"/>
          <ac:spMkLst>
            <pc:docMk/>
            <pc:sldMk cId="1176314380" sldId="783"/>
            <ac:spMk id="46" creationId="{61AA558B-0C0C-6336-8569-1F4E704EDF40}"/>
          </ac:spMkLst>
        </pc:spChg>
        <pc:spChg chg="mod">
          <ac:chgData name="KevCla12" userId="ef2eb634-4620-450f-93cc-80cc93397e60" providerId="ADAL" clId="{0BF56A33-4BC5-423F-96C0-6A8645FA96BB}" dt="2023-12-03T21:48:06.182" v="30892" actId="790"/>
          <ac:spMkLst>
            <pc:docMk/>
            <pc:sldMk cId="1176314380" sldId="783"/>
            <ac:spMk id="47" creationId="{027E96CA-159F-625B-B8C9-E713C227F61D}"/>
          </ac:spMkLst>
        </pc:spChg>
        <pc:spChg chg="mod">
          <ac:chgData name="KevCla12" userId="ef2eb634-4620-450f-93cc-80cc93397e60" providerId="ADAL" clId="{0BF56A33-4BC5-423F-96C0-6A8645FA96BB}" dt="2023-12-03T21:48:06.183" v="30893" actId="790"/>
          <ac:spMkLst>
            <pc:docMk/>
            <pc:sldMk cId="1176314380" sldId="783"/>
            <ac:spMk id="48" creationId="{26BD3D02-8F2C-7F9F-C1A0-5ACC6A24C4E3}"/>
          </ac:spMkLst>
        </pc:spChg>
        <pc:spChg chg="mod">
          <ac:chgData name="KevCla12" userId="ef2eb634-4620-450f-93cc-80cc93397e60" providerId="ADAL" clId="{0BF56A33-4BC5-423F-96C0-6A8645FA96BB}" dt="2023-12-03T21:48:06.184" v="30894" actId="790"/>
          <ac:spMkLst>
            <pc:docMk/>
            <pc:sldMk cId="1176314380" sldId="783"/>
            <ac:spMk id="49" creationId="{C001C012-1AE2-F794-4755-3F7C7D2CD9BF}"/>
          </ac:spMkLst>
        </pc:spChg>
        <pc:spChg chg="mod">
          <ac:chgData name="KevCla12" userId="ef2eb634-4620-450f-93cc-80cc93397e60" providerId="ADAL" clId="{0BF56A33-4BC5-423F-96C0-6A8645FA96BB}" dt="2023-12-03T21:48:06.184" v="30895" actId="790"/>
          <ac:spMkLst>
            <pc:docMk/>
            <pc:sldMk cId="1176314380" sldId="783"/>
            <ac:spMk id="50" creationId="{82CFA3FE-2C1A-0610-05B1-ED7E47CAD78D}"/>
          </ac:spMkLst>
        </pc:spChg>
        <pc:spChg chg="mod">
          <ac:chgData name="KevCla12" userId="ef2eb634-4620-450f-93cc-80cc93397e60" providerId="ADAL" clId="{0BF56A33-4BC5-423F-96C0-6A8645FA96BB}" dt="2023-12-03T21:48:06.185" v="30896" actId="790"/>
          <ac:spMkLst>
            <pc:docMk/>
            <pc:sldMk cId="1176314380" sldId="783"/>
            <ac:spMk id="51" creationId="{C7C61B75-1353-C0AE-DEE6-002952F5C6B5}"/>
          </ac:spMkLst>
        </pc:spChg>
        <pc:spChg chg="mod">
          <ac:chgData name="KevCla12" userId="ef2eb634-4620-450f-93cc-80cc93397e60" providerId="ADAL" clId="{0BF56A33-4BC5-423F-96C0-6A8645FA96BB}" dt="2023-12-03T21:48:06.185" v="30897" actId="790"/>
          <ac:spMkLst>
            <pc:docMk/>
            <pc:sldMk cId="1176314380" sldId="783"/>
            <ac:spMk id="52" creationId="{0055E51F-BBE5-B4CB-B40D-82876E488584}"/>
          </ac:spMkLst>
        </pc:spChg>
        <pc:spChg chg="mod">
          <ac:chgData name="KevCla12" userId="ef2eb634-4620-450f-93cc-80cc93397e60" providerId="ADAL" clId="{0BF56A33-4BC5-423F-96C0-6A8645FA96BB}" dt="2023-12-03T21:48:06.186" v="30898" actId="790"/>
          <ac:spMkLst>
            <pc:docMk/>
            <pc:sldMk cId="1176314380" sldId="783"/>
            <ac:spMk id="53" creationId="{703FCBB9-EF12-C3D4-E894-C6D5A3FF2756}"/>
          </ac:spMkLst>
        </pc:spChg>
        <pc:spChg chg="mod">
          <ac:chgData name="KevCla12" userId="ef2eb634-4620-450f-93cc-80cc93397e60" providerId="ADAL" clId="{0BF56A33-4BC5-423F-96C0-6A8645FA96BB}" dt="2023-12-03T21:48:06.187" v="30899" actId="790"/>
          <ac:spMkLst>
            <pc:docMk/>
            <pc:sldMk cId="1176314380" sldId="783"/>
            <ac:spMk id="54" creationId="{6DAE76A7-6CED-3B7A-FDF1-169A0B940DAE}"/>
          </ac:spMkLst>
        </pc:spChg>
        <pc:spChg chg="mod">
          <ac:chgData name="KevCla12" userId="ef2eb634-4620-450f-93cc-80cc93397e60" providerId="ADAL" clId="{0BF56A33-4BC5-423F-96C0-6A8645FA96BB}" dt="2023-12-03T21:48:06.187" v="30900" actId="790"/>
          <ac:spMkLst>
            <pc:docMk/>
            <pc:sldMk cId="1176314380" sldId="783"/>
            <ac:spMk id="66" creationId="{BA522E7E-5C6E-5ABE-E074-6C82ED6DE9F0}"/>
          </ac:spMkLst>
        </pc:spChg>
        <pc:spChg chg="mod">
          <ac:chgData name="KevCla12" userId="ef2eb634-4620-450f-93cc-80cc93397e60" providerId="ADAL" clId="{0BF56A33-4BC5-423F-96C0-6A8645FA96BB}" dt="2023-12-03T21:48:06.188" v="30901" actId="790"/>
          <ac:spMkLst>
            <pc:docMk/>
            <pc:sldMk cId="1176314380" sldId="783"/>
            <ac:spMk id="67" creationId="{AAF6C6DF-63EC-1C53-9687-A25D719BEF5A}"/>
          </ac:spMkLst>
        </pc:spChg>
        <pc:spChg chg="mod">
          <ac:chgData name="KevCla12" userId="ef2eb634-4620-450f-93cc-80cc93397e60" providerId="ADAL" clId="{0BF56A33-4BC5-423F-96C0-6A8645FA96BB}" dt="2023-12-03T21:48:06.188" v="30902" actId="790"/>
          <ac:spMkLst>
            <pc:docMk/>
            <pc:sldMk cId="1176314380" sldId="783"/>
            <ac:spMk id="68" creationId="{CF17773A-AF98-2A2A-AC98-AC374B192BFA}"/>
          </ac:spMkLst>
        </pc:spChg>
        <pc:spChg chg="mod">
          <ac:chgData name="KevCla12" userId="ef2eb634-4620-450f-93cc-80cc93397e60" providerId="ADAL" clId="{0BF56A33-4BC5-423F-96C0-6A8645FA96BB}" dt="2023-12-03T21:48:06.189" v="30903" actId="790"/>
          <ac:spMkLst>
            <pc:docMk/>
            <pc:sldMk cId="1176314380" sldId="783"/>
            <ac:spMk id="69" creationId="{37E850AD-842D-ACD6-D695-CEFAAB599953}"/>
          </ac:spMkLst>
        </pc:spChg>
        <pc:spChg chg="mod">
          <ac:chgData name="KevCla12" userId="ef2eb634-4620-450f-93cc-80cc93397e60" providerId="ADAL" clId="{0BF56A33-4BC5-423F-96C0-6A8645FA96BB}" dt="2023-12-03T21:48:06.190" v="30904" actId="790"/>
          <ac:spMkLst>
            <pc:docMk/>
            <pc:sldMk cId="1176314380" sldId="783"/>
            <ac:spMk id="70" creationId="{77110E6C-75DC-E982-4BC4-1A4B7CC6C306}"/>
          </ac:spMkLst>
        </pc:spChg>
        <pc:spChg chg="mod">
          <ac:chgData name="KevCla12" userId="ef2eb634-4620-450f-93cc-80cc93397e60" providerId="ADAL" clId="{0BF56A33-4BC5-423F-96C0-6A8645FA96BB}" dt="2023-12-03T21:48:06.191" v="30905" actId="790"/>
          <ac:spMkLst>
            <pc:docMk/>
            <pc:sldMk cId="1176314380" sldId="783"/>
            <ac:spMk id="71" creationId="{EEB08AE2-EE1D-303C-3CF1-2C1A37973007}"/>
          </ac:spMkLst>
        </pc:spChg>
        <pc:spChg chg="mod">
          <ac:chgData name="KevCla12" userId="ef2eb634-4620-450f-93cc-80cc93397e60" providerId="ADAL" clId="{0BF56A33-4BC5-423F-96C0-6A8645FA96BB}" dt="2023-12-03T21:48:06.192" v="30906" actId="790"/>
          <ac:spMkLst>
            <pc:docMk/>
            <pc:sldMk cId="1176314380" sldId="783"/>
            <ac:spMk id="78" creationId="{0AB700E8-C9B6-D92A-B695-0D95E5FC4304}"/>
          </ac:spMkLst>
        </pc:spChg>
        <pc:spChg chg="mod">
          <ac:chgData name="KevCla12" userId="ef2eb634-4620-450f-93cc-80cc93397e60" providerId="ADAL" clId="{0BF56A33-4BC5-423F-96C0-6A8645FA96BB}" dt="2023-12-03T21:48:06.193" v="30907" actId="790"/>
          <ac:spMkLst>
            <pc:docMk/>
            <pc:sldMk cId="1176314380" sldId="783"/>
            <ac:spMk id="79" creationId="{028111C5-583E-8A8D-629F-14CDBB2EEAE6}"/>
          </ac:spMkLst>
        </pc:spChg>
        <pc:spChg chg="mod">
          <ac:chgData name="KevCla12" userId="ef2eb634-4620-450f-93cc-80cc93397e60" providerId="ADAL" clId="{0BF56A33-4BC5-423F-96C0-6A8645FA96BB}" dt="2023-12-03T21:48:06.194" v="30908" actId="790"/>
          <ac:spMkLst>
            <pc:docMk/>
            <pc:sldMk cId="1176314380" sldId="783"/>
            <ac:spMk id="80" creationId="{FE78D02D-6F10-0ACE-98BE-BCC14827A820}"/>
          </ac:spMkLst>
        </pc:spChg>
        <pc:spChg chg="mod">
          <ac:chgData name="KevCla12" userId="ef2eb634-4620-450f-93cc-80cc93397e60" providerId="ADAL" clId="{0BF56A33-4BC5-423F-96C0-6A8645FA96BB}" dt="2023-12-03T21:48:06.194" v="30909" actId="790"/>
          <ac:spMkLst>
            <pc:docMk/>
            <pc:sldMk cId="1176314380" sldId="783"/>
            <ac:spMk id="81" creationId="{4F6F8237-EB67-DFF1-5DA3-8A0AC0CB5DF0}"/>
          </ac:spMkLst>
        </pc:spChg>
        <pc:spChg chg="mod">
          <ac:chgData name="KevCla12" userId="ef2eb634-4620-450f-93cc-80cc93397e60" providerId="ADAL" clId="{0BF56A33-4BC5-423F-96C0-6A8645FA96BB}" dt="2023-12-03T21:48:06.195" v="30910" actId="790"/>
          <ac:spMkLst>
            <pc:docMk/>
            <pc:sldMk cId="1176314380" sldId="783"/>
            <ac:spMk id="82" creationId="{93A8E80A-5130-E0BB-42DE-55F9D9B2BB32}"/>
          </ac:spMkLst>
        </pc:spChg>
        <pc:spChg chg="mod">
          <ac:chgData name="KevCla12" userId="ef2eb634-4620-450f-93cc-80cc93397e60" providerId="ADAL" clId="{0BF56A33-4BC5-423F-96C0-6A8645FA96BB}" dt="2023-12-03T21:48:06.196" v="30911" actId="790"/>
          <ac:spMkLst>
            <pc:docMk/>
            <pc:sldMk cId="1176314380" sldId="783"/>
            <ac:spMk id="83" creationId="{4CF5E724-4C87-E7E1-41F2-55FC20C6F69D}"/>
          </ac:spMkLst>
        </pc:spChg>
        <pc:spChg chg="mod">
          <ac:chgData name="KevCla12" userId="ef2eb634-4620-450f-93cc-80cc93397e60" providerId="ADAL" clId="{0BF56A33-4BC5-423F-96C0-6A8645FA96BB}" dt="2023-12-03T21:48:06.197" v="30912" actId="790"/>
          <ac:spMkLst>
            <pc:docMk/>
            <pc:sldMk cId="1176314380" sldId="783"/>
            <ac:spMk id="84" creationId="{B2627DCD-8716-92E8-EE11-FCDEFB7F26B7}"/>
          </ac:spMkLst>
        </pc:spChg>
        <pc:spChg chg="mod">
          <ac:chgData name="KevCla12" userId="ef2eb634-4620-450f-93cc-80cc93397e60" providerId="ADAL" clId="{0BF56A33-4BC5-423F-96C0-6A8645FA96BB}" dt="2023-12-03T21:48:06.198" v="30913" actId="790"/>
          <ac:spMkLst>
            <pc:docMk/>
            <pc:sldMk cId="1176314380" sldId="783"/>
            <ac:spMk id="95" creationId="{50DCABFD-57C8-847E-EEFD-15BCB513895F}"/>
          </ac:spMkLst>
        </pc:spChg>
        <pc:spChg chg="mod">
          <ac:chgData name="KevCla12" userId="ef2eb634-4620-450f-93cc-80cc93397e60" providerId="ADAL" clId="{0BF56A33-4BC5-423F-96C0-6A8645FA96BB}" dt="2023-12-03T21:48:06.198" v="30914" actId="790"/>
          <ac:spMkLst>
            <pc:docMk/>
            <pc:sldMk cId="1176314380" sldId="783"/>
            <ac:spMk id="96" creationId="{FD07DF92-B84C-2824-52B1-D8378C13C1DD}"/>
          </ac:spMkLst>
        </pc:spChg>
        <pc:spChg chg="mod">
          <ac:chgData name="KevCla12" userId="ef2eb634-4620-450f-93cc-80cc93397e60" providerId="ADAL" clId="{0BF56A33-4BC5-423F-96C0-6A8645FA96BB}" dt="2023-12-03T21:48:06.237" v="30915" actId="790"/>
          <ac:spMkLst>
            <pc:docMk/>
            <pc:sldMk cId="1176314380" sldId="783"/>
            <ac:spMk id="97" creationId="{04BA6A21-6396-2C12-6343-7BF31219C36A}"/>
          </ac:spMkLst>
        </pc:spChg>
      </pc:sldChg>
      <pc:sldChg chg="modSp add del mod modNotes">
        <pc:chgData name="KevCla12" userId="ef2eb634-4620-450f-93cc-80cc93397e60" providerId="ADAL" clId="{0BF56A33-4BC5-423F-96C0-6A8645FA96BB}" dt="2023-12-03T21:48:06.625" v="31064" actId="790"/>
        <pc:sldMkLst>
          <pc:docMk/>
          <pc:sldMk cId="3186826997" sldId="784"/>
        </pc:sldMkLst>
        <pc:spChg chg="mod">
          <ac:chgData name="KevCla12" userId="ef2eb634-4620-450f-93cc-80cc93397e60" providerId="ADAL" clId="{0BF56A33-4BC5-423F-96C0-6A8645FA96BB}" dt="2023-12-03T21:48:06.590" v="31057" actId="790"/>
          <ac:spMkLst>
            <pc:docMk/>
            <pc:sldMk cId="3186826997" sldId="784"/>
            <ac:spMk id="2" creationId="{E7AC58F6-482D-1F5B-F425-A94C8B9381D3}"/>
          </ac:spMkLst>
        </pc:spChg>
        <pc:spChg chg="mod">
          <ac:chgData name="KevCla12" userId="ef2eb634-4620-450f-93cc-80cc93397e60" providerId="ADAL" clId="{0BF56A33-4BC5-423F-96C0-6A8645FA96BB}" dt="2023-12-03T21:48:06.591" v="31058" actId="790"/>
          <ac:spMkLst>
            <pc:docMk/>
            <pc:sldMk cId="3186826997" sldId="784"/>
            <ac:spMk id="4" creationId="{1967844B-23F1-38A8-FC1C-34DCE16FC847}"/>
          </ac:spMkLst>
        </pc:spChg>
        <pc:spChg chg="mod">
          <ac:chgData name="KevCla12" userId="ef2eb634-4620-450f-93cc-80cc93397e60" providerId="ADAL" clId="{0BF56A33-4BC5-423F-96C0-6A8645FA96BB}" dt="2023-12-03T21:48:06.592" v="31059" actId="790"/>
          <ac:spMkLst>
            <pc:docMk/>
            <pc:sldMk cId="3186826997" sldId="784"/>
            <ac:spMk id="5" creationId="{52767825-D0AC-3C6C-9E29-8E3EEB24E48F}"/>
          </ac:spMkLst>
        </pc:spChg>
        <pc:spChg chg="mod">
          <ac:chgData name="KevCla12" userId="ef2eb634-4620-450f-93cc-80cc93397e60" providerId="ADAL" clId="{0BF56A33-4BC5-423F-96C0-6A8645FA96BB}" dt="2023-12-03T21:48:06.594" v="31060" actId="790"/>
          <ac:spMkLst>
            <pc:docMk/>
            <pc:sldMk cId="3186826997" sldId="784"/>
            <ac:spMk id="6" creationId="{3435E704-5FB6-D280-72B0-F62D4504859B}"/>
          </ac:spMkLst>
        </pc:spChg>
        <pc:spChg chg="mod">
          <ac:chgData name="KevCla12" userId="ef2eb634-4620-450f-93cc-80cc93397e60" providerId="ADAL" clId="{0BF56A33-4BC5-423F-96C0-6A8645FA96BB}" dt="2023-12-03T21:48:06.595" v="31061" actId="790"/>
          <ac:spMkLst>
            <pc:docMk/>
            <pc:sldMk cId="3186826997" sldId="784"/>
            <ac:spMk id="7" creationId="{88F653BC-5732-0F65-02FA-FAD594233B83}"/>
          </ac:spMkLst>
        </pc:spChg>
        <pc:spChg chg="mod">
          <ac:chgData name="KevCla12" userId="ef2eb634-4620-450f-93cc-80cc93397e60" providerId="ADAL" clId="{0BF56A33-4BC5-423F-96C0-6A8645FA96BB}" dt="2023-12-03T21:48:06.623" v="31062" actId="790"/>
          <ac:spMkLst>
            <pc:docMk/>
            <pc:sldMk cId="3186826997" sldId="784"/>
            <ac:spMk id="9" creationId="{BD66EC98-2340-D749-4EF0-AA98F214DBD9}"/>
          </ac:spMkLst>
        </pc:spChg>
      </pc:sldChg>
      <pc:sldChg chg="modSp add del mod delCm modNotes">
        <pc:chgData name="KevCla12" userId="ef2eb634-4620-450f-93cc-80cc93397e60" providerId="ADAL" clId="{0BF56A33-4BC5-423F-96C0-6A8645FA96BB}" dt="2023-12-03T21:48:06.688" v="31077" actId="790"/>
        <pc:sldMkLst>
          <pc:docMk/>
          <pc:sldMk cId="4142760669" sldId="785"/>
        </pc:sldMkLst>
        <pc:spChg chg="mod">
          <ac:chgData name="KevCla12" userId="ef2eb634-4620-450f-93cc-80cc93397e60" providerId="ADAL" clId="{0BF56A33-4BC5-423F-96C0-6A8645FA96BB}" dt="2023-12-03T21:48:06.628" v="31065" actId="790"/>
          <ac:spMkLst>
            <pc:docMk/>
            <pc:sldMk cId="4142760669" sldId="785"/>
            <ac:spMk id="2" creationId="{FB72182B-31C1-FF77-9E79-FCB1B8B10761}"/>
          </ac:spMkLst>
        </pc:spChg>
        <pc:spChg chg="mod">
          <ac:chgData name="KevCla12" userId="ef2eb634-4620-450f-93cc-80cc93397e60" providerId="ADAL" clId="{0BF56A33-4BC5-423F-96C0-6A8645FA96BB}" dt="2023-12-03T21:48:06.629" v="31066" actId="790"/>
          <ac:spMkLst>
            <pc:docMk/>
            <pc:sldMk cId="4142760669" sldId="785"/>
            <ac:spMk id="4" creationId="{78C85E50-A6D5-B9C5-4EB2-DC64E52D9E7A}"/>
          </ac:spMkLst>
        </pc:spChg>
        <pc:spChg chg="mod">
          <ac:chgData name="KevCla12" userId="ef2eb634-4620-450f-93cc-80cc93397e60" providerId="ADAL" clId="{0BF56A33-4BC5-423F-96C0-6A8645FA96BB}" dt="2023-12-03T21:48:06.629" v="31067" actId="790"/>
          <ac:spMkLst>
            <pc:docMk/>
            <pc:sldMk cId="4142760669" sldId="785"/>
            <ac:spMk id="5" creationId="{9486F3EE-2B70-B251-324A-E1D1C27A4CFE}"/>
          </ac:spMkLst>
        </pc:spChg>
        <pc:spChg chg="mod">
          <ac:chgData name="KevCla12" userId="ef2eb634-4620-450f-93cc-80cc93397e60" providerId="ADAL" clId="{0BF56A33-4BC5-423F-96C0-6A8645FA96BB}" dt="2023-12-03T21:48:06.630" v="31068" actId="790"/>
          <ac:spMkLst>
            <pc:docMk/>
            <pc:sldMk cId="4142760669" sldId="785"/>
            <ac:spMk id="6" creationId="{50D3D900-82E1-0DD1-2031-683008E4F1A1}"/>
          </ac:spMkLst>
        </pc:spChg>
        <pc:spChg chg="mod">
          <ac:chgData name="KevCla12" userId="ef2eb634-4620-450f-93cc-80cc93397e60" providerId="ADAL" clId="{0BF56A33-4BC5-423F-96C0-6A8645FA96BB}" dt="2023-12-03T21:48:06.631" v="31069" actId="790"/>
          <ac:spMkLst>
            <pc:docMk/>
            <pc:sldMk cId="4142760669" sldId="785"/>
            <ac:spMk id="7" creationId="{AAE17D09-DD17-6E31-4C5C-DD789F8E683D}"/>
          </ac:spMkLst>
        </pc:spChg>
        <pc:spChg chg="mod">
          <ac:chgData name="KevCla12" userId="ef2eb634-4620-450f-93cc-80cc93397e60" providerId="ADAL" clId="{0BF56A33-4BC5-423F-96C0-6A8645FA96BB}" dt="2023-12-03T21:48:06.645" v="31070" actId="790"/>
          <ac:spMkLst>
            <pc:docMk/>
            <pc:sldMk cId="4142760669" sldId="785"/>
            <ac:spMk id="9" creationId="{C867EA65-7F34-F611-1E05-B2FA229C8DC3}"/>
          </ac:spMkLst>
        </pc:spChg>
        <pc:spChg chg="mod">
          <ac:chgData name="KevCla12" userId="ef2eb634-4620-450f-93cc-80cc93397e60" providerId="ADAL" clId="{0BF56A33-4BC5-423F-96C0-6A8645FA96BB}" dt="2023-12-03T21:48:06.646" v="31071" actId="790"/>
          <ac:spMkLst>
            <pc:docMk/>
            <pc:sldMk cId="4142760669" sldId="785"/>
            <ac:spMk id="10" creationId="{9CD438C4-9A6D-81A7-AF20-DA4D736D3DCD}"/>
          </ac:spMkLst>
        </pc:spChg>
        <pc:spChg chg="mod">
          <ac:chgData name="KevCla12" userId="ef2eb634-4620-450f-93cc-80cc93397e60" providerId="ADAL" clId="{0BF56A33-4BC5-423F-96C0-6A8645FA96BB}" dt="2023-12-03T21:48:06.661" v="31072" actId="790"/>
          <ac:spMkLst>
            <pc:docMk/>
            <pc:sldMk cId="4142760669" sldId="785"/>
            <ac:spMk id="12" creationId="{446EE83E-9EFA-8F56-0DE0-7713D25DB83E}"/>
          </ac:spMkLst>
        </pc:spChg>
        <pc:spChg chg="mod">
          <ac:chgData name="KevCla12" userId="ef2eb634-4620-450f-93cc-80cc93397e60" providerId="ADAL" clId="{0BF56A33-4BC5-423F-96C0-6A8645FA96BB}" dt="2023-12-03T21:48:06.662" v="31073" actId="790"/>
          <ac:spMkLst>
            <pc:docMk/>
            <pc:sldMk cId="4142760669" sldId="785"/>
            <ac:spMk id="13" creationId="{960E97D2-FFA1-760D-8C01-CECCCCCFC832}"/>
          </ac:spMkLst>
        </pc:spChg>
        <pc:spChg chg="mod">
          <ac:chgData name="KevCla12" userId="ef2eb634-4620-450f-93cc-80cc93397e60" providerId="ADAL" clId="{0BF56A33-4BC5-423F-96C0-6A8645FA96BB}" dt="2023-12-03T21:48:06.685" v="31074" actId="790"/>
          <ac:spMkLst>
            <pc:docMk/>
            <pc:sldMk cId="4142760669" sldId="785"/>
            <ac:spMk id="24" creationId="{BA85A580-1AD9-B290-0631-FB4BEA225026}"/>
          </ac:spMkLst>
        </pc:spChg>
        <pc:spChg chg="mod">
          <ac:chgData name="KevCla12" userId="ef2eb634-4620-450f-93cc-80cc93397e60" providerId="ADAL" clId="{0BF56A33-4BC5-423F-96C0-6A8645FA96BB}" dt="2023-12-03T21:48:06.687" v="31075" actId="790"/>
          <ac:spMkLst>
            <pc:docMk/>
            <pc:sldMk cId="4142760669" sldId="785"/>
            <ac:spMk id="25" creationId="{9F909532-97B1-DF8D-B75C-F2FDE26ADA71}"/>
          </ac:spMkLst>
        </pc:spChg>
        <pc:extLst>
          <p:ext xmlns:p="http://schemas.openxmlformats.org/presentationml/2006/main" uri="{D6D511B9-2390-475A-947B-AFAB55BFBCF1}">
            <pc226:cmChg xmlns:pc226="http://schemas.microsoft.com/office/powerpoint/2022/06/main/command" chg="del">
              <pc226:chgData name="KevCla12" userId="ef2eb634-4620-450f-93cc-80cc93397e60" providerId="ADAL" clId="{0BF56A33-4BC5-423F-96C0-6A8645FA96BB}" dt="2023-12-03T16:51:22.514" v="17496"/>
              <pc2:cmMkLst xmlns:pc2="http://schemas.microsoft.com/office/powerpoint/2019/9/main/command">
                <pc:docMk/>
                <pc:sldMk cId="4142760669" sldId="785"/>
                <pc2:cmMk id="{A0C590F6-3030-4975-B64A-DE8993185DD6}"/>
              </pc2:cmMkLst>
            </pc226:cmChg>
          </p:ext>
        </pc:extLst>
      </pc:sldChg>
      <pc:sldChg chg="modSp add del mod modNotes">
        <pc:chgData name="KevCla12" userId="ef2eb634-4620-450f-93cc-80cc93397e60" providerId="ADAL" clId="{0BF56A33-4BC5-423F-96C0-6A8645FA96BB}" dt="2023-12-03T21:48:06.766" v="31090" actId="790"/>
        <pc:sldMkLst>
          <pc:docMk/>
          <pc:sldMk cId="470482976" sldId="787"/>
        </pc:sldMkLst>
        <pc:spChg chg="mod">
          <ac:chgData name="KevCla12" userId="ef2eb634-4620-450f-93cc-80cc93397e60" providerId="ADAL" clId="{0BF56A33-4BC5-423F-96C0-6A8645FA96BB}" dt="2023-12-03T21:48:06.691" v="31078" actId="790"/>
          <ac:spMkLst>
            <pc:docMk/>
            <pc:sldMk cId="470482976" sldId="787"/>
            <ac:spMk id="2" creationId="{E93E63FB-288F-A0E3-A56C-2B7710F6C125}"/>
          </ac:spMkLst>
        </pc:spChg>
        <pc:spChg chg="mod">
          <ac:chgData name="KevCla12" userId="ef2eb634-4620-450f-93cc-80cc93397e60" providerId="ADAL" clId="{0BF56A33-4BC5-423F-96C0-6A8645FA96BB}" dt="2023-12-03T21:48:06.692" v="31079" actId="790"/>
          <ac:spMkLst>
            <pc:docMk/>
            <pc:sldMk cId="470482976" sldId="787"/>
            <ac:spMk id="4" creationId="{247A0EDA-1CC4-0780-6E5E-B1EEC3BF0ACC}"/>
          </ac:spMkLst>
        </pc:spChg>
        <pc:spChg chg="mod">
          <ac:chgData name="KevCla12" userId="ef2eb634-4620-450f-93cc-80cc93397e60" providerId="ADAL" clId="{0BF56A33-4BC5-423F-96C0-6A8645FA96BB}" dt="2023-12-03T21:48:06.693" v="31080" actId="790"/>
          <ac:spMkLst>
            <pc:docMk/>
            <pc:sldMk cId="470482976" sldId="787"/>
            <ac:spMk id="5" creationId="{1C418AE1-7623-878A-CCE1-E41FABC09278}"/>
          </ac:spMkLst>
        </pc:spChg>
        <pc:spChg chg="mod">
          <ac:chgData name="KevCla12" userId="ef2eb634-4620-450f-93cc-80cc93397e60" providerId="ADAL" clId="{0BF56A33-4BC5-423F-96C0-6A8645FA96BB}" dt="2023-12-03T21:48:06.695" v="31081" actId="790"/>
          <ac:spMkLst>
            <pc:docMk/>
            <pc:sldMk cId="470482976" sldId="787"/>
            <ac:spMk id="6" creationId="{B7E31F5B-AF71-70A6-601A-627D865C954C}"/>
          </ac:spMkLst>
        </pc:spChg>
        <pc:spChg chg="mod">
          <ac:chgData name="KevCla12" userId="ef2eb634-4620-450f-93cc-80cc93397e60" providerId="ADAL" clId="{0BF56A33-4BC5-423F-96C0-6A8645FA96BB}" dt="2023-12-03T21:48:06.696" v="31082" actId="790"/>
          <ac:spMkLst>
            <pc:docMk/>
            <pc:sldMk cId="470482976" sldId="787"/>
            <ac:spMk id="7" creationId="{E73271B2-7EC2-52A5-FEC1-D5FF0C4D2DA3}"/>
          </ac:spMkLst>
        </pc:spChg>
        <pc:spChg chg="mod">
          <ac:chgData name="KevCla12" userId="ef2eb634-4620-450f-93cc-80cc93397e60" providerId="ADAL" clId="{0BF56A33-4BC5-423F-96C0-6A8645FA96BB}" dt="2023-12-03T21:48:06.720" v="31083" actId="790"/>
          <ac:spMkLst>
            <pc:docMk/>
            <pc:sldMk cId="470482976" sldId="787"/>
            <ac:spMk id="9" creationId="{1257A2ED-9415-2305-122E-347F7F42B972}"/>
          </ac:spMkLst>
        </pc:spChg>
        <pc:spChg chg="mod">
          <ac:chgData name="KevCla12" userId="ef2eb634-4620-450f-93cc-80cc93397e60" providerId="ADAL" clId="{0BF56A33-4BC5-423F-96C0-6A8645FA96BB}" dt="2023-12-03T21:48:06.722" v="31084" actId="790"/>
          <ac:spMkLst>
            <pc:docMk/>
            <pc:sldMk cId="470482976" sldId="787"/>
            <ac:spMk id="10" creationId="{C2F0A2EB-FBD6-EE48-8861-4F30AAC5205F}"/>
          </ac:spMkLst>
        </pc:spChg>
        <pc:spChg chg="mod">
          <ac:chgData name="KevCla12" userId="ef2eb634-4620-450f-93cc-80cc93397e60" providerId="ADAL" clId="{0BF56A33-4BC5-423F-96C0-6A8645FA96BB}" dt="2023-12-03T21:48:06.742" v="31085" actId="790"/>
          <ac:spMkLst>
            <pc:docMk/>
            <pc:sldMk cId="470482976" sldId="787"/>
            <ac:spMk id="15" creationId="{0B5AB911-E222-1E28-DE92-86EB227D0F34}"/>
          </ac:spMkLst>
        </pc:spChg>
        <pc:spChg chg="mod">
          <ac:chgData name="KevCla12" userId="ef2eb634-4620-450f-93cc-80cc93397e60" providerId="ADAL" clId="{0BF56A33-4BC5-423F-96C0-6A8645FA96BB}" dt="2023-12-03T21:48:06.744" v="31086" actId="790"/>
          <ac:spMkLst>
            <pc:docMk/>
            <pc:sldMk cId="470482976" sldId="787"/>
            <ac:spMk id="16" creationId="{4EECC1E8-172F-64BD-D076-5E86D4CA83A6}"/>
          </ac:spMkLst>
        </pc:spChg>
        <pc:spChg chg="mod">
          <ac:chgData name="KevCla12" userId="ef2eb634-4620-450f-93cc-80cc93397e60" providerId="ADAL" clId="{0BF56A33-4BC5-423F-96C0-6A8645FA96BB}" dt="2023-12-03T21:48:06.761" v="31087" actId="790"/>
          <ac:spMkLst>
            <pc:docMk/>
            <pc:sldMk cId="470482976" sldId="787"/>
            <ac:spMk id="18" creationId="{1602D3FD-7230-FDC4-EC40-3F2C84063B73}"/>
          </ac:spMkLst>
        </pc:spChg>
        <pc:spChg chg="mod">
          <ac:chgData name="KevCla12" userId="ef2eb634-4620-450f-93cc-80cc93397e60" providerId="ADAL" clId="{0BF56A33-4BC5-423F-96C0-6A8645FA96BB}" dt="2023-12-03T21:48:06.763" v="31088" actId="790"/>
          <ac:spMkLst>
            <pc:docMk/>
            <pc:sldMk cId="470482976" sldId="787"/>
            <ac:spMk id="19" creationId="{8BA2DF56-E15A-AC0C-DEAA-500A6097B176}"/>
          </ac:spMkLst>
        </pc:spChg>
      </pc:sldChg>
      <pc:sldChg chg="modSp add del mod modNotes">
        <pc:chgData name="KevCla12" userId="ef2eb634-4620-450f-93cc-80cc93397e60" providerId="ADAL" clId="{0BF56A33-4BC5-423F-96C0-6A8645FA96BB}" dt="2023-12-03T21:48:06.848" v="31151" actId="790"/>
        <pc:sldMkLst>
          <pc:docMk/>
          <pc:sldMk cId="3248870258" sldId="790"/>
        </pc:sldMkLst>
        <pc:spChg chg="mod">
          <ac:chgData name="KevCla12" userId="ef2eb634-4620-450f-93cc-80cc93397e60" providerId="ADAL" clId="{0BF56A33-4BC5-423F-96C0-6A8645FA96BB}" dt="2023-12-03T21:48:06.771" v="31091" actId="790"/>
          <ac:spMkLst>
            <pc:docMk/>
            <pc:sldMk cId="3248870258" sldId="790"/>
            <ac:spMk id="2" creationId="{B1E8892C-EA12-099E-7923-906A36135F2D}"/>
          </ac:spMkLst>
        </pc:spChg>
        <pc:spChg chg="mod">
          <ac:chgData name="KevCla12" userId="ef2eb634-4620-450f-93cc-80cc93397e60" providerId="ADAL" clId="{0BF56A33-4BC5-423F-96C0-6A8645FA96BB}" dt="2023-12-03T21:48:06.772" v="31092" actId="790"/>
          <ac:spMkLst>
            <pc:docMk/>
            <pc:sldMk cId="3248870258" sldId="790"/>
            <ac:spMk id="4" creationId="{21464A86-1BA6-3A90-B539-84E933A7C4B6}"/>
          </ac:spMkLst>
        </pc:spChg>
        <pc:spChg chg="mod">
          <ac:chgData name="KevCla12" userId="ef2eb634-4620-450f-93cc-80cc93397e60" providerId="ADAL" clId="{0BF56A33-4BC5-423F-96C0-6A8645FA96BB}" dt="2023-12-03T21:48:06.774" v="31093" actId="790"/>
          <ac:spMkLst>
            <pc:docMk/>
            <pc:sldMk cId="3248870258" sldId="790"/>
            <ac:spMk id="5" creationId="{B0142AEA-5FA9-1D76-9843-45E94915750D}"/>
          </ac:spMkLst>
        </pc:spChg>
        <pc:spChg chg="mod">
          <ac:chgData name="KevCla12" userId="ef2eb634-4620-450f-93cc-80cc93397e60" providerId="ADAL" clId="{0BF56A33-4BC5-423F-96C0-6A8645FA96BB}" dt="2023-12-03T21:48:06.775" v="31094" actId="790"/>
          <ac:spMkLst>
            <pc:docMk/>
            <pc:sldMk cId="3248870258" sldId="790"/>
            <ac:spMk id="6" creationId="{A3858222-E683-276E-6ADD-D32BE5C6B6FE}"/>
          </ac:spMkLst>
        </pc:spChg>
        <pc:spChg chg="mod">
          <ac:chgData name="KevCla12" userId="ef2eb634-4620-450f-93cc-80cc93397e60" providerId="ADAL" clId="{0BF56A33-4BC5-423F-96C0-6A8645FA96BB}" dt="2023-12-03T21:48:06.776" v="31095" actId="790"/>
          <ac:spMkLst>
            <pc:docMk/>
            <pc:sldMk cId="3248870258" sldId="790"/>
            <ac:spMk id="7" creationId="{1B954C6F-7568-34C6-2118-CB5006E4E47C}"/>
          </ac:spMkLst>
        </pc:spChg>
        <pc:spChg chg="mod">
          <ac:chgData name="KevCla12" userId="ef2eb634-4620-450f-93cc-80cc93397e60" providerId="ADAL" clId="{0BF56A33-4BC5-423F-96C0-6A8645FA96BB}" dt="2023-12-03T21:48:06.820" v="31139" actId="790"/>
          <ac:spMkLst>
            <pc:docMk/>
            <pc:sldMk cId="3248870258" sldId="790"/>
            <ac:spMk id="11" creationId="{4667612B-374D-AB7E-25D9-566D65CDF248}"/>
          </ac:spMkLst>
        </pc:spChg>
        <pc:spChg chg="mod">
          <ac:chgData name="KevCla12" userId="ef2eb634-4620-450f-93cc-80cc93397e60" providerId="ADAL" clId="{0BF56A33-4BC5-423F-96C0-6A8645FA96BB}" dt="2023-12-03T21:48:06.830" v="31140" actId="790"/>
          <ac:spMkLst>
            <pc:docMk/>
            <pc:sldMk cId="3248870258" sldId="790"/>
            <ac:spMk id="14" creationId="{DEAB16F1-2726-F167-8D57-23275E2A4C69}"/>
          </ac:spMkLst>
        </pc:spChg>
        <pc:spChg chg="mod">
          <ac:chgData name="KevCla12" userId="ef2eb634-4620-450f-93cc-80cc93397e60" providerId="ADAL" clId="{0BF56A33-4BC5-423F-96C0-6A8645FA96BB}" dt="2023-12-03T21:48:06.840" v="31141" actId="790"/>
          <ac:spMkLst>
            <pc:docMk/>
            <pc:sldMk cId="3248870258" sldId="790"/>
            <ac:spMk id="15" creationId="{4394A486-3B5E-3DF1-4DD2-700A9808CB68}"/>
          </ac:spMkLst>
        </pc:spChg>
        <pc:spChg chg="mod">
          <ac:chgData name="KevCla12" userId="ef2eb634-4620-450f-93cc-80cc93397e60" providerId="ADAL" clId="{0BF56A33-4BC5-423F-96C0-6A8645FA96BB}" dt="2023-12-03T21:48:06.845" v="31148" actId="790"/>
          <ac:spMkLst>
            <pc:docMk/>
            <pc:sldMk cId="3248870258" sldId="790"/>
            <ac:spMk id="21" creationId="{56605F4A-948E-E1BE-9769-D3BC052205D2}"/>
          </ac:spMkLst>
        </pc:spChg>
        <pc:spChg chg="mod">
          <ac:chgData name="KevCla12" userId="ef2eb634-4620-450f-93cc-80cc93397e60" providerId="ADAL" clId="{0BF56A33-4BC5-423F-96C0-6A8645FA96BB}" dt="2023-12-03T21:48:06.846" v="31149" actId="790"/>
          <ac:spMkLst>
            <pc:docMk/>
            <pc:sldMk cId="3248870258" sldId="790"/>
            <ac:spMk id="22" creationId="{019F1961-3DD5-D8E5-C2B8-3775B9A7504D}"/>
          </ac:spMkLst>
        </pc:spChg>
        <pc:spChg chg="mod">
          <ac:chgData name="KevCla12" userId="ef2eb634-4620-450f-93cc-80cc93397e60" providerId="ADAL" clId="{0BF56A33-4BC5-423F-96C0-6A8645FA96BB}" dt="2023-12-03T21:48:06.844" v="31146" actId="790"/>
          <ac:spMkLst>
            <pc:docMk/>
            <pc:sldMk cId="3248870258" sldId="790"/>
            <ac:spMk id="23" creationId="{048FDBBA-CF17-F7A7-6D8D-F595E24E3FB6}"/>
          </ac:spMkLst>
        </pc:spChg>
        <pc:spChg chg="mod">
          <ac:chgData name="KevCla12" userId="ef2eb634-4620-450f-93cc-80cc93397e60" providerId="ADAL" clId="{0BF56A33-4BC5-423F-96C0-6A8645FA96BB}" dt="2023-12-03T21:48:06.845" v="31147" actId="790"/>
          <ac:spMkLst>
            <pc:docMk/>
            <pc:sldMk cId="3248870258" sldId="790"/>
            <ac:spMk id="24" creationId="{60495F9E-59A0-7712-0F19-C7316B116099}"/>
          </ac:spMkLst>
        </pc:spChg>
        <pc:spChg chg="mod">
          <ac:chgData name="KevCla12" userId="ef2eb634-4620-450f-93cc-80cc93397e60" providerId="ADAL" clId="{0BF56A33-4BC5-423F-96C0-6A8645FA96BB}" dt="2023-12-03T21:48:06.842" v="31144" actId="790"/>
          <ac:spMkLst>
            <pc:docMk/>
            <pc:sldMk cId="3248870258" sldId="790"/>
            <ac:spMk id="25" creationId="{B76FF1DD-D3C4-C0D6-46BA-D1A99EB465A1}"/>
          </ac:spMkLst>
        </pc:spChg>
        <pc:spChg chg="mod">
          <ac:chgData name="KevCla12" userId="ef2eb634-4620-450f-93cc-80cc93397e60" providerId="ADAL" clId="{0BF56A33-4BC5-423F-96C0-6A8645FA96BB}" dt="2023-12-03T21:48:06.843" v="31145" actId="790"/>
          <ac:spMkLst>
            <pc:docMk/>
            <pc:sldMk cId="3248870258" sldId="790"/>
            <ac:spMk id="26" creationId="{E3E2D36F-923D-EF7D-08CD-F0051A5A2E6E}"/>
          </ac:spMkLst>
        </pc:spChg>
        <pc:spChg chg="mod">
          <ac:chgData name="KevCla12" userId="ef2eb634-4620-450f-93cc-80cc93397e60" providerId="ADAL" clId="{0BF56A33-4BC5-423F-96C0-6A8645FA96BB}" dt="2023-12-03T21:48:06.841" v="31142" actId="790"/>
          <ac:spMkLst>
            <pc:docMk/>
            <pc:sldMk cId="3248870258" sldId="790"/>
            <ac:spMk id="27" creationId="{827DC529-6093-0906-4156-AE168CE3CA68}"/>
          </ac:spMkLst>
        </pc:spChg>
        <pc:spChg chg="mod">
          <ac:chgData name="KevCla12" userId="ef2eb634-4620-450f-93cc-80cc93397e60" providerId="ADAL" clId="{0BF56A33-4BC5-423F-96C0-6A8645FA96BB}" dt="2023-12-03T21:48:06.841" v="31143" actId="790"/>
          <ac:spMkLst>
            <pc:docMk/>
            <pc:sldMk cId="3248870258" sldId="790"/>
            <ac:spMk id="28" creationId="{A0520CFC-C119-0886-BDB9-5C2657342387}"/>
          </ac:spMkLst>
        </pc:spChg>
        <pc:spChg chg="mod">
          <ac:chgData name="KevCla12" userId="ef2eb634-4620-450f-93cc-80cc93397e60" providerId="ADAL" clId="{0BF56A33-4BC5-423F-96C0-6A8645FA96BB}" dt="2023-12-03T21:48:06.801" v="31125" actId="790"/>
          <ac:spMkLst>
            <pc:docMk/>
            <pc:sldMk cId="3248870258" sldId="790"/>
            <ac:spMk id="29" creationId="{B0AF5F92-DE5E-06F0-6B2D-9F5143A4013C}"/>
          </ac:spMkLst>
        </pc:spChg>
        <pc:spChg chg="mod">
          <ac:chgData name="KevCla12" userId="ef2eb634-4620-450f-93cc-80cc93397e60" providerId="ADAL" clId="{0BF56A33-4BC5-423F-96C0-6A8645FA96BB}" dt="2023-12-03T21:48:06.802" v="31126"/>
          <ac:spMkLst>
            <pc:docMk/>
            <pc:sldMk cId="3248870258" sldId="790"/>
            <ac:spMk id="30" creationId="{9590E1E2-B3A3-C8B6-19E4-0BF668773244}"/>
          </ac:spMkLst>
        </pc:spChg>
        <pc:spChg chg="mod">
          <ac:chgData name="KevCla12" userId="ef2eb634-4620-450f-93cc-80cc93397e60" providerId="ADAL" clId="{0BF56A33-4BC5-423F-96C0-6A8645FA96BB}" dt="2023-12-03T21:48:06.802" v="31127"/>
          <ac:spMkLst>
            <pc:docMk/>
            <pc:sldMk cId="3248870258" sldId="790"/>
            <ac:spMk id="31" creationId="{1D563DD0-07D2-E84F-84F6-13D93430F83E}"/>
          </ac:spMkLst>
        </pc:spChg>
        <pc:spChg chg="mod">
          <ac:chgData name="KevCla12" userId="ef2eb634-4620-450f-93cc-80cc93397e60" providerId="ADAL" clId="{0BF56A33-4BC5-423F-96C0-6A8645FA96BB}" dt="2023-12-03T21:48:06.803" v="31128"/>
          <ac:spMkLst>
            <pc:docMk/>
            <pc:sldMk cId="3248870258" sldId="790"/>
            <ac:spMk id="32" creationId="{E749D307-E07F-29BF-CB61-DFB2B8DA3841}"/>
          </ac:spMkLst>
        </pc:spChg>
        <pc:spChg chg="mod">
          <ac:chgData name="KevCla12" userId="ef2eb634-4620-450f-93cc-80cc93397e60" providerId="ADAL" clId="{0BF56A33-4BC5-423F-96C0-6A8645FA96BB}" dt="2023-12-03T21:48:06.804" v="31129" actId="790"/>
          <ac:spMkLst>
            <pc:docMk/>
            <pc:sldMk cId="3248870258" sldId="790"/>
            <ac:spMk id="33" creationId="{E36E516A-73D9-97C5-D6DD-8DBB88C3115D}"/>
          </ac:spMkLst>
        </pc:spChg>
        <pc:spChg chg="mod">
          <ac:chgData name="KevCla12" userId="ef2eb634-4620-450f-93cc-80cc93397e60" providerId="ADAL" clId="{0BF56A33-4BC5-423F-96C0-6A8645FA96BB}" dt="2023-12-03T21:48:06.804" v="31130" actId="790"/>
          <ac:spMkLst>
            <pc:docMk/>
            <pc:sldMk cId="3248870258" sldId="790"/>
            <ac:spMk id="34" creationId="{894AE9EE-6D39-2142-88A0-9CAEE12E9FE5}"/>
          </ac:spMkLst>
        </pc:spChg>
        <pc:spChg chg="mod">
          <ac:chgData name="KevCla12" userId="ef2eb634-4620-450f-93cc-80cc93397e60" providerId="ADAL" clId="{0BF56A33-4BC5-423F-96C0-6A8645FA96BB}" dt="2023-12-03T21:48:06.805" v="31131" actId="790"/>
          <ac:spMkLst>
            <pc:docMk/>
            <pc:sldMk cId="3248870258" sldId="790"/>
            <ac:spMk id="35" creationId="{C5256601-1F9D-ADC7-9B12-AAC7484A1ED6}"/>
          </ac:spMkLst>
        </pc:spChg>
        <pc:spChg chg="mod">
          <ac:chgData name="KevCla12" userId="ef2eb634-4620-450f-93cc-80cc93397e60" providerId="ADAL" clId="{0BF56A33-4BC5-423F-96C0-6A8645FA96BB}" dt="2023-12-03T21:48:06.806" v="31132" actId="790"/>
          <ac:spMkLst>
            <pc:docMk/>
            <pc:sldMk cId="3248870258" sldId="790"/>
            <ac:spMk id="36" creationId="{02F935D3-389E-7C97-5E92-BF8A339D1B61}"/>
          </ac:spMkLst>
        </pc:spChg>
        <pc:spChg chg="mod">
          <ac:chgData name="KevCla12" userId="ef2eb634-4620-450f-93cc-80cc93397e60" providerId="ADAL" clId="{0BF56A33-4BC5-423F-96C0-6A8645FA96BB}" dt="2023-12-03T21:48:06.807" v="31133" actId="790"/>
          <ac:spMkLst>
            <pc:docMk/>
            <pc:sldMk cId="3248870258" sldId="790"/>
            <ac:spMk id="37" creationId="{D6A7F1E5-89F2-C211-DBA1-211FEA3C903F}"/>
          </ac:spMkLst>
        </pc:spChg>
        <pc:spChg chg="mod">
          <ac:chgData name="KevCla12" userId="ef2eb634-4620-450f-93cc-80cc93397e60" providerId="ADAL" clId="{0BF56A33-4BC5-423F-96C0-6A8645FA96BB}" dt="2023-12-03T21:48:06.808" v="31134" actId="790"/>
          <ac:spMkLst>
            <pc:docMk/>
            <pc:sldMk cId="3248870258" sldId="790"/>
            <ac:spMk id="38" creationId="{4B66EBAE-B02B-C90C-5A62-17859D88D317}"/>
          </ac:spMkLst>
        </pc:spChg>
        <pc:spChg chg="mod">
          <ac:chgData name="KevCla12" userId="ef2eb634-4620-450f-93cc-80cc93397e60" providerId="ADAL" clId="{0BF56A33-4BC5-423F-96C0-6A8645FA96BB}" dt="2023-12-03T21:48:06.809" v="31135" actId="790"/>
          <ac:spMkLst>
            <pc:docMk/>
            <pc:sldMk cId="3248870258" sldId="790"/>
            <ac:spMk id="39" creationId="{5D23E92E-B408-0C5D-7759-7490054C9E3B}"/>
          </ac:spMkLst>
        </pc:spChg>
        <pc:spChg chg="mod">
          <ac:chgData name="KevCla12" userId="ef2eb634-4620-450f-93cc-80cc93397e60" providerId="ADAL" clId="{0BF56A33-4BC5-423F-96C0-6A8645FA96BB}" dt="2023-12-03T21:48:06.810" v="31136" actId="790"/>
          <ac:spMkLst>
            <pc:docMk/>
            <pc:sldMk cId="3248870258" sldId="790"/>
            <ac:spMk id="40" creationId="{0A035C89-4631-B3D9-A998-D64A0EAC73D7}"/>
          </ac:spMkLst>
        </pc:spChg>
        <pc:spChg chg="mod">
          <ac:chgData name="KevCla12" userId="ef2eb634-4620-450f-93cc-80cc93397e60" providerId="ADAL" clId="{0BF56A33-4BC5-423F-96C0-6A8645FA96BB}" dt="2023-12-03T21:48:06.810" v="31137" actId="790"/>
          <ac:spMkLst>
            <pc:docMk/>
            <pc:sldMk cId="3248870258" sldId="790"/>
            <ac:spMk id="41" creationId="{A6E43DBF-F86F-F5F3-B22C-ED6ACD502C85}"/>
          </ac:spMkLst>
        </pc:spChg>
        <pc:spChg chg="mod">
          <ac:chgData name="KevCla12" userId="ef2eb634-4620-450f-93cc-80cc93397e60" providerId="ADAL" clId="{0BF56A33-4BC5-423F-96C0-6A8645FA96BB}" dt="2023-12-03T21:48:06.811" v="31138" actId="790"/>
          <ac:spMkLst>
            <pc:docMk/>
            <pc:sldMk cId="3248870258" sldId="790"/>
            <ac:spMk id="42" creationId="{282F47A9-DBFE-7C82-D066-B7C6BDD8DC7A}"/>
          </ac:spMkLst>
        </pc:spChg>
        <pc:spChg chg="mod">
          <ac:chgData name="KevCla12" userId="ef2eb634-4620-450f-93cc-80cc93397e60" providerId="ADAL" clId="{0BF56A33-4BC5-423F-96C0-6A8645FA96BB}" dt="2023-12-03T21:48:06.778" v="31096" actId="790"/>
          <ac:spMkLst>
            <pc:docMk/>
            <pc:sldMk cId="3248870258" sldId="790"/>
            <ac:spMk id="43" creationId="{5CED4D8D-92A9-3710-5DBF-0789B196B5D0}"/>
          </ac:spMkLst>
        </pc:spChg>
        <pc:spChg chg="mod">
          <ac:chgData name="KevCla12" userId="ef2eb634-4620-450f-93cc-80cc93397e60" providerId="ADAL" clId="{0BF56A33-4BC5-423F-96C0-6A8645FA96BB}" dt="2023-12-03T21:48:06.779" v="31097" actId="790"/>
          <ac:spMkLst>
            <pc:docMk/>
            <pc:sldMk cId="3248870258" sldId="790"/>
            <ac:spMk id="44" creationId="{ED9AE529-36F0-44FD-C380-72C58A680830}"/>
          </ac:spMkLst>
        </pc:spChg>
        <pc:spChg chg="mod">
          <ac:chgData name="KevCla12" userId="ef2eb634-4620-450f-93cc-80cc93397e60" providerId="ADAL" clId="{0BF56A33-4BC5-423F-96C0-6A8645FA96BB}" dt="2023-12-03T21:48:06.780" v="31098" actId="790"/>
          <ac:spMkLst>
            <pc:docMk/>
            <pc:sldMk cId="3248870258" sldId="790"/>
            <ac:spMk id="45" creationId="{B8DD9D73-FC47-EB3F-17F7-290DA8EF54F3}"/>
          </ac:spMkLst>
        </pc:spChg>
        <pc:spChg chg="mod">
          <ac:chgData name="KevCla12" userId="ef2eb634-4620-450f-93cc-80cc93397e60" providerId="ADAL" clId="{0BF56A33-4BC5-423F-96C0-6A8645FA96BB}" dt="2023-12-03T21:48:06.781" v="31099" actId="790"/>
          <ac:spMkLst>
            <pc:docMk/>
            <pc:sldMk cId="3248870258" sldId="790"/>
            <ac:spMk id="46" creationId="{3FA0CF64-9A5B-5540-AC35-1E79CF7A993F}"/>
          </ac:spMkLst>
        </pc:spChg>
        <pc:spChg chg="mod">
          <ac:chgData name="KevCla12" userId="ef2eb634-4620-450f-93cc-80cc93397e60" providerId="ADAL" clId="{0BF56A33-4BC5-423F-96C0-6A8645FA96BB}" dt="2023-12-03T21:48:06.782" v="31100" actId="790"/>
          <ac:spMkLst>
            <pc:docMk/>
            <pc:sldMk cId="3248870258" sldId="790"/>
            <ac:spMk id="47" creationId="{A76B5EFE-B6D5-B316-FE94-1948214528D4}"/>
          </ac:spMkLst>
        </pc:spChg>
        <pc:spChg chg="mod">
          <ac:chgData name="KevCla12" userId="ef2eb634-4620-450f-93cc-80cc93397e60" providerId="ADAL" clId="{0BF56A33-4BC5-423F-96C0-6A8645FA96BB}" dt="2023-12-03T21:48:06.783" v="31101" actId="790"/>
          <ac:spMkLst>
            <pc:docMk/>
            <pc:sldMk cId="3248870258" sldId="790"/>
            <ac:spMk id="48" creationId="{F145BA62-68C3-A74A-DFFE-8AA2002193FC}"/>
          </ac:spMkLst>
        </pc:spChg>
        <pc:spChg chg="mod">
          <ac:chgData name="KevCla12" userId="ef2eb634-4620-450f-93cc-80cc93397e60" providerId="ADAL" clId="{0BF56A33-4BC5-423F-96C0-6A8645FA96BB}" dt="2023-12-03T21:48:06.783" v="31102"/>
          <ac:spMkLst>
            <pc:docMk/>
            <pc:sldMk cId="3248870258" sldId="790"/>
            <ac:spMk id="49" creationId="{D2F8AD90-E88C-2567-4327-42DF572C2E83}"/>
          </ac:spMkLst>
        </pc:spChg>
        <pc:spChg chg="mod">
          <ac:chgData name="KevCla12" userId="ef2eb634-4620-450f-93cc-80cc93397e60" providerId="ADAL" clId="{0BF56A33-4BC5-423F-96C0-6A8645FA96BB}" dt="2023-12-03T21:48:06.784" v="31103" actId="790"/>
          <ac:spMkLst>
            <pc:docMk/>
            <pc:sldMk cId="3248870258" sldId="790"/>
            <ac:spMk id="50" creationId="{C20D6AFC-818D-87EB-6179-0CAC29E062A6}"/>
          </ac:spMkLst>
        </pc:spChg>
        <pc:spChg chg="mod">
          <ac:chgData name="KevCla12" userId="ef2eb634-4620-450f-93cc-80cc93397e60" providerId="ADAL" clId="{0BF56A33-4BC5-423F-96C0-6A8645FA96BB}" dt="2023-12-03T21:48:06.785" v="31104"/>
          <ac:spMkLst>
            <pc:docMk/>
            <pc:sldMk cId="3248870258" sldId="790"/>
            <ac:spMk id="51" creationId="{5E4DA386-686B-B2DD-9487-DDCCC2497B7A}"/>
          </ac:spMkLst>
        </pc:spChg>
        <pc:spChg chg="mod">
          <ac:chgData name="KevCla12" userId="ef2eb634-4620-450f-93cc-80cc93397e60" providerId="ADAL" clId="{0BF56A33-4BC5-423F-96C0-6A8645FA96BB}" dt="2023-12-03T21:48:06.786" v="31105" actId="790"/>
          <ac:spMkLst>
            <pc:docMk/>
            <pc:sldMk cId="3248870258" sldId="790"/>
            <ac:spMk id="52" creationId="{7F575E85-A511-F2FB-8082-97B5E5923E17}"/>
          </ac:spMkLst>
        </pc:spChg>
        <pc:spChg chg="mod">
          <ac:chgData name="KevCla12" userId="ef2eb634-4620-450f-93cc-80cc93397e60" providerId="ADAL" clId="{0BF56A33-4BC5-423F-96C0-6A8645FA96BB}" dt="2023-12-03T21:48:06.787" v="31106"/>
          <ac:spMkLst>
            <pc:docMk/>
            <pc:sldMk cId="3248870258" sldId="790"/>
            <ac:spMk id="53" creationId="{3C97AB05-2945-ECD4-091B-CEF1D39B3E11}"/>
          </ac:spMkLst>
        </pc:spChg>
        <pc:spChg chg="mod">
          <ac:chgData name="KevCla12" userId="ef2eb634-4620-450f-93cc-80cc93397e60" providerId="ADAL" clId="{0BF56A33-4BC5-423F-96C0-6A8645FA96BB}" dt="2023-12-03T21:48:06.787" v="31107" actId="790"/>
          <ac:spMkLst>
            <pc:docMk/>
            <pc:sldMk cId="3248870258" sldId="790"/>
            <ac:spMk id="54" creationId="{324D0949-032B-89F9-D257-0884A2A65810}"/>
          </ac:spMkLst>
        </pc:spChg>
        <pc:spChg chg="mod">
          <ac:chgData name="KevCla12" userId="ef2eb634-4620-450f-93cc-80cc93397e60" providerId="ADAL" clId="{0BF56A33-4BC5-423F-96C0-6A8645FA96BB}" dt="2023-12-03T21:48:06.788" v="31108"/>
          <ac:spMkLst>
            <pc:docMk/>
            <pc:sldMk cId="3248870258" sldId="790"/>
            <ac:spMk id="55" creationId="{CA5710A3-A85F-3A60-D27F-6D534C371D2E}"/>
          </ac:spMkLst>
        </pc:spChg>
        <pc:spChg chg="mod">
          <ac:chgData name="KevCla12" userId="ef2eb634-4620-450f-93cc-80cc93397e60" providerId="ADAL" clId="{0BF56A33-4BC5-423F-96C0-6A8645FA96BB}" dt="2023-12-03T21:48:06.789" v="31109" actId="790"/>
          <ac:spMkLst>
            <pc:docMk/>
            <pc:sldMk cId="3248870258" sldId="790"/>
            <ac:spMk id="56" creationId="{0319F74D-97DF-420F-0C3A-085797AA91C5}"/>
          </ac:spMkLst>
        </pc:spChg>
        <pc:spChg chg="mod">
          <ac:chgData name="KevCla12" userId="ef2eb634-4620-450f-93cc-80cc93397e60" providerId="ADAL" clId="{0BF56A33-4BC5-423F-96C0-6A8645FA96BB}" dt="2023-12-03T21:48:06.790" v="31110" actId="790"/>
          <ac:spMkLst>
            <pc:docMk/>
            <pc:sldMk cId="3248870258" sldId="790"/>
            <ac:spMk id="57" creationId="{9133A1D4-0857-1F2C-8A2B-68EF40B8710A}"/>
          </ac:spMkLst>
        </pc:spChg>
        <pc:spChg chg="mod">
          <ac:chgData name="KevCla12" userId="ef2eb634-4620-450f-93cc-80cc93397e60" providerId="ADAL" clId="{0BF56A33-4BC5-423F-96C0-6A8645FA96BB}" dt="2023-12-03T21:48:06.790" v="31111"/>
          <ac:spMkLst>
            <pc:docMk/>
            <pc:sldMk cId="3248870258" sldId="790"/>
            <ac:spMk id="58" creationId="{60223A58-56D5-C6B9-848B-C75D3BE419AF}"/>
          </ac:spMkLst>
        </pc:spChg>
        <pc:spChg chg="mod">
          <ac:chgData name="KevCla12" userId="ef2eb634-4620-450f-93cc-80cc93397e60" providerId="ADAL" clId="{0BF56A33-4BC5-423F-96C0-6A8645FA96BB}" dt="2023-12-03T21:48:06.791" v="31112" actId="790"/>
          <ac:spMkLst>
            <pc:docMk/>
            <pc:sldMk cId="3248870258" sldId="790"/>
            <ac:spMk id="59" creationId="{A89C46BA-30CF-B1D6-3260-058CCA42EFE8}"/>
          </ac:spMkLst>
        </pc:spChg>
        <pc:spChg chg="mod">
          <ac:chgData name="KevCla12" userId="ef2eb634-4620-450f-93cc-80cc93397e60" providerId="ADAL" clId="{0BF56A33-4BC5-423F-96C0-6A8645FA96BB}" dt="2023-12-03T21:48:06.792" v="31113"/>
          <ac:spMkLst>
            <pc:docMk/>
            <pc:sldMk cId="3248870258" sldId="790"/>
            <ac:spMk id="60" creationId="{C44A8C3F-A1A2-6C4D-41AD-F880307CAA81}"/>
          </ac:spMkLst>
        </pc:spChg>
        <pc:spChg chg="mod">
          <ac:chgData name="KevCla12" userId="ef2eb634-4620-450f-93cc-80cc93397e60" providerId="ADAL" clId="{0BF56A33-4BC5-423F-96C0-6A8645FA96BB}" dt="2023-12-03T21:48:06.792" v="31114" actId="790"/>
          <ac:spMkLst>
            <pc:docMk/>
            <pc:sldMk cId="3248870258" sldId="790"/>
            <ac:spMk id="61" creationId="{34CBAA24-E316-37EB-1266-91CB5ABAEECF}"/>
          </ac:spMkLst>
        </pc:spChg>
        <pc:spChg chg="mod">
          <ac:chgData name="KevCla12" userId="ef2eb634-4620-450f-93cc-80cc93397e60" providerId="ADAL" clId="{0BF56A33-4BC5-423F-96C0-6A8645FA96BB}" dt="2023-12-03T21:48:06.793" v="31115" actId="790"/>
          <ac:spMkLst>
            <pc:docMk/>
            <pc:sldMk cId="3248870258" sldId="790"/>
            <ac:spMk id="62" creationId="{5F3C8C68-7196-967E-A90E-C5A67CA42D95}"/>
          </ac:spMkLst>
        </pc:spChg>
        <pc:spChg chg="mod">
          <ac:chgData name="KevCla12" userId="ef2eb634-4620-450f-93cc-80cc93397e60" providerId="ADAL" clId="{0BF56A33-4BC5-423F-96C0-6A8645FA96BB}" dt="2023-12-03T21:48:06.794" v="31116" actId="790"/>
          <ac:spMkLst>
            <pc:docMk/>
            <pc:sldMk cId="3248870258" sldId="790"/>
            <ac:spMk id="63" creationId="{4B7DF0D3-8CB5-2442-450B-8ADDA5060AA9}"/>
          </ac:spMkLst>
        </pc:spChg>
        <pc:spChg chg="mod">
          <ac:chgData name="KevCla12" userId="ef2eb634-4620-450f-93cc-80cc93397e60" providerId="ADAL" clId="{0BF56A33-4BC5-423F-96C0-6A8645FA96BB}" dt="2023-12-03T21:48:06.795" v="31117" actId="790"/>
          <ac:spMkLst>
            <pc:docMk/>
            <pc:sldMk cId="3248870258" sldId="790"/>
            <ac:spMk id="64" creationId="{E36EA7C9-83C7-EA57-E4D1-684967C3D598}"/>
          </ac:spMkLst>
        </pc:spChg>
        <pc:spChg chg="mod">
          <ac:chgData name="KevCla12" userId="ef2eb634-4620-450f-93cc-80cc93397e60" providerId="ADAL" clId="{0BF56A33-4BC5-423F-96C0-6A8645FA96BB}" dt="2023-12-03T21:48:06.795" v="31118" actId="790"/>
          <ac:spMkLst>
            <pc:docMk/>
            <pc:sldMk cId="3248870258" sldId="790"/>
            <ac:spMk id="65" creationId="{0D75E69A-7DD4-4D65-EDF0-494857FEE490}"/>
          </ac:spMkLst>
        </pc:spChg>
        <pc:spChg chg="mod">
          <ac:chgData name="KevCla12" userId="ef2eb634-4620-450f-93cc-80cc93397e60" providerId="ADAL" clId="{0BF56A33-4BC5-423F-96C0-6A8645FA96BB}" dt="2023-12-03T21:48:06.796" v="31119" actId="790"/>
          <ac:spMkLst>
            <pc:docMk/>
            <pc:sldMk cId="3248870258" sldId="790"/>
            <ac:spMk id="66" creationId="{5ABA7F4F-8567-F3C4-DF0D-026989E9BA5A}"/>
          </ac:spMkLst>
        </pc:spChg>
        <pc:spChg chg="mod">
          <ac:chgData name="KevCla12" userId="ef2eb634-4620-450f-93cc-80cc93397e60" providerId="ADAL" clId="{0BF56A33-4BC5-423F-96C0-6A8645FA96BB}" dt="2023-12-03T21:48:06.797" v="31120" actId="790"/>
          <ac:spMkLst>
            <pc:docMk/>
            <pc:sldMk cId="3248870258" sldId="790"/>
            <ac:spMk id="67" creationId="{49907DD0-466B-6F83-0437-E77E7890A9B4}"/>
          </ac:spMkLst>
        </pc:spChg>
        <pc:spChg chg="mod">
          <ac:chgData name="KevCla12" userId="ef2eb634-4620-450f-93cc-80cc93397e60" providerId="ADAL" clId="{0BF56A33-4BC5-423F-96C0-6A8645FA96BB}" dt="2023-12-03T21:48:06.798" v="31121" actId="790"/>
          <ac:spMkLst>
            <pc:docMk/>
            <pc:sldMk cId="3248870258" sldId="790"/>
            <ac:spMk id="68" creationId="{96267CDC-1C86-E2F9-972C-CBD13A104470}"/>
          </ac:spMkLst>
        </pc:spChg>
        <pc:spChg chg="mod">
          <ac:chgData name="KevCla12" userId="ef2eb634-4620-450f-93cc-80cc93397e60" providerId="ADAL" clId="{0BF56A33-4BC5-423F-96C0-6A8645FA96BB}" dt="2023-12-03T21:48:06.799" v="31122" actId="790"/>
          <ac:spMkLst>
            <pc:docMk/>
            <pc:sldMk cId="3248870258" sldId="790"/>
            <ac:spMk id="69" creationId="{AB037E24-BF33-8218-DC17-693FC8B25CA1}"/>
          </ac:spMkLst>
        </pc:spChg>
        <pc:spChg chg="mod">
          <ac:chgData name="KevCla12" userId="ef2eb634-4620-450f-93cc-80cc93397e60" providerId="ADAL" clId="{0BF56A33-4BC5-423F-96C0-6A8645FA96BB}" dt="2023-12-03T21:48:06.800" v="31123" actId="790"/>
          <ac:spMkLst>
            <pc:docMk/>
            <pc:sldMk cId="3248870258" sldId="790"/>
            <ac:spMk id="70" creationId="{28538E60-3C52-F0A5-ACA6-895DE6834DB0}"/>
          </ac:spMkLst>
        </pc:spChg>
        <pc:spChg chg="mod">
          <ac:chgData name="KevCla12" userId="ef2eb634-4620-450f-93cc-80cc93397e60" providerId="ADAL" clId="{0BF56A33-4BC5-423F-96C0-6A8645FA96BB}" dt="2023-12-03T21:48:06.800" v="31124" actId="790"/>
          <ac:spMkLst>
            <pc:docMk/>
            <pc:sldMk cId="3248870258" sldId="790"/>
            <ac:spMk id="71" creationId="{A4DEC421-DC05-590C-6172-F6DF5F59082D}"/>
          </ac:spMkLst>
        </pc:spChg>
      </pc:sldChg>
      <pc:sldChg chg="addSp delSp modSp add mod modNotes">
        <pc:chgData name="KevCla12" userId="ef2eb634-4620-450f-93cc-80cc93397e60" providerId="ADAL" clId="{0BF56A33-4BC5-423F-96C0-6A8645FA96BB}" dt="2023-12-03T21:48:12.471" v="33738"/>
        <pc:sldMkLst>
          <pc:docMk/>
          <pc:sldMk cId="3852238980" sldId="792"/>
        </pc:sldMkLst>
        <pc:spChg chg="mod">
          <ac:chgData name="KevCla12" userId="ef2eb634-4620-450f-93cc-80cc93397e60" providerId="ADAL" clId="{0BF56A33-4BC5-423F-96C0-6A8645FA96BB}" dt="2023-12-03T21:48:12.177" v="33488" actId="948"/>
          <ac:spMkLst>
            <pc:docMk/>
            <pc:sldMk cId="3852238980" sldId="792"/>
            <ac:spMk id="2" creationId="{1557BB44-42BA-65B7-9F1C-04A75F5334C2}"/>
          </ac:spMkLst>
        </pc:spChg>
        <pc:spChg chg="mod">
          <ac:chgData name="KevCla12" userId="ef2eb634-4620-450f-93cc-80cc93397e60" providerId="ADAL" clId="{0BF56A33-4BC5-423F-96C0-6A8645FA96BB}" dt="2023-12-03T21:48:09.395" v="32457" actId="790"/>
          <ac:spMkLst>
            <pc:docMk/>
            <pc:sldMk cId="3852238980" sldId="792"/>
            <ac:spMk id="4" creationId="{16543DAD-7A6A-8B9A-C192-0A008013B439}"/>
          </ac:spMkLst>
        </pc:spChg>
        <pc:spChg chg="mod">
          <ac:chgData name="KevCla12" userId="ef2eb634-4620-450f-93cc-80cc93397e60" providerId="ADAL" clId="{0BF56A33-4BC5-423F-96C0-6A8645FA96BB}" dt="2023-12-03T21:48:09.397" v="32458" actId="790"/>
          <ac:spMkLst>
            <pc:docMk/>
            <pc:sldMk cId="3852238980" sldId="792"/>
            <ac:spMk id="5" creationId="{1C87BA35-50C3-B17A-BE08-1F474F1CA151}"/>
          </ac:spMkLst>
        </pc:spChg>
        <pc:spChg chg="mod">
          <ac:chgData name="KevCla12" userId="ef2eb634-4620-450f-93cc-80cc93397e60" providerId="ADAL" clId="{0BF56A33-4BC5-423F-96C0-6A8645FA96BB}" dt="2023-12-03T21:48:09.399" v="32459" actId="790"/>
          <ac:spMkLst>
            <pc:docMk/>
            <pc:sldMk cId="3852238980" sldId="792"/>
            <ac:spMk id="6" creationId="{C650D120-ED0B-8883-A27E-9430697F2F5D}"/>
          </ac:spMkLst>
        </pc:spChg>
        <pc:spChg chg="mod">
          <ac:chgData name="KevCla12" userId="ef2eb634-4620-450f-93cc-80cc93397e60" providerId="ADAL" clId="{0BF56A33-4BC5-423F-96C0-6A8645FA96BB}" dt="2023-12-03T21:48:09.400" v="32460" actId="790"/>
          <ac:spMkLst>
            <pc:docMk/>
            <pc:sldMk cId="3852238980" sldId="792"/>
            <ac:spMk id="7" creationId="{CEB1C3C6-227D-26A1-E3FC-2A9543EC69A7}"/>
          </ac:spMkLst>
        </pc:spChg>
        <pc:spChg chg="mod">
          <ac:chgData name="KevCla12" userId="ef2eb634-4620-450f-93cc-80cc93397e60" providerId="ADAL" clId="{0BF56A33-4BC5-423F-96C0-6A8645FA96BB}" dt="2023-12-03T21:48:09.401" v="32461" actId="790"/>
          <ac:spMkLst>
            <pc:docMk/>
            <pc:sldMk cId="3852238980" sldId="792"/>
            <ac:spMk id="8" creationId="{976822C4-CA1C-F601-486F-C5F17861E51C}"/>
          </ac:spMkLst>
        </pc:spChg>
        <pc:spChg chg="mod">
          <ac:chgData name="KevCla12" userId="ef2eb634-4620-450f-93cc-80cc93397e60" providerId="ADAL" clId="{0BF56A33-4BC5-423F-96C0-6A8645FA96BB}" dt="2023-12-03T21:48:09.402" v="32462" actId="790"/>
          <ac:spMkLst>
            <pc:docMk/>
            <pc:sldMk cId="3852238980" sldId="792"/>
            <ac:spMk id="9" creationId="{27BDB7F8-CE80-59A0-1AD5-176EDFCE8240}"/>
          </ac:spMkLst>
        </pc:spChg>
        <pc:spChg chg="mod">
          <ac:chgData name="KevCla12" userId="ef2eb634-4620-450f-93cc-80cc93397e60" providerId="ADAL" clId="{0BF56A33-4BC5-423F-96C0-6A8645FA96BB}" dt="2023-12-03T21:48:09.403" v="32463" actId="790"/>
          <ac:spMkLst>
            <pc:docMk/>
            <pc:sldMk cId="3852238980" sldId="792"/>
            <ac:spMk id="10" creationId="{33A97743-5AD7-62DC-4CC9-5F376F5D5FD9}"/>
          </ac:spMkLst>
        </pc:spChg>
        <pc:spChg chg="mod">
          <ac:chgData name="KevCla12" userId="ef2eb634-4620-450f-93cc-80cc93397e60" providerId="ADAL" clId="{0BF56A33-4BC5-423F-96C0-6A8645FA96BB}" dt="2023-12-03T21:48:09.404" v="32464" actId="790"/>
          <ac:spMkLst>
            <pc:docMk/>
            <pc:sldMk cId="3852238980" sldId="792"/>
            <ac:spMk id="11" creationId="{73601E09-3BAE-7B84-D019-4C66116A5A98}"/>
          </ac:spMkLst>
        </pc:spChg>
        <pc:spChg chg="mod">
          <ac:chgData name="KevCla12" userId="ef2eb634-4620-450f-93cc-80cc93397e60" providerId="ADAL" clId="{0BF56A33-4BC5-423F-96C0-6A8645FA96BB}" dt="2023-12-03T21:48:09.405" v="32465" actId="790"/>
          <ac:spMkLst>
            <pc:docMk/>
            <pc:sldMk cId="3852238980" sldId="792"/>
            <ac:spMk id="12" creationId="{635F297D-42FC-0F4F-4D40-05C19DDB3A55}"/>
          </ac:spMkLst>
        </pc:spChg>
        <pc:spChg chg="mod">
          <ac:chgData name="KevCla12" userId="ef2eb634-4620-450f-93cc-80cc93397e60" providerId="ADAL" clId="{0BF56A33-4BC5-423F-96C0-6A8645FA96BB}" dt="2023-12-03T21:48:09.406" v="32466" actId="790"/>
          <ac:spMkLst>
            <pc:docMk/>
            <pc:sldMk cId="3852238980" sldId="792"/>
            <ac:spMk id="13" creationId="{92AAF68F-2069-599E-1B84-4FF7F0195F48}"/>
          </ac:spMkLst>
        </pc:spChg>
        <pc:spChg chg="mod">
          <ac:chgData name="KevCla12" userId="ef2eb634-4620-450f-93cc-80cc93397e60" providerId="ADAL" clId="{0BF56A33-4BC5-423F-96C0-6A8645FA96BB}" dt="2023-12-03T21:48:09.407" v="32467" actId="790"/>
          <ac:spMkLst>
            <pc:docMk/>
            <pc:sldMk cId="3852238980" sldId="792"/>
            <ac:spMk id="14" creationId="{05C318ED-70F9-24AE-E683-1ABFC72FBECD}"/>
          </ac:spMkLst>
        </pc:spChg>
        <pc:spChg chg="mod">
          <ac:chgData name="KevCla12" userId="ef2eb634-4620-450f-93cc-80cc93397e60" providerId="ADAL" clId="{0BF56A33-4BC5-423F-96C0-6A8645FA96BB}" dt="2023-12-03T21:48:09.409" v="32468" actId="790"/>
          <ac:spMkLst>
            <pc:docMk/>
            <pc:sldMk cId="3852238980" sldId="792"/>
            <ac:spMk id="15" creationId="{E1783D70-7EA0-73B5-0153-FF0BCB76DDD8}"/>
          </ac:spMkLst>
        </pc:spChg>
        <pc:spChg chg="mod">
          <ac:chgData name="KevCla12" userId="ef2eb634-4620-450f-93cc-80cc93397e60" providerId="ADAL" clId="{0BF56A33-4BC5-423F-96C0-6A8645FA96BB}" dt="2023-12-03T21:48:09.411" v="32469" actId="790"/>
          <ac:spMkLst>
            <pc:docMk/>
            <pc:sldMk cId="3852238980" sldId="792"/>
            <ac:spMk id="16" creationId="{479CD04B-0A30-7DE1-3D68-E0BBA9F79F2C}"/>
          </ac:spMkLst>
        </pc:spChg>
        <pc:spChg chg="mod">
          <ac:chgData name="KevCla12" userId="ef2eb634-4620-450f-93cc-80cc93397e60" providerId="ADAL" clId="{0BF56A33-4BC5-423F-96C0-6A8645FA96BB}" dt="2023-12-03T21:48:09.412" v="32470" actId="790"/>
          <ac:spMkLst>
            <pc:docMk/>
            <pc:sldMk cId="3852238980" sldId="792"/>
            <ac:spMk id="17" creationId="{BDD2FFAE-9C51-C0A8-0DF5-F468EB1D1275}"/>
          </ac:spMkLst>
        </pc:spChg>
        <pc:spChg chg="mod">
          <ac:chgData name="KevCla12" userId="ef2eb634-4620-450f-93cc-80cc93397e60" providerId="ADAL" clId="{0BF56A33-4BC5-423F-96C0-6A8645FA96BB}" dt="2023-12-03T21:48:09.413" v="32471" actId="790"/>
          <ac:spMkLst>
            <pc:docMk/>
            <pc:sldMk cId="3852238980" sldId="792"/>
            <ac:spMk id="18" creationId="{5561B419-7154-F97E-3FE5-0315F92278D6}"/>
          </ac:spMkLst>
        </pc:spChg>
        <pc:spChg chg="mod">
          <ac:chgData name="KevCla12" userId="ef2eb634-4620-450f-93cc-80cc93397e60" providerId="ADAL" clId="{0BF56A33-4BC5-423F-96C0-6A8645FA96BB}" dt="2023-12-03T21:48:09.414" v="32472" actId="790"/>
          <ac:spMkLst>
            <pc:docMk/>
            <pc:sldMk cId="3852238980" sldId="792"/>
            <ac:spMk id="19" creationId="{12FC33DE-BD14-AE82-E59F-F4EBBA52D294}"/>
          </ac:spMkLst>
        </pc:spChg>
        <pc:spChg chg="mod">
          <ac:chgData name="KevCla12" userId="ef2eb634-4620-450f-93cc-80cc93397e60" providerId="ADAL" clId="{0BF56A33-4BC5-423F-96C0-6A8645FA96BB}" dt="2023-12-03T21:48:09.415" v="32473" actId="790"/>
          <ac:spMkLst>
            <pc:docMk/>
            <pc:sldMk cId="3852238980" sldId="792"/>
            <ac:spMk id="20" creationId="{B7C53C7E-4AF1-20F4-BEBA-367AF053BB08}"/>
          </ac:spMkLst>
        </pc:spChg>
        <pc:spChg chg="mod">
          <ac:chgData name="KevCla12" userId="ef2eb634-4620-450f-93cc-80cc93397e60" providerId="ADAL" clId="{0BF56A33-4BC5-423F-96C0-6A8645FA96BB}" dt="2023-12-03T21:48:09.416" v="32474" actId="790"/>
          <ac:spMkLst>
            <pc:docMk/>
            <pc:sldMk cId="3852238980" sldId="792"/>
            <ac:spMk id="21" creationId="{87C3DA76-AEE9-1F47-FE82-AA8C5F0B8B2C}"/>
          </ac:spMkLst>
        </pc:spChg>
        <pc:spChg chg="mod">
          <ac:chgData name="KevCla12" userId="ef2eb634-4620-450f-93cc-80cc93397e60" providerId="ADAL" clId="{0BF56A33-4BC5-423F-96C0-6A8645FA96BB}" dt="2023-12-03T21:48:09.417" v="32475" actId="790"/>
          <ac:spMkLst>
            <pc:docMk/>
            <pc:sldMk cId="3852238980" sldId="792"/>
            <ac:spMk id="22" creationId="{6B42A675-DF12-6CA6-1FDA-4E0E9FF59B69}"/>
          </ac:spMkLst>
        </pc:spChg>
        <pc:spChg chg="mod">
          <ac:chgData name="KevCla12" userId="ef2eb634-4620-450f-93cc-80cc93397e60" providerId="ADAL" clId="{0BF56A33-4BC5-423F-96C0-6A8645FA96BB}" dt="2023-12-03T21:48:09.417" v="32476" actId="790"/>
          <ac:spMkLst>
            <pc:docMk/>
            <pc:sldMk cId="3852238980" sldId="792"/>
            <ac:spMk id="23" creationId="{FF6E8C34-14C4-BD02-8F29-AB6E24B6EAA7}"/>
          </ac:spMkLst>
        </pc:spChg>
        <pc:spChg chg="mod">
          <ac:chgData name="KevCla12" userId="ef2eb634-4620-450f-93cc-80cc93397e60" providerId="ADAL" clId="{0BF56A33-4BC5-423F-96C0-6A8645FA96BB}" dt="2023-12-03T21:48:09.418" v="32477" actId="790"/>
          <ac:spMkLst>
            <pc:docMk/>
            <pc:sldMk cId="3852238980" sldId="792"/>
            <ac:spMk id="24" creationId="{A5288757-E13F-7F7B-C1C1-6C9F96AAA3B7}"/>
          </ac:spMkLst>
        </pc:spChg>
        <pc:spChg chg="mod">
          <ac:chgData name="KevCla12" userId="ef2eb634-4620-450f-93cc-80cc93397e60" providerId="ADAL" clId="{0BF56A33-4BC5-423F-96C0-6A8645FA96BB}" dt="2023-12-03T21:48:09.420" v="32478" actId="790"/>
          <ac:spMkLst>
            <pc:docMk/>
            <pc:sldMk cId="3852238980" sldId="792"/>
            <ac:spMk id="25" creationId="{1FAF18A9-0734-0FF3-F900-D45D9003E6D7}"/>
          </ac:spMkLst>
        </pc:spChg>
        <pc:spChg chg="add del mod modVis">
          <ac:chgData name="KevCla12" userId="ef2eb634-4620-450f-93cc-80cc93397e60" providerId="ADAL" clId="{0BF56A33-4BC5-423F-96C0-6A8645FA96BB}" dt="2023-12-03T21:47:50.327" v="30585"/>
          <ac:spMkLst>
            <pc:docMk/>
            <pc:sldMk cId="3852238980" sldId="792"/>
            <ac:spMk id="26" creationId="{F009B1AC-B265-8E04-D362-DB451428E924}"/>
          </ac:spMkLst>
        </pc:spChg>
        <pc:spChg chg="add del mod modVis">
          <ac:chgData name="KevCla12" userId="ef2eb634-4620-450f-93cc-80cc93397e60" providerId="ADAL" clId="{0BF56A33-4BC5-423F-96C0-6A8645FA96BB}" dt="2023-12-03T21:48:12.469" v="33736"/>
          <ac:spMkLst>
            <pc:docMk/>
            <pc:sldMk cId="3852238980" sldId="792"/>
            <ac:spMk id="28" creationId="{03067E09-D14B-F187-EEED-056FD4489EC8}"/>
          </ac:spMkLst>
        </pc:spChg>
        <pc:spChg chg="mod">
          <ac:chgData name="KevCla12" userId="ef2eb634-4620-450f-93cc-80cc93397e60" providerId="ADAL" clId="{0BF56A33-4BC5-423F-96C0-6A8645FA96BB}" dt="2023-12-03T21:48:09.426" v="32479" actId="790"/>
          <ac:spMkLst>
            <pc:docMk/>
            <pc:sldMk cId="3852238980" sldId="792"/>
            <ac:spMk id="32" creationId="{38EAA9BA-4151-3D8D-0123-B1C1B66144AB}"/>
          </ac:spMkLst>
        </pc:spChg>
        <pc:spChg chg="mod">
          <ac:chgData name="KevCla12" userId="ef2eb634-4620-450f-93cc-80cc93397e60" providerId="ADAL" clId="{0BF56A33-4BC5-423F-96C0-6A8645FA96BB}" dt="2023-12-03T21:48:09.428" v="32480" actId="790"/>
          <ac:spMkLst>
            <pc:docMk/>
            <pc:sldMk cId="3852238980" sldId="792"/>
            <ac:spMk id="33" creationId="{8ADB542F-8859-0992-8919-A93F2D24431D}"/>
          </ac:spMkLst>
        </pc:spChg>
        <pc:spChg chg="mod">
          <ac:chgData name="KevCla12" userId="ef2eb634-4620-450f-93cc-80cc93397e60" providerId="ADAL" clId="{0BF56A33-4BC5-423F-96C0-6A8645FA96BB}" dt="2023-12-03T21:48:09.432" v="32481" actId="790"/>
          <ac:spMkLst>
            <pc:docMk/>
            <pc:sldMk cId="3852238980" sldId="792"/>
            <ac:spMk id="35" creationId="{D6B02D2C-725A-5698-A094-CD30B6C6FDAE}"/>
          </ac:spMkLst>
        </pc:spChg>
        <pc:spChg chg="mod">
          <ac:chgData name="KevCla12" userId="ef2eb634-4620-450f-93cc-80cc93397e60" providerId="ADAL" clId="{0BF56A33-4BC5-423F-96C0-6A8645FA96BB}" dt="2023-12-03T21:48:09.433" v="32482" actId="790"/>
          <ac:spMkLst>
            <pc:docMk/>
            <pc:sldMk cId="3852238980" sldId="792"/>
            <ac:spMk id="36" creationId="{DB842FDE-5507-FC01-B407-9DBD76F071F5}"/>
          </ac:spMkLst>
        </pc:spChg>
        <pc:spChg chg="mod">
          <ac:chgData name="KevCla12" userId="ef2eb634-4620-450f-93cc-80cc93397e60" providerId="ADAL" clId="{0BF56A33-4BC5-423F-96C0-6A8645FA96BB}" dt="2023-12-03T21:48:09.442" v="32483" actId="790"/>
          <ac:spMkLst>
            <pc:docMk/>
            <pc:sldMk cId="3852238980" sldId="792"/>
            <ac:spMk id="38" creationId="{1A26EA5A-1B74-5E1C-EF03-4E71266074DD}"/>
          </ac:spMkLst>
        </pc:spChg>
        <pc:spChg chg="mod">
          <ac:chgData name="KevCla12" userId="ef2eb634-4620-450f-93cc-80cc93397e60" providerId="ADAL" clId="{0BF56A33-4BC5-423F-96C0-6A8645FA96BB}" dt="2023-12-03T21:48:09.444" v="32484" actId="790"/>
          <ac:spMkLst>
            <pc:docMk/>
            <pc:sldMk cId="3852238980" sldId="792"/>
            <ac:spMk id="39" creationId="{E936879B-B133-FB83-4DAE-517D05BE004A}"/>
          </ac:spMkLst>
        </pc:spChg>
        <pc:spChg chg="mod">
          <ac:chgData name="KevCla12" userId="ef2eb634-4620-450f-93cc-80cc93397e60" providerId="ADAL" clId="{0BF56A33-4BC5-423F-96C0-6A8645FA96BB}" dt="2023-12-03T21:48:09.449" v="32485" actId="790"/>
          <ac:spMkLst>
            <pc:docMk/>
            <pc:sldMk cId="3852238980" sldId="792"/>
            <ac:spMk id="41" creationId="{B312685F-61A1-745E-2EE5-8E9D94049326}"/>
          </ac:spMkLst>
        </pc:spChg>
        <pc:spChg chg="mod">
          <ac:chgData name="KevCla12" userId="ef2eb634-4620-450f-93cc-80cc93397e60" providerId="ADAL" clId="{0BF56A33-4BC5-423F-96C0-6A8645FA96BB}" dt="2023-12-03T21:48:09.452" v="32486" actId="790"/>
          <ac:spMkLst>
            <pc:docMk/>
            <pc:sldMk cId="3852238980" sldId="792"/>
            <ac:spMk id="42" creationId="{4A5CA450-6F8B-6C48-35AD-AA52519BF48F}"/>
          </ac:spMkLst>
        </pc:spChg>
        <pc:spChg chg="mod">
          <ac:chgData name="KevCla12" userId="ef2eb634-4620-450f-93cc-80cc93397e60" providerId="ADAL" clId="{0BF56A33-4BC5-423F-96C0-6A8645FA96BB}" dt="2023-12-03T21:48:09.474" v="32487" actId="790"/>
          <ac:spMkLst>
            <pc:docMk/>
            <pc:sldMk cId="3852238980" sldId="792"/>
            <ac:spMk id="45" creationId="{6982E732-206F-37BA-A2A9-9C0A2E6505D3}"/>
          </ac:spMkLst>
        </pc:spChg>
        <pc:spChg chg="mod">
          <ac:chgData name="KevCla12" userId="ef2eb634-4620-450f-93cc-80cc93397e60" providerId="ADAL" clId="{0BF56A33-4BC5-423F-96C0-6A8645FA96BB}" dt="2023-12-03T21:48:09.476" v="32488" actId="790"/>
          <ac:spMkLst>
            <pc:docMk/>
            <pc:sldMk cId="3852238980" sldId="792"/>
            <ac:spMk id="46" creationId="{BB515DF4-A5F9-2D06-AD2E-0CA13957343F}"/>
          </ac:spMkLst>
        </pc:spChg>
        <pc:graphicFrameChg chg="mod">
          <ac:chgData name="KevCla12" userId="ef2eb634-4620-450f-93cc-80cc93397e60" providerId="ADAL" clId="{0BF56A33-4BC5-423F-96C0-6A8645FA96BB}" dt="2023-12-03T21:48:12.471" v="33738"/>
          <ac:graphicFrameMkLst>
            <pc:docMk/>
            <pc:sldMk cId="3852238980" sldId="792"/>
            <ac:graphicFrameMk id="3" creationId="{E4E5EE5E-1C9A-5C1D-71EC-43E399F08A31}"/>
          </ac:graphicFrameMkLst>
        </pc:graphicFrameChg>
      </pc:sldChg>
      <pc:sldChg chg="addSp delSp modSp add mod ord modNotes">
        <pc:chgData name="KevCla12" userId="ef2eb634-4620-450f-93cc-80cc93397e60" providerId="ADAL" clId="{0BF56A33-4BC5-423F-96C0-6A8645FA96BB}" dt="2023-12-03T21:48:12.473" v="33742"/>
        <pc:sldMkLst>
          <pc:docMk/>
          <pc:sldMk cId="3815919448" sldId="794"/>
        </pc:sldMkLst>
        <pc:spChg chg="mod">
          <ac:chgData name="KevCla12" userId="ef2eb634-4620-450f-93cc-80cc93397e60" providerId="ADAL" clId="{0BF56A33-4BC5-423F-96C0-6A8645FA96BB}" dt="2023-12-03T21:48:12.204" v="33509" actId="948"/>
          <ac:spMkLst>
            <pc:docMk/>
            <pc:sldMk cId="3815919448" sldId="794"/>
            <ac:spMk id="2" creationId="{9FCF470F-26E3-DE75-7C3A-92ED46D3A48B}"/>
          </ac:spMkLst>
        </pc:spChg>
        <pc:spChg chg="add del mod modVis">
          <ac:chgData name="KevCla12" userId="ef2eb634-4620-450f-93cc-80cc93397e60" providerId="ADAL" clId="{0BF56A33-4BC5-423F-96C0-6A8645FA96BB}" dt="2023-12-03T21:47:50.331" v="30589"/>
          <ac:spMkLst>
            <pc:docMk/>
            <pc:sldMk cId="3815919448" sldId="794"/>
            <ac:spMk id="3" creationId="{700BE59B-2210-FB2C-01F9-319DA86FB78E}"/>
          </ac:spMkLst>
        </pc:spChg>
        <pc:spChg chg="mod">
          <ac:chgData name="KevCla12" userId="ef2eb634-4620-450f-93cc-80cc93397e60" providerId="ADAL" clId="{0BF56A33-4BC5-423F-96C0-6A8645FA96BB}" dt="2023-12-03T21:48:09.165" v="32353" actId="790"/>
          <ac:spMkLst>
            <pc:docMk/>
            <pc:sldMk cId="3815919448" sldId="794"/>
            <ac:spMk id="4" creationId="{625630F4-F526-CF70-E918-9F4CD1A64ED5}"/>
          </ac:spMkLst>
        </pc:spChg>
        <pc:spChg chg="add del mod modVis">
          <ac:chgData name="KevCla12" userId="ef2eb634-4620-450f-93cc-80cc93397e60" providerId="ADAL" clId="{0BF56A33-4BC5-423F-96C0-6A8645FA96BB}" dt="2023-12-03T21:48:12.472" v="33740"/>
          <ac:spMkLst>
            <pc:docMk/>
            <pc:sldMk cId="3815919448" sldId="794"/>
            <ac:spMk id="5" creationId="{5AF76B36-908E-13B8-7D63-02AA5DEC4880}"/>
          </ac:spMkLst>
        </pc:spChg>
        <pc:spChg chg="mod">
          <ac:chgData name="KevCla12" userId="ef2eb634-4620-450f-93cc-80cc93397e60" providerId="ADAL" clId="{0BF56A33-4BC5-423F-96C0-6A8645FA96BB}" dt="2023-12-03T21:48:09.168" v="32354" actId="790"/>
          <ac:spMkLst>
            <pc:docMk/>
            <pc:sldMk cId="3815919448" sldId="794"/>
            <ac:spMk id="6" creationId="{6B10C636-B876-CA9B-CEDA-49DA0017F229}"/>
          </ac:spMkLst>
        </pc:spChg>
        <pc:spChg chg="mod">
          <ac:chgData name="KevCla12" userId="ef2eb634-4620-450f-93cc-80cc93397e60" providerId="ADAL" clId="{0BF56A33-4BC5-423F-96C0-6A8645FA96BB}" dt="2023-12-03T21:48:09.169" v="32355" actId="790"/>
          <ac:spMkLst>
            <pc:docMk/>
            <pc:sldMk cId="3815919448" sldId="794"/>
            <ac:spMk id="7" creationId="{DC8224F6-F364-9541-1FBB-737C7C708238}"/>
          </ac:spMkLst>
        </pc:spChg>
        <pc:spChg chg="mod">
          <ac:chgData name="KevCla12" userId="ef2eb634-4620-450f-93cc-80cc93397e60" providerId="ADAL" clId="{0BF56A33-4BC5-423F-96C0-6A8645FA96BB}" dt="2023-12-03T21:48:09.181" v="32356" actId="790"/>
          <ac:spMkLst>
            <pc:docMk/>
            <pc:sldMk cId="3815919448" sldId="794"/>
            <ac:spMk id="8" creationId="{EE4FF448-5EF8-341E-93E0-37586ADB7B62}"/>
          </ac:spMkLst>
        </pc:spChg>
        <pc:spChg chg="mod">
          <ac:chgData name="KevCla12" userId="ef2eb634-4620-450f-93cc-80cc93397e60" providerId="ADAL" clId="{0BF56A33-4BC5-423F-96C0-6A8645FA96BB}" dt="2023-12-03T21:48:09.184" v="32357" actId="790"/>
          <ac:spMkLst>
            <pc:docMk/>
            <pc:sldMk cId="3815919448" sldId="794"/>
            <ac:spMk id="11" creationId="{000FB1DC-0FEC-C3F9-538E-DB1F7BB5873C}"/>
          </ac:spMkLst>
        </pc:spChg>
        <pc:spChg chg="mod">
          <ac:chgData name="KevCla12" userId="ef2eb634-4620-450f-93cc-80cc93397e60" providerId="ADAL" clId="{0BF56A33-4BC5-423F-96C0-6A8645FA96BB}" dt="2023-12-03T21:48:09.185" v="32358" actId="790"/>
          <ac:spMkLst>
            <pc:docMk/>
            <pc:sldMk cId="3815919448" sldId="794"/>
            <ac:spMk id="13" creationId="{7716EBC5-3607-B598-171A-1BD2B2743B4A}"/>
          </ac:spMkLst>
        </pc:spChg>
        <pc:spChg chg="mod">
          <ac:chgData name="KevCla12" userId="ef2eb634-4620-450f-93cc-80cc93397e60" providerId="ADAL" clId="{0BF56A33-4BC5-423F-96C0-6A8645FA96BB}" dt="2023-12-03T21:48:09.186" v="32359" actId="790"/>
          <ac:spMkLst>
            <pc:docMk/>
            <pc:sldMk cId="3815919448" sldId="794"/>
            <ac:spMk id="14" creationId="{46313451-88AC-45D3-F1A3-5C2F6F71B031}"/>
          </ac:spMkLst>
        </pc:spChg>
        <pc:spChg chg="mod">
          <ac:chgData name="KevCla12" userId="ef2eb634-4620-450f-93cc-80cc93397e60" providerId="ADAL" clId="{0BF56A33-4BC5-423F-96C0-6A8645FA96BB}" dt="2023-12-03T21:48:09.187" v="32360" actId="790"/>
          <ac:spMkLst>
            <pc:docMk/>
            <pc:sldMk cId="3815919448" sldId="794"/>
            <ac:spMk id="15" creationId="{D93CEE40-4E35-AEB8-A041-84D2462AD507}"/>
          </ac:spMkLst>
        </pc:spChg>
        <pc:spChg chg="mod">
          <ac:chgData name="KevCla12" userId="ef2eb634-4620-450f-93cc-80cc93397e60" providerId="ADAL" clId="{0BF56A33-4BC5-423F-96C0-6A8645FA96BB}" dt="2023-12-03T21:48:09.188" v="32361" actId="790"/>
          <ac:spMkLst>
            <pc:docMk/>
            <pc:sldMk cId="3815919448" sldId="794"/>
            <ac:spMk id="16" creationId="{0C1F5D15-3BA5-2129-B067-EC4F72437232}"/>
          </ac:spMkLst>
        </pc:spChg>
        <pc:spChg chg="mod">
          <ac:chgData name="KevCla12" userId="ef2eb634-4620-450f-93cc-80cc93397e60" providerId="ADAL" clId="{0BF56A33-4BC5-423F-96C0-6A8645FA96BB}" dt="2023-12-03T21:48:09.197" v="32362" actId="790"/>
          <ac:spMkLst>
            <pc:docMk/>
            <pc:sldMk cId="3815919448" sldId="794"/>
            <ac:spMk id="17" creationId="{C22CFC35-351A-1868-5CB6-20D9DA3B9902}"/>
          </ac:spMkLst>
        </pc:spChg>
        <pc:spChg chg="mod">
          <ac:chgData name="KevCla12" userId="ef2eb634-4620-450f-93cc-80cc93397e60" providerId="ADAL" clId="{0BF56A33-4BC5-423F-96C0-6A8645FA96BB}" dt="2023-12-03T21:48:09.200" v="32363" actId="790"/>
          <ac:spMkLst>
            <pc:docMk/>
            <pc:sldMk cId="3815919448" sldId="794"/>
            <ac:spMk id="21" creationId="{832FD35D-B91A-6AAD-C703-84CDF09CCC65}"/>
          </ac:spMkLst>
        </pc:spChg>
        <pc:spChg chg="mod">
          <ac:chgData name="KevCla12" userId="ef2eb634-4620-450f-93cc-80cc93397e60" providerId="ADAL" clId="{0BF56A33-4BC5-423F-96C0-6A8645FA96BB}" dt="2023-12-03T21:48:09.216" v="32373" actId="790"/>
          <ac:spMkLst>
            <pc:docMk/>
            <pc:sldMk cId="3815919448" sldId="794"/>
            <ac:spMk id="23" creationId="{CBE54B35-D231-09CB-EE7E-6FDAD85DBBAD}"/>
          </ac:spMkLst>
        </pc:spChg>
        <pc:spChg chg="mod">
          <ac:chgData name="KevCla12" userId="ef2eb634-4620-450f-93cc-80cc93397e60" providerId="ADAL" clId="{0BF56A33-4BC5-423F-96C0-6A8645FA96BB}" dt="2023-12-03T21:48:09.240" v="32383" actId="790"/>
          <ac:spMkLst>
            <pc:docMk/>
            <pc:sldMk cId="3815919448" sldId="794"/>
            <ac:spMk id="25" creationId="{748C96A3-EDF1-EBDB-3DAB-888F39F7903F}"/>
          </ac:spMkLst>
        </pc:spChg>
        <pc:graphicFrameChg chg="modGraphic">
          <ac:chgData name="KevCla12" userId="ef2eb634-4620-450f-93cc-80cc93397e60" providerId="ADAL" clId="{0BF56A33-4BC5-423F-96C0-6A8645FA96BB}" dt="2023-12-03T21:48:09.207" v="32372" actId="790"/>
          <ac:graphicFrameMkLst>
            <pc:docMk/>
            <pc:sldMk cId="3815919448" sldId="794"/>
            <ac:graphicFrameMk id="22" creationId="{6059CC08-B2D5-63C5-4D1D-CF13B6442DDE}"/>
          </ac:graphicFrameMkLst>
        </pc:graphicFrameChg>
        <pc:graphicFrameChg chg="modGraphic">
          <ac:chgData name="KevCla12" userId="ef2eb634-4620-450f-93cc-80cc93397e60" providerId="ADAL" clId="{0BF56A33-4BC5-423F-96C0-6A8645FA96BB}" dt="2023-12-03T21:48:09.222" v="32382" actId="790"/>
          <ac:graphicFrameMkLst>
            <pc:docMk/>
            <pc:sldMk cId="3815919448" sldId="794"/>
            <ac:graphicFrameMk id="24" creationId="{731194C2-04C3-355A-F412-A7BC3AB0EAC0}"/>
          </ac:graphicFrameMkLst>
        </pc:graphicFrameChg>
        <pc:graphicFrameChg chg="mod">
          <ac:chgData name="KevCla12" userId="ef2eb634-4620-450f-93cc-80cc93397e60" providerId="ADAL" clId="{0BF56A33-4BC5-423F-96C0-6A8645FA96BB}" dt="2023-12-03T21:48:12.473" v="33742"/>
          <ac:graphicFrameMkLst>
            <pc:docMk/>
            <pc:sldMk cId="3815919448" sldId="794"/>
            <ac:graphicFrameMk id="26" creationId="{C134722B-BC48-A3D6-A4A0-0778077C26B5}"/>
          </ac:graphicFrameMkLst>
        </pc:graphicFrameChg>
      </pc:sldChg>
      <pc:sldChg chg="addSp modSp add mod ord modNotes">
        <pc:chgData name="KevCla12" userId="ef2eb634-4620-450f-93cc-80cc93397e60" providerId="ADAL" clId="{0BF56A33-4BC5-423F-96C0-6A8645FA96BB}" dt="2023-12-03T21:48:07.311" v="31308" actId="790"/>
        <pc:sldMkLst>
          <pc:docMk/>
          <pc:sldMk cId="801236041" sldId="795"/>
        </pc:sldMkLst>
        <pc:spChg chg="add mod">
          <ac:chgData name="KevCla12" userId="ef2eb634-4620-450f-93cc-80cc93397e60" providerId="ADAL" clId="{0BF56A33-4BC5-423F-96C0-6A8645FA96BB}" dt="2023-12-03T21:48:07.310" v="31306" actId="790"/>
          <ac:spMkLst>
            <pc:docMk/>
            <pc:sldMk cId="801236041" sldId="795"/>
            <ac:spMk id="2" creationId="{F7EAD545-6CB8-5737-97BC-F51B3141C08C}"/>
          </ac:spMkLst>
        </pc:spChg>
        <pc:spChg chg="mod">
          <ac:chgData name="KevCla12" userId="ef2eb634-4620-450f-93cc-80cc93397e60" providerId="ADAL" clId="{0BF56A33-4BC5-423F-96C0-6A8645FA96BB}" dt="2023-12-03T21:48:07.238" v="31296" actId="790"/>
          <ac:spMkLst>
            <pc:docMk/>
            <pc:sldMk cId="801236041" sldId="795"/>
            <ac:spMk id="4" creationId="{AC13FE87-AEB7-9405-BDDB-B2CF0EF7C578}"/>
          </ac:spMkLst>
        </pc:spChg>
        <pc:spChg chg="mod">
          <ac:chgData name="KevCla12" userId="ef2eb634-4620-450f-93cc-80cc93397e60" providerId="ADAL" clId="{0BF56A33-4BC5-423F-96C0-6A8645FA96BB}" dt="2023-12-03T21:48:07.239" v="31297" actId="790"/>
          <ac:spMkLst>
            <pc:docMk/>
            <pc:sldMk cId="801236041" sldId="795"/>
            <ac:spMk id="6" creationId="{A81E16E6-7ACB-32F4-B4EF-F846390B666C}"/>
          </ac:spMkLst>
        </pc:spChg>
        <pc:spChg chg="mod">
          <ac:chgData name="KevCla12" userId="ef2eb634-4620-450f-93cc-80cc93397e60" providerId="ADAL" clId="{0BF56A33-4BC5-423F-96C0-6A8645FA96BB}" dt="2023-12-03T21:48:07.241" v="31298" actId="790"/>
          <ac:spMkLst>
            <pc:docMk/>
            <pc:sldMk cId="801236041" sldId="795"/>
            <ac:spMk id="7" creationId="{441FBD4F-33E8-F763-9A48-4D651A421F9B}"/>
          </ac:spMkLst>
        </pc:spChg>
        <pc:spChg chg="mod">
          <ac:chgData name="KevCla12" userId="ef2eb634-4620-450f-93cc-80cc93397e60" providerId="ADAL" clId="{0BF56A33-4BC5-423F-96C0-6A8645FA96BB}" dt="2023-12-03T21:48:07.242" v="31299" actId="790"/>
          <ac:spMkLst>
            <pc:docMk/>
            <pc:sldMk cId="801236041" sldId="795"/>
            <ac:spMk id="8" creationId="{C78F3ED8-67D3-3876-183B-379159FC79F3}"/>
          </ac:spMkLst>
        </pc:spChg>
        <pc:spChg chg="mod">
          <ac:chgData name="KevCla12" userId="ef2eb634-4620-450f-93cc-80cc93397e60" providerId="ADAL" clId="{0BF56A33-4BC5-423F-96C0-6A8645FA96BB}" dt="2023-12-03T21:48:07.258" v="31300" actId="790"/>
          <ac:spMkLst>
            <pc:docMk/>
            <pc:sldMk cId="801236041" sldId="795"/>
            <ac:spMk id="10" creationId="{E43366CA-E8AB-F353-09CE-B0E6E98D309D}"/>
          </ac:spMkLst>
        </pc:spChg>
        <pc:spChg chg="mod">
          <ac:chgData name="KevCla12" userId="ef2eb634-4620-450f-93cc-80cc93397e60" providerId="ADAL" clId="{0BF56A33-4BC5-423F-96C0-6A8645FA96BB}" dt="2023-12-03T21:48:07.260" v="31301" actId="790"/>
          <ac:spMkLst>
            <pc:docMk/>
            <pc:sldMk cId="801236041" sldId="795"/>
            <ac:spMk id="11" creationId="{73B1394B-3A03-23F8-9D28-C3B29BFC450A}"/>
          </ac:spMkLst>
        </pc:spChg>
        <pc:spChg chg="mod">
          <ac:chgData name="KevCla12" userId="ef2eb634-4620-450f-93cc-80cc93397e60" providerId="ADAL" clId="{0BF56A33-4BC5-423F-96C0-6A8645FA96BB}" dt="2023-12-03T21:48:07.261" v="31302" actId="790"/>
          <ac:spMkLst>
            <pc:docMk/>
            <pc:sldMk cId="801236041" sldId="795"/>
            <ac:spMk id="12" creationId="{9C200FA7-74DC-9770-5029-C2FCA51E9D64}"/>
          </ac:spMkLst>
        </pc:spChg>
        <pc:spChg chg="mod">
          <ac:chgData name="KevCla12" userId="ef2eb634-4620-450f-93cc-80cc93397e60" providerId="ADAL" clId="{0BF56A33-4BC5-423F-96C0-6A8645FA96BB}" dt="2023-12-03T21:48:07.284" v="31303" actId="790"/>
          <ac:spMkLst>
            <pc:docMk/>
            <pc:sldMk cId="801236041" sldId="795"/>
            <ac:spMk id="13" creationId="{70EDB747-8E18-CAFC-E6C6-73EFA9913650}"/>
          </ac:spMkLst>
        </pc:spChg>
        <pc:spChg chg="mod">
          <ac:chgData name="KevCla12" userId="ef2eb634-4620-450f-93cc-80cc93397e60" providerId="ADAL" clId="{0BF56A33-4BC5-423F-96C0-6A8645FA96BB}" dt="2023-12-03T21:48:07.286" v="31304" actId="790"/>
          <ac:spMkLst>
            <pc:docMk/>
            <pc:sldMk cId="801236041" sldId="795"/>
            <ac:spMk id="14" creationId="{82AF2894-1A53-B411-4AC0-D81A8B861B8C}"/>
          </ac:spMkLst>
        </pc:spChg>
        <pc:spChg chg="mod">
          <ac:chgData name="KevCla12" userId="ef2eb634-4620-450f-93cc-80cc93397e60" providerId="ADAL" clId="{0BF56A33-4BC5-423F-96C0-6A8645FA96BB}" dt="2023-12-03T21:48:07.308" v="31305" actId="790"/>
          <ac:spMkLst>
            <pc:docMk/>
            <pc:sldMk cId="801236041" sldId="795"/>
            <ac:spMk id="15" creationId="{675AC80F-DFFB-87ED-1489-FE9D5803DA55}"/>
          </ac:spMkLst>
        </pc:spChg>
      </pc:sldChg>
      <pc:sldChg chg="modSp mod modNotes">
        <pc:chgData name="KevCla12" userId="ef2eb634-4620-450f-93cc-80cc93397e60" providerId="ADAL" clId="{0BF56A33-4BC5-423F-96C0-6A8645FA96BB}" dt="2023-12-03T21:48:07.120" v="31256" actId="790"/>
        <pc:sldMkLst>
          <pc:docMk/>
          <pc:sldMk cId="3554033876" sldId="796"/>
        </pc:sldMkLst>
        <pc:spChg chg="mod">
          <ac:chgData name="KevCla12" userId="ef2eb634-4620-450f-93cc-80cc93397e60" providerId="ADAL" clId="{0BF56A33-4BC5-423F-96C0-6A8645FA96BB}" dt="2023-12-03T21:48:07.086" v="31244" actId="790"/>
          <ac:spMkLst>
            <pc:docMk/>
            <pc:sldMk cId="3554033876" sldId="796"/>
            <ac:spMk id="2" creationId="{11EEA7F3-DD1D-AFD1-89FC-D65D45E23AB5}"/>
          </ac:spMkLst>
        </pc:spChg>
        <pc:spChg chg="mod">
          <ac:chgData name="KevCla12" userId="ef2eb634-4620-450f-93cc-80cc93397e60" providerId="ADAL" clId="{0BF56A33-4BC5-423F-96C0-6A8645FA96BB}" dt="2023-12-03T21:48:07.110" v="31248" actId="790"/>
          <ac:spMkLst>
            <pc:docMk/>
            <pc:sldMk cId="3554033876" sldId="796"/>
            <ac:spMk id="4" creationId="{FD951A17-BD93-60EA-CC3C-D3D663890F46}"/>
          </ac:spMkLst>
        </pc:spChg>
        <pc:spChg chg="mod">
          <ac:chgData name="KevCla12" userId="ef2eb634-4620-450f-93cc-80cc93397e60" providerId="ADAL" clId="{0BF56A33-4BC5-423F-96C0-6A8645FA96BB}" dt="2023-12-03T21:48:07.113" v="31249" actId="790"/>
          <ac:spMkLst>
            <pc:docMk/>
            <pc:sldMk cId="3554033876" sldId="796"/>
            <ac:spMk id="5" creationId="{906F583E-5DE1-9305-CC6A-56891F29DCCE}"/>
          </ac:spMkLst>
        </pc:spChg>
        <pc:spChg chg="mod">
          <ac:chgData name="KevCla12" userId="ef2eb634-4620-450f-93cc-80cc93397e60" providerId="ADAL" clId="{0BF56A33-4BC5-423F-96C0-6A8645FA96BB}" dt="2023-12-03T21:48:07.114" v="31250" actId="790"/>
          <ac:spMkLst>
            <pc:docMk/>
            <pc:sldMk cId="3554033876" sldId="796"/>
            <ac:spMk id="6" creationId="{16FF6AD1-F265-43E1-565E-7A72ED57CFA9}"/>
          </ac:spMkLst>
        </pc:spChg>
        <pc:spChg chg="mod">
          <ac:chgData name="KevCla12" userId="ef2eb634-4620-450f-93cc-80cc93397e60" providerId="ADAL" clId="{0BF56A33-4BC5-423F-96C0-6A8645FA96BB}" dt="2023-12-03T21:48:07.115" v="31251" actId="790"/>
          <ac:spMkLst>
            <pc:docMk/>
            <pc:sldMk cId="3554033876" sldId="796"/>
            <ac:spMk id="7" creationId="{2A6393F2-14BB-59C7-BD88-BA9711B62FAD}"/>
          </ac:spMkLst>
        </pc:spChg>
        <pc:spChg chg="mod">
          <ac:chgData name="KevCla12" userId="ef2eb634-4620-450f-93cc-80cc93397e60" providerId="ADAL" clId="{0BF56A33-4BC5-423F-96C0-6A8645FA96BB}" dt="2023-12-03T21:48:07.116" v="31252" actId="790"/>
          <ac:spMkLst>
            <pc:docMk/>
            <pc:sldMk cId="3554033876" sldId="796"/>
            <ac:spMk id="9" creationId="{BEBCC43A-9C8B-908E-370E-DDA69E2E312B}"/>
          </ac:spMkLst>
        </pc:spChg>
        <pc:spChg chg="mod">
          <ac:chgData name="KevCla12" userId="ef2eb634-4620-450f-93cc-80cc93397e60" providerId="ADAL" clId="{0BF56A33-4BC5-423F-96C0-6A8645FA96BB}" dt="2023-12-03T21:48:07.118" v="31253" actId="790"/>
          <ac:spMkLst>
            <pc:docMk/>
            <pc:sldMk cId="3554033876" sldId="796"/>
            <ac:spMk id="10" creationId="{9C00DFAB-E260-CF7D-285C-97EF2EA666F4}"/>
          </ac:spMkLst>
        </pc:spChg>
        <pc:spChg chg="mod">
          <ac:chgData name="KevCla12" userId="ef2eb634-4620-450f-93cc-80cc93397e60" providerId="ADAL" clId="{0BF56A33-4BC5-423F-96C0-6A8645FA96BB}" dt="2023-12-03T21:48:07.119" v="31254" actId="790"/>
          <ac:spMkLst>
            <pc:docMk/>
            <pc:sldMk cId="3554033876" sldId="796"/>
            <ac:spMk id="11" creationId="{FB33FEE6-33D9-F1C7-3248-AD1AD9A77B06}"/>
          </ac:spMkLst>
        </pc:spChg>
        <pc:graphicFrameChg chg="mod">
          <ac:chgData name="KevCla12" userId="ef2eb634-4620-450f-93cc-80cc93397e60" providerId="ADAL" clId="{0BF56A33-4BC5-423F-96C0-6A8645FA96BB}" dt="2023-12-03T21:48:07.102" v="31247"/>
          <ac:graphicFrameMkLst>
            <pc:docMk/>
            <pc:sldMk cId="3554033876" sldId="796"/>
            <ac:graphicFrameMk id="8" creationId="{57BF713D-8740-6842-F8B8-6A4C1A27BA10}"/>
          </ac:graphicFrameMkLst>
        </pc:graphicFrameChg>
      </pc:sldChg>
      <pc:sldChg chg="add del ord">
        <pc:chgData name="KevCla12" userId="ef2eb634-4620-450f-93cc-80cc93397e60" providerId="ADAL" clId="{0BF56A33-4BC5-423F-96C0-6A8645FA96BB}" dt="2023-12-03T22:39:55.607" v="36720" actId="47"/>
        <pc:sldMkLst>
          <pc:docMk/>
          <pc:sldMk cId="1820792409" sldId="1141"/>
        </pc:sldMkLst>
      </pc:sldChg>
      <pc:sldChg chg="addSp delSp modSp mod modNotes">
        <pc:chgData name="KevCla12" userId="ef2eb634-4620-450f-93cc-80cc93397e60" providerId="ADAL" clId="{0BF56A33-4BC5-423F-96C0-6A8645FA96BB}" dt="2023-12-03T21:48:12.426" v="33700"/>
        <pc:sldMkLst>
          <pc:docMk/>
          <pc:sldMk cId="1949494680" sldId="1145"/>
        </pc:sldMkLst>
        <pc:spChg chg="mod">
          <ac:chgData name="KevCla12" userId="ef2eb634-4620-450f-93cc-80cc93397e60" providerId="ADAL" clId="{0BF56A33-4BC5-423F-96C0-6A8645FA96BB}" dt="2023-12-03T21:48:12.113" v="33425" actId="948"/>
          <ac:spMkLst>
            <pc:docMk/>
            <pc:sldMk cId="1949494680" sldId="1145"/>
            <ac:spMk id="2" creationId="{2337FD16-A330-3C1F-E427-CCBC7CE03B64}"/>
          </ac:spMkLst>
        </pc:spChg>
        <pc:spChg chg="mod">
          <ac:chgData name="KevCla12" userId="ef2eb634-4620-450f-93cc-80cc93397e60" providerId="ADAL" clId="{0BF56A33-4BC5-423F-96C0-6A8645FA96BB}" dt="2023-12-03T21:48:04.872" v="30634" actId="790"/>
          <ac:spMkLst>
            <pc:docMk/>
            <pc:sldMk cId="1949494680" sldId="1145"/>
            <ac:spMk id="3" creationId="{5BDAD754-E8EA-9A2B-6A58-9CEBA1BDB27D}"/>
          </ac:spMkLst>
        </pc:spChg>
        <pc:spChg chg="mod">
          <ac:chgData name="KevCla12" userId="ef2eb634-4620-450f-93cc-80cc93397e60" providerId="ADAL" clId="{0BF56A33-4BC5-423F-96C0-6A8645FA96BB}" dt="2023-12-03T21:48:04.873" v="30635" actId="790"/>
          <ac:spMkLst>
            <pc:docMk/>
            <pc:sldMk cId="1949494680" sldId="1145"/>
            <ac:spMk id="4" creationId="{AD8222A2-B68B-7759-3BFC-F02D5B607361}"/>
          </ac:spMkLst>
        </pc:spChg>
        <pc:spChg chg="mod">
          <ac:chgData name="KevCla12" userId="ef2eb634-4620-450f-93cc-80cc93397e60" providerId="ADAL" clId="{0BF56A33-4BC5-423F-96C0-6A8645FA96BB}" dt="2023-12-03T21:48:04.874" v="30636" actId="790"/>
          <ac:spMkLst>
            <pc:docMk/>
            <pc:sldMk cId="1949494680" sldId="1145"/>
            <ac:spMk id="5" creationId="{715DF4C9-E16E-8B91-D02C-79604146BF4F}"/>
          </ac:spMkLst>
        </pc:spChg>
        <pc:spChg chg="mod">
          <ac:chgData name="KevCla12" userId="ef2eb634-4620-450f-93cc-80cc93397e60" providerId="ADAL" clId="{0BF56A33-4BC5-423F-96C0-6A8645FA96BB}" dt="2023-12-03T21:48:04.874" v="30637" actId="790"/>
          <ac:spMkLst>
            <pc:docMk/>
            <pc:sldMk cId="1949494680" sldId="1145"/>
            <ac:spMk id="6" creationId="{B8C8DB3B-DA04-0449-6EE0-7645C3FD7610}"/>
          </ac:spMkLst>
        </pc:spChg>
        <pc:spChg chg="mod">
          <ac:chgData name="KevCla12" userId="ef2eb634-4620-450f-93cc-80cc93397e60" providerId="ADAL" clId="{0BF56A33-4BC5-423F-96C0-6A8645FA96BB}" dt="2023-12-03T21:48:04.875" v="30638" actId="790"/>
          <ac:spMkLst>
            <pc:docMk/>
            <pc:sldMk cId="1949494680" sldId="1145"/>
            <ac:spMk id="7" creationId="{A2A062BF-08B8-5B72-D052-C85870B17466}"/>
          </ac:spMkLst>
        </pc:spChg>
        <pc:spChg chg="add del mod modVis">
          <ac:chgData name="KevCla12" userId="ef2eb634-4620-450f-93cc-80cc93397e60" providerId="ADAL" clId="{0BF56A33-4BC5-423F-96C0-6A8645FA96BB}" dt="2023-12-03T21:48:12.400" v="33685"/>
          <ac:spMkLst>
            <pc:docMk/>
            <pc:sldMk cId="1949494680" sldId="1145"/>
            <ac:spMk id="8" creationId="{B9772E6E-B4C3-CBD0-5693-F7B7D5929C07}"/>
          </ac:spMkLst>
        </pc:spChg>
        <pc:graphicFrameChg chg="add mod ord modVis replST">
          <ac:chgData name="KevCla12" userId="ef2eb634-4620-450f-93cc-80cc93397e60" providerId="ADAL" clId="{0BF56A33-4BC5-423F-96C0-6A8645FA96BB}" dt="2023-12-03T21:48:12.426" v="33700"/>
          <ac:graphicFrameMkLst>
            <pc:docMk/>
            <pc:sldMk cId="1949494680" sldId="1145"/>
            <ac:graphicFrameMk id="9" creationId="{E8BE4534-9730-E230-695B-194FE04A4521}"/>
          </ac:graphicFrameMkLst>
        </pc:graphicFrameChg>
      </pc:sldChg>
      <pc:sldChg chg="addSp delSp modSp mod ord modNotes">
        <pc:chgData name="KevCla12" userId="ef2eb634-4620-450f-93cc-80cc93397e60" providerId="ADAL" clId="{0BF56A33-4BC5-423F-96C0-6A8645FA96BB}" dt="2023-12-03T23:13:32.942" v="37334"/>
        <pc:sldMkLst>
          <pc:docMk/>
          <pc:sldMk cId="2896180784" sldId="1146"/>
        </pc:sldMkLst>
        <pc:spChg chg="mod">
          <ac:chgData name="KevCla12" userId="ef2eb634-4620-450f-93cc-80cc93397e60" providerId="ADAL" clId="{0BF56A33-4BC5-423F-96C0-6A8645FA96BB}" dt="2023-12-03T21:48:12.016" v="33320" actId="948"/>
          <ac:spMkLst>
            <pc:docMk/>
            <pc:sldMk cId="2896180784" sldId="1146"/>
            <ac:spMk id="2" creationId="{2DEDEC28-EC37-E8F8-1CB3-905B8EAABB6E}"/>
          </ac:spMkLst>
        </pc:spChg>
        <pc:spChg chg="add del mod modVis">
          <ac:chgData name="KevCla12" userId="ef2eb634-4620-450f-93cc-80cc93397e60" providerId="ADAL" clId="{0BF56A33-4BC5-423F-96C0-6A8645FA96BB}" dt="2023-12-03T21:48:12.309" v="33613"/>
          <ac:spMkLst>
            <pc:docMk/>
            <pc:sldMk cId="2896180784" sldId="1146"/>
            <ac:spMk id="3" creationId="{54806300-BEC7-F7EF-1869-B05D7D491388}"/>
          </ac:spMkLst>
        </pc:spChg>
        <pc:spChg chg="mod">
          <ac:chgData name="KevCla12" userId="ef2eb634-4620-450f-93cc-80cc93397e60" providerId="ADAL" clId="{0BF56A33-4BC5-423F-96C0-6A8645FA96BB}" dt="2023-12-03T21:48:05.019" v="30667" actId="790"/>
          <ac:spMkLst>
            <pc:docMk/>
            <pc:sldMk cId="2896180784" sldId="1146"/>
            <ac:spMk id="4" creationId="{568EB3CB-343C-0AFA-E29A-81293C204280}"/>
          </ac:spMkLst>
        </pc:spChg>
        <pc:spChg chg="mod">
          <ac:chgData name="KevCla12" userId="ef2eb634-4620-450f-93cc-80cc93397e60" providerId="ADAL" clId="{0BF56A33-4BC5-423F-96C0-6A8645FA96BB}" dt="2023-12-03T21:48:05.020" v="30668" actId="790"/>
          <ac:spMkLst>
            <pc:docMk/>
            <pc:sldMk cId="2896180784" sldId="1146"/>
            <ac:spMk id="5" creationId="{CE5DBCB8-1C68-A633-A2FB-2801D86EA6A3}"/>
          </ac:spMkLst>
        </pc:spChg>
        <pc:spChg chg="mod">
          <ac:chgData name="KevCla12" userId="ef2eb634-4620-450f-93cc-80cc93397e60" providerId="ADAL" clId="{0BF56A33-4BC5-423F-96C0-6A8645FA96BB}" dt="2023-12-03T21:48:05.021" v="30669" actId="790"/>
          <ac:spMkLst>
            <pc:docMk/>
            <pc:sldMk cId="2896180784" sldId="1146"/>
            <ac:spMk id="6" creationId="{D55C1C27-B75F-BEC3-2020-A202B2999909}"/>
          </ac:spMkLst>
        </pc:spChg>
        <pc:spChg chg="mod">
          <ac:chgData name="KevCla12" userId="ef2eb634-4620-450f-93cc-80cc93397e60" providerId="ADAL" clId="{0BF56A33-4BC5-423F-96C0-6A8645FA96BB}" dt="2023-12-03T21:48:05.022" v="30670" actId="790"/>
          <ac:spMkLst>
            <pc:docMk/>
            <pc:sldMk cId="2896180784" sldId="1146"/>
            <ac:spMk id="7" creationId="{2C23F3FA-77C2-9687-A32D-EC0CB439F132}"/>
          </ac:spMkLst>
        </pc:spChg>
        <pc:graphicFrameChg chg="mod">
          <ac:chgData name="KevCla12" userId="ef2eb634-4620-450f-93cc-80cc93397e60" providerId="ADAL" clId="{0BF56A33-4BC5-423F-96C0-6A8645FA96BB}" dt="2023-12-03T21:48:05.015" v="30666"/>
          <ac:graphicFrameMkLst>
            <pc:docMk/>
            <pc:sldMk cId="2896180784" sldId="1146"/>
            <ac:graphicFrameMk id="8" creationId="{0D21B8E5-ADC4-227E-E83E-FB6B7858D219}"/>
          </ac:graphicFrameMkLst>
        </pc:graphicFrameChg>
        <pc:graphicFrameChg chg="add mod ord modVis replST">
          <ac:chgData name="KevCla12" userId="ef2eb634-4620-450f-93cc-80cc93397e60" providerId="ADAL" clId="{0BF56A33-4BC5-423F-96C0-6A8645FA96BB}" dt="2023-12-03T21:48:12.330" v="33628"/>
          <ac:graphicFrameMkLst>
            <pc:docMk/>
            <pc:sldMk cId="2896180784" sldId="1146"/>
            <ac:graphicFrameMk id="9" creationId="{7335C369-7509-3FCF-C0AC-FFCEA536A445}"/>
          </ac:graphicFrameMkLst>
        </pc:graphicFrameChg>
      </pc:sldChg>
      <pc:sldChg chg="addSp delSp modSp mod modNotes">
        <pc:chgData name="KevCla12" userId="ef2eb634-4620-450f-93cc-80cc93397e60" providerId="ADAL" clId="{0BF56A33-4BC5-423F-96C0-6A8645FA96BB}" dt="2023-12-03T21:48:12.308" v="33611"/>
        <pc:sldMkLst>
          <pc:docMk/>
          <pc:sldMk cId="849589430" sldId="1147"/>
        </pc:sldMkLst>
        <pc:spChg chg="mod">
          <ac:chgData name="KevCla12" userId="ef2eb634-4620-450f-93cc-80cc93397e60" providerId="ADAL" clId="{0BF56A33-4BC5-423F-96C0-6A8645FA96BB}" dt="2023-12-03T21:48:11.997" v="33299" actId="948"/>
          <ac:spMkLst>
            <pc:docMk/>
            <pc:sldMk cId="849589430" sldId="1147"/>
            <ac:spMk id="2" creationId="{EE6065D0-2014-9660-0B11-E5E68E473D00}"/>
          </ac:spMkLst>
        </pc:spChg>
        <pc:spChg chg="mod">
          <ac:chgData name="KevCla12" userId="ef2eb634-4620-450f-93cc-80cc93397e60" providerId="ADAL" clId="{0BF56A33-4BC5-423F-96C0-6A8645FA96BB}" dt="2023-12-03T21:48:05.028" v="30674" actId="790"/>
          <ac:spMkLst>
            <pc:docMk/>
            <pc:sldMk cId="849589430" sldId="1147"/>
            <ac:spMk id="3" creationId="{639FBC97-B6DA-AA27-10DA-3A7AF1B0A4B3}"/>
          </ac:spMkLst>
        </pc:spChg>
        <pc:spChg chg="mod">
          <ac:chgData name="KevCla12" userId="ef2eb634-4620-450f-93cc-80cc93397e60" providerId="ADAL" clId="{0BF56A33-4BC5-423F-96C0-6A8645FA96BB}" dt="2023-12-03T21:48:05.029" v="30675" actId="790"/>
          <ac:spMkLst>
            <pc:docMk/>
            <pc:sldMk cId="849589430" sldId="1147"/>
            <ac:spMk id="4" creationId="{7B02DEFC-CB0B-C43A-D6DD-3516B775AB25}"/>
          </ac:spMkLst>
        </pc:spChg>
        <pc:spChg chg="mod">
          <ac:chgData name="KevCla12" userId="ef2eb634-4620-450f-93cc-80cc93397e60" providerId="ADAL" clId="{0BF56A33-4BC5-423F-96C0-6A8645FA96BB}" dt="2023-12-03T21:48:05.030" v="30676" actId="790"/>
          <ac:spMkLst>
            <pc:docMk/>
            <pc:sldMk cId="849589430" sldId="1147"/>
            <ac:spMk id="5" creationId="{C7094E81-82FF-39FC-656B-771FA961119F}"/>
          </ac:spMkLst>
        </pc:spChg>
        <pc:spChg chg="mod">
          <ac:chgData name="KevCla12" userId="ef2eb634-4620-450f-93cc-80cc93397e60" providerId="ADAL" clId="{0BF56A33-4BC5-423F-96C0-6A8645FA96BB}" dt="2023-12-03T21:48:05.030" v="30677" actId="790"/>
          <ac:spMkLst>
            <pc:docMk/>
            <pc:sldMk cId="849589430" sldId="1147"/>
            <ac:spMk id="6" creationId="{76D77F95-5A7B-6634-4552-F6C6C200A0C9}"/>
          </ac:spMkLst>
        </pc:spChg>
        <pc:spChg chg="mod">
          <ac:chgData name="KevCla12" userId="ef2eb634-4620-450f-93cc-80cc93397e60" providerId="ADAL" clId="{0BF56A33-4BC5-423F-96C0-6A8645FA96BB}" dt="2023-12-03T21:48:05.031" v="30678" actId="790"/>
          <ac:spMkLst>
            <pc:docMk/>
            <pc:sldMk cId="849589430" sldId="1147"/>
            <ac:spMk id="7" creationId="{653810AB-6B5F-32D5-8678-FE7D637B6B6C}"/>
          </ac:spMkLst>
        </pc:spChg>
        <pc:spChg chg="add del mod modVis">
          <ac:chgData name="KevCla12" userId="ef2eb634-4620-450f-93cc-80cc93397e60" providerId="ADAL" clId="{0BF56A33-4BC5-423F-96C0-6A8645FA96BB}" dt="2023-12-03T21:48:12.287" v="33596"/>
          <ac:spMkLst>
            <pc:docMk/>
            <pc:sldMk cId="849589430" sldId="1147"/>
            <ac:spMk id="8" creationId="{036B78BD-14D5-5949-68D5-471855B94DDE}"/>
          </ac:spMkLst>
        </pc:spChg>
        <pc:graphicFrameChg chg="add mod ord modVis replST">
          <ac:chgData name="KevCla12" userId="ef2eb634-4620-450f-93cc-80cc93397e60" providerId="ADAL" clId="{0BF56A33-4BC5-423F-96C0-6A8645FA96BB}" dt="2023-12-03T21:48:12.308" v="33611"/>
          <ac:graphicFrameMkLst>
            <pc:docMk/>
            <pc:sldMk cId="849589430" sldId="1147"/>
            <ac:graphicFrameMk id="9" creationId="{F48144EA-51C4-038E-811B-F152AB6EE9E5}"/>
          </ac:graphicFrameMkLst>
        </pc:graphicFrameChg>
      </pc:sldChg>
      <pc:sldChg chg="modSp mod modNotes">
        <pc:chgData name="KevCla12" userId="ef2eb634-4620-450f-93cc-80cc93397e60" providerId="ADAL" clId="{0BF56A33-4BC5-423F-96C0-6A8645FA96BB}" dt="2023-12-03T21:48:05.055" v="30696" actId="790"/>
        <pc:sldMkLst>
          <pc:docMk/>
          <pc:sldMk cId="132874524" sldId="1149"/>
        </pc:sldMkLst>
        <pc:spChg chg="mod">
          <ac:chgData name="KevCla12" userId="ef2eb634-4620-450f-93cc-80cc93397e60" providerId="ADAL" clId="{0BF56A33-4BC5-423F-96C0-6A8645FA96BB}" dt="2023-12-03T21:48:05.043" v="30689" actId="790"/>
          <ac:spMkLst>
            <pc:docMk/>
            <pc:sldMk cId="132874524" sldId="1149"/>
            <ac:spMk id="2" creationId="{D79F5E9F-E681-86F9-23A3-F8BF9C821288}"/>
          </ac:spMkLst>
        </pc:spChg>
        <pc:spChg chg="mod">
          <ac:chgData name="KevCla12" userId="ef2eb634-4620-450f-93cc-80cc93397e60" providerId="ADAL" clId="{0BF56A33-4BC5-423F-96C0-6A8645FA96BB}" dt="2023-12-03T21:48:05.050" v="30690" actId="790"/>
          <ac:spMkLst>
            <pc:docMk/>
            <pc:sldMk cId="132874524" sldId="1149"/>
            <ac:spMk id="3" creationId="{E29F8D2D-3DE8-DF63-9D8F-7EC4B5AE9D20}"/>
          </ac:spMkLst>
        </pc:spChg>
        <pc:spChg chg="mod">
          <ac:chgData name="KevCla12" userId="ef2eb634-4620-450f-93cc-80cc93397e60" providerId="ADAL" clId="{0BF56A33-4BC5-423F-96C0-6A8645FA96BB}" dt="2023-12-03T21:48:05.051" v="30691" actId="790"/>
          <ac:spMkLst>
            <pc:docMk/>
            <pc:sldMk cId="132874524" sldId="1149"/>
            <ac:spMk id="4" creationId="{A92CE189-27C3-E4D7-9AB0-CE6135C1839F}"/>
          </ac:spMkLst>
        </pc:spChg>
        <pc:spChg chg="mod">
          <ac:chgData name="KevCla12" userId="ef2eb634-4620-450f-93cc-80cc93397e60" providerId="ADAL" clId="{0BF56A33-4BC5-423F-96C0-6A8645FA96BB}" dt="2023-12-03T21:48:05.051" v="30692" actId="790"/>
          <ac:spMkLst>
            <pc:docMk/>
            <pc:sldMk cId="132874524" sldId="1149"/>
            <ac:spMk id="5" creationId="{B1EF9204-9482-90DA-0739-9E0BE4A40874}"/>
          </ac:spMkLst>
        </pc:spChg>
        <pc:spChg chg="mod">
          <ac:chgData name="KevCla12" userId="ef2eb634-4620-450f-93cc-80cc93397e60" providerId="ADAL" clId="{0BF56A33-4BC5-423F-96C0-6A8645FA96BB}" dt="2023-12-03T21:48:05.052" v="30693" actId="790"/>
          <ac:spMkLst>
            <pc:docMk/>
            <pc:sldMk cId="132874524" sldId="1149"/>
            <ac:spMk id="6" creationId="{1FD676B1-9843-9A77-77FC-A793F9EAB4E5}"/>
          </ac:spMkLst>
        </pc:spChg>
        <pc:spChg chg="mod">
          <ac:chgData name="KevCla12" userId="ef2eb634-4620-450f-93cc-80cc93397e60" providerId="ADAL" clId="{0BF56A33-4BC5-423F-96C0-6A8645FA96BB}" dt="2023-12-03T21:48:05.053" v="30694" actId="790"/>
          <ac:spMkLst>
            <pc:docMk/>
            <pc:sldMk cId="132874524" sldId="1149"/>
            <ac:spMk id="7" creationId="{88D21E91-2291-602A-B200-F07F25514C4E}"/>
          </ac:spMkLst>
        </pc:spChg>
      </pc:sldChg>
      <pc:sldChg chg="addSp delSp modSp mod ord modNotes">
        <pc:chgData name="KevCla12" userId="ef2eb634-4620-450f-93cc-80cc93397e60" providerId="ADAL" clId="{0BF56A33-4BC5-423F-96C0-6A8645FA96BB}" dt="2023-12-03T22:47:52.812" v="36842"/>
        <pc:sldMkLst>
          <pc:docMk/>
          <pc:sldMk cId="1184951045" sldId="1150"/>
        </pc:sldMkLst>
        <pc:spChg chg="mod">
          <ac:chgData name="KevCla12" userId="ef2eb634-4620-450f-93cc-80cc93397e60" providerId="ADAL" clId="{0BF56A33-4BC5-423F-96C0-6A8645FA96BB}" dt="2023-12-03T21:48:12.033" v="33341" actId="948"/>
          <ac:spMkLst>
            <pc:docMk/>
            <pc:sldMk cId="1184951045" sldId="1150"/>
            <ac:spMk id="2" creationId="{359F95C6-17D5-4810-9BFC-CFBCB99740C2}"/>
          </ac:spMkLst>
        </pc:spChg>
        <pc:spChg chg="add del mod modVis">
          <ac:chgData name="KevCla12" userId="ef2eb634-4620-450f-93cc-80cc93397e60" providerId="ADAL" clId="{0BF56A33-4BC5-423F-96C0-6A8645FA96BB}" dt="2023-12-03T21:48:12.330" v="33630"/>
          <ac:spMkLst>
            <pc:docMk/>
            <pc:sldMk cId="1184951045" sldId="1150"/>
            <ac:spMk id="3" creationId="{9B529E21-1C02-817D-BF3C-99BC21650F57}"/>
          </ac:spMkLst>
        </pc:spChg>
        <pc:spChg chg="mod">
          <ac:chgData name="KevCla12" userId="ef2eb634-4620-450f-93cc-80cc93397e60" providerId="ADAL" clId="{0BF56A33-4BC5-423F-96C0-6A8645FA96BB}" dt="2023-12-03T21:48:05.782" v="30718" actId="790"/>
          <ac:spMkLst>
            <pc:docMk/>
            <pc:sldMk cId="1184951045" sldId="1150"/>
            <ac:spMk id="4" creationId="{161D25ED-057E-F8CD-532D-0373D10429BB}"/>
          </ac:spMkLst>
        </pc:spChg>
        <pc:spChg chg="mod">
          <ac:chgData name="KevCla12" userId="ef2eb634-4620-450f-93cc-80cc93397e60" providerId="ADAL" clId="{0BF56A33-4BC5-423F-96C0-6A8645FA96BB}" dt="2023-12-03T21:48:05.783" v="30719" actId="790"/>
          <ac:spMkLst>
            <pc:docMk/>
            <pc:sldMk cId="1184951045" sldId="1150"/>
            <ac:spMk id="5" creationId="{E3138E72-CCA7-A852-0D53-5E739F3B088A}"/>
          </ac:spMkLst>
        </pc:spChg>
        <pc:spChg chg="mod">
          <ac:chgData name="KevCla12" userId="ef2eb634-4620-450f-93cc-80cc93397e60" providerId="ADAL" clId="{0BF56A33-4BC5-423F-96C0-6A8645FA96BB}" dt="2023-12-03T21:48:05.783" v="30720" actId="790"/>
          <ac:spMkLst>
            <pc:docMk/>
            <pc:sldMk cId="1184951045" sldId="1150"/>
            <ac:spMk id="6" creationId="{56B24220-CAD6-0177-5DC9-FE0D71EB271A}"/>
          </ac:spMkLst>
        </pc:spChg>
        <pc:spChg chg="mod">
          <ac:chgData name="KevCla12" userId="ef2eb634-4620-450f-93cc-80cc93397e60" providerId="ADAL" clId="{0BF56A33-4BC5-423F-96C0-6A8645FA96BB}" dt="2023-12-03T21:48:05.784" v="30721" actId="790"/>
          <ac:spMkLst>
            <pc:docMk/>
            <pc:sldMk cId="1184951045" sldId="1150"/>
            <ac:spMk id="7" creationId="{0ECAF468-8A5D-1A2C-50BB-C670E1B844AF}"/>
          </ac:spMkLst>
        </pc:spChg>
        <pc:spChg chg="mod">
          <ac:chgData name="KevCla12" userId="ef2eb634-4620-450f-93cc-80cc93397e60" providerId="ADAL" clId="{0BF56A33-4BC5-423F-96C0-6A8645FA96BB}" dt="2023-12-03T21:48:05.785" v="30722" actId="790"/>
          <ac:spMkLst>
            <pc:docMk/>
            <pc:sldMk cId="1184951045" sldId="1150"/>
            <ac:spMk id="9" creationId="{7925477F-4E64-788C-516D-2A64AB5D0EB8}"/>
          </ac:spMkLst>
        </pc:spChg>
        <pc:graphicFrameChg chg="mod">
          <ac:chgData name="KevCla12" userId="ef2eb634-4620-450f-93cc-80cc93397e60" providerId="ADAL" clId="{0BF56A33-4BC5-423F-96C0-6A8645FA96BB}" dt="2023-12-03T21:48:05.699" v="30717"/>
          <ac:graphicFrameMkLst>
            <pc:docMk/>
            <pc:sldMk cId="1184951045" sldId="1150"/>
            <ac:graphicFrameMk id="8" creationId="{9FCCB3A9-4A97-BB1F-5749-ADDC46179073}"/>
          </ac:graphicFrameMkLst>
        </pc:graphicFrameChg>
        <pc:graphicFrameChg chg="add mod ord modVis replST">
          <ac:chgData name="KevCla12" userId="ef2eb634-4620-450f-93cc-80cc93397e60" providerId="ADAL" clId="{0BF56A33-4BC5-423F-96C0-6A8645FA96BB}" dt="2023-12-03T21:48:12.348" v="33645"/>
          <ac:graphicFrameMkLst>
            <pc:docMk/>
            <pc:sldMk cId="1184951045" sldId="1150"/>
            <ac:graphicFrameMk id="10" creationId="{0577263F-ED6D-B93C-9616-4DB195C44415}"/>
          </ac:graphicFrameMkLst>
        </pc:graphicFrameChg>
      </pc:sldChg>
      <pc:sldChg chg="addSp delSp modSp mod ord modNotes">
        <pc:chgData name="KevCla12" userId="ef2eb634-4620-450f-93cc-80cc93397e60" providerId="ADAL" clId="{0BF56A33-4BC5-423F-96C0-6A8645FA96BB}" dt="2023-12-03T23:04:23.260" v="37154"/>
        <pc:sldMkLst>
          <pc:docMk/>
          <pc:sldMk cId="1015537986" sldId="1151"/>
        </pc:sldMkLst>
        <pc:spChg chg="mod">
          <ac:chgData name="KevCla12" userId="ef2eb634-4620-450f-93cc-80cc93397e60" providerId="ADAL" clId="{0BF56A33-4BC5-423F-96C0-6A8645FA96BB}" dt="2023-12-03T21:48:12.054" v="33362" actId="948"/>
          <ac:spMkLst>
            <pc:docMk/>
            <pc:sldMk cId="1015537986" sldId="1151"/>
            <ac:spMk id="2" creationId="{A4A4A6E8-1102-8A36-A365-A308215FFB97}"/>
          </ac:spMkLst>
        </pc:spChg>
        <pc:spChg chg="add del mod modVis">
          <ac:chgData name="KevCla12" userId="ef2eb634-4620-450f-93cc-80cc93397e60" providerId="ADAL" clId="{0BF56A33-4BC5-423F-96C0-6A8645FA96BB}" dt="2023-12-03T21:48:12.349" v="33647"/>
          <ac:spMkLst>
            <pc:docMk/>
            <pc:sldMk cId="1015537986" sldId="1151"/>
            <ac:spMk id="3" creationId="{DA02E4A5-D412-7371-B797-40454428545E}"/>
          </ac:spMkLst>
        </pc:spChg>
        <pc:spChg chg="mod">
          <ac:chgData name="KevCla12" userId="ef2eb634-4620-450f-93cc-80cc93397e60" providerId="ADAL" clId="{0BF56A33-4BC5-423F-96C0-6A8645FA96BB}" dt="2023-12-03T21:48:05.846" v="30742" actId="790"/>
          <ac:spMkLst>
            <pc:docMk/>
            <pc:sldMk cId="1015537986" sldId="1151"/>
            <ac:spMk id="4" creationId="{0CF1F83B-DD95-7BF1-222C-374DF56345DE}"/>
          </ac:spMkLst>
        </pc:spChg>
        <pc:spChg chg="mod">
          <ac:chgData name="KevCla12" userId="ef2eb634-4620-450f-93cc-80cc93397e60" providerId="ADAL" clId="{0BF56A33-4BC5-423F-96C0-6A8645FA96BB}" dt="2023-12-03T21:48:05.847" v="30743" actId="790"/>
          <ac:spMkLst>
            <pc:docMk/>
            <pc:sldMk cId="1015537986" sldId="1151"/>
            <ac:spMk id="5" creationId="{AEB3080C-648A-11BD-D177-5B64208D2812}"/>
          </ac:spMkLst>
        </pc:spChg>
        <pc:spChg chg="mod">
          <ac:chgData name="KevCla12" userId="ef2eb634-4620-450f-93cc-80cc93397e60" providerId="ADAL" clId="{0BF56A33-4BC5-423F-96C0-6A8645FA96BB}" dt="2023-12-03T21:48:05.848" v="30744" actId="790"/>
          <ac:spMkLst>
            <pc:docMk/>
            <pc:sldMk cId="1015537986" sldId="1151"/>
            <ac:spMk id="6" creationId="{124F2354-9BB9-9CA1-F1E5-095EC92BEDB6}"/>
          </ac:spMkLst>
        </pc:spChg>
        <pc:spChg chg="mod">
          <ac:chgData name="KevCla12" userId="ef2eb634-4620-450f-93cc-80cc93397e60" providerId="ADAL" clId="{0BF56A33-4BC5-423F-96C0-6A8645FA96BB}" dt="2023-12-03T21:48:05.849" v="30745" actId="790"/>
          <ac:spMkLst>
            <pc:docMk/>
            <pc:sldMk cId="1015537986" sldId="1151"/>
            <ac:spMk id="7" creationId="{41221B4D-6A02-8666-A6AE-7275EAFF322D}"/>
          </ac:spMkLst>
        </pc:spChg>
        <pc:graphicFrameChg chg="mod">
          <ac:chgData name="KevCla12" userId="ef2eb634-4620-450f-93cc-80cc93397e60" providerId="ADAL" clId="{0BF56A33-4BC5-423F-96C0-6A8645FA96BB}" dt="2023-12-03T21:48:05.843" v="30741"/>
          <ac:graphicFrameMkLst>
            <pc:docMk/>
            <pc:sldMk cId="1015537986" sldId="1151"/>
            <ac:graphicFrameMk id="8" creationId="{31CE2E6B-0BDA-AC7C-E361-8C0D4EB40F1A}"/>
          </ac:graphicFrameMkLst>
        </pc:graphicFrameChg>
        <pc:graphicFrameChg chg="add mod ord modVis replST">
          <ac:chgData name="KevCla12" userId="ef2eb634-4620-450f-93cc-80cc93397e60" providerId="ADAL" clId="{0BF56A33-4BC5-423F-96C0-6A8645FA96BB}" dt="2023-12-03T21:48:12.373" v="33662"/>
          <ac:graphicFrameMkLst>
            <pc:docMk/>
            <pc:sldMk cId="1015537986" sldId="1151"/>
            <ac:graphicFrameMk id="9" creationId="{253E1794-0C24-F7E3-BD04-FFC6312F8A56}"/>
          </ac:graphicFrameMkLst>
        </pc:graphicFrameChg>
      </pc:sldChg>
      <pc:sldChg chg="modSp mod modNotes">
        <pc:chgData name="KevCla12" userId="ef2eb634-4620-450f-93cc-80cc93397e60" providerId="ADAL" clId="{0BF56A33-4BC5-423F-96C0-6A8645FA96BB}" dt="2023-12-03T21:48:05.864" v="30763" actId="790"/>
        <pc:sldMkLst>
          <pc:docMk/>
          <pc:sldMk cId="2062070276" sldId="1152"/>
        </pc:sldMkLst>
        <pc:spChg chg="mod">
          <ac:chgData name="KevCla12" userId="ef2eb634-4620-450f-93cc-80cc93397e60" providerId="ADAL" clId="{0BF56A33-4BC5-423F-96C0-6A8645FA96BB}" dt="2023-12-03T21:48:05.851" v="30748" actId="790"/>
          <ac:spMkLst>
            <pc:docMk/>
            <pc:sldMk cId="2062070276" sldId="1152"/>
            <ac:spMk id="2" creationId="{E866A22C-E31F-C768-6008-539DC8F0C6F0}"/>
          </ac:spMkLst>
        </pc:spChg>
        <pc:spChg chg="mod">
          <ac:chgData name="KevCla12" userId="ef2eb634-4620-450f-93cc-80cc93397e60" providerId="ADAL" clId="{0BF56A33-4BC5-423F-96C0-6A8645FA96BB}" dt="2023-12-03T21:48:05.858" v="30758" actId="790"/>
          <ac:spMkLst>
            <pc:docMk/>
            <pc:sldMk cId="2062070276" sldId="1152"/>
            <ac:spMk id="4" creationId="{CDF7C36B-B82A-4370-2AD1-AABB9986F971}"/>
          </ac:spMkLst>
        </pc:spChg>
        <pc:spChg chg="mod">
          <ac:chgData name="KevCla12" userId="ef2eb634-4620-450f-93cc-80cc93397e60" providerId="ADAL" clId="{0BF56A33-4BC5-423F-96C0-6A8645FA96BB}" dt="2023-12-03T21:48:05.858" v="30759" actId="790"/>
          <ac:spMkLst>
            <pc:docMk/>
            <pc:sldMk cId="2062070276" sldId="1152"/>
            <ac:spMk id="5" creationId="{522FA02C-A4FC-7EFF-AE2C-47E5AE77004B}"/>
          </ac:spMkLst>
        </pc:spChg>
        <pc:spChg chg="mod">
          <ac:chgData name="KevCla12" userId="ef2eb634-4620-450f-93cc-80cc93397e60" providerId="ADAL" clId="{0BF56A33-4BC5-423F-96C0-6A8645FA96BB}" dt="2023-12-03T21:48:05.862" v="30760" actId="790"/>
          <ac:spMkLst>
            <pc:docMk/>
            <pc:sldMk cId="2062070276" sldId="1152"/>
            <ac:spMk id="6" creationId="{EC82643D-7AC4-C049-247E-4C0BD808B577}"/>
          </ac:spMkLst>
        </pc:spChg>
        <pc:spChg chg="mod">
          <ac:chgData name="KevCla12" userId="ef2eb634-4620-450f-93cc-80cc93397e60" providerId="ADAL" clId="{0BF56A33-4BC5-423F-96C0-6A8645FA96BB}" dt="2023-12-03T21:48:05.863" v="30761" actId="790"/>
          <ac:spMkLst>
            <pc:docMk/>
            <pc:sldMk cId="2062070276" sldId="1152"/>
            <ac:spMk id="7" creationId="{858C44A8-BD5F-847E-B494-73DED5C25D51}"/>
          </ac:spMkLst>
        </pc:spChg>
        <pc:graphicFrameChg chg="modGraphic">
          <ac:chgData name="KevCla12" userId="ef2eb634-4620-450f-93cc-80cc93397e60" providerId="ADAL" clId="{0BF56A33-4BC5-423F-96C0-6A8645FA96BB}" dt="2023-12-03T21:48:05.857" v="30757" actId="790"/>
          <ac:graphicFrameMkLst>
            <pc:docMk/>
            <pc:sldMk cId="2062070276" sldId="1152"/>
            <ac:graphicFrameMk id="8" creationId="{8C2C3FE5-0312-6ACB-7929-62602F9C6564}"/>
          </ac:graphicFrameMkLst>
        </pc:graphicFrameChg>
      </pc:sldChg>
      <pc:sldChg chg="modSp mod modNotes">
        <pc:chgData name="KevCla12" userId="ef2eb634-4620-450f-93cc-80cc93397e60" providerId="ADAL" clId="{0BF56A33-4BC5-423F-96C0-6A8645FA96BB}" dt="2023-12-03T21:48:05.879" v="30779" actId="790"/>
        <pc:sldMkLst>
          <pc:docMk/>
          <pc:sldMk cId="39756996" sldId="1153"/>
        </pc:sldMkLst>
        <pc:spChg chg="mod">
          <ac:chgData name="KevCla12" userId="ef2eb634-4620-450f-93cc-80cc93397e60" providerId="ADAL" clId="{0BF56A33-4BC5-423F-96C0-6A8645FA96BB}" dt="2023-12-03T21:48:05.865" v="30764" actId="790"/>
          <ac:spMkLst>
            <pc:docMk/>
            <pc:sldMk cId="39756996" sldId="1153"/>
            <ac:spMk id="2" creationId="{E866A22C-E31F-C768-6008-539DC8F0C6F0}"/>
          </ac:spMkLst>
        </pc:spChg>
        <pc:spChg chg="mod">
          <ac:chgData name="KevCla12" userId="ef2eb634-4620-450f-93cc-80cc93397e60" providerId="ADAL" clId="{0BF56A33-4BC5-423F-96C0-6A8645FA96BB}" dt="2023-12-03T21:48:05.873" v="30774" actId="790"/>
          <ac:spMkLst>
            <pc:docMk/>
            <pc:sldMk cId="39756996" sldId="1153"/>
            <ac:spMk id="4" creationId="{CDF7C36B-B82A-4370-2AD1-AABB9986F971}"/>
          </ac:spMkLst>
        </pc:spChg>
        <pc:spChg chg="mod">
          <ac:chgData name="KevCla12" userId="ef2eb634-4620-450f-93cc-80cc93397e60" providerId="ADAL" clId="{0BF56A33-4BC5-423F-96C0-6A8645FA96BB}" dt="2023-12-03T21:48:05.874" v="30775" actId="790"/>
          <ac:spMkLst>
            <pc:docMk/>
            <pc:sldMk cId="39756996" sldId="1153"/>
            <ac:spMk id="5" creationId="{522FA02C-A4FC-7EFF-AE2C-47E5AE77004B}"/>
          </ac:spMkLst>
        </pc:spChg>
        <pc:spChg chg="mod">
          <ac:chgData name="KevCla12" userId="ef2eb634-4620-450f-93cc-80cc93397e60" providerId="ADAL" clId="{0BF56A33-4BC5-423F-96C0-6A8645FA96BB}" dt="2023-12-03T21:48:05.876" v="30776" actId="790"/>
          <ac:spMkLst>
            <pc:docMk/>
            <pc:sldMk cId="39756996" sldId="1153"/>
            <ac:spMk id="6" creationId="{EC82643D-7AC4-C049-247E-4C0BD808B577}"/>
          </ac:spMkLst>
        </pc:spChg>
        <pc:spChg chg="mod">
          <ac:chgData name="KevCla12" userId="ef2eb634-4620-450f-93cc-80cc93397e60" providerId="ADAL" clId="{0BF56A33-4BC5-423F-96C0-6A8645FA96BB}" dt="2023-12-03T21:48:05.877" v="30777" actId="790"/>
          <ac:spMkLst>
            <pc:docMk/>
            <pc:sldMk cId="39756996" sldId="1153"/>
            <ac:spMk id="7" creationId="{858C44A8-BD5F-847E-B494-73DED5C25D51}"/>
          </ac:spMkLst>
        </pc:spChg>
        <pc:graphicFrameChg chg="modGraphic">
          <ac:chgData name="KevCla12" userId="ef2eb634-4620-450f-93cc-80cc93397e60" providerId="ADAL" clId="{0BF56A33-4BC5-423F-96C0-6A8645FA96BB}" dt="2023-12-03T21:48:05.872" v="30773" actId="790"/>
          <ac:graphicFrameMkLst>
            <pc:docMk/>
            <pc:sldMk cId="39756996" sldId="1153"/>
            <ac:graphicFrameMk id="8" creationId="{8C2C3FE5-0312-6ACB-7929-62602F9C6564}"/>
          </ac:graphicFrameMkLst>
        </pc:graphicFrameChg>
      </pc:sldChg>
      <pc:sldChg chg="modSp mod modNotes">
        <pc:chgData name="KevCla12" userId="ef2eb634-4620-450f-93cc-80cc93397e60" providerId="ADAL" clId="{0BF56A33-4BC5-423F-96C0-6A8645FA96BB}" dt="2023-12-03T21:48:05.892" v="30787" actId="790"/>
        <pc:sldMkLst>
          <pc:docMk/>
          <pc:sldMk cId="1790269184" sldId="1154"/>
        </pc:sldMkLst>
        <pc:spChg chg="mod">
          <ac:chgData name="KevCla12" userId="ef2eb634-4620-450f-93cc-80cc93397e60" providerId="ADAL" clId="{0BF56A33-4BC5-423F-96C0-6A8645FA96BB}" dt="2023-12-03T21:48:05.880" v="30780" actId="790"/>
          <ac:spMkLst>
            <pc:docMk/>
            <pc:sldMk cId="1790269184" sldId="1154"/>
            <ac:spMk id="2" creationId="{7455E0E8-0A25-6A00-4C1B-DE0057E40C8D}"/>
          </ac:spMkLst>
        </pc:spChg>
        <pc:spChg chg="mod">
          <ac:chgData name="KevCla12" userId="ef2eb634-4620-450f-93cc-80cc93397e60" providerId="ADAL" clId="{0BF56A33-4BC5-423F-96C0-6A8645FA96BB}" dt="2023-12-03T21:48:05.881" v="30781" actId="790"/>
          <ac:spMkLst>
            <pc:docMk/>
            <pc:sldMk cId="1790269184" sldId="1154"/>
            <ac:spMk id="4" creationId="{A12B1F9C-DF59-2FE0-08F2-F197B2C98CE8}"/>
          </ac:spMkLst>
        </pc:spChg>
        <pc:spChg chg="mod">
          <ac:chgData name="KevCla12" userId="ef2eb634-4620-450f-93cc-80cc93397e60" providerId="ADAL" clId="{0BF56A33-4BC5-423F-96C0-6A8645FA96BB}" dt="2023-12-03T21:48:05.881" v="30782" actId="790"/>
          <ac:spMkLst>
            <pc:docMk/>
            <pc:sldMk cId="1790269184" sldId="1154"/>
            <ac:spMk id="5" creationId="{F3CC4AA9-195E-B525-9759-64C081C0757E}"/>
          </ac:spMkLst>
        </pc:spChg>
        <pc:spChg chg="mod">
          <ac:chgData name="KevCla12" userId="ef2eb634-4620-450f-93cc-80cc93397e60" providerId="ADAL" clId="{0BF56A33-4BC5-423F-96C0-6A8645FA96BB}" dt="2023-12-03T21:48:05.882" v="30783" actId="790"/>
          <ac:spMkLst>
            <pc:docMk/>
            <pc:sldMk cId="1790269184" sldId="1154"/>
            <ac:spMk id="6" creationId="{D38C4579-376D-F9B9-E8B8-DC6999240C12}"/>
          </ac:spMkLst>
        </pc:spChg>
        <pc:spChg chg="mod">
          <ac:chgData name="KevCla12" userId="ef2eb634-4620-450f-93cc-80cc93397e60" providerId="ADAL" clId="{0BF56A33-4BC5-423F-96C0-6A8645FA96BB}" dt="2023-12-03T21:48:05.882" v="30784" actId="790"/>
          <ac:spMkLst>
            <pc:docMk/>
            <pc:sldMk cId="1790269184" sldId="1154"/>
            <ac:spMk id="7" creationId="{76581BB8-5A08-0BB6-9D02-74455CB93008}"/>
          </ac:spMkLst>
        </pc:spChg>
        <pc:spChg chg="mod">
          <ac:chgData name="KevCla12" userId="ef2eb634-4620-450f-93cc-80cc93397e60" providerId="ADAL" clId="{0BF56A33-4BC5-423F-96C0-6A8645FA96BB}" dt="2023-12-03T21:48:05.890" v="30785" actId="790"/>
          <ac:spMkLst>
            <pc:docMk/>
            <pc:sldMk cId="1790269184" sldId="1154"/>
            <ac:spMk id="10" creationId="{6D54E017-E35A-1D2D-1BEA-09F8F0A92DF6}"/>
          </ac:spMkLst>
        </pc:spChg>
      </pc:sldChg>
      <pc:sldChg chg="modSp mod modNotes">
        <pc:chgData name="KevCla12" userId="ef2eb634-4620-450f-93cc-80cc93397e60" providerId="ADAL" clId="{0BF56A33-4BC5-423F-96C0-6A8645FA96BB}" dt="2023-11-30T18:14:34.926" v="6597" actId="790"/>
        <pc:sldMkLst>
          <pc:docMk/>
          <pc:sldMk cId="3310491922" sldId="1154"/>
        </pc:sldMkLst>
        <pc:spChg chg="mod">
          <ac:chgData name="KevCla12" userId="ef2eb634-4620-450f-93cc-80cc93397e60" providerId="ADAL" clId="{0BF56A33-4BC5-423F-96C0-6A8645FA96BB}" dt="2023-11-30T18:14:34.861" v="6589" actId="790"/>
          <ac:spMkLst>
            <pc:docMk/>
            <pc:sldMk cId="3310491922" sldId="1154"/>
            <ac:spMk id="2" creationId="{F2CFA269-5589-2EA3-85A5-9F0537F8AED4}"/>
          </ac:spMkLst>
        </pc:spChg>
        <pc:spChg chg="mod">
          <ac:chgData name="KevCla12" userId="ef2eb634-4620-450f-93cc-80cc93397e60" providerId="ADAL" clId="{0BF56A33-4BC5-423F-96C0-6A8645FA96BB}" dt="2023-11-30T18:14:34.864" v="6590" actId="790"/>
          <ac:spMkLst>
            <pc:docMk/>
            <pc:sldMk cId="3310491922" sldId="1154"/>
            <ac:spMk id="4" creationId="{6231288B-AE5D-716B-328E-5914A319486E}"/>
          </ac:spMkLst>
        </pc:spChg>
        <pc:spChg chg="mod">
          <ac:chgData name="KevCla12" userId="ef2eb634-4620-450f-93cc-80cc93397e60" providerId="ADAL" clId="{0BF56A33-4BC5-423F-96C0-6A8645FA96BB}" dt="2023-11-30T18:14:34.868" v="6591" actId="790"/>
          <ac:spMkLst>
            <pc:docMk/>
            <pc:sldMk cId="3310491922" sldId="1154"/>
            <ac:spMk id="6" creationId="{8368093E-E255-1FD0-8253-7359808AD8A4}"/>
          </ac:spMkLst>
        </pc:spChg>
        <pc:spChg chg="mod">
          <ac:chgData name="KevCla12" userId="ef2eb634-4620-450f-93cc-80cc93397e60" providerId="ADAL" clId="{0BF56A33-4BC5-423F-96C0-6A8645FA96BB}" dt="2023-11-30T18:14:34.871" v="6592" actId="790"/>
          <ac:spMkLst>
            <pc:docMk/>
            <pc:sldMk cId="3310491922" sldId="1154"/>
            <ac:spMk id="7" creationId="{3C502EDD-5A19-64AE-A64F-B04FE85D9266}"/>
          </ac:spMkLst>
        </pc:spChg>
        <pc:spChg chg="mod">
          <ac:chgData name="KevCla12" userId="ef2eb634-4620-450f-93cc-80cc93397e60" providerId="ADAL" clId="{0BF56A33-4BC5-423F-96C0-6A8645FA96BB}" dt="2023-11-30T18:14:34.899" v="6594" actId="790"/>
          <ac:spMkLst>
            <pc:docMk/>
            <pc:sldMk cId="3310491922" sldId="1154"/>
            <ac:spMk id="10" creationId="{5ACC1EFE-E771-A193-E05C-DBB70A16DAB1}"/>
          </ac:spMkLst>
        </pc:spChg>
        <pc:spChg chg="mod">
          <ac:chgData name="KevCla12" userId="ef2eb634-4620-450f-93cc-80cc93397e60" providerId="ADAL" clId="{0BF56A33-4BC5-423F-96C0-6A8645FA96BB}" dt="2023-11-30T18:14:34.876" v="6593" actId="790"/>
          <ac:spMkLst>
            <pc:docMk/>
            <pc:sldMk cId="3310491922" sldId="1154"/>
            <ac:spMk id="11" creationId="{0C638B22-28B0-D795-811B-6C03F35B2D1C}"/>
          </ac:spMkLst>
        </pc:spChg>
        <pc:spChg chg="mod">
          <ac:chgData name="KevCla12" userId="ef2eb634-4620-450f-93cc-80cc93397e60" providerId="ADAL" clId="{0BF56A33-4BC5-423F-96C0-6A8645FA96BB}" dt="2023-11-30T18:14:34.921" v="6595" actId="790"/>
          <ac:spMkLst>
            <pc:docMk/>
            <pc:sldMk cId="3310491922" sldId="1154"/>
            <ac:spMk id="12" creationId="{216AEE1E-244E-0AF1-0BBA-8DA83EE14D7E}"/>
          </ac:spMkLst>
        </pc:spChg>
      </pc:sldChg>
      <pc:sldChg chg="modSp mod modNotes">
        <pc:chgData name="KevCla12" userId="ef2eb634-4620-450f-93cc-80cc93397e60" providerId="ADAL" clId="{0BF56A33-4BC5-423F-96C0-6A8645FA96BB}" dt="2023-11-30T18:14:35.024" v="6608" actId="790"/>
        <pc:sldMkLst>
          <pc:docMk/>
          <pc:sldMk cId="458839164" sldId="1155"/>
        </pc:sldMkLst>
        <pc:spChg chg="mod">
          <ac:chgData name="KevCla12" userId="ef2eb634-4620-450f-93cc-80cc93397e60" providerId="ADAL" clId="{0BF56A33-4BC5-423F-96C0-6A8645FA96BB}" dt="2023-11-30T18:14:34.932" v="6598" actId="790"/>
          <ac:spMkLst>
            <pc:docMk/>
            <pc:sldMk cId="458839164" sldId="1155"/>
            <ac:spMk id="2" creationId="{F2CFA269-5589-2EA3-85A5-9F0537F8AED4}"/>
          </ac:spMkLst>
        </pc:spChg>
        <pc:spChg chg="mod">
          <ac:chgData name="KevCla12" userId="ef2eb634-4620-450f-93cc-80cc93397e60" providerId="ADAL" clId="{0BF56A33-4BC5-423F-96C0-6A8645FA96BB}" dt="2023-11-30T18:14:35.003" v="6604" actId="790"/>
          <ac:spMkLst>
            <pc:docMk/>
            <pc:sldMk cId="458839164" sldId="1155"/>
            <ac:spMk id="3" creationId="{1A5266B4-4AF5-4F4E-3505-56B77C8F25BF}"/>
          </ac:spMkLst>
        </pc:spChg>
        <pc:spChg chg="mod">
          <ac:chgData name="KevCla12" userId="ef2eb634-4620-450f-93cc-80cc93397e60" providerId="ADAL" clId="{0BF56A33-4BC5-423F-96C0-6A8645FA96BB}" dt="2023-11-30T18:14:34.935" v="6599" actId="790"/>
          <ac:spMkLst>
            <pc:docMk/>
            <pc:sldMk cId="458839164" sldId="1155"/>
            <ac:spMk id="4" creationId="{6231288B-AE5D-716B-328E-5914A319486E}"/>
          </ac:spMkLst>
        </pc:spChg>
        <pc:spChg chg="mod">
          <ac:chgData name="KevCla12" userId="ef2eb634-4620-450f-93cc-80cc93397e60" providerId="ADAL" clId="{0BF56A33-4BC5-423F-96C0-6A8645FA96BB}" dt="2023-11-30T18:14:35.019" v="6606" actId="790"/>
          <ac:spMkLst>
            <pc:docMk/>
            <pc:sldMk cId="458839164" sldId="1155"/>
            <ac:spMk id="5" creationId="{7FE8DAAA-C564-FADF-4C07-28A63D08DF3A}"/>
          </ac:spMkLst>
        </pc:spChg>
        <pc:spChg chg="mod">
          <ac:chgData name="KevCla12" userId="ef2eb634-4620-450f-93cc-80cc93397e60" providerId="ADAL" clId="{0BF56A33-4BC5-423F-96C0-6A8645FA96BB}" dt="2023-11-30T18:14:34.938" v="6600" actId="790"/>
          <ac:spMkLst>
            <pc:docMk/>
            <pc:sldMk cId="458839164" sldId="1155"/>
            <ac:spMk id="6" creationId="{8368093E-E255-1FD0-8253-7359808AD8A4}"/>
          </ac:spMkLst>
        </pc:spChg>
        <pc:spChg chg="mod">
          <ac:chgData name="KevCla12" userId="ef2eb634-4620-450f-93cc-80cc93397e60" providerId="ADAL" clId="{0BF56A33-4BC5-423F-96C0-6A8645FA96BB}" dt="2023-11-30T18:14:34.941" v="6601" actId="790"/>
          <ac:spMkLst>
            <pc:docMk/>
            <pc:sldMk cId="458839164" sldId="1155"/>
            <ac:spMk id="7" creationId="{3C502EDD-5A19-64AE-A64F-B04FE85D9266}"/>
          </ac:spMkLst>
        </pc:spChg>
        <pc:spChg chg="mod">
          <ac:chgData name="KevCla12" userId="ef2eb634-4620-450f-93cc-80cc93397e60" providerId="ADAL" clId="{0BF56A33-4BC5-423F-96C0-6A8645FA96BB}" dt="2023-11-30T18:14:34.970" v="6603" actId="790"/>
          <ac:spMkLst>
            <pc:docMk/>
            <pc:sldMk cId="458839164" sldId="1155"/>
            <ac:spMk id="8" creationId="{577C39F7-D692-75CF-E4DE-130EF2AB4CA8}"/>
          </ac:spMkLst>
        </pc:spChg>
        <pc:spChg chg="mod">
          <ac:chgData name="KevCla12" userId="ef2eb634-4620-450f-93cc-80cc93397e60" providerId="ADAL" clId="{0BF56A33-4BC5-423F-96C0-6A8645FA96BB}" dt="2023-11-30T18:14:35.013" v="6605" actId="790"/>
          <ac:spMkLst>
            <pc:docMk/>
            <pc:sldMk cId="458839164" sldId="1155"/>
            <ac:spMk id="9" creationId="{63FFA7D8-3B5B-08EC-52F0-E63863E43645}"/>
          </ac:spMkLst>
        </pc:spChg>
        <pc:spChg chg="mod">
          <ac:chgData name="KevCla12" userId="ef2eb634-4620-450f-93cc-80cc93397e60" providerId="ADAL" clId="{0BF56A33-4BC5-423F-96C0-6A8645FA96BB}" dt="2023-11-30T18:14:34.946" v="6602" actId="790"/>
          <ac:spMkLst>
            <pc:docMk/>
            <pc:sldMk cId="458839164" sldId="1155"/>
            <ac:spMk id="11" creationId="{0C638B22-28B0-D795-811B-6C03F35B2D1C}"/>
          </ac:spMkLst>
        </pc:spChg>
      </pc:sldChg>
      <pc:sldChg chg="modSp mod modNotes">
        <pc:chgData name="KevCla12" userId="ef2eb634-4620-450f-93cc-80cc93397e60" providerId="ADAL" clId="{0BF56A33-4BC5-423F-96C0-6A8645FA96BB}" dt="2023-12-03T21:48:06.032" v="30810" actId="790"/>
        <pc:sldMkLst>
          <pc:docMk/>
          <pc:sldMk cId="3242610068" sldId="1155"/>
        </pc:sldMkLst>
        <pc:spChg chg="mod">
          <ac:chgData name="KevCla12" userId="ef2eb634-4620-450f-93cc-80cc93397e60" providerId="ADAL" clId="{0BF56A33-4BC5-423F-96C0-6A8645FA96BB}" dt="2023-12-03T21:48:05.893" v="30788" actId="790"/>
          <ac:spMkLst>
            <pc:docMk/>
            <pc:sldMk cId="3242610068" sldId="1155"/>
            <ac:spMk id="2" creationId="{7455E0E8-0A25-6A00-4C1B-DE0057E40C8D}"/>
          </ac:spMkLst>
        </pc:spChg>
        <pc:spChg chg="mod">
          <ac:chgData name="KevCla12" userId="ef2eb634-4620-450f-93cc-80cc93397e60" providerId="ADAL" clId="{0BF56A33-4BC5-423F-96C0-6A8645FA96BB}" dt="2023-12-03T21:48:06.026" v="30804" actId="790"/>
          <ac:spMkLst>
            <pc:docMk/>
            <pc:sldMk cId="3242610068" sldId="1155"/>
            <ac:spMk id="4" creationId="{A12B1F9C-DF59-2FE0-08F2-F197B2C98CE8}"/>
          </ac:spMkLst>
        </pc:spChg>
        <pc:spChg chg="mod">
          <ac:chgData name="KevCla12" userId="ef2eb634-4620-450f-93cc-80cc93397e60" providerId="ADAL" clId="{0BF56A33-4BC5-423F-96C0-6A8645FA96BB}" dt="2023-12-03T21:48:06.027" v="30805" actId="790"/>
          <ac:spMkLst>
            <pc:docMk/>
            <pc:sldMk cId="3242610068" sldId="1155"/>
            <ac:spMk id="5" creationId="{F3CC4AA9-195E-B525-9759-64C081C0757E}"/>
          </ac:spMkLst>
        </pc:spChg>
        <pc:spChg chg="mod">
          <ac:chgData name="KevCla12" userId="ef2eb634-4620-450f-93cc-80cc93397e60" providerId="ADAL" clId="{0BF56A33-4BC5-423F-96C0-6A8645FA96BB}" dt="2023-12-03T21:48:06.028" v="30806" actId="790"/>
          <ac:spMkLst>
            <pc:docMk/>
            <pc:sldMk cId="3242610068" sldId="1155"/>
            <ac:spMk id="6" creationId="{D38C4579-376D-F9B9-E8B8-DC6999240C12}"/>
          </ac:spMkLst>
        </pc:spChg>
        <pc:spChg chg="mod">
          <ac:chgData name="KevCla12" userId="ef2eb634-4620-450f-93cc-80cc93397e60" providerId="ADAL" clId="{0BF56A33-4BC5-423F-96C0-6A8645FA96BB}" dt="2023-12-03T21:48:06.028" v="30807" actId="790"/>
          <ac:spMkLst>
            <pc:docMk/>
            <pc:sldMk cId="3242610068" sldId="1155"/>
            <ac:spMk id="7" creationId="{76581BB8-5A08-0BB6-9D02-74455CB93008}"/>
          </ac:spMkLst>
        </pc:spChg>
        <pc:spChg chg="mod">
          <ac:chgData name="KevCla12" userId="ef2eb634-4620-450f-93cc-80cc93397e60" providerId="ADAL" clId="{0BF56A33-4BC5-423F-96C0-6A8645FA96BB}" dt="2023-12-03T21:48:06.030" v="30808" actId="790"/>
          <ac:spMkLst>
            <pc:docMk/>
            <pc:sldMk cId="3242610068" sldId="1155"/>
            <ac:spMk id="9" creationId="{B9A128E5-8BA1-6B5C-7875-8C103BBACB19}"/>
          </ac:spMkLst>
        </pc:spChg>
        <pc:graphicFrameChg chg="mod">
          <ac:chgData name="KevCla12" userId="ef2eb634-4620-450f-93cc-80cc93397e60" providerId="ADAL" clId="{0BF56A33-4BC5-423F-96C0-6A8645FA96BB}" dt="2023-12-03T21:48:06.018" v="30803"/>
          <ac:graphicFrameMkLst>
            <pc:docMk/>
            <pc:sldMk cId="3242610068" sldId="1155"/>
            <ac:graphicFrameMk id="8" creationId="{E895970E-4FA1-B0DC-EDA0-27753F739FF3}"/>
          </ac:graphicFrameMkLst>
        </pc:graphicFrameChg>
      </pc:sldChg>
      <pc:sldChg chg="modSp mod modNotes">
        <pc:chgData name="KevCla12" userId="ef2eb634-4620-450f-93cc-80cc93397e60" providerId="ADAL" clId="{0BF56A33-4BC5-423F-96C0-6A8645FA96BB}" dt="2023-12-03T21:48:07.180" v="31268" actId="790"/>
        <pc:sldMkLst>
          <pc:docMk/>
          <pc:sldMk cId="330923922" sldId="1156"/>
        </pc:sldMkLst>
        <pc:spChg chg="mod">
          <ac:chgData name="KevCla12" userId="ef2eb634-4620-450f-93cc-80cc93397e60" providerId="ADAL" clId="{0BF56A33-4BC5-423F-96C0-6A8645FA96BB}" dt="2023-12-03T21:48:07.121" v="31257" actId="790"/>
          <ac:spMkLst>
            <pc:docMk/>
            <pc:sldMk cId="330923922" sldId="1156"/>
            <ac:spMk id="2" creationId="{2BE6E7EE-E560-3729-3022-B7E1AA79899D}"/>
          </ac:spMkLst>
        </pc:spChg>
        <pc:spChg chg="mod">
          <ac:chgData name="KevCla12" userId="ef2eb634-4620-450f-93cc-80cc93397e60" providerId="ADAL" clId="{0BF56A33-4BC5-423F-96C0-6A8645FA96BB}" dt="2023-12-03T21:48:07.173" v="31263" actId="790"/>
          <ac:spMkLst>
            <pc:docMk/>
            <pc:sldMk cId="330923922" sldId="1156"/>
            <ac:spMk id="4" creationId="{E3E9F81A-FDF7-3F4C-5E07-CA067BCD0E3F}"/>
          </ac:spMkLst>
        </pc:spChg>
        <pc:spChg chg="mod">
          <ac:chgData name="KevCla12" userId="ef2eb634-4620-450f-93cc-80cc93397e60" providerId="ADAL" clId="{0BF56A33-4BC5-423F-96C0-6A8645FA96BB}" dt="2023-12-03T21:48:07.176" v="31264" actId="790"/>
          <ac:spMkLst>
            <pc:docMk/>
            <pc:sldMk cId="330923922" sldId="1156"/>
            <ac:spMk id="5" creationId="{A5C33B17-BA4B-EAA1-98C8-1735EF88019C}"/>
          </ac:spMkLst>
        </pc:spChg>
        <pc:spChg chg="mod">
          <ac:chgData name="KevCla12" userId="ef2eb634-4620-450f-93cc-80cc93397e60" providerId="ADAL" clId="{0BF56A33-4BC5-423F-96C0-6A8645FA96BB}" dt="2023-12-03T21:48:07.177" v="31265" actId="790"/>
          <ac:spMkLst>
            <pc:docMk/>
            <pc:sldMk cId="330923922" sldId="1156"/>
            <ac:spMk id="6" creationId="{D66C1891-6CF8-C1EC-CA1F-B2ACBBB468D3}"/>
          </ac:spMkLst>
        </pc:spChg>
        <pc:spChg chg="mod">
          <ac:chgData name="KevCla12" userId="ef2eb634-4620-450f-93cc-80cc93397e60" providerId="ADAL" clId="{0BF56A33-4BC5-423F-96C0-6A8645FA96BB}" dt="2023-12-03T21:48:07.178" v="31266" actId="790"/>
          <ac:spMkLst>
            <pc:docMk/>
            <pc:sldMk cId="330923922" sldId="1156"/>
            <ac:spMk id="7" creationId="{867B9B9C-7540-3293-F97C-88F9FCCEBF8E}"/>
          </ac:spMkLst>
        </pc:spChg>
        <pc:graphicFrameChg chg="mod">
          <ac:chgData name="KevCla12" userId="ef2eb634-4620-450f-93cc-80cc93397e60" providerId="ADAL" clId="{0BF56A33-4BC5-423F-96C0-6A8645FA96BB}" dt="2023-12-03T21:48:07.164" v="31262"/>
          <ac:graphicFrameMkLst>
            <pc:docMk/>
            <pc:sldMk cId="330923922" sldId="1156"/>
            <ac:graphicFrameMk id="8" creationId="{ED0B2B28-F91B-689F-6B87-718291F75961}"/>
          </ac:graphicFrameMkLst>
        </pc:graphicFrameChg>
      </pc:sldChg>
      <pc:sldChg chg="modSp mod modNotes">
        <pc:chgData name="KevCla12" userId="ef2eb634-4620-450f-93cc-80cc93397e60" providerId="ADAL" clId="{0BF56A33-4BC5-423F-96C0-6A8645FA96BB}" dt="2023-12-03T21:48:10.088" v="32551" actId="790"/>
        <pc:sldMkLst>
          <pc:docMk/>
          <pc:sldMk cId="1573429263" sldId="1157"/>
        </pc:sldMkLst>
        <pc:spChg chg="mod">
          <ac:chgData name="KevCla12" userId="ef2eb634-4620-450f-93cc-80cc93397e60" providerId="ADAL" clId="{0BF56A33-4BC5-423F-96C0-6A8645FA96BB}" dt="2023-12-03T21:48:09.517" v="32533" actId="790"/>
          <ac:spMkLst>
            <pc:docMk/>
            <pc:sldMk cId="1573429263" sldId="1157"/>
            <ac:spMk id="2" creationId="{3C45C31C-6DC4-E86D-8F13-B2CAE63C226E}"/>
          </ac:spMkLst>
        </pc:spChg>
        <pc:spChg chg="mod">
          <ac:chgData name="KevCla12" userId="ef2eb634-4620-450f-93cc-80cc93397e60" providerId="ADAL" clId="{0BF56A33-4BC5-423F-96C0-6A8645FA96BB}" dt="2023-12-03T21:48:10.081" v="32546" actId="790"/>
          <ac:spMkLst>
            <pc:docMk/>
            <pc:sldMk cId="1573429263" sldId="1157"/>
            <ac:spMk id="4" creationId="{4582CF88-6C5B-2C15-A920-742A54C59C41}"/>
          </ac:spMkLst>
        </pc:spChg>
        <pc:spChg chg="mod">
          <ac:chgData name="KevCla12" userId="ef2eb634-4620-450f-93cc-80cc93397e60" providerId="ADAL" clId="{0BF56A33-4BC5-423F-96C0-6A8645FA96BB}" dt="2023-12-03T21:48:10.084" v="32547" actId="790"/>
          <ac:spMkLst>
            <pc:docMk/>
            <pc:sldMk cId="1573429263" sldId="1157"/>
            <ac:spMk id="5" creationId="{9D2A54F7-9C33-3633-37C9-E90AD83D6807}"/>
          </ac:spMkLst>
        </pc:spChg>
        <pc:spChg chg="mod">
          <ac:chgData name="KevCla12" userId="ef2eb634-4620-450f-93cc-80cc93397e60" providerId="ADAL" clId="{0BF56A33-4BC5-423F-96C0-6A8645FA96BB}" dt="2023-12-03T21:48:10.085" v="32548" actId="790"/>
          <ac:spMkLst>
            <pc:docMk/>
            <pc:sldMk cId="1573429263" sldId="1157"/>
            <ac:spMk id="6" creationId="{206F64AF-A3CE-B0A2-5E18-F4B796576ED1}"/>
          </ac:spMkLst>
        </pc:spChg>
        <pc:spChg chg="mod">
          <ac:chgData name="KevCla12" userId="ef2eb634-4620-450f-93cc-80cc93397e60" providerId="ADAL" clId="{0BF56A33-4BC5-423F-96C0-6A8645FA96BB}" dt="2023-12-03T21:48:10.086" v="32549" actId="790"/>
          <ac:spMkLst>
            <pc:docMk/>
            <pc:sldMk cId="1573429263" sldId="1157"/>
            <ac:spMk id="7" creationId="{E49B0244-1387-B818-D78D-A43BDD43835D}"/>
          </ac:spMkLst>
        </pc:spChg>
        <pc:graphicFrameChg chg="mod">
          <ac:chgData name="KevCla12" userId="ef2eb634-4620-450f-93cc-80cc93397e60" providerId="ADAL" clId="{0BF56A33-4BC5-423F-96C0-6A8645FA96BB}" dt="2023-12-03T21:48:10.032" v="32545"/>
          <ac:graphicFrameMkLst>
            <pc:docMk/>
            <pc:sldMk cId="1573429263" sldId="1157"/>
            <ac:graphicFrameMk id="8" creationId="{D938AB69-BAB3-94CB-DB81-07EAFDD5161D}"/>
          </ac:graphicFrameMkLst>
        </pc:graphicFrameChg>
      </pc:sldChg>
      <pc:sldChg chg="modSp mod modNotes">
        <pc:chgData name="KevCla12" userId="ef2eb634-4620-450f-93cc-80cc93397e60" providerId="ADAL" clId="{0BF56A33-4BC5-423F-96C0-6A8645FA96BB}" dt="2023-12-03T21:48:10.211" v="32590" actId="790"/>
        <pc:sldMkLst>
          <pc:docMk/>
          <pc:sldMk cId="1403724331" sldId="1158"/>
        </pc:sldMkLst>
        <pc:spChg chg="mod">
          <ac:chgData name="KevCla12" userId="ef2eb634-4620-450f-93cc-80cc93397e60" providerId="ADAL" clId="{0BF56A33-4BC5-423F-96C0-6A8645FA96BB}" dt="2023-12-03T21:48:10.132" v="32575" actId="790"/>
          <ac:spMkLst>
            <pc:docMk/>
            <pc:sldMk cId="1403724331" sldId="1158"/>
            <ac:spMk id="2" creationId="{BC6D95C7-6189-B544-74D6-3D42505525EF}"/>
          </ac:spMkLst>
        </pc:spChg>
        <pc:spChg chg="mod">
          <ac:chgData name="KevCla12" userId="ef2eb634-4620-450f-93cc-80cc93397e60" providerId="ADAL" clId="{0BF56A33-4BC5-423F-96C0-6A8645FA96BB}" dt="2023-12-03T21:48:10.133" v="32576" actId="790"/>
          <ac:spMkLst>
            <pc:docMk/>
            <pc:sldMk cId="1403724331" sldId="1158"/>
            <ac:spMk id="4" creationId="{4DB221D8-DA39-0548-1160-552BF68FC80E}"/>
          </ac:spMkLst>
        </pc:spChg>
        <pc:spChg chg="mod">
          <ac:chgData name="KevCla12" userId="ef2eb634-4620-450f-93cc-80cc93397e60" providerId="ADAL" clId="{0BF56A33-4BC5-423F-96C0-6A8645FA96BB}" dt="2023-12-03T21:48:10.136" v="32577" actId="790"/>
          <ac:spMkLst>
            <pc:docMk/>
            <pc:sldMk cId="1403724331" sldId="1158"/>
            <ac:spMk id="6" creationId="{4CC9AB60-1732-E120-EF63-271B4254503F}"/>
          </ac:spMkLst>
        </pc:spChg>
        <pc:spChg chg="mod">
          <ac:chgData name="KevCla12" userId="ef2eb634-4620-450f-93cc-80cc93397e60" providerId="ADAL" clId="{0BF56A33-4BC5-423F-96C0-6A8645FA96BB}" dt="2023-12-03T21:48:10.184" v="32584" actId="790"/>
          <ac:spMkLst>
            <pc:docMk/>
            <pc:sldMk cId="1403724331" sldId="1158"/>
            <ac:spMk id="11" creationId="{05B32D8E-E784-C18B-AC56-86CB46601281}"/>
          </ac:spMkLst>
        </pc:spChg>
        <pc:spChg chg="mod">
          <ac:chgData name="KevCla12" userId="ef2eb634-4620-450f-93cc-80cc93397e60" providerId="ADAL" clId="{0BF56A33-4BC5-423F-96C0-6A8645FA96BB}" dt="2023-12-03T21:48:10.130" v="32574" actId="790"/>
          <ac:spMkLst>
            <pc:docMk/>
            <pc:sldMk cId="1403724331" sldId="1158"/>
            <ac:spMk id="13" creationId="{005FFFB9-3D04-630C-760C-BEF395E0226B}"/>
          </ac:spMkLst>
        </pc:spChg>
        <pc:spChg chg="mod">
          <ac:chgData name="KevCla12" userId="ef2eb634-4620-450f-93cc-80cc93397e60" providerId="ADAL" clId="{0BF56A33-4BC5-423F-96C0-6A8645FA96BB}" dt="2023-12-03T21:48:10.123" v="32573" actId="790"/>
          <ac:spMkLst>
            <pc:docMk/>
            <pc:sldMk cId="1403724331" sldId="1158"/>
            <ac:spMk id="15" creationId="{69666332-2742-460B-8935-F99E0470C832}"/>
          </ac:spMkLst>
        </pc:spChg>
        <pc:spChg chg="mod">
          <ac:chgData name="KevCla12" userId="ef2eb634-4620-450f-93cc-80cc93397e60" providerId="ADAL" clId="{0BF56A33-4BC5-423F-96C0-6A8645FA96BB}" dt="2023-12-03T21:48:10.190" v="32585" actId="790"/>
          <ac:spMkLst>
            <pc:docMk/>
            <pc:sldMk cId="1403724331" sldId="1158"/>
            <ac:spMk id="17" creationId="{5486E49B-2E04-AAED-0956-BBE3606B2D94}"/>
          </ac:spMkLst>
        </pc:spChg>
        <pc:spChg chg="mod">
          <ac:chgData name="KevCla12" userId="ef2eb634-4620-450f-93cc-80cc93397e60" providerId="ADAL" clId="{0BF56A33-4BC5-423F-96C0-6A8645FA96BB}" dt="2023-12-03T21:48:10.197" v="32586" actId="790"/>
          <ac:spMkLst>
            <pc:docMk/>
            <pc:sldMk cId="1403724331" sldId="1158"/>
            <ac:spMk id="19" creationId="{A33B3735-A08A-12A7-50B8-6602D5B75EAD}"/>
          </ac:spMkLst>
        </pc:spChg>
        <pc:spChg chg="mod">
          <ac:chgData name="KevCla12" userId="ef2eb634-4620-450f-93cc-80cc93397e60" providerId="ADAL" clId="{0BF56A33-4BC5-423F-96C0-6A8645FA96BB}" dt="2023-12-03T21:48:10.207" v="32587" actId="790"/>
          <ac:spMkLst>
            <pc:docMk/>
            <pc:sldMk cId="1403724331" sldId="1158"/>
            <ac:spMk id="21" creationId="{690F1287-73B9-F996-2010-05CEA690778F}"/>
          </ac:spMkLst>
        </pc:spChg>
        <pc:spChg chg="mod">
          <ac:chgData name="KevCla12" userId="ef2eb634-4620-450f-93cc-80cc93397e60" providerId="ADAL" clId="{0BF56A33-4BC5-423F-96C0-6A8645FA96BB}" dt="2023-12-03T21:48:10.209" v="32588" actId="790"/>
          <ac:spMkLst>
            <pc:docMk/>
            <pc:sldMk cId="1403724331" sldId="1158"/>
            <ac:spMk id="26" creationId="{8155E7F5-FA23-E675-B30D-0338B169224F}"/>
          </ac:spMkLst>
        </pc:spChg>
        <pc:graphicFrameChg chg="mod">
          <ac:chgData name="KevCla12" userId="ef2eb634-4620-450f-93cc-80cc93397e60" providerId="ADAL" clId="{0BF56A33-4BC5-423F-96C0-6A8645FA96BB}" dt="2023-12-03T21:48:10.174" v="32583"/>
          <ac:graphicFrameMkLst>
            <pc:docMk/>
            <pc:sldMk cId="1403724331" sldId="1158"/>
            <ac:graphicFrameMk id="10" creationId="{693AA5A3-2658-807D-F0A0-275C0EAE20F5}"/>
          </ac:graphicFrameMkLst>
        </pc:graphicFrameChg>
      </pc:sldChg>
      <pc:sldChg chg="addSp delSp modSp del mod">
        <pc:chgData name="KevCla12" userId="ef2eb634-4620-450f-93cc-80cc93397e60" providerId="ADAL" clId="{0BF56A33-4BC5-423F-96C0-6A8645FA96BB}" dt="2023-11-30T15:57:31.114" v="3201" actId="47"/>
        <pc:sldMkLst>
          <pc:docMk/>
          <pc:sldMk cId="3052307479" sldId="1159"/>
        </pc:sldMkLst>
        <pc:spChg chg="del">
          <ac:chgData name="KevCla12" userId="ef2eb634-4620-450f-93cc-80cc93397e60" providerId="ADAL" clId="{0BF56A33-4BC5-423F-96C0-6A8645FA96BB}" dt="2023-11-30T12:55:50.433" v="1453" actId="478"/>
          <ac:spMkLst>
            <pc:docMk/>
            <pc:sldMk cId="3052307479" sldId="1159"/>
            <ac:spMk id="2" creationId="{F8990053-7CFA-FE77-B637-4700C81A2BA0}"/>
          </ac:spMkLst>
        </pc:spChg>
        <pc:graphicFrameChg chg="add mod ord modVis replST">
          <ac:chgData name="KevCla12" userId="ef2eb634-4620-450f-93cc-80cc93397e60" providerId="ADAL" clId="{0BF56A33-4BC5-423F-96C0-6A8645FA96BB}" dt="2023-11-30T12:55:51.079" v="1470"/>
          <ac:graphicFrameMkLst>
            <pc:docMk/>
            <pc:sldMk cId="3052307479" sldId="1159"/>
            <ac:graphicFrameMk id="3" creationId="{23B55962-7DAE-03F1-BC22-C93C24B1E107}"/>
          </ac:graphicFrameMkLst>
        </pc:graphicFrameChg>
        <pc:graphicFrameChg chg="mod modGraphic">
          <ac:chgData name="KevCla12" userId="ef2eb634-4620-450f-93cc-80cc93397e60" providerId="ADAL" clId="{0BF56A33-4BC5-423F-96C0-6A8645FA96BB}" dt="2023-11-30T12:58:17.345" v="1489" actId="14100"/>
          <ac:graphicFrameMkLst>
            <pc:docMk/>
            <pc:sldMk cId="3052307479" sldId="1159"/>
            <ac:graphicFrameMk id="13" creationId="{DB9F1ABB-609B-E7C1-3D04-959AF7D3E2C0}"/>
          </ac:graphicFrameMkLst>
        </pc:graphicFrameChg>
      </pc:sldChg>
      <pc:sldChg chg="addSp delSp modSp add mod modNotes">
        <pc:chgData name="KevCla12" userId="ef2eb634-4620-450f-93cc-80cc93397e60" providerId="ADAL" clId="{0BF56A33-4BC5-423F-96C0-6A8645FA96BB}" dt="2023-12-03T21:48:08.127" v="31948" actId="790"/>
        <pc:sldMkLst>
          <pc:docMk/>
          <pc:sldMk cId="1804700900" sldId="1160"/>
        </pc:sldMkLst>
        <pc:spChg chg="add del mod">
          <ac:chgData name="KevCla12" userId="ef2eb634-4620-450f-93cc-80cc93397e60" providerId="ADAL" clId="{0BF56A33-4BC5-423F-96C0-6A8645FA96BB}" dt="2023-11-30T18:15:56.558" v="8341" actId="478"/>
          <ac:spMkLst>
            <pc:docMk/>
            <pc:sldMk cId="1804700900" sldId="1160"/>
            <ac:spMk id="2" creationId="{4EFF3401-3097-9719-067B-B2D872B7AAFE}"/>
          </ac:spMkLst>
        </pc:spChg>
        <pc:spChg chg="mod">
          <ac:chgData name="KevCla12" userId="ef2eb634-4620-450f-93cc-80cc93397e60" providerId="ADAL" clId="{0BF56A33-4BC5-423F-96C0-6A8645FA96BB}" dt="2023-12-03T21:48:07.915" v="31620" actId="790"/>
          <ac:spMkLst>
            <pc:docMk/>
            <pc:sldMk cId="1804700900" sldId="1160"/>
            <ac:spMk id="4" creationId="{FF9C6B6A-83AA-78B0-1950-1387393B2623}"/>
          </ac:spMkLst>
        </pc:spChg>
        <pc:spChg chg="mod">
          <ac:chgData name="KevCla12" userId="ef2eb634-4620-450f-93cc-80cc93397e60" providerId="ADAL" clId="{0BF56A33-4BC5-423F-96C0-6A8645FA96BB}" dt="2023-12-03T21:48:07.917" v="31621" actId="790"/>
          <ac:spMkLst>
            <pc:docMk/>
            <pc:sldMk cId="1804700900" sldId="1160"/>
            <ac:spMk id="6" creationId="{073E0487-9A1C-FA4E-7B2D-F18FB1D35F0F}"/>
          </ac:spMkLst>
        </pc:spChg>
        <pc:spChg chg="mod">
          <ac:chgData name="KevCla12" userId="ef2eb634-4620-450f-93cc-80cc93397e60" providerId="ADAL" clId="{0BF56A33-4BC5-423F-96C0-6A8645FA96BB}" dt="2023-12-03T21:48:07.918" v="31622" actId="790"/>
          <ac:spMkLst>
            <pc:docMk/>
            <pc:sldMk cId="1804700900" sldId="1160"/>
            <ac:spMk id="7" creationId="{4511DF48-208A-6F74-86D3-9A08E02423D3}"/>
          </ac:spMkLst>
        </pc:spChg>
        <pc:spChg chg="add del mod">
          <ac:chgData name="KevCla12" userId="ef2eb634-4620-450f-93cc-80cc93397e60" providerId="ADAL" clId="{0BF56A33-4BC5-423F-96C0-6A8645FA96BB}" dt="2023-11-30T18:15:59.252" v="8342" actId="478"/>
          <ac:spMkLst>
            <pc:docMk/>
            <pc:sldMk cId="1804700900" sldId="1160"/>
            <ac:spMk id="8" creationId="{12252B08-A80C-482F-C443-3B7796B8ED00}"/>
          </ac:spMkLst>
        </pc:spChg>
        <pc:spChg chg="mod">
          <ac:chgData name="KevCla12" userId="ef2eb634-4620-450f-93cc-80cc93397e60" providerId="ADAL" clId="{0BF56A33-4BC5-423F-96C0-6A8645FA96BB}" dt="2023-12-03T21:48:07.919" v="31623" actId="790"/>
          <ac:spMkLst>
            <pc:docMk/>
            <pc:sldMk cId="1804700900" sldId="1160"/>
            <ac:spMk id="12" creationId="{BA8E07C9-AAA6-B12B-F170-2878DABE3741}"/>
          </ac:spMkLst>
        </pc:spChg>
        <pc:graphicFrameChg chg="add del mod modGraphic">
          <ac:chgData name="KevCla12" userId="ef2eb634-4620-450f-93cc-80cc93397e60" providerId="ADAL" clId="{0BF56A33-4BC5-423F-96C0-6A8645FA96BB}" dt="2023-12-03T21:48:08.125" v="31946" actId="790"/>
          <ac:graphicFrameMkLst>
            <pc:docMk/>
            <pc:sldMk cId="1804700900" sldId="1160"/>
            <ac:graphicFrameMk id="13" creationId="{DB9F1ABB-609B-E7C1-3D04-959AF7D3E2C0}"/>
          </ac:graphicFrameMkLst>
        </pc:graphicFrameChg>
        <pc:cxnChg chg="add mod">
          <ac:chgData name="KevCla12" userId="ef2eb634-4620-450f-93cc-80cc93397e60" providerId="ADAL" clId="{0BF56A33-4BC5-423F-96C0-6A8645FA96BB}" dt="2023-11-30T18:33:44.433" v="8446" actId="1038"/>
          <ac:cxnSpMkLst>
            <pc:docMk/>
            <pc:sldMk cId="1804700900" sldId="1160"/>
            <ac:cxnSpMk id="5" creationId="{5E845043-580A-ACFB-D439-CB1564E3AFE7}"/>
          </ac:cxnSpMkLst>
        </pc:cxnChg>
      </pc:sldChg>
      <pc:sldChg chg="add del">
        <pc:chgData name="KevCla12" userId="ef2eb634-4620-450f-93cc-80cc93397e60" providerId="ADAL" clId="{0BF56A33-4BC5-423F-96C0-6A8645FA96BB}" dt="2023-11-30T13:29:00.428" v="1962" actId="2696"/>
        <pc:sldMkLst>
          <pc:docMk/>
          <pc:sldMk cId="3001388569" sldId="1161"/>
        </pc:sldMkLst>
      </pc:sldChg>
      <pc:sldChg chg="addSp delSp modSp add mod ord modNotes">
        <pc:chgData name="KevCla12" userId="ef2eb634-4620-450f-93cc-80cc93397e60" providerId="ADAL" clId="{0BF56A33-4BC5-423F-96C0-6A8645FA96BB}" dt="2023-12-03T21:48:08.230" v="32087" actId="790"/>
        <pc:sldMkLst>
          <pc:docMk/>
          <pc:sldMk cId="3412764342" sldId="1161"/>
        </pc:sldMkLst>
        <pc:spChg chg="add del mod">
          <ac:chgData name="KevCla12" userId="ef2eb634-4620-450f-93cc-80cc93397e60" providerId="ADAL" clId="{0BF56A33-4BC5-423F-96C0-6A8645FA96BB}" dt="2023-11-30T18:16:03.488" v="8343" actId="478"/>
          <ac:spMkLst>
            <pc:docMk/>
            <pc:sldMk cId="3412764342" sldId="1161"/>
            <ac:spMk id="2" creationId="{B0D2F907-905F-664A-077F-5E512FC6305C}"/>
          </ac:spMkLst>
        </pc:spChg>
        <pc:spChg chg="mod">
          <ac:chgData name="KevCla12" userId="ef2eb634-4620-450f-93cc-80cc93397e60" providerId="ADAL" clId="{0BF56A33-4BC5-423F-96C0-6A8645FA96BB}" dt="2023-12-03T21:48:08.128" v="31949" actId="790"/>
          <ac:spMkLst>
            <pc:docMk/>
            <pc:sldMk cId="3412764342" sldId="1161"/>
            <ac:spMk id="4" creationId="{FF9C6B6A-83AA-78B0-1950-1387393B2623}"/>
          </ac:spMkLst>
        </pc:spChg>
        <pc:spChg chg="mod">
          <ac:chgData name="KevCla12" userId="ef2eb634-4620-450f-93cc-80cc93397e60" providerId="ADAL" clId="{0BF56A33-4BC5-423F-96C0-6A8645FA96BB}" dt="2023-12-03T21:48:08.131" v="31950" actId="790"/>
          <ac:spMkLst>
            <pc:docMk/>
            <pc:sldMk cId="3412764342" sldId="1161"/>
            <ac:spMk id="6" creationId="{073E0487-9A1C-FA4E-7B2D-F18FB1D35F0F}"/>
          </ac:spMkLst>
        </pc:spChg>
        <pc:spChg chg="mod">
          <ac:chgData name="KevCla12" userId="ef2eb634-4620-450f-93cc-80cc93397e60" providerId="ADAL" clId="{0BF56A33-4BC5-423F-96C0-6A8645FA96BB}" dt="2023-12-03T21:48:08.132" v="31951" actId="790"/>
          <ac:spMkLst>
            <pc:docMk/>
            <pc:sldMk cId="3412764342" sldId="1161"/>
            <ac:spMk id="7" creationId="{4511DF48-208A-6F74-86D3-9A08E02423D3}"/>
          </ac:spMkLst>
        </pc:spChg>
        <pc:spChg chg="mod">
          <ac:chgData name="KevCla12" userId="ef2eb634-4620-450f-93cc-80cc93397e60" providerId="ADAL" clId="{0BF56A33-4BC5-423F-96C0-6A8645FA96BB}" dt="2023-12-03T21:48:08.133" v="31952" actId="790"/>
          <ac:spMkLst>
            <pc:docMk/>
            <pc:sldMk cId="3412764342" sldId="1161"/>
            <ac:spMk id="12" creationId="{BA8E07C9-AAA6-B12B-F170-2878DABE3741}"/>
          </ac:spMkLst>
        </pc:spChg>
        <pc:graphicFrameChg chg="mod modGraphic">
          <ac:chgData name="KevCla12" userId="ef2eb634-4620-450f-93cc-80cc93397e60" providerId="ADAL" clId="{0BF56A33-4BC5-423F-96C0-6A8645FA96BB}" dt="2023-12-03T21:48:08.229" v="32085" actId="790"/>
          <ac:graphicFrameMkLst>
            <pc:docMk/>
            <pc:sldMk cId="3412764342" sldId="1161"/>
            <ac:graphicFrameMk id="13" creationId="{DB9F1ABB-609B-E7C1-3D04-959AF7D3E2C0}"/>
          </ac:graphicFrameMkLst>
        </pc:graphicFrameChg>
        <pc:cxnChg chg="del">
          <ac:chgData name="KevCla12" userId="ef2eb634-4620-450f-93cc-80cc93397e60" providerId="ADAL" clId="{0BF56A33-4BC5-423F-96C0-6A8645FA96BB}" dt="2023-11-30T13:32:00.869" v="1967" actId="478"/>
          <ac:cxnSpMkLst>
            <pc:docMk/>
            <pc:sldMk cId="3412764342" sldId="1161"/>
            <ac:cxnSpMk id="5" creationId="{5E845043-580A-ACFB-D439-CB1564E3AFE7}"/>
          </ac:cxnSpMkLst>
        </pc:cxnChg>
      </pc:sldChg>
      <pc:sldChg chg="addSp delSp modSp new add mod modNotes">
        <pc:chgData name="KevCla12" userId="ef2eb634-4620-450f-93cc-80cc93397e60" providerId="ADAL" clId="{0BF56A33-4BC5-423F-96C0-6A8645FA96BB}" dt="2023-12-03T21:48:08.299" v="32104" actId="790"/>
        <pc:sldMkLst>
          <pc:docMk/>
          <pc:sldMk cId="933224037" sldId="1162"/>
        </pc:sldMkLst>
        <pc:spChg chg="mod ord">
          <ac:chgData name="KevCla12" userId="ef2eb634-4620-450f-93cc-80cc93397e60" providerId="ADAL" clId="{0BF56A33-4BC5-423F-96C0-6A8645FA96BB}" dt="2023-12-03T21:48:08.235" v="32090" actId="790"/>
          <ac:spMkLst>
            <pc:docMk/>
            <pc:sldMk cId="933224037" sldId="1162"/>
            <ac:spMk id="2" creationId="{904AE0B5-690E-A759-5064-FC9F0CE2D79A}"/>
          </ac:spMkLst>
        </pc:spChg>
        <pc:spChg chg="del">
          <ac:chgData name="KevCla12" userId="ef2eb634-4620-450f-93cc-80cc93397e60" providerId="ADAL" clId="{0BF56A33-4BC5-423F-96C0-6A8645FA96BB}" dt="2023-11-30T14:14:56.262" v="2138" actId="478"/>
          <ac:spMkLst>
            <pc:docMk/>
            <pc:sldMk cId="933224037" sldId="1162"/>
            <ac:spMk id="3" creationId="{AEE2E43F-D25F-2E4A-BF49-B1D7AA8F39BD}"/>
          </ac:spMkLst>
        </pc:spChg>
        <pc:spChg chg="add del mod modVis">
          <ac:chgData name="KevCla12" userId="ef2eb634-4620-450f-93cc-80cc93397e60" providerId="ADAL" clId="{0BF56A33-4BC5-423F-96C0-6A8645FA96BB}" dt="2023-12-03T18:56:33.300" v="19202"/>
          <ac:spMkLst>
            <pc:docMk/>
            <pc:sldMk cId="933224037" sldId="1162"/>
            <ac:spMk id="3" creationId="{BB64A66A-C7C8-D1CD-B784-0036534FAE76}"/>
          </ac:spMkLst>
        </pc:spChg>
        <pc:spChg chg="mod ord">
          <ac:chgData name="KevCla12" userId="ef2eb634-4620-450f-93cc-80cc93397e60" providerId="ADAL" clId="{0BF56A33-4BC5-423F-96C0-6A8645FA96BB}" dt="2023-12-03T21:48:08.236" v="32091" actId="790"/>
          <ac:spMkLst>
            <pc:docMk/>
            <pc:sldMk cId="933224037" sldId="1162"/>
            <ac:spMk id="4" creationId="{05006892-9283-A461-3885-982B4CBA0519}"/>
          </ac:spMkLst>
        </pc:spChg>
        <pc:spChg chg="mod ord">
          <ac:chgData name="KevCla12" userId="ef2eb634-4620-450f-93cc-80cc93397e60" providerId="ADAL" clId="{0BF56A33-4BC5-423F-96C0-6A8645FA96BB}" dt="2023-12-03T21:48:08.237" v="32092" actId="790"/>
          <ac:spMkLst>
            <pc:docMk/>
            <pc:sldMk cId="933224037" sldId="1162"/>
            <ac:spMk id="5" creationId="{6823D783-9067-C01F-2767-14D2FADD598F}"/>
          </ac:spMkLst>
        </pc:spChg>
        <pc:spChg chg="mod ord">
          <ac:chgData name="KevCla12" userId="ef2eb634-4620-450f-93cc-80cc93397e60" providerId="ADAL" clId="{0BF56A33-4BC5-423F-96C0-6A8645FA96BB}" dt="2023-12-03T21:48:08.238" v="32093" actId="790"/>
          <ac:spMkLst>
            <pc:docMk/>
            <pc:sldMk cId="933224037" sldId="1162"/>
            <ac:spMk id="6" creationId="{179CC09A-6D6C-F271-9084-CCE647BC58EF}"/>
          </ac:spMkLst>
        </pc:spChg>
        <pc:spChg chg="mod ord">
          <ac:chgData name="KevCla12" userId="ef2eb634-4620-450f-93cc-80cc93397e60" providerId="ADAL" clId="{0BF56A33-4BC5-423F-96C0-6A8645FA96BB}" dt="2023-12-03T21:48:08.239" v="32094" actId="790"/>
          <ac:spMkLst>
            <pc:docMk/>
            <pc:sldMk cId="933224037" sldId="1162"/>
            <ac:spMk id="7" creationId="{6C04F4C1-84DA-1B85-F0E4-991CA3BE5126}"/>
          </ac:spMkLst>
        </pc:spChg>
        <pc:spChg chg="add del mod modVis">
          <ac:chgData name="KevCla12" userId="ef2eb634-4620-450f-93cc-80cc93397e60" providerId="ADAL" clId="{0BF56A33-4BC5-423F-96C0-6A8645FA96BB}" dt="2023-12-03T18:56:51.049" v="19235"/>
          <ac:spMkLst>
            <pc:docMk/>
            <pc:sldMk cId="933224037" sldId="1162"/>
            <ac:spMk id="8" creationId="{AAAA06F1-C798-8145-CBB1-B7BA1689C8A6}"/>
          </ac:spMkLst>
        </pc:spChg>
        <pc:spChg chg="add del mod modVis">
          <ac:chgData name="KevCla12" userId="ef2eb634-4620-450f-93cc-80cc93397e60" providerId="ADAL" clId="{0BF56A33-4BC5-423F-96C0-6A8645FA96BB}" dt="2023-12-03T18:56:55.317" v="19283"/>
          <ac:spMkLst>
            <pc:docMk/>
            <pc:sldMk cId="933224037" sldId="1162"/>
            <ac:spMk id="11" creationId="{55774D2B-A4DE-2945-832B-3605569A67E7}"/>
          </ac:spMkLst>
        </pc:spChg>
        <pc:spChg chg="add del mod modVis">
          <ac:chgData name="KevCla12" userId="ef2eb634-4620-450f-93cc-80cc93397e60" providerId="ADAL" clId="{0BF56A33-4BC5-423F-96C0-6A8645FA96BB}" dt="2023-12-03T18:57:00.072" v="19333"/>
          <ac:spMkLst>
            <pc:docMk/>
            <pc:sldMk cId="933224037" sldId="1162"/>
            <ac:spMk id="12" creationId="{23AA0507-351B-A285-DFF2-F246A1CA92BE}"/>
          </ac:spMkLst>
        </pc:spChg>
        <pc:spChg chg="add del mod modVis">
          <ac:chgData name="KevCla12" userId="ef2eb634-4620-450f-93cc-80cc93397e60" providerId="ADAL" clId="{0BF56A33-4BC5-423F-96C0-6A8645FA96BB}" dt="2023-12-03T18:57:02.630" v="19371"/>
          <ac:spMkLst>
            <pc:docMk/>
            <pc:sldMk cId="933224037" sldId="1162"/>
            <ac:spMk id="13" creationId="{6516E309-36FA-DE1B-B09C-6ED78D80F3D0}"/>
          </ac:spMkLst>
        </pc:spChg>
        <pc:spChg chg="add del mod modVis">
          <ac:chgData name="KevCla12" userId="ef2eb634-4620-450f-93cc-80cc93397e60" providerId="ADAL" clId="{0BF56A33-4BC5-423F-96C0-6A8645FA96BB}" dt="2023-12-03T18:57:06.185" v="19401"/>
          <ac:spMkLst>
            <pc:docMk/>
            <pc:sldMk cId="933224037" sldId="1162"/>
            <ac:spMk id="14" creationId="{415744DC-C5B1-214A-B3D6-C2C738E593F0}"/>
          </ac:spMkLst>
        </pc:spChg>
        <pc:spChg chg="add del mod modVis">
          <ac:chgData name="KevCla12" userId="ef2eb634-4620-450f-93cc-80cc93397e60" providerId="ADAL" clId="{0BF56A33-4BC5-423F-96C0-6A8645FA96BB}" dt="2023-12-03T18:57:10.917" v="19479"/>
          <ac:spMkLst>
            <pc:docMk/>
            <pc:sldMk cId="933224037" sldId="1162"/>
            <ac:spMk id="15" creationId="{B6818FA6-0317-343D-9CB9-A07D4AB73F95}"/>
          </ac:spMkLst>
        </pc:spChg>
        <pc:spChg chg="add del mod modVis">
          <ac:chgData name="KevCla12" userId="ef2eb634-4620-450f-93cc-80cc93397e60" providerId="ADAL" clId="{0BF56A33-4BC5-423F-96C0-6A8645FA96BB}" dt="2023-12-03T18:57:12.629" v="19513"/>
          <ac:spMkLst>
            <pc:docMk/>
            <pc:sldMk cId="933224037" sldId="1162"/>
            <ac:spMk id="16" creationId="{E89DE44E-B688-A661-0B8E-895740FBDD32}"/>
          </ac:spMkLst>
        </pc:spChg>
        <pc:spChg chg="add del mod ord">
          <ac:chgData name="KevCla12" userId="ef2eb634-4620-450f-93cc-80cc93397e60" providerId="ADAL" clId="{0BF56A33-4BC5-423F-96C0-6A8645FA96BB}" dt="2023-12-03T21:48:08.231" v="32088" actId="790"/>
          <ac:spMkLst>
            <pc:docMk/>
            <pc:sldMk cId="933224037" sldId="1162"/>
            <ac:spMk id="17" creationId="{E5503AC7-C4F5-4D0B-88CB-79746795AE5E}"/>
          </ac:spMkLst>
        </pc:spChg>
        <pc:spChg chg="add del mod modVis">
          <ac:chgData name="KevCla12" userId="ef2eb634-4620-450f-93cc-80cc93397e60" providerId="ADAL" clId="{0BF56A33-4BC5-423F-96C0-6A8645FA96BB}" dt="2023-12-03T18:57:16.210" v="19553"/>
          <ac:spMkLst>
            <pc:docMk/>
            <pc:sldMk cId="933224037" sldId="1162"/>
            <ac:spMk id="18" creationId="{C440BA9C-34D5-9058-AC81-FDCF6F6122EF}"/>
          </ac:spMkLst>
        </pc:spChg>
        <pc:spChg chg="add del mod modVis">
          <ac:chgData name="KevCla12" userId="ef2eb634-4620-450f-93cc-80cc93397e60" providerId="ADAL" clId="{0BF56A33-4BC5-423F-96C0-6A8645FA96BB}" dt="2023-12-03T18:57:17.503" v="19582"/>
          <ac:spMkLst>
            <pc:docMk/>
            <pc:sldMk cId="933224037" sldId="1162"/>
            <ac:spMk id="20" creationId="{D6A04856-865B-9FA9-6EEC-EFEC1B8E6BCF}"/>
          </ac:spMkLst>
        </pc:spChg>
        <pc:spChg chg="add mod ord">
          <ac:chgData name="KevCla12" userId="ef2eb634-4620-450f-93cc-80cc93397e60" providerId="ADAL" clId="{0BF56A33-4BC5-423F-96C0-6A8645FA96BB}" dt="2023-12-03T21:48:08.240" v="32095" actId="790"/>
          <ac:spMkLst>
            <pc:docMk/>
            <pc:sldMk cId="933224037" sldId="1162"/>
            <ac:spMk id="21" creationId="{F5006A12-237B-AE76-D508-4BF33B16EFEA}"/>
          </ac:spMkLst>
        </pc:spChg>
        <pc:spChg chg="add del mod modVis">
          <ac:chgData name="KevCla12" userId="ef2eb634-4620-450f-93cc-80cc93397e60" providerId="ADAL" clId="{0BF56A33-4BC5-423F-96C0-6A8645FA96BB}" dt="2023-12-03T18:57:22.450" v="19633"/>
          <ac:spMkLst>
            <pc:docMk/>
            <pc:sldMk cId="933224037" sldId="1162"/>
            <ac:spMk id="22" creationId="{D8D4DA82-333E-6EE4-80BB-31B17A83F64C}"/>
          </ac:spMkLst>
        </pc:spChg>
        <pc:spChg chg="add del mod modVis">
          <ac:chgData name="KevCla12" userId="ef2eb634-4620-450f-93cc-80cc93397e60" providerId="ADAL" clId="{0BF56A33-4BC5-423F-96C0-6A8645FA96BB}" dt="2023-12-03T18:58:46.247" v="19699"/>
          <ac:spMkLst>
            <pc:docMk/>
            <pc:sldMk cId="933224037" sldId="1162"/>
            <ac:spMk id="23" creationId="{40B8EC2C-A979-B820-24F4-4A2BAFC0B674}"/>
          </ac:spMkLst>
        </pc:spChg>
        <pc:spChg chg="add del">
          <ac:chgData name="KevCla12" userId="ef2eb634-4620-450f-93cc-80cc93397e60" providerId="ADAL" clId="{0BF56A33-4BC5-423F-96C0-6A8645FA96BB}" dt="2023-11-30T14:20:46.897" v="2286" actId="478"/>
          <ac:spMkLst>
            <pc:docMk/>
            <pc:sldMk cId="933224037" sldId="1162"/>
            <ac:spMk id="24" creationId="{8478586D-B47A-B978-1B7C-57C0AE11A191}"/>
          </ac:spMkLst>
        </pc:spChg>
        <pc:spChg chg="add del mod modVis">
          <ac:chgData name="KevCla12" userId="ef2eb634-4620-450f-93cc-80cc93397e60" providerId="ADAL" clId="{0BF56A33-4BC5-423F-96C0-6A8645FA96BB}" dt="2023-12-03T18:58:52.242" v="19740"/>
          <ac:spMkLst>
            <pc:docMk/>
            <pc:sldMk cId="933224037" sldId="1162"/>
            <ac:spMk id="24" creationId="{DDEBD8C0-D94E-418B-C3C6-D76F57538670}"/>
          </ac:spMkLst>
        </pc:spChg>
        <pc:spChg chg="add mod ord">
          <ac:chgData name="KevCla12" userId="ef2eb634-4620-450f-93cc-80cc93397e60" providerId="ADAL" clId="{0BF56A33-4BC5-423F-96C0-6A8645FA96BB}" dt="2023-12-03T21:48:08.241" v="32096" actId="790"/>
          <ac:spMkLst>
            <pc:docMk/>
            <pc:sldMk cId="933224037" sldId="1162"/>
            <ac:spMk id="25" creationId="{C57B9699-6DAC-7568-8F1D-FB90ED7E0BA0}"/>
          </ac:spMkLst>
        </pc:spChg>
        <pc:spChg chg="add mod ord">
          <ac:chgData name="KevCla12" userId="ef2eb634-4620-450f-93cc-80cc93397e60" providerId="ADAL" clId="{0BF56A33-4BC5-423F-96C0-6A8645FA96BB}" dt="2023-12-03T21:48:08.242" v="32097" actId="790"/>
          <ac:spMkLst>
            <pc:docMk/>
            <pc:sldMk cId="933224037" sldId="1162"/>
            <ac:spMk id="26" creationId="{ED05367D-11B8-F6E6-B7E7-E08E6112D93B}"/>
          </ac:spMkLst>
        </pc:spChg>
        <pc:spChg chg="add mod ord">
          <ac:chgData name="KevCla12" userId="ef2eb634-4620-450f-93cc-80cc93397e60" providerId="ADAL" clId="{0BF56A33-4BC5-423F-96C0-6A8645FA96BB}" dt="2023-12-03T21:48:08.243" v="32098" actId="790"/>
          <ac:spMkLst>
            <pc:docMk/>
            <pc:sldMk cId="933224037" sldId="1162"/>
            <ac:spMk id="27" creationId="{CE6FFC64-B072-0F62-3351-53BA07FDA2A2}"/>
          </ac:spMkLst>
        </pc:spChg>
        <pc:spChg chg="add mod ord">
          <ac:chgData name="KevCla12" userId="ef2eb634-4620-450f-93cc-80cc93397e60" providerId="ADAL" clId="{0BF56A33-4BC5-423F-96C0-6A8645FA96BB}" dt="2023-12-03T21:48:08.255" v="32099" actId="790"/>
          <ac:spMkLst>
            <pc:docMk/>
            <pc:sldMk cId="933224037" sldId="1162"/>
            <ac:spMk id="28" creationId="{0085CC0D-ED26-58F3-01DF-1460272A495F}"/>
          </ac:spMkLst>
        </pc:spChg>
        <pc:spChg chg="add mod ord">
          <ac:chgData name="KevCla12" userId="ef2eb634-4620-450f-93cc-80cc93397e60" providerId="ADAL" clId="{0BF56A33-4BC5-423F-96C0-6A8645FA96BB}" dt="2023-12-03T21:48:08.265" v="32100" actId="790"/>
          <ac:spMkLst>
            <pc:docMk/>
            <pc:sldMk cId="933224037" sldId="1162"/>
            <ac:spMk id="29" creationId="{7553F3D5-ADF1-EE98-E432-FCC5941E78FD}"/>
          </ac:spMkLst>
        </pc:spChg>
        <pc:spChg chg="add mod ord">
          <ac:chgData name="KevCla12" userId="ef2eb634-4620-450f-93cc-80cc93397e60" providerId="ADAL" clId="{0BF56A33-4BC5-423F-96C0-6A8645FA96BB}" dt="2023-12-03T21:48:08.278" v="32101" actId="790"/>
          <ac:spMkLst>
            <pc:docMk/>
            <pc:sldMk cId="933224037" sldId="1162"/>
            <ac:spMk id="30" creationId="{5F06151A-BE25-E7EA-2E64-052E3673863A}"/>
          </ac:spMkLst>
        </pc:spChg>
        <pc:spChg chg="add mod ord">
          <ac:chgData name="KevCla12" userId="ef2eb634-4620-450f-93cc-80cc93397e60" providerId="ADAL" clId="{0BF56A33-4BC5-423F-96C0-6A8645FA96BB}" dt="2023-12-03T21:48:08.297" v="32102" actId="790"/>
          <ac:spMkLst>
            <pc:docMk/>
            <pc:sldMk cId="933224037" sldId="1162"/>
            <ac:spMk id="31" creationId="{5F023BD8-4AB5-6360-128A-43F83394B86B}"/>
          </ac:spMkLst>
        </pc:spChg>
        <pc:spChg chg="add mod ord">
          <ac:chgData name="KevCla12" userId="ef2eb634-4620-450f-93cc-80cc93397e60" providerId="ADAL" clId="{0BF56A33-4BC5-423F-96C0-6A8645FA96BB}" dt="2023-12-03T21:48:08.232" v="32089" actId="790"/>
          <ac:spMkLst>
            <pc:docMk/>
            <pc:sldMk cId="933224037" sldId="1162"/>
            <ac:spMk id="32" creationId="{088CA2DA-2974-28CE-93B6-5E8CB176E2DE}"/>
          </ac:spMkLst>
        </pc:spChg>
        <pc:spChg chg="add del mod modVis">
          <ac:chgData name="KevCla12" userId="ef2eb634-4620-450f-93cc-80cc93397e60" providerId="ADAL" clId="{0BF56A33-4BC5-423F-96C0-6A8645FA96BB}" dt="2023-12-03T18:58:54.943" v="19772"/>
          <ac:spMkLst>
            <pc:docMk/>
            <pc:sldMk cId="933224037" sldId="1162"/>
            <ac:spMk id="33" creationId="{6251C762-3ABD-9C0F-54FB-DB188C532A71}"/>
          </ac:spMkLst>
        </pc:spChg>
        <pc:spChg chg="add del mod modVis">
          <ac:chgData name="KevCla12" userId="ef2eb634-4620-450f-93cc-80cc93397e60" providerId="ADAL" clId="{0BF56A33-4BC5-423F-96C0-6A8645FA96BB}" dt="2023-12-03T18:58:57.167" v="19808"/>
          <ac:spMkLst>
            <pc:docMk/>
            <pc:sldMk cId="933224037" sldId="1162"/>
            <ac:spMk id="34" creationId="{8D49E4FE-F740-B78C-497A-A8D42CF11D4A}"/>
          </ac:spMkLst>
        </pc:spChg>
        <pc:spChg chg="add del mod modVis">
          <ac:chgData name="KevCla12" userId="ef2eb634-4620-450f-93cc-80cc93397e60" providerId="ADAL" clId="{0BF56A33-4BC5-423F-96C0-6A8645FA96BB}" dt="2023-12-03T18:59:42.495" v="19853"/>
          <ac:spMkLst>
            <pc:docMk/>
            <pc:sldMk cId="933224037" sldId="1162"/>
            <ac:spMk id="35" creationId="{0F99B668-BD57-B9ED-A3D9-83A792F5B966}"/>
          </ac:spMkLst>
        </pc:spChg>
        <pc:spChg chg="add del mod modVis">
          <ac:chgData name="KevCla12" userId="ef2eb634-4620-450f-93cc-80cc93397e60" providerId="ADAL" clId="{0BF56A33-4BC5-423F-96C0-6A8645FA96BB}" dt="2023-12-03T18:59:44.787" v="19888"/>
          <ac:spMkLst>
            <pc:docMk/>
            <pc:sldMk cId="933224037" sldId="1162"/>
            <ac:spMk id="36" creationId="{2CD7D41E-AA84-92CF-9374-70C2B4103E0E}"/>
          </ac:spMkLst>
        </pc:spChg>
        <pc:spChg chg="add del mod modVis">
          <ac:chgData name="KevCla12" userId="ef2eb634-4620-450f-93cc-80cc93397e60" providerId="ADAL" clId="{0BF56A33-4BC5-423F-96C0-6A8645FA96BB}" dt="2023-12-03T18:59:46.017" v="19921"/>
          <ac:spMkLst>
            <pc:docMk/>
            <pc:sldMk cId="933224037" sldId="1162"/>
            <ac:spMk id="37" creationId="{97C12635-545E-56C4-EFF7-537A0D912D3A}"/>
          </ac:spMkLst>
        </pc:spChg>
        <pc:spChg chg="add del mod modVis">
          <ac:chgData name="KevCla12" userId="ef2eb634-4620-450f-93cc-80cc93397e60" providerId="ADAL" clId="{0BF56A33-4BC5-423F-96C0-6A8645FA96BB}" dt="2023-12-03T18:59:50.923" v="19973"/>
          <ac:spMkLst>
            <pc:docMk/>
            <pc:sldMk cId="933224037" sldId="1162"/>
            <ac:spMk id="38" creationId="{C80D7688-7DC7-3FC9-AEA7-AE305C275754}"/>
          </ac:spMkLst>
        </pc:spChg>
        <pc:spChg chg="add del mod modVis">
          <ac:chgData name="KevCla12" userId="ef2eb634-4620-450f-93cc-80cc93397e60" providerId="ADAL" clId="{0BF56A33-4BC5-423F-96C0-6A8645FA96BB}" dt="2023-12-03T19:00:07.631" v="20002"/>
          <ac:spMkLst>
            <pc:docMk/>
            <pc:sldMk cId="933224037" sldId="1162"/>
            <ac:spMk id="39" creationId="{749EA950-2D70-A737-A0D3-3C07DF9AD851}"/>
          </ac:spMkLst>
        </pc:spChg>
        <pc:spChg chg="add del mod modVis">
          <ac:chgData name="KevCla12" userId="ef2eb634-4620-450f-93cc-80cc93397e60" providerId="ADAL" clId="{0BF56A33-4BC5-423F-96C0-6A8645FA96BB}" dt="2023-12-03T19:00:09.244" v="20033"/>
          <ac:spMkLst>
            <pc:docMk/>
            <pc:sldMk cId="933224037" sldId="1162"/>
            <ac:spMk id="40" creationId="{88619692-E88B-2321-3ABD-0CF082D1CEA1}"/>
          </ac:spMkLst>
        </pc:spChg>
        <pc:spChg chg="add del mod modVis">
          <ac:chgData name="KevCla12" userId="ef2eb634-4620-450f-93cc-80cc93397e60" providerId="ADAL" clId="{0BF56A33-4BC5-423F-96C0-6A8645FA96BB}" dt="2023-12-03T19:00:15.532" v="20089"/>
          <ac:spMkLst>
            <pc:docMk/>
            <pc:sldMk cId="933224037" sldId="1162"/>
            <ac:spMk id="41" creationId="{192832D4-A9CE-7098-57F0-C179288301E8}"/>
          </ac:spMkLst>
        </pc:spChg>
        <pc:graphicFrameChg chg="add mod ord modVis replST">
          <ac:chgData name="KevCla12" userId="ef2eb634-4620-450f-93cc-80cc93397e60" providerId="ADAL" clId="{0BF56A33-4BC5-423F-96C0-6A8645FA96BB}" dt="2023-12-03T19:00:15.537" v="20091"/>
          <ac:graphicFrameMkLst>
            <pc:docMk/>
            <pc:sldMk cId="933224037" sldId="1162"/>
            <ac:graphicFrameMk id="19" creationId="{DCEB04FD-B16F-A889-9325-CDF88B146905}"/>
          </ac:graphicFrameMkLst>
        </pc:graphicFrameChg>
        <pc:cxnChg chg="add mod ord">
          <ac:chgData name="KevCla12" userId="ef2eb634-4620-450f-93cc-80cc93397e60" providerId="ADAL" clId="{0BF56A33-4BC5-423F-96C0-6A8645FA96BB}" dt="2023-11-30T18:19:14.433" v="8423" actId="13822"/>
          <ac:cxnSpMkLst>
            <pc:docMk/>
            <pc:sldMk cId="933224037" sldId="1162"/>
            <ac:cxnSpMk id="9" creationId="{83AD9337-E103-243F-278D-512FC8CC9869}"/>
          </ac:cxnSpMkLst>
        </pc:cxnChg>
        <pc:cxnChg chg="add mod ord">
          <ac:chgData name="KevCla12" userId="ef2eb634-4620-450f-93cc-80cc93397e60" providerId="ADAL" clId="{0BF56A33-4BC5-423F-96C0-6A8645FA96BB}" dt="2023-11-30T18:19:14.433" v="8423" actId="13822"/>
          <ac:cxnSpMkLst>
            <pc:docMk/>
            <pc:sldMk cId="933224037" sldId="1162"/>
            <ac:cxnSpMk id="10" creationId="{D90F717F-252E-4DB1-F11E-60B24C7F0674}"/>
          </ac:cxnSpMkLst>
        </pc:cxnChg>
      </pc:sldChg>
      <pc:sldChg chg="addSp delSp modSp add mod modNotes">
        <pc:chgData name="KevCla12" userId="ef2eb634-4620-450f-93cc-80cc93397e60" providerId="ADAL" clId="{0BF56A33-4BC5-423F-96C0-6A8645FA96BB}" dt="2023-12-03T21:48:08.399" v="32121" actId="790"/>
        <pc:sldMkLst>
          <pc:docMk/>
          <pc:sldMk cId="852314045" sldId="1163"/>
        </pc:sldMkLst>
        <pc:spChg chg="mod">
          <ac:chgData name="KevCla12" userId="ef2eb634-4620-450f-93cc-80cc93397e60" providerId="ADAL" clId="{0BF56A33-4BC5-423F-96C0-6A8645FA96BB}" dt="2023-12-03T21:48:08.302" v="32105" actId="790"/>
          <ac:spMkLst>
            <pc:docMk/>
            <pc:sldMk cId="852314045" sldId="1163"/>
            <ac:spMk id="2" creationId="{904AE0B5-690E-A759-5064-FC9F0CE2D79A}"/>
          </ac:spMkLst>
        </pc:spChg>
        <pc:spChg chg="add del mod modVis">
          <ac:chgData name="KevCla12" userId="ef2eb634-4620-450f-93cc-80cc93397e60" providerId="ADAL" clId="{0BF56A33-4BC5-423F-96C0-6A8645FA96BB}" dt="2023-12-03T19:00:22.338" v="20126"/>
          <ac:spMkLst>
            <pc:docMk/>
            <pc:sldMk cId="852314045" sldId="1163"/>
            <ac:spMk id="3" creationId="{3068A588-32F4-73BE-3EA8-608176BE6C33}"/>
          </ac:spMkLst>
        </pc:spChg>
        <pc:spChg chg="add del">
          <ac:chgData name="KevCla12" userId="ef2eb634-4620-450f-93cc-80cc93397e60" providerId="ADAL" clId="{0BF56A33-4BC5-423F-96C0-6A8645FA96BB}" dt="2023-11-30T15:08:32.129" v="2636"/>
          <ac:spMkLst>
            <pc:docMk/>
            <pc:sldMk cId="852314045" sldId="1163"/>
            <ac:spMk id="3" creationId="{CDCEA960-13E5-3999-3DAC-78C95046D600}"/>
          </ac:spMkLst>
        </pc:spChg>
        <pc:spChg chg="mod">
          <ac:chgData name="KevCla12" userId="ef2eb634-4620-450f-93cc-80cc93397e60" providerId="ADAL" clId="{0BF56A33-4BC5-423F-96C0-6A8645FA96BB}" dt="2023-12-03T21:48:08.303" v="32106" actId="790"/>
          <ac:spMkLst>
            <pc:docMk/>
            <pc:sldMk cId="852314045" sldId="1163"/>
            <ac:spMk id="4" creationId="{05006892-9283-A461-3885-982B4CBA0519}"/>
          </ac:spMkLst>
        </pc:spChg>
        <pc:spChg chg="mod">
          <ac:chgData name="KevCla12" userId="ef2eb634-4620-450f-93cc-80cc93397e60" providerId="ADAL" clId="{0BF56A33-4BC5-423F-96C0-6A8645FA96BB}" dt="2023-12-03T21:48:08.304" v="32107" actId="790"/>
          <ac:spMkLst>
            <pc:docMk/>
            <pc:sldMk cId="852314045" sldId="1163"/>
            <ac:spMk id="5" creationId="{6823D783-9067-C01F-2767-14D2FADD598F}"/>
          </ac:spMkLst>
        </pc:spChg>
        <pc:spChg chg="mod">
          <ac:chgData name="KevCla12" userId="ef2eb634-4620-450f-93cc-80cc93397e60" providerId="ADAL" clId="{0BF56A33-4BC5-423F-96C0-6A8645FA96BB}" dt="2023-12-03T21:48:08.306" v="32108" actId="790"/>
          <ac:spMkLst>
            <pc:docMk/>
            <pc:sldMk cId="852314045" sldId="1163"/>
            <ac:spMk id="6" creationId="{179CC09A-6D6C-F271-9084-CCE647BC58EF}"/>
          </ac:spMkLst>
        </pc:spChg>
        <pc:spChg chg="mod">
          <ac:chgData name="KevCla12" userId="ef2eb634-4620-450f-93cc-80cc93397e60" providerId="ADAL" clId="{0BF56A33-4BC5-423F-96C0-6A8645FA96BB}" dt="2023-12-03T21:48:08.307" v="32109" actId="790"/>
          <ac:spMkLst>
            <pc:docMk/>
            <pc:sldMk cId="852314045" sldId="1163"/>
            <ac:spMk id="7" creationId="{6C04F4C1-84DA-1B85-F0E4-991CA3BE5126}"/>
          </ac:spMkLst>
        </pc:spChg>
        <pc:spChg chg="add mod">
          <ac:chgData name="KevCla12" userId="ef2eb634-4620-450f-93cc-80cc93397e60" providerId="ADAL" clId="{0BF56A33-4BC5-423F-96C0-6A8645FA96BB}" dt="2023-12-03T21:48:08.397" v="32119" actId="790"/>
          <ac:spMkLst>
            <pc:docMk/>
            <pc:sldMk cId="852314045" sldId="1163"/>
            <ac:spMk id="8" creationId="{D20416EA-A626-C9E1-E5CA-07C653B90B0A}"/>
          </ac:spMkLst>
        </pc:spChg>
        <pc:spChg chg="add del mod modVis">
          <ac:chgData name="KevCla12" userId="ef2eb634-4620-450f-93cc-80cc93397e60" providerId="ADAL" clId="{0BF56A33-4BC5-423F-96C0-6A8645FA96BB}" dt="2023-12-03T19:00:32.260" v="20163"/>
          <ac:spMkLst>
            <pc:docMk/>
            <pc:sldMk cId="852314045" sldId="1163"/>
            <ac:spMk id="11" creationId="{3168A3EE-C410-BCDA-1E43-1771156D5F50}"/>
          </ac:spMkLst>
        </pc:spChg>
        <pc:spChg chg="add del mod modVis">
          <ac:chgData name="KevCla12" userId="ef2eb634-4620-450f-93cc-80cc93397e60" providerId="ADAL" clId="{0BF56A33-4BC5-423F-96C0-6A8645FA96BB}" dt="2023-12-03T19:00:41.516" v="20255"/>
          <ac:spMkLst>
            <pc:docMk/>
            <pc:sldMk cId="852314045" sldId="1163"/>
            <ac:spMk id="12" creationId="{023B021B-92F9-4270-A0DA-B89D7854012C}"/>
          </ac:spMkLst>
        </pc:spChg>
        <pc:spChg chg="add del mod modVis">
          <ac:chgData name="KevCla12" userId="ef2eb634-4620-450f-93cc-80cc93397e60" providerId="ADAL" clId="{0BF56A33-4BC5-423F-96C0-6A8645FA96BB}" dt="2023-12-03T19:00:42.792" v="20290"/>
          <ac:spMkLst>
            <pc:docMk/>
            <pc:sldMk cId="852314045" sldId="1163"/>
            <ac:spMk id="13" creationId="{43D7D47E-4DE8-ED79-F48D-10A5574A3A07}"/>
          </ac:spMkLst>
        </pc:spChg>
        <pc:spChg chg="add del mod modVis">
          <ac:chgData name="KevCla12" userId="ef2eb634-4620-450f-93cc-80cc93397e60" providerId="ADAL" clId="{0BF56A33-4BC5-423F-96C0-6A8645FA96BB}" dt="2023-12-03T19:00:43.650" v="20321"/>
          <ac:spMkLst>
            <pc:docMk/>
            <pc:sldMk cId="852314045" sldId="1163"/>
            <ac:spMk id="14" creationId="{6A46960F-85DE-9C68-3DE4-ACFF2F0E39D1}"/>
          </ac:spMkLst>
        </pc:spChg>
        <pc:spChg chg="add del mod modVis">
          <ac:chgData name="KevCla12" userId="ef2eb634-4620-450f-93cc-80cc93397e60" providerId="ADAL" clId="{0BF56A33-4BC5-423F-96C0-6A8645FA96BB}" dt="2023-12-03T19:00:44.709" v="20352"/>
          <ac:spMkLst>
            <pc:docMk/>
            <pc:sldMk cId="852314045" sldId="1163"/>
            <ac:spMk id="15" creationId="{FF2521B7-7012-BBC1-6607-816871A62EF1}"/>
          </ac:spMkLst>
        </pc:spChg>
        <pc:spChg chg="add del mod modVis">
          <ac:chgData name="KevCla12" userId="ef2eb634-4620-450f-93cc-80cc93397e60" providerId="ADAL" clId="{0BF56A33-4BC5-423F-96C0-6A8645FA96BB}" dt="2023-12-03T19:00:45.394" v="20380"/>
          <ac:spMkLst>
            <pc:docMk/>
            <pc:sldMk cId="852314045" sldId="1163"/>
            <ac:spMk id="16" creationId="{035ADFAB-37E4-AD7C-74A9-04B99745A6FF}"/>
          </ac:spMkLst>
        </pc:spChg>
        <pc:spChg chg="mod">
          <ac:chgData name="KevCla12" userId="ef2eb634-4620-450f-93cc-80cc93397e60" providerId="ADAL" clId="{0BF56A33-4BC5-423F-96C0-6A8645FA96BB}" dt="2023-12-03T21:48:08.308" v="32110" actId="790"/>
          <ac:spMkLst>
            <pc:docMk/>
            <pc:sldMk cId="852314045" sldId="1163"/>
            <ac:spMk id="17" creationId="{E5503AC7-C4F5-4D0B-88CB-79746795AE5E}"/>
          </ac:spMkLst>
        </pc:spChg>
        <pc:spChg chg="add del mod modVis">
          <ac:chgData name="KevCla12" userId="ef2eb634-4620-450f-93cc-80cc93397e60" providerId="ADAL" clId="{0BF56A33-4BC5-423F-96C0-6A8645FA96BB}" dt="2023-12-03T19:00:50.069" v="20427"/>
          <ac:spMkLst>
            <pc:docMk/>
            <pc:sldMk cId="852314045" sldId="1163"/>
            <ac:spMk id="18" creationId="{1876FE3C-8C14-35A0-C16B-73E09D267DC8}"/>
          </ac:spMkLst>
        </pc:spChg>
        <pc:spChg chg="add del mod modVis">
          <ac:chgData name="KevCla12" userId="ef2eb634-4620-450f-93cc-80cc93397e60" providerId="ADAL" clId="{0BF56A33-4BC5-423F-96C0-6A8645FA96BB}" dt="2023-12-03T19:00:52.573" v="20468"/>
          <ac:spMkLst>
            <pc:docMk/>
            <pc:sldMk cId="852314045" sldId="1163"/>
            <ac:spMk id="20" creationId="{3A5CCB07-0E06-821D-BEB0-49BFE8FE4E68}"/>
          </ac:spMkLst>
        </pc:spChg>
        <pc:spChg chg="mod">
          <ac:chgData name="KevCla12" userId="ef2eb634-4620-450f-93cc-80cc93397e60" providerId="ADAL" clId="{0BF56A33-4BC5-423F-96C0-6A8645FA96BB}" dt="2023-12-03T21:48:08.314" v="32111" actId="790"/>
          <ac:spMkLst>
            <pc:docMk/>
            <pc:sldMk cId="852314045" sldId="1163"/>
            <ac:spMk id="21" creationId="{F5006A12-237B-AE76-D508-4BF33B16EFEA}"/>
          </ac:spMkLst>
        </pc:spChg>
        <pc:spChg chg="add del mod modVis">
          <ac:chgData name="KevCla12" userId="ef2eb634-4620-450f-93cc-80cc93397e60" providerId="ADAL" clId="{0BF56A33-4BC5-423F-96C0-6A8645FA96BB}" dt="2023-12-03T19:01:23.279" v="20496"/>
          <ac:spMkLst>
            <pc:docMk/>
            <pc:sldMk cId="852314045" sldId="1163"/>
            <ac:spMk id="22" creationId="{86F7531C-6062-6E6B-CEB7-CC7C70C46E3A}"/>
          </ac:spMkLst>
        </pc:spChg>
        <pc:spChg chg="add del mod modVis">
          <ac:chgData name="KevCla12" userId="ef2eb634-4620-450f-93cc-80cc93397e60" providerId="ADAL" clId="{0BF56A33-4BC5-423F-96C0-6A8645FA96BB}" dt="2023-12-03T19:01:33.593" v="20552"/>
          <ac:spMkLst>
            <pc:docMk/>
            <pc:sldMk cId="852314045" sldId="1163"/>
            <ac:spMk id="23" creationId="{E9D3FB6E-E66F-565F-7937-4D81630619D4}"/>
          </ac:spMkLst>
        </pc:spChg>
        <pc:spChg chg="mod">
          <ac:chgData name="KevCla12" userId="ef2eb634-4620-450f-93cc-80cc93397e60" providerId="ADAL" clId="{0BF56A33-4BC5-423F-96C0-6A8645FA96BB}" dt="2023-12-03T21:48:08.317" v="32112" actId="790"/>
          <ac:spMkLst>
            <pc:docMk/>
            <pc:sldMk cId="852314045" sldId="1163"/>
            <ac:spMk id="25" creationId="{C57B9699-6DAC-7568-8F1D-FB90ED7E0BA0}"/>
          </ac:spMkLst>
        </pc:spChg>
        <pc:spChg chg="mod">
          <ac:chgData name="KevCla12" userId="ef2eb634-4620-450f-93cc-80cc93397e60" providerId="ADAL" clId="{0BF56A33-4BC5-423F-96C0-6A8645FA96BB}" dt="2023-12-03T21:48:08.324" v="32113" actId="790"/>
          <ac:spMkLst>
            <pc:docMk/>
            <pc:sldMk cId="852314045" sldId="1163"/>
            <ac:spMk id="26" creationId="{ED05367D-11B8-F6E6-B7E7-E08E6112D93B}"/>
          </ac:spMkLst>
        </pc:spChg>
        <pc:spChg chg="mod">
          <ac:chgData name="KevCla12" userId="ef2eb634-4620-450f-93cc-80cc93397e60" providerId="ADAL" clId="{0BF56A33-4BC5-423F-96C0-6A8645FA96BB}" dt="2023-12-03T21:48:08.330" v="32114" actId="790"/>
          <ac:spMkLst>
            <pc:docMk/>
            <pc:sldMk cId="852314045" sldId="1163"/>
            <ac:spMk id="27" creationId="{CE6FFC64-B072-0F62-3351-53BA07FDA2A2}"/>
          </ac:spMkLst>
        </pc:spChg>
        <pc:spChg chg="mod">
          <ac:chgData name="KevCla12" userId="ef2eb634-4620-450f-93cc-80cc93397e60" providerId="ADAL" clId="{0BF56A33-4BC5-423F-96C0-6A8645FA96BB}" dt="2023-12-03T21:48:08.347" v="32115" actId="790"/>
          <ac:spMkLst>
            <pc:docMk/>
            <pc:sldMk cId="852314045" sldId="1163"/>
            <ac:spMk id="28" creationId="{0085CC0D-ED26-58F3-01DF-1460272A495F}"/>
          </ac:spMkLst>
        </pc:spChg>
        <pc:spChg chg="mod">
          <ac:chgData name="KevCla12" userId="ef2eb634-4620-450f-93cc-80cc93397e60" providerId="ADAL" clId="{0BF56A33-4BC5-423F-96C0-6A8645FA96BB}" dt="2023-12-03T21:48:08.370" v="32116" actId="790"/>
          <ac:spMkLst>
            <pc:docMk/>
            <pc:sldMk cId="852314045" sldId="1163"/>
            <ac:spMk id="29" creationId="{7553F3D5-ADF1-EE98-E432-FCC5941E78FD}"/>
          </ac:spMkLst>
        </pc:spChg>
        <pc:spChg chg="mod">
          <ac:chgData name="KevCla12" userId="ef2eb634-4620-450f-93cc-80cc93397e60" providerId="ADAL" clId="{0BF56A33-4BC5-423F-96C0-6A8645FA96BB}" dt="2023-12-03T21:48:08.383" v="32117" actId="790"/>
          <ac:spMkLst>
            <pc:docMk/>
            <pc:sldMk cId="852314045" sldId="1163"/>
            <ac:spMk id="30" creationId="{5F06151A-BE25-E7EA-2E64-052E3673863A}"/>
          </ac:spMkLst>
        </pc:spChg>
        <pc:spChg chg="mod">
          <ac:chgData name="KevCla12" userId="ef2eb634-4620-450f-93cc-80cc93397e60" providerId="ADAL" clId="{0BF56A33-4BC5-423F-96C0-6A8645FA96BB}" dt="2023-12-03T21:48:08.396" v="32118" actId="790"/>
          <ac:spMkLst>
            <pc:docMk/>
            <pc:sldMk cId="852314045" sldId="1163"/>
            <ac:spMk id="31" creationId="{5F023BD8-4AB5-6360-128A-43F83394B86B}"/>
          </ac:spMkLst>
        </pc:spChg>
        <pc:graphicFrameChg chg="mod">
          <ac:chgData name="KevCla12" userId="ef2eb634-4620-450f-93cc-80cc93397e60" providerId="ADAL" clId="{0BF56A33-4BC5-423F-96C0-6A8645FA96BB}" dt="2023-12-03T19:01:33.598" v="20554"/>
          <ac:graphicFrameMkLst>
            <pc:docMk/>
            <pc:sldMk cId="852314045" sldId="1163"/>
            <ac:graphicFrameMk id="19" creationId="{DCEB04FD-B16F-A889-9325-CDF88B146905}"/>
          </ac:graphicFrameMkLst>
        </pc:graphicFrameChg>
        <pc:cxnChg chg="mod">
          <ac:chgData name="KevCla12" userId="ef2eb634-4620-450f-93cc-80cc93397e60" providerId="ADAL" clId="{0BF56A33-4BC5-423F-96C0-6A8645FA96BB}" dt="2023-11-30T18:19:23.539" v="8424" actId="13822"/>
          <ac:cxnSpMkLst>
            <pc:docMk/>
            <pc:sldMk cId="852314045" sldId="1163"/>
            <ac:cxnSpMk id="9" creationId="{83AD9337-E103-243F-278D-512FC8CC9869}"/>
          </ac:cxnSpMkLst>
        </pc:cxnChg>
        <pc:cxnChg chg="mod">
          <ac:chgData name="KevCla12" userId="ef2eb634-4620-450f-93cc-80cc93397e60" providerId="ADAL" clId="{0BF56A33-4BC5-423F-96C0-6A8645FA96BB}" dt="2023-11-30T18:19:23.539" v="8424" actId="13822"/>
          <ac:cxnSpMkLst>
            <pc:docMk/>
            <pc:sldMk cId="852314045" sldId="1163"/>
            <ac:cxnSpMk id="10" creationId="{D90F717F-252E-4DB1-F11E-60B24C7F0674}"/>
          </ac:cxnSpMkLst>
        </pc:cxnChg>
      </pc:sldChg>
      <pc:sldChg chg="addSp delSp modSp add mod modNotes">
        <pc:chgData name="KevCla12" userId="ef2eb634-4620-450f-93cc-80cc93397e60" providerId="ADAL" clId="{0BF56A33-4BC5-423F-96C0-6A8645FA96BB}" dt="2023-12-03T21:48:08.483" v="32138" actId="790"/>
        <pc:sldMkLst>
          <pc:docMk/>
          <pc:sldMk cId="2199613497" sldId="1164"/>
        </pc:sldMkLst>
        <pc:spChg chg="mod ord">
          <ac:chgData name="KevCla12" userId="ef2eb634-4620-450f-93cc-80cc93397e60" providerId="ADAL" clId="{0BF56A33-4BC5-423F-96C0-6A8645FA96BB}" dt="2023-12-03T21:48:08.404" v="32122" actId="790"/>
          <ac:spMkLst>
            <pc:docMk/>
            <pc:sldMk cId="2199613497" sldId="1164"/>
            <ac:spMk id="2" creationId="{904AE0B5-690E-A759-5064-FC9F0CE2D79A}"/>
          </ac:spMkLst>
        </pc:spChg>
        <pc:spChg chg="add del mod modVis">
          <ac:chgData name="KevCla12" userId="ef2eb634-4620-450f-93cc-80cc93397e60" providerId="ADAL" clId="{0BF56A33-4BC5-423F-96C0-6A8645FA96BB}" dt="2023-12-03T19:02:08.441" v="20598"/>
          <ac:spMkLst>
            <pc:docMk/>
            <pc:sldMk cId="2199613497" sldId="1164"/>
            <ac:spMk id="3" creationId="{C030210A-8FF1-7321-8C6F-5B0A873AEFFF}"/>
          </ac:spMkLst>
        </pc:spChg>
        <pc:spChg chg="mod ord">
          <ac:chgData name="KevCla12" userId="ef2eb634-4620-450f-93cc-80cc93397e60" providerId="ADAL" clId="{0BF56A33-4BC5-423F-96C0-6A8645FA96BB}" dt="2023-12-03T21:48:08.406" v="32123" actId="790"/>
          <ac:spMkLst>
            <pc:docMk/>
            <pc:sldMk cId="2199613497" sldId="1164"/>
            <ac:spMk id="4" creationId="{05006892-9283-A461-3885-982B4CBA0519}"/>
          </ac:spMkLst>
        </pc:spChg>
        <pc:spChg chg="mod ord">
          <ac:chgData name="KevCla12" userId="ef2eb634-4620-450f-93cc-80cc93397e60" providerId="ADAL" clId="{0BF56A33-4BC5-423F-96C0-6A8645FA96BB}" dt="2023-12-03T21:48:08.407" v="32124" actId="790"/>
          <ac:spMkLst>
            <pc:docMk/>
            <pc:sldMk cId="2199613497" sldId="1164"/>
            <ac:spMk id="5" creationId="{6823D783-9067-C01F-2767-14D2FADD598F}"/>
          </ac:spMkLst>
        </pc:spChg>
        <pc:spChg chg="mod ord">
          <ac:chgData name="KevCla12" userId="ef2eb634-4620-450f-93cc-80cc93397e60" providerId="ADAL" clId="{0BF56A33-4BC5-423F-96C0-6A8645FA96BB}" dt="2023-12-03T21:48:08.409" v="32125" actId="790"/>
          <ac:spMkLst>
            <pc:docMk/>
            <pc:sldMk cId="2199613497" sldId="1164"/>
            <ac:spMk id="6" creationId="{179CC09A-6D6C-F271-9084-CCE647BC58EF}"/>
          </ac:spMkLst>
        </pc:spChg>
        <pc:spChg chg="mod ord">
          <ac:chgData name="KevCla12" userId="ef2eb634-4620-450f-93cc-80cc93397e60" providerId="ADAL" clId="{0BF56A33-4BC5-423F-96C0-6A8645FA96BB}" dt="2023-12-03T21:48:08.410" v="32126" actId="790"/>
          <ac:spMkLst>
            <pc:docMk/>
            <pc:sldMk cId="2199613497" sldId="1164"/>
            <ac:spMk id="7" creationId="{6C04F4C1-84DA-1B85-F0E4-991CA3BE5126}"/>
          </ac:spMkLst>
        </pc:spChg>
        <pc:spChg chg="mod ord">
          <ac:chgData name="KevCla12" userId="ef2eb634-4620-450f-93cc-80cc93397e60" providerId="ADAL" clId="{0BF56A33-4BC5-423F-96C0-6A8645FA96BB}" dt="2023-12-03T21:48:08.473" v="32135" actId="790"/>
          <ac:spMkLst>
            <pc:docMk/>
            <pc:sldMk cId="2199613497" sldId="1164"/>
            <ac:spMk id="8" creationId="{D20416EA-A626-C9E1-E5CA-07C653B90B0A}"/>
          </ac:spMkLst>
        </pc:spChg>
        <pc:spChg chg="add del mod modVis">
          <ac:chgData name="KevCla12" userId="ef2eb634-4620-450f-93cc-80cc93397e60" providerId="ADAL" clId="{0BF56A33-4BC5-423F-96C0-6A8645FA96BB}" dt="2023-12-03T19:02:10.620" v="20633"/>
          <ac:spMkLst>
            <pc:docMk/>
            <pc:sldMk cId="2199613497" sldId="1164"/>
            <ac:spMk id="11" creationId="{593A1C7D-6D8E-E25F-4954-C72D01482FA2}"/>
          </ac:spMkLst>
        </pc:spChg>
        <pc:spChg chg="add del mod modVis">
          <ac:chgData name="KevCla12" userId="ef2eb634-4620-450f-93cc-80cc93397e60" providerId="ADAL" clId="{0BF56A33-4BC5-423F-96C0-6A8645FA96BB}" dt="2023-12-03T19:02:11.664" v="20664"/>
          <ac:spMkLst>
            <pc:docMk/>
            <pc:sldMk cId="2199613497" sldId="1164"/>
            <ac:spMk id="12" creationId="{5AF11135-0FC0-A03F-915D-790E95F64D3B}"/>
          </ac:spMkLst>
        </pc:spChg>
        <pc:spChg chg="add del mod modVis">
          <ac:chgData name="KevCla12" userId="ef2eb634-4620-450f-93cc-80cc93397e60" providerId="ADAL" clId="{0BF56A33-4BC5-423F-96C0-6A8645FA96BB}" dt="2023-12-03T19:02:14.292" v="20704"/>
          <ac:spMkLst>
            <pc:docMk/>
            <pc:sldMk cId="2199613497" sldId="1164"/>
            <ac:spMk id="13" creationId="{A739F511-DDC3-720F-116C-6857951D752D}"/>
          </ac:spMkLst>
        </pc:spChg>
        <pc:spChg chg="add del mod modVis">
          <ac:chgData name="KevCla12" userId="ef2eb634-4620-450f-93cc-80cc93397e60" providerId="ADAL" clId="{0BF56A33-4BC5-423F-96C0-6A8645FA96BB}" dt="2023-12-03T19:02:22.123" v="20742"/>
          <ac:spMkLst>
            <pc:docMk/>
            <pc:sldMk cId="2199613497" sldId="1164"/>
            <ac:spMk id="14" creationId="{BE2E8BF4-C795-B938-738A-947CE0365744}"/>
          </ac:spMkLst>
        </pc:spChg>
        <pc:spChg chg="add del mod modVis">
          <ac:chgData name="KevCla12" userId="ef2eb634-4620-450f-93cc-80cc93397e60" providerId="ADAL" clId="{0BF56A33-4BC5-423F-96C0-6A8645FA96BB}" dt="2023-12-03T19:02:45.681" v="20774"/>
          <ac:spMkLst>
            <pc:docMk/>
            <pc:sldMk cId="2199613497" sldId="1164"/>
            <ac:spMk id="15" creationId="{CDD07994-1FD9-EA69-A80C-C085EC76B325}"/>
          </ac:spMkLst>
        </pc:spChg>
        <pc:spChg chg="add del mod modVis">
          <ac:chgData name="KevCla12" userId="ef2eb634-4620-450f-93cc-80cc93397e60" providerId="ADAL" clId="{0BF56A33-4BC5-423F-96C0-6A8645FA96BB}" dt="2023-12-03T19:02:46.959" v="20803"/>
          <ac:spMkLst>
            <pc:docMk/>
            <pc:sldMk cId="2199613497" sldId="1164"/>
            <ac:spMk id="16" creationId="{3AEBE28F-9ED4-B269-06B5-9D458211AB88}"/>
          </ac:spMkLst>
        </pc:spChg>
        <pc:spChg chg="mod ord">
          <ac:chgData name="KevCla12" userId="ef2eb634-4620-450f-93cc-80cc93397e60" providerId="ADAL" clId="{0BF56A33-4BC5-423F-96C0-6A8645FA96BB}" dt="2023-12-03T21:48:08.412" v="32127" actId="790"/>
          <ac:spMkLst>
            <pc:docMk/>
            <pc:sldMk cId="2199613497" sldId="1164"/>
            <ac:spMk id="17" creationId="{E5503AC7-C4F5-4D0B-88CB-79746795AE5E}"/>
          </ac:spMkLst>
        </pc:spChg>
        <pc:spChg chg="add del mod modVis">
          <ac:chgData name="KevCla12" userId="ef2eb634-4620-450f-93cc-80cc93397e60" providerId="ADAL" clId="{0BF56A33-4BC5-423F-96C0-6A8645FA96BB}" dt="2023-12-03T19:02:48.278" v="20833"/>
          <ac:spMkLst>
            <pc:docMk/>
            <pc:sldMk cId="2199613497" sldId="1164"/>
            <ac:spMk id="18" creationId="{47E91D31-18B7-DE56-1D08-0D753187CECF}"/>
          </ac:spMkLst>
        </pc:spChg>
        <pc:spChg chg="add del mod modVis">
          <ac:chgData name="KevCla12" userId="ef2eb634-4620-450f-93cc-80cc93397e60" providerId="ADAL" clId="{0BF56A33-4BC5-423F-96C0-6A8645FA96BB}" dt="2023-12-03T19:02:50.141" v="20869"/>
          <ac:spMkLst>
            <pc:docMk/>
            <pc:sldMk cId="2199613497" sldId="1164"/>
            <ac:spMk id="20" creationId="{DEC29F0F-7B4A-9E98-15F5-CB4AD020F2D9}"/>
          </ac:spMkLst>
        </pc:spChg>
        <pc:spChg chg="mod ord">
          <ac:chgData name="KevCla12" userId="ef2eb634-4620-450f-93cc-80cc93397e60" providerId="ADAL" clId="{0BF56A33-4BC5-423F-96C0-6A8645FA96BB}" dt="2023-12-03T21:48:08.417" v="32128" actId="790"/>
          <ac:spMkLst>
            <pc:docMk/>
            <pc:sldMk cId="2199613497" sldId="1164"/>
            <ac:spMk id="21" creationId="{F5006A12-237B-AE76-D508-4BF33B16EFEA}"/>
          </ac:spMkLst>
        </pc:spChg>
        <pc:spChg chg="add del mod modVis">
          <ac:chgData name="KevCla12" userId="ef2eb634-4620-450f-93cc-80cc93397e60" providerId="ADAL" clId="{0BF56A33-4BC5-423F-96C0-6A8645FA96BB}" dt="2023-12-03T19:02:58.110" v="20908"/>
          <ac:spMkLst>
            <pc:docMk/>
            <pc:sldMk cId="2199613497" sldId="1164"/>
            <ac:spMk id="22" creationId="{58931728-70BE-06F0-47C0-E7CA516A2020}"/>
          </ac:spMkLst>
        </pc:spChg>
        <pc:spChg chg="add del mod modVis">
          <ac:chgData name="KevCla12" userId="ef2eb634-4620-450f-93cc-80cc93397e60" providerId="ADAL" clId="{0BF56A33-4BC5-423F-96C0-6A8645FA96BB}" dt="2023-12-03T19:03:03.112" v="20936"/>
          <ac:spMkLst>
            <pc:docMk/>
            <pc:sldMk cId="2199613497" sldId="1164"/>
            <ac:spMk id="23" creationId="{0B5A3937-008B-B589-CB46-5699FF70FB85}"/>
          </ac:spMkLst>
        </pc:spChg>
        <pc:spChg chg="add del mod modVis">
          <ac:chgData name="KevCla12" userId="ef2eb634-4620-450f-93cc-80cc93397e60" providerId="ADAL" clId="{0BF56A33-4BC5-423F-96C0-6A8645FA96BB}" dt="2023-12-03T19:03:08.079" v="20986"/>
          <ac:spMkLst>
            <pc:docMk/>
            <pc:sldMk cId="2199613497" sldId="1164"/>
            <ac:spMk id="24" creationId="{FFA0D21C-E15E-F330-A369-CD7E83EEDAB6}"/>
          </ac:spMkLst>
        </pc:spChg>
        <pc:spChg chg="mod ord">
          <ac:chgData name="KevCla12" userId="ef2eb634-4620-450f-93cc-80cc93397e60" providerId="ADAL" clId="{0BF56A33-4BC5-423F-96C0-6A8645FA96BB}" dt="2023-12-03T21:48:08.423" v="32129" actId="790"/>
          <ac:spMkLst>
            <pc:docMk/>
            <pc:sldMk cId="2199613497" sldId="1164"/>
            <ac:spMk id="25" creationId="{C57B9699-6DAC-7568-8F1D-FB90ED7E0BA0}"/>
          </ac:spMkLst>
        </pc:spChg>
        <pc:spChg chg="mod ord">
          <ac:chgData name="KevCla12" userId="ef2eb634-4620-450f-93cc-80cc93397e60" providerId="ADAL" clId="{0BF56A33-4BC5-423F-96C0-6A8645FA96BB}" dt="2023-12-03T21:48:08.428" v="32130" actId="790"/>
          <ac:spMkLst>
            <pc:docMk/>
            <pc:sldMk cId="2199613497" sldId="1164"/>
            <ac:spMk id="26" creationId="{ED05367D-11B8-F6E6-B7E7-E08E6112D93B}"/>
          </ac:spMkLst>
        </pc:spChg>
        <pc:spChg chg="mod ord">
          <ac:chgData name="KevCla12" userId="ef2eb634-4620-450f-93cc-80cc93397e60" providerId="ADAL" clId="{0BF56A33-4BC5-423F-96C0-6A8645FA96BB}" dt="2023-12-03T21:48:08.479" v="32136" actId="790"/>
          <ac:spMkLst>
            <pc:docMk/>
            <pc:sldMk cId="2199613497" sldId="1164"/>
            <ac:spMk id="27" creationId="{CE6FFC64-B072-0F62-3351-53BA07FDA2A2}"/>
          </ac:spMkLst>
        </pc:spChg>
        <pc:spChg chg="mod ord">
          <ac:chgData name="KevCla12" userId="ef2eb634-4620-450f-93cc-80cc93397e60" providerId="ADAL" clId="{0BF56A33-4BC5-423F-96C0-6A8645FA96BB}" dt="2023-12-03T21:48:08.443" v="32131" actId="790"/>
          <ac:spMkLst>
            <pc:docMk/>
            <pc:sldMk cId="2199613497" sldId="1164"/>
            <ac:spMk id="28" creationId="{0085CC0D-ED26-58F3-01DF-1460272A495F}"/>
          </ac:spMkLst>
        </pc:spChg>
        <pc:spChg chg="mod ord">
          <ac:chgData name="KevCla12" userId="ef2eb634-4620-450f-93cc-80cc93397e60" providerId="ADAL" clId="{0BF56A33-4BC5-423F-96C0-6A8645FA96BB}" dt="2023-12-03T21:48:08.452" v="32132" actId="790"/>
          <ac:spMkLst>
            <pc:docMk/>
            <pc:sldMk cId="2199613497" sldId="1164"/>
            <ac:spMk id="29" creationId="{7553F3D5-ADF1-EE98-E432-FCC5941E78FD}"/>
          </ac:spMkLst>
        </pc:spChg>
        <pc:spChg chg="mod ord">
          <ac:chgData name="KevCla12" userId="ef2eb634-4620-450f-93cc-80cc93397e60" providerId="ADAL" clId="{0BF56A33-4BC5-423F-96C0-6A8645FA96BB}" dt="2023-12-03T21:48:08.461" v="32133" actId="790"/>
          <ac:spMkLst>
            <pc:docMk/>
            <pc:sldMk cId="2199613497" sldId="1164"/>
            <ac:spMk id="30" creationId="{5F06151A-BE25-E7EA-2E64-052E3673863A}"/>
          </ac:spMkLst>
        </pc:spChg>
        <pc:spChg chg="mod ord">
          <ac:chgData name="KevCla12" userId="ef2eb634-4620-450f-93cc-80cc93397e60" providerId="ADAL" clId="{0BF56A33-4BC5-423F-96C0-6A8645FA96BB}" dt="2023-12-03T21:48:08.472" v="32134" actId="790"/>
          <ac:spMkLst>
            <pc:docMk/>
            <pc:sldMk cId="2199613497" sldId="1164"/>
            <ac:spMk id="31" creationId="{5F023BD8-4AB5-6360-128A-43F83394B86B}"/>
          </ac:spMkLst>
        </pc:spChg>
        <pc:spChg chg="add del mod modVis">
          <ac:chgData name="KevCla12" userId="ef2eb634-4620-450f-93cc-80cc93397e60" providerId="ADAL" clId="{0BF56A33-4BC5-423F-96C0-6A8645FA96BB}" dt="2023-12-03T19:03:10.466" v="21017"/>
          <ac:spMkLst>
            <pc:docMk/>
            <pc:sldMk cId="2199613497" sldId="1164"/>
            <ac:spMk id="32" creationId="{FF812F42-FD87-7335-78D0-A2E2990DEE34}"/>
          </ac:spMkLst>
        </pc:spChg>
        <pc:spChg chg="add del mod modVis">
          <ac:chgData name="KevCla12" userId="ef2eb634-4620-450f-93cc-80cc93397e60" providerId="ADAL" clId="{0BF56A33-4BC5-423F-96C0-6A8645FA96BB}" dt="2023-12-03T19:03:13.121" v="21048"/>
          <ac:spMkLst>
            <pc:docMk/>
            <pc:sldMk cId="2199613497" sldId="1164"/>
            <ac:spMk id="33" creationId="{B30E9DFC-448F-7010-F666-3915310EDEAA}"/>
          </ac:spMkLst>
        </pc:spChg>
        <pc:spChg chg="add del mod modVis">
          <ac:chgData name="KevCla12" userId="ef2eb634-4620-450f-93cc-80cc93397e60" providerId="ADAL" clId="{0BF56A33-4BC5-423F-96C0-6A8645FA96BB}" dt="2023-12-03T19:03:16.322" v="21077"/>
          <ac:spMkLst>
            <pc:docMk/>
            <pc:sldMk cId="2199613497" sldId="1164"/>
            <ac:spMk id="34" creationId="{A9689BBE-730B-9F84-0B21-AEB692970C7A}"/>
          </ac:spMkLst>
        </pc:spChg>
        <pc:spChg chg="add del mod modVis">
          <ac:chgData name="KevCla12" userId="ef2eb634-4620-450f-93cc-80cc93397e60" providerId="ADAL" clId="{0BF56A33-4BC5-423F-96C0-6A8645FA96BB}" dt="2023-12-03T19:03:18.122" v="21109"/>
          <ac:spMkLst>
            <pc:docMk/>
            <pc:sldMk cId="2199613497" sldId="1164"/>
            <ac:spMk id="35" creationId="{1964A3B1-97CF-CC71-8BCF-08A685DD6D00}"/>
          </ac:spMkLst>
        </pc:spChg>
        <pc:spChg chg="add del mod modVis">
          <ac:chgData name="KevCla12" userId="ef2eb634-4620-450f-93cc-80cc93397e60" providerId="ADAL" clId="{0BF56A33-4BC5-423F-96C0-6A8645FA96BB}" dt="2023-12-03T19:03:22.994" v="21150"/>
          <ac:spMkLst>
            <pc:docMk/>
            <pc:sldMk cId="2199613497" sldId="1164"/>
            <ac:spMk id="36" creationId="{B1763425-538D-88F6-ECE7-6CACF13C7E0E}"/>
          </ac:spMkLst>
        </pc:spChg>
        <pc:spChg chg="add del mod modVis">
          <ac:chgData name="KevCla12" userId="ef2eb634-4620-450f-93cc-80cc93397e60" providerId="ADAL" clId="{0BF56A33-4BC5-423F-96C0-6A8645FA96BB}" dt="2023-12-03T19:03:26.134" v="21191"/>
          <ac:spMkLst>
            <pc:docMk/>
            <pc:sldMk cId="2199613497" sldId="1164"/>
            <ac:spMk id="37" creationId="{D418EEC8-D7E3-DDBE-71FB-3EB36B452ECA}"/>
          </ac:spMkLst>
        </pc:spChg>
        <pc:spChg chg="add del mod modVis">
          <ac:chgData name="KevCla12" userId="ef2eb634-4620-450f-93cc-80cc93397e60" providerId="ADAL" clId="{0BF56A33-4BC5-423F-96C0-6A8645FA96BB}" dt="2023-12-03T19:03:28.370" v="21226"/>
          <ac:spMkLst>
            <pc:docMk/>
            <pc:sldMk cId="2199613497" sldId="1164"/>
            <ac:spMk id="38" creationId="{4C23A961-DA18-BEB7-21BF-337C3EEBF7F7}"/>
          </ac:spMkLst>
        </pc:spChg>
        <pc:spChg chg="add del mod modVis">
          <ac:chgData name="KevCla12" userId="ef2eb634-4620-450f-93cc-80cc93397e60" providerId="ADAL" clId="{0BF56A33-4BC5-423F-96C0-6A8645FA96BB}" dt="2023-12-03T19:03:31.080" v="21266"/>
          <ac:spMkLst>
            <pc:docMk/>
            <pc:sldMk cId="2199613497" sldId="1164"/>
            <ac:spMk id="39" creationId="{52AC5DE4-70D9-9BBE-3ADB-5C79E20C05DE}"/>
          </ac:spMkLst>
        </pc:spChg>
        <pc:spChg chg="add del mod modVis">
          <ac:chgData name="KevCla12" userId="ef2eb634-4620-450f-93cc-80cc93397e60" providerId="ADAL" clId="{0BF56A33-4BC5-423F-96C0-6A8645FA96BB}" dt="2023-12-03T19:03:36.823" v="21320"/>
          <ac:spMkLst>
            <pc:docMk/>
            <pc:sldMk cId="2199613497" sldId="1164"/>
            <ac:spMk id="40" creationId="{7A624A9B-AE0D-176F-2ACB-4EC749829942}"/>
          </ac:spMkLst>
        </pc:spChg>
        <pc:graphicFrameChg chg="mod">
          <ac:chgData name="KevCla12" userId="ef2eb634-4620-450f-93cc-80cc93397e60" providerId="ADAL" clId="{0BF56A33-4BC5-423F-96C0-6A8645FA96BB}" dt="2023-12-03T19:03:36.829" v="21322"/>
          <ac:graphicFrameMkLst>
            <pc:docMk/>
            <pc:sldMk cId="2199613497" sldId="1164"/>
            <ac:graphicFrameMk id="19" creationId="{DCEB04FD-B16F-A889-9325-CDF88B146905}"/>
          </ac:graphicFrameMkLst>
        </pc:graphicFrameChg>
        <pc:cxnChg chg="mod ord">
          <ac:chgData name="KevCla12" userId="ef2eb634-4620-450f-93cc-80cc93397e60" providerId="ADAL" clId="{0BF56A33-4BC5-423F-96C0-6A8645FA96BB}" dt="2023-11-30T18:19:29.371" v="8425" actId="13822"/>
          <ac:cxnSpMkLst>
            <pc:docMk/>
            <pc:sldMk cId="2199613497" sldId="1164"/>
            <ac:cxnSpMk id="9" creationId="{83AD9337-E103-243F-278D-512FC8CC9869}"/>
          </ac:cxnSpMkLst>
        </pc:cxnChg>
        <pc:cxnChg chg="mod ord">
          <ac:chgData name="KevCla12" userId="ef2eb634-4620-450f-93cc-80cc93397e60" providerId="ADAL" clId="{0BF56A33-4BC5-423F-96C0-6A8645FA96BB}" dt="2023-11-30T18:19:29.371" v="8425" actId="13822"/>
          <ac:cxnSpMkLst>
            <pc:docMk/>
            <pc:sldMk cId="2199613497" sldId="1164"/>
            <ac:cxnSpMk id="10" creationId="{D90F717F-252E-4DB1-F11E-60B24C7F0674}"/>
          </ac:cxnSpMkLst>
        </pc:cxnChg>
      </pc:sldChg>
      <pc:sldChg chg="addSp delSp modSp add mod modNotes">
        <pc:chgData name="KevCla12" userId="ef2eb634-4620-450f-93cc-80cc93397e60" providerId="ADAL" clId="{0BF56A33-4BC5-423F-96C0-6A8645FA96BB}" dt="2023-12-03T21:48:08.555" v="32153" actId="790"/>
        <pc:sldMkLst>
          <pc:docMk/>
          <pc:sldMk cId="3523617225" sldId="1165"/>
        </pc:sldMkLst>
        <pc:spChg chg="mod">
          <ac:chgData name="KevCla12" userId="ef2eb634-4620-450f-93cc-80cc93397e60" providerId="ADAL" clId="{0BF56A33-4BC5-423F-96C0-6A8645FA96BB}" dt="2023-12-03T21:48:08.488" v="32139" actId="790"/>
          <ac:spMkLst>
            <pc:docMk/>
            <pc:sldMk cId="3523617225" sldId="1165"/>
            <ac:spMk id="2" creationId="{904AE0B5-690E-A759-5064-FC9F0CE2D79A}"/>
          </ac:spMkLst>
        </pc:spChg>
        <pc:spChg chg="add del mod modVis">
          <ac:chgData name="KevCla12" userId="ef2eb634-4620-450f-93cc-80cc93397e60" providerId="ADAL" clId="{0BF56A33-4BC5-423F-96C0-6A8645FA96BB}" dt="2023-12-03T19:03:46.350" v="21357"/>
          <ac:spMkLst>
            <pc:docMk/>
            <pc:sldMk cId="3523617225" sldId="1165"/>
            <ac:spMk id="3" creationId="{D77A8B6E-9535-8A4D-3AA8-33819DA422AD}"/>
          </ac:spMkLst>
        </pc:spChg>
        <pc:spChg chg="mod">
          <ac:chgData name="KevCla12" userId="ef2eb634-4620-450f-93cc-80cc93397e60" providerId="ADAL" clId="{0BF56A33-4BC5-423F-96C0-6A8645FA96BB}" dt="2023-12-03T21:48:08.489" v="32140" actId="790"/>
          <ac:spMkLst>
            <pc:docMk/>
            <pc:sldMk cId="3523617225" sldId="1165"/>
            <ac:spMk id="4" creationId="{05006892-9283-A461-3885-982B4CBA0519}"/>
          </ac:spMkLst>
        </pc:spChg>
        <pc:spChg chg="mod">
          <ac:chgData name="KevCla12" userId="ef2eb634-4620-450f-93cc-80cc93397e60" providerId="ADAL" clId="{0BF56A33-4BC5-423F-96C0-6A8645FA96BB}" dt="2023-12-03T21:48:08.491" v="32141" actId="790"/>
          <ac:spMkLst>
            <pc:docMk/>
            <pc:sldMk cId="3523617225" sldId="1165"/>
            <ac:spMk id="5" creationId="{6823D783-9067-C01F-2767-14D2FADD598F}"/>
          </ac:spMkLst>
        </pc:spChg>
        <pc:spChg chg="mod">
          <ac:chgData name="KevCla12" userId="ef2eb634-4620-450f-93cc-80cc93397e60" providerId="ADAL" clId="{0BF56A33-4BC5-423F-96C0-6A8645FA96BB}" dt="2023-12-03T21:48:08.492" v="32142" actId="790"/>
          <ac:spMkLst>
            <pc:docMk/>
            <pc:sldMk cId="3523617225" sldId="1165"/>
            <ac:spMk id="6" creationId="{179CC09A-6D6C-F271-9084-CCE647BC58EF}"/>
          </ac:spMkLst>
        </pc:spChg>
        <pc:spChg chg="mod">
          <ac:chgData name="KevCla12" userId="ef2eb634-4620-450f-93cc-80cc93397e60" providerId="ADAL" clId="{0BF56A33-4BC5-423F-96C0-6A8645FA96BB}" dt="2023-12-03T21:48:08.494" v="32143" actId="790"/>
          <ac:spMkLst>
            <pc:docMk/>
            <pc:sldMk cId="3523617225" sldId="1165"/>
            <ac:spMk id="7" creationId="{6C04F4C1-84DA-1B85-F0E4-991CA3BE5126}"/>
          </ac:spMkLst>
        </pc:spChg>
        <pc:spChg chg="mod">
          <ac:chgData name="KevCla12" userId="ef2eb634-4620-450f-93cc-80cc93397e60" providerId="ADAL" clId="{0BF56A33-4BC5-423F-96C0-6A8645FA96BB}" dt="2023-12-03T21:48:08.553" v="32151" actId="790"/>
          <ac:spMkLst>
            <pc:docMk/>
            <pc:sldMk cId="3523617225" sldId="1165"/>
            <ac:spMk id="8" creationId="{D20416EA-A626-C9E1-E5CA-07C653B90B0A}"/>
          </ac:spMkLst>
        </pc:spChg>
        <pc:spChg chg="add del mod modVis">
          <ac:chgData name="KevCla12" userId="ef2eb634-4620-450f-93cc-80cc93397e60" providerId="ADAL" clId="{0BF56A33-4BC5-423F-96C0-6A8645FA96BB}" dt="2023-12-03T19:03:58.037" v="21399"/>
          <ac:spMkLst>
            <pc:docMk/>
            <pc:sldMk cId="3523617225" sldId="1165"/>
            <ac:spMk id="11" creationId="{562598F1-6125-3B75-606A-2F7524A1B83E}"/>
          </ac:spMkLst>
        </pc:spChg>
        <pc:spChg chg="add del mod modVis">
          <ac:chgData name="KevCla12" userId="ef2eb634-4620-450f-93cc-80cc93397e60" providerId="ADAL" clId="{0BF56A33-4BC5-423F-96C0-6A8645FA96BB}" dt="2023-12-03T19:04:03.626" v="21443"/>
          <ac:spMkLst>
            <pc:docMk/>
            <pc:sldMk cId="3523617225" sldId="1165"/>
            <ac:spMk id="12" creationId="{4BA0D017-D5D9-0BA5-E339-EC67B396BEA6}"/>
          </ac:spMkLst>
        </pc:spChg>
        <pc:spChg chg="add del mod modVis">
          <ac:chgData name="KevCla12" userId="ef2eb634-4620-450f-93cc-80cc93397e60" providerId="ADAL" clId="{0BF56A33-4BC5-423F-96C0-6A8645FA96BB}" dt="2023-12-03T19:04:05.915" v="21481"/>
          <ac:spMkLst>
            <pc:docMk/>
            <pc:sldMk cId="3523617225" sldId="1165"/>
            <ac:spMk id="13" creationId="{BE8D33AF-3950-00C6-DDEA-97F34CFBFF01}"/>
          </ac:spMkLst>
        </pc:spChg>
        <pc:spChg chg="add del mod modVis">
          <ac:chgData name="KevCla12" userId="ef2eb634-4620-450f-93cc-80cc93397e60" providerId="ADAL" clId="{0BF56A33-4BC5-423F-96C0-6A8645FA96BB}" dt="2023-12-03T19:04:09.209" v="21514"/>
          <ac:spMkLst>
            <pc:docMk/>
            <pc:sldMk cId="3523617225" sldId="1165"/>
            <ac:spMk id="14" creationId="{5C3B66DE-DE06-12E8-A014-C62BDA044D52}"/>
          </ac:spMkLst>
        </pc:spChg>
        <pc:spChg chg="add del mod modVis">
          <ac:chgData name="KevCla12" userId="ef2eb634-4620-450f-93cc-80cc93397e60" providerId="ADAL" clId="{0BF56A33-4BC5-423F-96C0-6A8645FA96BB}" dt="2023-12-03T19:04:11.977" v="21553"/>
          <ac:spMkLst>
            <pc:docMk/>
            <pc:sldMk cId="3523617225" sldId="1165"/>
            <ac:spMk id="15" creationId="{6F96327C-5DBB-E794-C391-338484594F63}"/>
          </ac:spMkLst>
        </pc:spChg>
        <pc:spChg chg="add del mod modVis">
          <ac:chgData name="KevCla12" userId="ef2eb634-4620-450f-93cc-80cc93397e60" providerId="ADAL" clId="{0BF56A33-4BC5-423F-96C0-6A8645FA96BB}" dt="2023-12-03T19:04:23.063" v="21597"/>
          <ac:spMkLst>
            <pc:docMk/>
            <pc:sldMk cId="3523617225" sldId="1165"/>
            <ac:spMk id="16" creationId="{810529F8-9222-272F-9667-596988EB831E}"/>
          </ac:spMkLst>
        </pc:spChg>
        <pc:spChg chg="mod">
          <ac:chgData name="KevCla12" userId="ef2eb634-4620-450f-93cc-80cc93397e60" providerId="ADAL" clId="{0BF56A33-4BC5-423F-96C0-6A8645FA96BB}" dt="2023-12-03T21:48:08.495" v="32144" actId="790"/>
          <ac:spMkLst>
            <pc:docMk/>
            <pc:sldMk cId="3523617225" sldId="1165"/>
            <ac:spMk id="17" creationId="{E5503AC7-C4F5-4D0B-88CB-79746795AE5E}"/>
          </ac:spMkLst>
        </pc:spChg>
        <pc:spChg chg="add del mod modVis">
          <ac:chgData name="KevCla12" userId="ef2eb634-4620-450f-93cc-80cc93397e60" providerId="ADAL" clId="{0BF56A33-4BC5-423F-96C0-6A8645FA96BB}" dt="2023-12-03T19:04:24.313" v="21629"/>
          <ac:spMkLst>
            <pc:docMk/>
            <pc:sldMk cId="3523617225" sldId="1165"/>
            <ac:spMk id="18" creationId="{D5E563DF-8DA6-3AF1-2A09-7886E1B702F0}"/>
          </ac:spMkLst>
        </pc:spChg>
        <pc:spChg chg="add del mod modVis">
          <ac:chgData name="KevCla12" userId="ef2eb634-4620-450f-93cc-80cc93397e60" providerId="ADAL" clId="{0BF56A33-4BC5-423F-96C0-6A8645FA96BB}" dt="2023-12-03T19:04:29.784" v="21667"/>
          <ac:spMkLst>
            <pc:docMk/>
            <pc:sldMk cId="3523617225" sldId="1165"/>
            <ac:spMk id="20" creationId="{5A4A855B-B1FE-602C-73B4-9B427EE81C44}"/>
          </ac:spMkLst>
        </pc:spChg>
        <pc:spChg chg="mod">
          <ac:chgData name="KevCla12" userId="ef2eb634-4620-450f-93cc-80cc93397e60" providerId="ADAL" clId="{0BF56A33-4BC5-423F-96C0-6A8645FA96BB}" dt="2023-12-03T21:48:08.500" v="32145" actId="790"/>
          <ac:spMkLst>
            <pc:docMk/>
            <pc:sldMk cId="3523617225" sldId="1165"/>
            <ac:spMk id="21" creationId="{F5006A12-237B-AE76-D508-4BF33B16EFEA}"/>
          </ac:spMkLst>
        </pc:spChg>
        <pc:spChg chg="add del mod modVis">
          <ac:chgData name="KevCla12" userId="ef2eb634-4620-450f-93cc-80cc93397e60" providerId="ADAL" clId="{0BF56A33-4BC5-423F-96C0-6A8645FA96BB}" dt="2023-12-03T19:04:31.867" v="21697"/>
          <ac:spMkLst>
            <pc:docMk/>
            <pc:sldMk cId="3523617225" sldId="1165"/>
            <ac:spMk id="22" creationId="{A1762388-7454-9510-6CAE-9D5C12AB0E08}"/>
          </ac:spMkLst>
        </pc:spChg>
        <pc:spChg chg="add del mod modVis">
          <ac:chgData name="KevCla12" userId="ef2eb634-4620-450f-93cc-80cc93397e60" providerId="ADAL" clId="{0BF56A33-4BC5-423F-96C0-6A8645FA96BB}" dt="2023-12-03T19:04:33.716" v="21728"/>
          <ac:spMkLst>
            <pc:docMk/>
            <pc:sldMk cId="3523617225" sldId="1165"/>
            <ac:spMk id="23" creationId="{57B877DB-7D41-75FE-BCDE-46F2A19F5EA8}"/>
          </ac:spMkLst>
        </pc:spChg>
        <pc:spChg chg="mod">
          <ac:chgData name="KevCla12" userId="ef2eb634-4620-450f-93cc-80cc93397e60" providerId="ADAL" clId="{0BF56A33-4BC5-423F-96C0-6A8645FA96BB}" dt="2023-12-03T21:48:08.505" v="32146" actId="790"/>
          <ac:spMkLst>
            <pc:docMk/>
            <pc:sldMk cId="3523617225" sldId="1165"/>
            <ac:spMk id="25" creationId="{C57B9699-6DAC-7568-8F1D-FB90ED7E0BA0}"/>
          </ac:spMkLst>
        </pc:spChg>
        <pc:spChg chg="mod">
          <ac:chgData name="KevCla12" userId="ef2eb634-4620-450f-93cc-80cc93397e60" providerId="ADAL" clId="{0BF56A33-4BC5-423F-96C0-6A8645FA96BB}" dt="2023-12-03T21:48:08.511" v="32147" actId="790"/>
          <ac:spMkLst>
            <pc:docMk/>
            <pc:sldMk cId="3523617225" sldId="1165"/>
            <ac:spMk id="26" creationId="{ED05367D-11B8-F6E6-B7E7-E08E6112D93B}"/>
          </ac:spMkLst>
        </pc:spChg>
        <pc:spChg chg="del">
          <ac:chgData name="KevCla12" userId="ef2eb634-4620-450f-93cc-80cc93397e60" providerId="ADAL" clId="{0BF56A33-4BC5-423F-96C0-6A8645FA96BB}" dt="2023-11-30T15:35:57.279" v="3072" actId="478"/>
          <ac:spMkLst>
            <pc:docMk/>
            <pc:sldMk cId="3523617225" sldId="1165"/>
            <ac:spMk id="27" creationId="{CE6FFC64-B072-0F62-3351-53BA07FDA2A2}"/>
          </ac:spMkLst>
        </pc:spChg>
        <pc:spChg chg="mod">
          <ac:chgData name="KevCla12" userId="ef2eb634-4620-450f-93cc-80cc93397e60" providerId="ADAL" clId="{0BF56A33-4BC5-423F-96C0-6A8645FA96BB}" dt="2023-12-03T21:48:08.524" v="32148" actId="790"/>
          <ac:spMkLst>
            <pc:docMk/>
            <pc:sldMk cId="3523617225" sldId="1165"/>
            <ac:spMk id="28" creationId="{0085CC0D-ED26-58F3-01DF-1460272A495F}"/>
          </ac:spMkLst>
        </pc:spChg>
        <pc:spChg chg="mod">
          <ac:chgData name="KevCla12" userId="ef2eb634-4620-450f-93cc-80cc93397e60" providerId="ADAL" clId="{0BF56A33-4BC5-423F-96C0-6A8645FA96BB}" dt="2023-12-03T21:48:08.536" v="32149" actId="790"/>
          <ac:spMkLst>
            <pc:docMk/>
            <pc:sldMk cId="3523617225" sldId="1165"/>
            <ac:spMk id="29" creationId="{7553F3D5-ADF1-EE98-E432-FCC5941E78FD}"/>
          </ac:spMkLst>
        </pc:spChg>
        <pc:spChg chg="mod">
          <ac:chgData name="KevCla12" userId="ef2eb634-4620-450f-93cc-80cc93397e60" providerId="ADAL" clId="{0BF56A33-4BC5-423F-96C0-6A8645FA96BB}" dt="2023-12-03T21:48:08.551" v="32150" actId="790"/>
          <ac:spMkLst>
            <pc:docMk/>
            <pc:sldMk cId="3523617225" sldId="1165"/>
            <ac:spMk id="30" creationId="{5F06151A-BE25-E7EA-2E64-052E3673863A}"/>
          </ac:spMkLst>
        </pc:spChg>
        <pc:spChg chg="del mod">
          <ac:chgData name="KevCla12" userId="ef2eb634-4620-450f-93cc-80cc93397e60" providerId="ADAL" clId="{0BF56A33-4BC5-423F-96C0-6A8645FA96BB}" dt="2023-11-30T15:35:56.347" v="3071" actId="478"/>
          <ac:spMkLst>
            <pc:docMk/>
            <pc:sldMk cId="3523617225" sldId="1165"/>
            <ac:spMk id="31" creationId="{5F023BD8-4AB5-6360-128A-43F83394B86B}"/>
          </ac:spMkLst>
        </pc:spChg>
        <pc:graphicFrameChg chg="mod">
          <ac:chgData name="KevCla12" userId="ef2eb634-4620-450f-93cc-80cc93397e60" providerId="ADAL" clId="{0BF56A33-4BC5-423F-96C0-6A8645FA96BB}" dt="2023-12-03T19:04:33.721" v="21730"/>
          <ac:graphicFrameMkLst>
            <pc:docMk/>
            <pc:sldMk cId="3523617225" sldId="1165"/>
            <ac:graphicFrameMk id="19" creationId="{DCEB04FD-B16F-A889-9325-CDF88B146905}"/>
          </ac:graphicFrameMkLst>
        </pc:graphicFrameChg>
        <pc:cxnChg chg="mod">
          <ac:chgData name="KevCla12" userId="ef2eb634-4620-450f-93cc-80cc93397e60" providerId="ADAL" clId="{0BF56A33-4BC5-423F-96C0-6A8645FA96BB}" dt="2023-11-30T18:19:34.642" v="8426" actId="13822"/>
          <ac:cxnSpMkLst>
            <pc:docMk/>
            <pc:sldMk cId="3523617225" sldId="1165"/>
            <ac:cxnSpMk id="9" creationId="{83AD9337-E103-243F-278D-512FC8CC9869}"/>
          </ac:cxnSpMkLst>
        </pc:cxnChg>
        <pc:cxnChg chg="mod">
          <ac:chgData name="KevCla12" userId="ef2eb634-4620-450f-93cc-80cc93397e60" providerId="ADAL" clId="{0BF56A33-4BC5-423F-96C0-6A8645FA96BB}" dt="2023-11-30T18:19:34.642" v="8426" actId="13822"/>
          <ac:cxnSpMkLst>
            <pc:docMk/>
            <pc:sldMk cId="3523617225" sldId="1165"/>
            <ac:cxnSpMk id="10" creationId="{D90F717F-252E-4DB1-F11E-60B24C7F0674}"/>
          </ac:cxnSpMkLst>
        </pc:cxnChg>
      </pc:sldChg>
      <pc:sldChg chg="addSp delSp modSp add mod modNotes">
        <pc:chgData name="KevCla12" userId="ef2eb634-4620-450f-93cc-80cc93397e60" providerId="ADAL" clId="{0BF56A33-4BC5-423F-96C0-6A8645FA96BB}" dt="2023-12-03T21:48:08.639" v="32170" actId="790"/>
        <pc:sldMkLst>
          <pc:docMk/>
          <pc:sldMk cId="1130398972" sldId="1166"/>
        </pc:sldMkLst>
        <pc:spChg chg="mod">
          <ac:chgData name="KevCla12" userId="ef2eb634-4620-450f-93cc-80cc93397e60" providerId="ADAL" clId="{0BF56A33-4BC5-423F-96C0-6A8645FA96BB}" dt="2023-12-03T21:48:08.559" v="32154" actId="790"/>
          <ac:spMkLst>
            <pc:docMk/>
            <pc:sldMk cId="1130398972" sldId="1166"/>
            <ac:spMk id="2" creationId="{904AE0B5-690E-A759-5064-FC9F0CE2D79A}"/>
          </ac:spMkLst>
        </pc:spChg>
        <pc:spChg chg="add mod">
          <ac:chgData name="KevCla12" userId="ef2eb634-4620-450f-93cc-80cc93397e60" providerId="ADAL" clId="{0BF56A33-4BC5-423F-96C0-6A8645FA96BB}" dt="2023-12-03T21:48:08.634" v="32167" actId="790"/>
          <ac:spMkLst>
            <pc:docMk/>
            <pc:sldMk cId="1130398972" sldId="1166"/>
            <ac:spMk id="3" creationId="{B1FDB0AE-F53F-3C11-32E1-79528F59E425}"/>
          </ac:spMkLst>
        </pc:spChg>
        <pc:spChg chg="mod">
          <ac:chgData name="KevCla12" userId="ef2eb634-4620-450f-93cc-80cc93397e60" providerId="ADAL" clId="{0BF56A33-4BC5-423F-96C0-6A8645FA96BB}" dt="2023-12-03T21:48:08.560" v="32155" actId="790"/>
          <ac:spMkLst>
            <pc:docMk/>
            <pc:sldMk cId="1130398972" sldId="1166"/>
            <ac:spMk id="4" creationId="{05006892-9283-A461-3885-982B4CBA0519}"/>
          </ac:spMkLst>
        </pc:spChg>
        <pc:spChg chg="mod">
          <ac:chgData name="KevCla12" userId="ef2eb634-4620-450f-93cc-80cc93397e60" providerId="ADAL" clId="{0BF56A33-4BC5-423F-96C0-6A8645FA96BB}" dt="2023-12-03T21:48:08.562" v="32156" actId="790"/>
          <ac:spMkLst>
            <pc:docMk/>
            <pc:sldMk cId="1130398972" sldId="1166"/>
            <ac:spMk id="5" creationId="{6823D783-9067-C01F-2767-14D2FADD598F}"/>
          </ac:spMkLst>
        </pc:spChg>
        <pc:spChg chg="mod">
          <ac:chgData name="KevCla12" userId="ef2eb634-4620-450f-93cc-80cc93397e60" providerId="ADAL" clId="{0BF56A33-4BC5-423F-96C0-6A8645FA96BB}" dt="2023-12-03T21:48:08.563" v="32157" actId="790"/>
          <ac:spMkLst>
            <pc:docMk/>
            <pc:sldMk cId="1130398972" sldId="1166"/>
            <ac:spMk id="6" creationId="{179CC09A-6D6C-F271-9084-CCE647BC58EF}"/>
          </ac:spMkLst>
        </pc:spChg>
        <pc:spChg chg="mod">
          <ac:chgData name="KevCla12" userId="ef2eb634-4620-450f-93cc-80cc93397e60" providerId="ADAL" clId="{0BF56A33-4BC5-423F-96C0-6A8645FA96BB}" dt="2023-12-03T21:48:08.564" v="32158" actId="790"/>
          <ac:spMkLst>
            <pc:docMk/>
            <pc:sldMk cId="1130398972" sldId="1166"/>
            <ac:spMk id="7" creationId="{6C04F4C1-84DA-1B85-F0E4-991CA3BE5126}"/>
          </ac:spMkLst>
        </pc:spChg>
        <pc:spChg chg="mod">
          <ac:chgData name="KevCla12" userId="ef2eb634-4620-450f-93cc-80cc93397e60" providerId="ADAL" clId="{0BF56A33-4BC5-423F-96C0-6A8645FA96BB}" dt="2023-12-03T21:48:08.617" v="32166" actId="790"/>
          <ac:spMkLst>
            <pc:docMk/>
            <pc:sldMk cId="1130398972" sldId="1166"/>
            <ac:spMk id="8" creationId="{D20416EA-A626-C9E1-E5CA-07C653B90B0A}"/>
          </ac:spMkLst>
        </pc:spChg>
        <pc:spChg chg="add mod">
          <ac:chgData name="KevCla12" userId="ef2eb634-4620-450f-93cc-80cc93397e60" providerId="ADAL" clId="{0BF56A33-4BC5-423F-96C0-6A8645FA96BB}" dt="2023-12-03T21:48:08.636" v="32168" actId="790"/>
          <ac:spMkLst>
            <pc:docMk/>
            <pc:sldMk cId="1130398972" sldId="1166"/>
            <ac:spMk id="11" creationId="{F3758C02-8B2E-5C84-B047-15B163D09023}"/>
          </ac:spMkLst>
        </pc:spChg>
        <pc:spChg chg="add del mod modVis">
          <ac:chgData name="KevCla12" userId="ef2eb634-4620-450f-93cc-80cc93397e60" providerId="ADAL" clId="{0BF56A33-4BC5-423F-96C0-6A8645FA96BB}" dt="2023-12-03T19:04:40.005" v="21761"/>
          <ac:spMkLst>
            <pc:docMk/>
            <pc:sldMk cId="1130398972" sldId="1166"/>
            <ac:spMk id="12" creationId="{D610CA05-1ACE-4877-5A0E-FC7C77289C6C}"/>
          </ac:spMkLst>
        </pc:spChg>
        <pc:spChg chg="add del mod modVis">
          <ac:chgData name="KevCla12" userId="ef2eb634-4620-450f-93cc-80cc93397e60" providerId="ADAL" clId="{0BF56A33-4BC5-423F-96C0-6A8645FA96BB}" dt="2023-12-03T19:04:42.274" v="21797"/>
          <ac:spMkLst>
            <pc:docMk/>
            <pc:sldMk cId="1130398972" sldId="1166"/>
            <ac:spMk id="13" creationId="{634C47B4-507E-737F-0199-95A976AA6B4E}"/>
          </ac:spMkLst>
        </pc:spChg>
        <pc:spChg chg="add del mod modVis">
          <ac:chgData name="KevCla12" userId="ef2eb634-4620-450f-93cc-80cc93397e60" providerId="ADAL" clId="{0BF56A33-4BC5-423F-96C0-6A8645FA96BB}" dt="2023-12-03T19:04:43.438" v="21830"/>
          <ac:spMkLst>
            <pc:docMk/>
            <pc:sldMk cId="1130398972" sldId="1166"/>
            <ac:spMk id="14" creationId="{70BFD0A7-6237-1732-BBE1-9F43A586B47E}"/>
          </ac:spMkLst>
        </pc:spChg>
        <pc:spChg chg="add del mod modVis">
          <ac:chgData name="KevCla12" userId="ef2eb634-4620-450f-93cc-80cc93397e60" providerId="ADAL" clId="{0BF56A33-4BC5-423F-96C0-6A8645FA96BB}" dt="2023-12-03T19:04:46.544" v="21871"/>
          <ac:spMkLst>
            <pc:docMk/>
            <pc:sldMk cId="1130398972" sldId="1166"/>
            <ac:spMk id="15" creationId="{A1083A29-F220-835E-B1B6-E6547C3BBBF7}"/>
          </ac:spMkLst>
        </pc:spChg>
        <pc:spChg chg="add del mod modVis">
          <ac:chgData name="KevCla12" userId="ef2eb634-4620-450f-93cc-80cc93397e60" providerId="ADAL" clId="{0BF56A33-4BC5-423F-96C0-6A8645FA96BB}" dt="2023-12-03T19:04:52.259" v="21921"/>
          <ac:spMkLst>
            <pc:docMk/>
            <pc:sldMk cId="1130398972" sldId="1166"/>
            <ac:spMk id="16" creationId="{7C6F0064-F746-401A-5F7B-A1256EAE56F8}"/>
          </ac:spMkLst>
        </pc:spChg>
        <pc:spChg chg="mod">
          <ac:chgData name="KevCla12" userId="ef2eb634-4620-450f-93cc-80cc93397e60" providerId="ADAL" clId="{0BF56A33-4BC5-423F-96C0-6A8645FA96BB}" dt="2023-12-03T21:48:08.565" v="32159" actId="790"/>
          <ac:spMkLst>
            <pc:docMk/>
            <pc:sldMk cId="1130398972" sldId="1166"/>
            <ac:spMk id="17" creationId="{E5503AC7-C4F5-4D0B-88CB-79746795AE5E}"/>
          </ac:spMkLst>
        </pc:spChg>
        <pc:spChg chg="add del mod modVis">
          <ac:chgData name="KevCla12" userId="ef2eb634-4620-450f-93cc-80cc93397e60" providerId="ADAL" clId="{0BF56A33-4BC5-423F-96C0-6A8645FA96BB}" dt="2023-12-03T19:04:55.222" v="21964"/>
          <ac:spMkLst>
            <pc:docMk/>
            <pc:sldMk cId="1130398972" sldId="1166"/>
            <ac:spMk id="18" creationId="{458EBC27-069C-12C4-C177-336342380B2D}"/>
          </ac:spMkLst>
        </pc:spChg>
        <pc:spChg chg="add del mod modVis">
          <ac:chgData name="KevCla12" userId="ef2eb634-4620-450f-93cc-80cc93397e60" providerId="ADAL" clId="{0BF56A33-4BC5-423F-96C0-6A8645FA96BB}" dt="2023-12-03T19:04:58.045" v="22002"/>
          <ac:spMkLst>
            <pc:docMk/>
            <pc:sldMk cId="1130398972" sldId="1166"/>
            <ac:spMk id="20" creationId="{11D21AA9-DC1C-2364-7C5B-214327F627B1}"/>
          </ac:spMkLst>
        </pc:spChg>
        <pc:spChg chg="mod">
          <ac:chgData name="KevCla12" userId="ef2eb634-4620-450f-93cc-80cc93397e60" providerId="ADAL" clId="{0BF56A33-4BC5-423F-96C0-6A8645FA96BB}" dt="2023-12-03T21:48:08.569" v="32160" actId="790"/>
          <ac:spMkLst>
            <pc:docMk/>
            <pc:sldMk cId="1130398972" sldId="1166"/>
            <ac:spMk id="21" creationId="{F5006A12-237B-AE76-D508-4BF33B16EFEA}"/>
          </ac:spMkLst>
        </pc:spChg>
        <pc:spChg chg="add del mod modVis">
          <ac:chgData name="KevCla12" userId="ef2eb634-4620-450f-93cc-80cc93397e60" providerId="ADAL" clId="{0BF56A33-4BC5-423F-96C0-6A8645FA96BB}" dt="2023-12-03T19:05:00.412" v="22040"/>
          <ac:spMkLst>
            <pc:docMk/>
            <pc:sldMk cId="1130398972" sldId="1166"/>
            <ac:spMk id="22" creationId="{49716442-F8F7-5F3F-81CA-64B80B25D72F}"/>
          </ac:spMkLst>
        </pc:spChg>
        <pc:spChg chg="add del mod modVis">
          <ac:chgData name="KevCla12" userId="ef2eb634-4620-450f-93cc-80cc93397e60" providerId="ADAL" clId="{0BF56A33-4BC5-423F-96C0-6A8645FA96BB}" dt="2023-12-03T19:05:04.477" v="22071"/>
          <ac:spMkLst>
            <pc:docMk/>
            <pc:sldMk cId="1130398972" sldId="1166"/>
            <ac:spMk id="23" creationId="{20D151A8-A85E-FCD9-5F3E-6A2E149BEFCD}"/>
          </ac:spMkLst>
        </pc:spChg>
        <pc:spChg chg="add del mod modVis">
          <ac:chgData name="KevCla12" userId="ef2eb634-4620-450f-93cc-80cc93397e60" providerId="ADAL" clId="{0BF56A33-4BC5-423F-96C0-6A8645FA96BB}" dt="2023-12-03T19:05:06.321" v="22102"/>
          <ac:spMkLst>
            <pc:docMk/>
            <pc:sldMk cId="1130398972" sldId="1166"/>
            <ac:spMk id="24" creationId="{57DB4CBE-152E-787E-AA90-A5AEF3515FAD}"/>
          </ac:spMkLst>
        </pc:spChg>
        <pc:spChg chg="mod">
          <ac:chgData name="KevCla12" userId="ef2eb634-4620-450f-93cc-80cc93397e60" providerId="ADAL" clId="{0BF56A33-4BC5-423F-96C0-6A8645FA96BB}" dt="2023-12-03T21:48:08.571" v="32161" actId="790"/>
          <ac:spMkLst>
            <pc:docMk/>
            <pc:sldMk cId="1130398972" sldId="1166"/>
            <ac:spMk id="25" creationId="{C57B9699-6DAC-7568-8F1D-FB90ED7E0BA0}"/>
          </ac:spMkLst>
        </pc:spChg>
        <pc:spChg chg="mod">
          <ac:chgData name="KevCla12" userId="ef2eb634-4620-450f-93cc-80cc93397e60" providerId="ADAL" clId="{0BF56A33-4BC5-423F-96C0-6A8645FA96BB}" dt="2023-12-03T21:48:08.572" v="32162" actId="790"/>
          <ac:spMkLst>
            <pc:docMk/>
            <pc:sldMk cId="1130398972" sldId="1166"/>
            <ac:spMk id="26" creationId="{ED05367D-11B8-F6E6-B7E7-E08E6112D93B}"/>
          </ac:spMkLst>
        </pc:spChg>
        <pc:spChg chg="add del mod modVis">
          <ac:chgData name="KevCla12" userId="ef2eb634-4620-450f-93cc-80cc93397e60" providerId="ADAL" clId="{0BF56A33-4BC5-423F-96C0-6A8645FA96BB}" dt="2023-12-03T19:05:15.545" v="22174"/>
          <ac:spMkLst>
            <pc:docMk/>
            <pc:sldMk cId="1130398972" sldId="1166"/>
            <ac:spMk id="27" creationId="{909502A4-83FC-244C-9D4D-B91363CD056D}"/>
          </ac:spMkLst>
        </pc:spChg>
        <pc:spChg chg="mod">
          <ac:chgData name="KevCla12" userId="ef2eb634-4620-450f-93cc-80cc93397e60" providerId="ADAL" clId="{0BF56A33-4BC5-423F-96C0-6A8645FA96BB}" dt="2023-12-03T21:48:08.587" v="32163" actId="790"/>
          <ac:spMkLst>
            <pc:docMk/>
            <pc:sldMk cId="1130398972" sldId="1166"/>
            <ac:spMk id="28" creationId="{0085CC0D-ED26-58F3-01DF-1460272A495F}"/>
          </ac:spMkLst>
        </pc:spChg>
        <pc:spChg chg="mod">
          <ac:chgData name="KevCla12" userId="ef2eb634-4620-450f-93cc-80cc93397e60" providerId="ADAL" clId="{0BF56A33-4BC5-423F-96C0-6A8645FA96BB}" dt="2023-12-03T21:48:08.600" v="32164" actId="790"/>
          <ac:spMkLst>
            <pc:docMk/>
            <pc:sldMk cId="1130398972" sldId="1166"/>
            <ac:spMk id="29" creationId="{7553F3D5-ADF1-EE98-E432-FCC5941E78FD}"/>
          </ac:spMkLst>
        </pc:spChg>
        <pc:spChg chg="mod">
          <ac:chgData name="KevCla12" userId="ef2eb634-4620-450f-93cc-80cc93397e60" providerId="ADAL" clId="{0BF56A33-4BC5-423F-96C0-6A8645FA96BB}" dt="2023-12-03T21:48:08.615" v="32165" actId="790"/>
          <ac:spMkLst>
            <pc:docMk/>
            <pc:sldMk cId="1130398972" sldId="1166"/>
            <ac:spMk id="30" creationId="{5F06151A-BE25-E7EA-2E64-052E3673863A}"/>
          </ac:spMkLst>
        </pc:spChg>
        <pc:spChg chg="add del mod modVis">
          <ac:chgData name="KevCla12" userId="ef2eb634-4620-450f-93cc-80cc93397e60" providerId="ADAL" clId="{0BF56A33-4BC5-423F-96C0-6A8645FA96BB}" dt="2023-12-03T19:05:22.123" v="22224"/>
          <ac:spMkLst>
            <pc:docMk/>
            <pc:sldMk cId="1130398972" sldId="1166"/>
            <ac:spMk id="31" creationId="{2DAC1650-212F-8864-4E19-ED890B3F6EC4}"/>
          </ac:spMkLst>
        </pc:spChg>
        <pc:spChg chg="add del mod modVis">
          <ac:chgData name="KevCla12" userId="ef2eb634-4620-450f-93cc-80cc93397e60" providerId="ADAL" clId="{0BF56A33-4BC5-423F-96C0-6A8645FA96BB}" dt="2023-12-03T19:05:26.678" v="22273"/>
          <ac:spMkLst>
            <pc:docMk/>
            <pc:sldMk cId="1130398972" sldId="1166"/>
            <ac:spMk id="32" creationId="{194E5ABA-5C52-3D55-098F-E4A886CB7F69}"/>
          </ac:spMkLst>
        </pc:spChg>
        <pc:graphicFrameChg chg="mod">
          <ac:chgData name="KevCla12" userId="ef2eb634-4620-450f-93cc-80cc93397e60" providerId="ADAL" clId="{0BF56A33-4BC5-423F-96C0-6A8645FA96BB}" dt="2023-12-03T19:05:26.685" v="22275"/>
          <ac:graphicFrameMkLst>
            <pc:docMk/>
            <pc:sldMk cId="1130398972" sldId="1166"/>
            <ac:graphicFrameMk id="19" creationId="{DCEB04FD-B16F-A889-9325-CDF88B146905}"/>
          </ac:graphicFrameMkLst>
        </pc:graphicFrameChg>
        <pc:cxnChg chg="mod">
          <ac:chgData name="KevCla12" userId="ef2eb634-4620-450f-93cc-80cc93397e60" providerId="ADAL" clId="{0BF56A33-4BC5-423F-96C0-6A8645FA96BB}" dt="2023-11-30T18:19:41.069" v="8427" actId="13822"/>
          <ac:cxnSpMkLst>
            <pc:docMk/>
            <pc:sldMk cId="1130398972" sldId="1166"/>
            <ac:cxnSpMk id="9" creationId="{83AD9337-E103-243F-278D-512FC8CC9869}"/>
          </ac:cxnSpMkLst>
        </pc:cxnChg>
        <pc:cxnChg chg="mod">
          <ac:chgData name="KevCla12" userId="ef2eb634-4620-450f-93cc-80cc93397e60" providerId="ADAL" clId="{0BF56A33-4BC5-423F-96C0-6A8645FA96BB}" dt="2023-11-30T18:19:41.069" v="8427" actId="13822"/>
          <ac:cxnSpMkLst>
            <pc:docMk/>
            <pc:sldMk cId="1130398972" sldId="1166"/>
            <ac:cxnSpMk id="10" creationId="{D90F717F-252E-4DB1-F11E-60B24C7F0674}"/>
          </ac:cxnSpMkLst>
        </pc:cxnChg>
      </pc:sldChg>
      <pc:sldChg chg="addSp delSp modSp add mod modNotes">
        <pc:chgData name="KevCla12" userId="ef2eb634-4620-450f-93cc-80cc93397e60" providerId="ADAL" clId="{0BF56A33-4BC5-423F-96C0-6A8645FA96BB}" dt="2023-12-03T21:48:08.688" v="32183" actId="790"/>
        <pc:sldMkLst>
          <pc:docMk/>
          <pc:sldMk cId="1454526519" sldId="1167"/>
        </pc:sldMkLst>
        <pc:spChg chg="mod">
          <ac:chgData name="KevCla12" userId="ef2eb634-4620-450f-93cc-80cc93397e60" providerId="ADAL" clId="{0BF56A33-4BC5-423F-96C0-6A8645FA96BB}" dt="2023-12-03T21:48:08.644" v="32171" actId="790"/>
          <ac:spMkLst>
            <pc:docMk/>
            <pc:sldMk cId="1454526519" sldId="1167"/>
            <ac:spMk id="2" creationId="{904AE0B5-690E-A759-5064-FC9F0CE2D79A}"/>
          </ac:spMkLst>
        </pc:spChg>
        <pc:spChg chg="add del mod modVis">
          <ac:chgData name="KevCla12" userId="ef2eb634-4620-450f-93cc-80cc93397e60" providerId="ADAL" clId="{0BF56A33-4BC5-423F-96C0-6A8645FA96BB}" dt="2023-12-03T19:05:33.793" v="22310"/>
          <ac:spMkLst>
            <pc:docMk/>
            <pc:sldMk cId="1454526519" sldId="1167"/>
            <ac:spMk id="3" creationId="{5CC99DDB-251E-F9EC-CCB4-5F407A4AD691}"/>
          </ac:spMkLst>
        </pc:spChg>
        <pc:spChg chg="del">
          <ac:chgData name="KevCla12" userId="ef2eb634-4620-450f-93cc-80cc93397e60" providerId="ADAL" clId="{0BF56A33-4BC5-423F-96C0-6A8645FA96BB}" dt="2023-11-30T15:56:07.986" v="3195" actId="478"/>
          <ac:spMkLst>
            <pc:docMk/>
            <pc:sldMk cId="1454526519" sldId="1167"/>
            <ac:spMk id="3" creationId="{B1FDB0AE-F53F-3C11-32E1-79528F59E425}"/>
          </ac:spMkLst>
        </pc:spChg>
        <pc:spChg chg="mod">
          <ac:chgData name="KevCla12" userId="ef2eb634-4620-450f-93cc-80cc93397e60" providerId="ADAL" clId="{0BF56A33-4BC5-423F-96C0-6A8645FA96BB}" dt="2023-12-03T21:48:08.645" v="32172" actId="790"/>
          <ac:spMkLst>
            <pc:docMk/>
            <pc:sldMk cId="1454526519" sldId="1167"/>
            <ac:spMk id="4" creationId="{05006892-9283-A461-3885-982B4CBA0519}"/>
          </ac:spMkLst>
        </pc:spChg>
        <pc:spChg chg="mod">
          <ac:chgData name="KevCla12" userId="ef2eb634-4620-450f-93cc-80cc93397e60" providerId="ADAL" clId="{0BF56A33-4BC5-423F-96C0-6A8645FA96BB}" dt="2023-12-03T21:48:08.646" v="32173" actId="790"/>
          <ac:spMkLst>
            <pc:docMk/>
            <pc:sldMk cId="1454526519" sldId="1167"/>
            <ac:spMk id="5" creationId="{6823D783-9067-C01F-2767-14D2FADD598F}"/>
          </ac:spMkLst>
        </pc:spChg>
        <pc:spChg chg="mod">
          <ac:chgData name="KevCla12" userId="ef2eb634-4620-450f-93cc-80cc93397e60" providerId="ADAL" clId="{0BF56A33-4BC5-423F-96C0-6A8645FA96BB}" dt="2023-12-03T21:48:08.648" v="32174" actId="790"/>
          <ac:spMkLst>
            <pc:docMk/>
            <pc:sldMk cId="1454526519" sldId="1167"/>
            <ac:spMk id="6" creationId="{179CC09A-6D6C-F271-9084-CCE647BC58EF}"/>
          </ac:spMkLst>
        </pc:spChg>
        <pc:spChg chg="mod">
          <ac:chgData name="KevCla12" userId="ef2eb634-4620-450f-93cc-80cc93397e60" providerId="ADAL" clId="{0BF56A33-4BC5-423F-96C0-6A8645FA96BB}" dt="2023-12-03T21:48:08.650" v="32175" actId="790"/>
          <ac:spMkLst>
            <pc:docMk/>
            <pc:sldMk cId="1454526519" sldId="1167"/>
            <ac:spMk id="7" creationId="{6C04F4C1-84DA-1B85-F0E4-991CA3BE5126}"/>
          </ac:spMkLst>
        </pc:spChg>
        <pc:spChg chg="mod">
          <ac:chgData name="KevCla12" userId="ef2eb634-4620-450f-93cc-80cc93397e60" providerId="ADAL" clId="{0BF56A33-4BC5-423F-96C0-6A8645FA96BB}" dt="2023-12-03T21:48:08.686" v="32181" actId="790"/>
          <ac:spMkLst>
            <pc:docMk/>
            <pc:sldMk cId="1454526519" sldId="1167"/>
            <ac:spMk id="8" creationId="{D20416EA-A626-C9E1-E5CA-07C653B90B0A}"/>
          </ac:spMkLst>
        </pc:spChg>
        <pc:spChg chg="add del mod modVis">
          <ac:chgData name="KevCla12" userId="ef2eb634-4620-450f-93cc-80cc93397e60" providerId="ADAL" clId="{0BF56A33-4BC5-423F-96C0-6A8645FA96BB}" dt="2023-12-03T19:05:35.183" v="22343"/>
          <ac:spMkLst>
            <pc:docMk/>
            <pc:sldMk cId="1454526519" sldId="1167"/>
            <ac:spMk id="11" creationId="{C06AFA7F-6430-62C3-2078-BEA1248E5D36}"/>
          </ac:spMkLst>
        </pc:spChg>
        <pc:spChg chg="del">
          <ac:chgData name="KevCla12" userId="ef2eb634-4620-450f-93cc-80cc93397e60" providerId="ADAL" clId="{0BF56A33-4BC5-423F-96C0-6A8645FA96BB}" dt="2023-11-30T15:56:09.283" v="3196" actId="478"/>
          <ac:spMkLst>
            <pc:docMk/>
            <pc:sldMk cId="1454526519" sldId="1167"/>
            <ac:spMk id="11" creationId="{F3758C02-8B2E-5C84-B047-15B163D09023}"/>
          </ac:spMkLst>
        </pc:spChg>
        <pc:spChg chg="add del mod modVis">
          <ac:chgData name="KevCla12" userId="ef2eb634-4620-450f-93cc-80cc93397e60" providerId="ADAL" clId="{0BF56A33-4BC5-423F-96C0-6A8645FA96BB}" dt="2023-12-03T19:05:36.034" v="22373"/>
          <ac:spMkLst>
            <pc:docMk/>
            <pc:sldMk cId="1454526519" sldId="1167"/>
            <ac:spMk id="12" creationId="{E7B5BF2D-8B33-7C24-8449-62DF6E16DA04}"/>
          </ac:spMkLst>
        </pc:spChg>
        <pc:spChg chg="add del mod modVis">
          <ac:chgData name="KevCla12" userId="ef2eb634-4620-450f-93cc-80cc93397e60" providerId="ADAL" clId="{0BF56A33-4BC5-423F-96C0-6A8645FA96BB}" dt="2023-12-03T19:05:42.018" v="22403"/>
          <ac:spMkLst>
            <pc:docMk/>
            <pc:sldMk cId="1454526519" sldId="1167"/>
            <ac:spMk id="13" creationId="{48582B3D-44E5-B912-1A80-0168A0B71B41}"/>
          </ac:spMkLst>
        </pc:spChg>
        <pc:spChg chg="add del mod modVis">
          <ac:chgData name="KevCla12" userId="ef2eb634-4620-450f-93cc-80cc93397e60" providerId="ADAL" clId="{0BF56A33-4BC5-423F-96C0-6A8645FA96BB}" dt="2023-12-03T19:05:43.908" v="22436"/>
          <ac:spMkLst>
            <pc:docMk/>
            <pc:sldMk cId="1454526519" sldId="1167"/>
            <ac:spMk id="14" creationId="{4B4AA249-4F6E-AF47-7538-20A41914F696}"/>
          </ac:spMkLst>
        </pc:spChg>
        <pc:spChg chg="add del mod modVis">
          <ac:chgData name="KevCla12" userId="ef2eb634-4620-450f-93cc-80cc93397e60" providerId="ADAL" clId="{0BF56A33-4BC5-423F-96C0-6A8645FA96BB}" dt="2023-12-03T19:05:45.341" v="22468"/>
          <ac:spMkLst>
            <pc:docMk/>
            <pc:sldMk cId="1454526519" sldId="1167"/>
            <ac:spMk id="15" creationId="{6A8B9A53-6F31-E9A5-24E6-20E119E778E1}"/>
          </ac:spMkLst>
        </pc:spChg>
        <pc:spChg chg="add del mod modVis">
          <ac:chgData name="KevCla12" userId="ef2eb634-4620-450f-93cc-80cc93397e60" providerId="ADAL" clId="{0BF56A33-4BC5-423F-96C0-6A8645FA96BB}" dt="2023-12-03T19:05:50.451" v="22515"/>
          <ac:spMkLst>
            <pc:docMk/>
            <pc:sldMk cId="1454526519" sldId="1167"/>
            <ac:spMk id="16" creationId="{3CC91BDD-FE85-3C5B-CD45-7E2A550FA598}"/>
          </ac:spMkLst>
        </pc:spChg>
        <pc:spChg chg="mod">
          <ac:chgData name="KevCla12" userId="ef2eb634-4620-450f-93cc-80cc93397e60" providerId="ADAL" clId="{0BF56A33-4BC5-423F-96C0-6A8645FA96BB}" dt="2023-12-03T21:48:08.651" v="32176" actId="790"/>
          <ac:spMkLst>
            <pc:docMk/>
            <pc:sldMk cId="1454526519" sldId="1167"/>
            <ac:spMk id="17" creationId="{E5503AC7-C4F5-4D0B-88CB-79746795AE5E}"/>
          </ac:spMkLst>
        </pc:spChg>
        <pc:spChg chg="add del mod modVis">
          <ac:chgData name="KevCla12" userId="ef2eb634-4620-450f-93cc-80cc93397e60" providerId="ADAL" clId="{0BF56A33-4BC5-423F-96C0-6A8645FA96BB}" dt="2023-12-03T19:05:57.968" v="22560"/>
          <ac:spMkLst>
            <pc:docMk/>
            <pc:sldMk cId="1454526519" sldId="1167"/>
            <ac:spMk id="18" creationId="{37DC55C5-1534-DB89-F4B2-C7F16778B3F0}"/>
          </ac:spMkLst>
        </pc:spChg>
        <pc:spChg chg="add del mod modVis">
          <ac:chgData name="KevCla12" userId="ef2eb634-4620-450f-93cc-80cc93397e60" providerId="ADAL" clId="{0BF56A33-4BC5-423F-96C0-6A8645FA96BB}" dt="2023-12-03T19:06:01" v="22599"/>
          <ac:spMkLst>
            <pc:docMk/>
            <pc:sldMk cId="1454526519" sldId="1167"/>
            <ac:spMk id="20" creationId="{AB990F84-4E49-8843-702D-2AE7FC7E5910}"/>
          </ac:spMkLst>
        </pc:spChg>
        <pc:spChg chg="mod">
          <ac:chgData name="KevCla12" userId="ef2eb634-4620-450f-93cc-80cc93397e60" providerId="ADAL" clId="{0BF56A33-4BC5-423F-96C0-6A8645FA96BB}" dt="2023-12-03T21:48:08.655" v="32177" actId="790"/>
          <ac:spMkLst>
            <pc:docMk/>
            <pc:sldMk cId="1454526519" sldId="1167"/>
            <ac:spMk id="21" creationId="{F5006A12-237B-AE76-D508-4BF33B16EFEA}"/>
          </ac:spMkLst>
        </pc:spChg>
        <pc:spChg chg="add del mod modVis">
          <ac:chgData name="KevCla12" userId="ef2eb634-4620-450f-93cc-80cc93397e60" providerId="ADAL" clId="{0BF56A33-4BC5-423F-96C0-6A8645FA96BB}" dt="2023-12-03T19:06:04.581" v="22642"/>
          <ac:spMkLst>
            <pc:docMk/>
            <pc:sldMk cId="1454526519" sldId="1167"/>
            <ac:spMk id="22" creationId="{315624DE-3AB5-2011-8F42-A81EEFCDC56B}"/>
          </ac:spMkLst>
        </pc:spChg>
        <pc:spChg chg="add del mod modVis">
          <ac:chgData name="KevCla12" userId="ef2eb634-4620-450f-93cc-80cc93397e60" providerId="ADAL" clId="{0BF56A33-4BC5-423F-96C0-6A8645FA96BB}" dt="2023-12-03T19:06:06.125" v="22676"/>
          <ac:spMkLst>
            <pc:docMk/>
            <pc:sldMk cId="1454526519" sldId="1167"/>
            <ac:spMk id="23" creationId="{228DBD04-9371-B62C-8A53-6C116379532C}"/>
          </ac:spMkLst>
        </pc:spChg>
        <pc:spChg chg="add del mod modVis">
          <ac:chgData name="KevCla12" userId="ef2eb634-4620-450f-93cc-80cc93397e60" providerId="ADAL" clId="{0BF56A33-4BC5-423F-96C0-6A8645FA96BB}" dt="2023-12-03T19:06:11.505" v="22728"/>
          <ac:spMkLst>
            <pc:docMk/>
            <pc:sldMk cId="1454526519" sldId="1167"/>
            <ac:spMk id="24" creationId="{DAE41D33-B80F-7A63-7198-84AAED0B56D4}"/>
          </ac:spMkLst>
        </pc:spChg>
        <pc:spChg chg="mod">
          <ac:chgData name="KevCla12" userId="ef2eb634-4620-450f-93cc-80cc93397e60" providerId="ADAL" clId="{0BF56A33-4BC5-423F-96C0-6A8645FA96BB}" dt="2023-12-03T21:48:08.657" v="32178" actId="790"/>
          <ac:spMkLst>
            <pc:docMk/>
            <pc:sldMk cId="1454526519" sldId="1167"/>
            <ac:spMk id="25" creationId="{C57B9699-6DAC-7568-8F1D-FB90ED7E0BA0}"/>
          </ac:spMkLst>
        </pc:spChg>
        <pc:spChg chg="add del mod modVis">
          <ac:chgData name="KevCla12" userId="ef2eb634-4620-450f-93cc-80cc93397e60" providerId="ADAL" clId="{0BF56A33-4BC5-423F-96C0-6A8645FA96BB}" dt="2023-12-03T19:06:13.420" v="22762"/>
          <ac:spMkLst>
            <pc:docMk/>
            <pc:sldMk cId="1454526519" sldId="1167"/>
            <ac:spMk id="26" creationId="{8B8BECE3-67F7-E717-9ACB-05DEDE608590}"/>
          </ac:spMkLst>
        </pc:spChg>
        <pc:spChg chg="del">
          <ac:chgData name="KevCla12" userId="ef2eb634-4620-450f-93cc-80cc93397e60" providerId="ADAL" clId="{0BF56A33-4BC5-423F-96C0-6A8645FA96BB}" dt="2023-11-30T15:56:10.009" v="3197" actId="478"/>
          <ac:spMkLst>
            <pc:docMk/>
            <pc:sldMk cId="1454526519" sldId="1167"/>
            <ac:spMk id="26" creationId="{ED05367D-11B8-F6E6-B7E7-E08E6112D93B}"/>
          </ac:spMkLst>
        </pc:spChg>
        <pc:spChg chg="add del mod modVis">
          <ac:chgData name="KevCla12" userId="ef2eb634-4620-450f-93cc-80cc93397e60" providerId="ADAL" clId="{0BF56A33-4BC5-423F-96C0-6A8645FA96BB}" dt="2023-12-03T19:06:14.875" v="22797"/>
          <ac:spMkLst>
            <pc:docMk/>
            <pc:sldMk cId="1454526519" sldId="1167"/>
            <ac:spMk id="27" creationId="{1260F878-A92D-C75E-F121-B09A15B916E6}"/>
          </ac:spMkLst>
        </pc:spChg>
        <pc:spChg chg="mod">
          <ac:chgData name="KevCla12" userId="ef2eb634-4620-450f-93cc-80cc93397e60" providerId="ADAL" clId="{0BF56A33-4BC5-423F-96C0-6A8645FA96BB}" dt="2023-12-03T21:48:08.669" v="32179" actId="790"/>
          <ac:spMkLst>
            <pc:docMk/>
            <pc:sldMk cId="1454526519" sldId="1167"/>
            <ac:spMk id="28" creationId="{0085CC0D-ED26-58F3-01DF-1460272A495F}"/>
          </ac:spMkLst>
        </pc:spChg>
        <pc:spChg chg="mod">
          <ac:chgData name="KevCla12" userId="ef2eb634-4620-450f-93cc-80cc93397e60" providerId="ADAL" clId="{0BF56A33-4BC5-423F-96C0-6A8645FA96BB}" dt="2023-12-03T21:48:08.684" v="32180" actId="790"/>
          <ac:spMkLst>
            <pc:docMk/>
            <pc:sldMk cId="1454526519" sldId="1167"/>
            <ac:spMk id="29" creationId="{7553F3D5-ADF1-EE98-E432-FCC5941E78FD}"/>
          </ac:spMkLst>
        </pc:spChg>
        <pc:spChg chg="del">
          <ac:chgData name="KevCla12" userId="ef2eb634-4620-450f-93cc-80cc93397e60" providerId="ADAL" clId="{0BF56A33-4BC5-423F-96C0-6A8645FA96BB}" dt="2023-11-30T15:56:11.138" v="3198" actId="478"/>
          <ac:spMkLst>
            <pc:docMk/>
            <pc:sldMk cId="1454526519" sldId="1167"/>
            <ac:spMk id="30" creationId="{5F06151A-BE25-E7EA-2E64-052E3673863A}"/>
          </ac:spMkLst>
        </pc:spChg>
        <pc:spChg chg="add del mod modVis">
          <ac:chgData name="KevCla12" userId="ef2eb634-4620-450f-93cc-80cc93397e60" providerId="ADAL" clId="{0BF56A33-4BC5-423F-96C0-6A8645FA96BB}" dt="2023-12-03T19:06:18.644" v="22829"/>
          <ac:spMkLst>
            <pc:docMk/>
            <pc:sldMk cId="1454526519" sldId="1167"/>
            <ac:spMk id="30" creationId="{B9CEBF3B-55C3-BC57-0665-6CF908B04924}"/>
          </ac:spMkLst>
        </pc:spChg>
        <pc:spChg chg="add del mod modVis">
          <ac:chgData name="KevCla12" userId="ef2eb634-4620-450f-93cc-80cc93397e60" providerId="ADAL" clId="{0BF56A33-4BC5-423F-96C0-6A8645FA96BB}" dt="2023-12-03T19:06:20.003" v="22860"/>
          <ac:spMkLst>
            <pc:docMk/>
            <pc:sldMk cId="1454526519" sldId="1167"/>
            <ac:spMk id="31" creationId="{6B7A2DFE-5644-9404-32DB-0E97139B088B}"/>
          </ac:spMkLst>
        </pc:spChg>
        <pc:spChg chg="add del mod modVis">
          <ac:chgData name="KevCla12" userId="ef2eb634-4620-450f-93cc-80cc93397e60" providerId="ADAL" clId="{0BF56A33-4BC5-423F-96C0-6A8645FA96BB}" dt="2023-12-03T19:06:22.296" v="22900"/>
          <ac:spMkLst>
            <pc:docMk/>
            <pc:sldMk cId="1454526519" sldId="1167"/>
            <ac:spMk id="32" creationId="{8F0993C5-E535-422F-E9A6-E7E83BD73C04}"/>
          </ac:spMkLst>
        </pc:spChg>
        <pc:spChg chg="add del mod modVis">
          <ac:chgData name="KevCla12" userId="ef2eb634-4620-450f-93cc-80cc93397e60" providerId="ADAL" clId="{0BF56A33-4BC5-423F-96C0-6A8645FA96BB}" dt="2023-12-03T19:06:23.365" v="22931"/>
          <ac:spMkLst>
            <pc:docMk/>
            <pc:sldMk cId="1454526519" sldId="1167"/>
            <ac:spMk id="33" creationId="{04AADD8C-9DCD-A8FE-2B1C-B6D32773270D}"/>
          </ac:spMkLst>
        </pc:spChg>
        <pc:spChg chg="add del mod modVis">
          <ac:chgData name="KevCla12" userId="ef2eb634-4620-450f-93cc-80cc93397e60" providerId="ADAL" clId="{0BF56A33-4BC5-423F-96C0-6A8645FA96BB}" dt="2023-12-03T19:06:24.052" v="22959"/>
          <ac:spMkLst>
            <pc:docMk/>
            <pc:sldMk cId="1454526519" sldId="1167"/>
            <ac:spMk id="34" creationId="{A0F943DA-EFA9-40CA-6B0F-9B4C4FE15071}"/>
          </ac:spMkLst>
        </pc:spChg>
        <pc:spChg chg="add del mod modVis">
          <ac:chgData name="KevCla12" userId="ef2eb634-4620-450f-93cc-80cc93397e60" providerId="ADAL" clId="{0BF56A33-4BC5-423F-96C0-6A8645FA96BB}" dt="2023-12-03T19:06:29.420" v="23016"/>
          <ac:spMkLst>
            <pc:docMk/>
            <pc:sldMk cId="1454526519" sldId="1167"/>
            <ac:spMk id="35" creationId="{4373C35A-E858-B29E-02AB-E75144AC871E}"/>
          </ac:spMkLst>
        </pc:spChg>
        <pc:spChg chg="add del mod modVis">
          <ac:chgData name="KevCla12" userId="ef2eb634-4620-450f-93cc-80cc93397e60" providerId="ADAL" clId="{0BF56A33-4BC5-423F-96C0-6A8645FA96BB}" dt="2023-12-03T19:06:33.166" v="23057"/>
          <ac:spMkLst>
            <pc:docMk/>
            <pc:sldMk cId="1454526519" sldId="1167"/>
            <ac:spMk id="36" creationId="{88C1893C-2C4B-BD51-5442-138EE69C1AFA}"/>
          </ac:spMkLst>
        </pc:spChg>
        <pc:graphicFrameChg chg="mod">
          <ac:chgData name="KevCla12" userId="ef2eb634-4620-450f-93cc-80cc93397e60" providerId="ADAL" clId="{0BF56A33-4BC5-423F-96C0-6A8645FA96BB}" dt="2023-12-03T19:06:33.172" v="23059"/>
          <ac:graphicFrameMkLst>
            <pc:docMk/>
            <pc:sldMk cId="1454526519" sldId="1167"/>
            <ac:graphicFrameMk id="19" creationId="{DCEB04FD-B16F-A889-9325-CDF88B146905}"/>
          </ac:graphicFrameMkLst>
        </pc:graphicFrameChg>
        <pc:cxnChg chg="mod">
          <ac:chgData name="KevCla12" userId="ef2eb634-4620-450f-93cc-80cc93397e60" providerId="ADAL" clId="{0BF56A33-4BC5-423F-96C0-6A8645FA96BB}" dt="2023-11-30T18:19:47.810" v="8428" actId="13822"/>
          <ac:cxnSpMkLst>
            <pc:docMk/>
            <pc:sldMk cId="1454526519" sldId="1167"/>
            <ac:cxnSpMk id="9" creationId="{83AD9337-E103-243F-278D-512FC8CC9869}"/>
          </ac:cxnSpMkLst>
        </pc:cxnChg>
        <pc:cxnChg chg="mod">
          <ac:chgData name="KevCla12" userId="ef2eb634-4620-450f-93cc-80cc93397e60" providerId="ADAL" clId="{0BF56A33-4BC5-423F-96C0-6A8645FA96BB}" dt="2023-11-30T18:19:47.810" v="8428" actId="13822"/>
          <ac:cxnSpMkLst>
            <pc:docMk/>
            <pc:sldMk cId="1454526519" sldId="1167"/>
            <ac:cxnSpMk id="10" creationId="{D90F717F-252E-4DB1-F11E-60B24C7F0674}"/>
          </ac:cxnSpMkLst>
        </pc:cxnChg>
      </pc:sldChg>
      <pc:sldChg chg="addSp delSp modSp add mod modNotes">
        <pc:chgData name="KevCla12" userId="ef2eb634-4620-450f-93cc-80cc93397e60" providerId="ADAL" clId="{0BF56A33-4BC5-423F-96C0-6A8645FA96BB}" dt="2023-12-03T21:48:07.653" v="31562" actId="790"/>
        <pc:sldMkLst>
          <pc:docMk/>
          <pc:sldMk cId="1298177406" sldId="1168"/>
        </pc:sldMkLst>
        <pc:spChg chg="mod">
          <ac:chgData name="KevCla12" userId="ef2eb634-4620-450f-93cc-80cc93397e60" providerId="ADAL" clId="{0BF56A33-4BC5-423F-96C0-6A8645FA96BB}" dt="2023-12-03T21:48:07.650" v="31559" actId="790"/>
          <ac:spMkLst>
            <pc:docMk/>
            <pc:sldMk cId="1298177406" sldId="1168"/>
            <ac:spMk id="2" creationId="{18FC5D07-42BE-15E4-72CB-9F559B366C14}"/>
          </ac:spMkLst>
        </pc:spChg>
        <pc:spChg chg="mod">
          <ac:chgData name="KevCla12" userId="ef2eb634-4620-450f-93cc-80cc93397e60" providerId="ADAL" clId="{0BF56A33-4BC5-423F-96C0-6A8645FA96BB}" dt="2023-12-03T21:48:07.651" v="31560" actId="790"/>
          <ac:spMkLst>
            <pc:docMk/>
            <pc:sldMk cId="1298177406" sldId="1168"/>
            <ac:spMk id="3" creationId="{8B8445DB-E7F2-BAC9-08C4-70B0CD4C80DE}"/>
          </ac:spMkLst>
        </pc:spChg>
        <pc:spChg chg="add del mod modVis">
          <ac:chgData name="KevCla12" userId="ef2eb634-4620-450f-93cc-80cc93397e60" providerId="ADAL" clId="{0BF56A33-4BC5-423F-96C0-6A8645FA96BB}" dt="2023-11-30T18:45:05.429" v="8512"/>
          <ac:spMkLst>
            <pc:docMk/>
            <pc:sldMk cId="1298177406" sldId="1168"/>
            <ac:spMk id="5" creationId="{5F3A5C86-AE66-20C7-1ED9-F0A2CCF4CAB1}"/>
          </ac:spMkLst>
        </pc:spChg>
        <pc:graphicFrameChg chg="mod">
          <ac:chgData name="KevCla12" userId="ef2eb634-4620-450f-93cc-80cc93397e60" providerId="ADAL" clId="{0BF56A33-4BC5-423F-96C0-6A8645FA96BB}" dt="2023-11-30T18:45:05.433" v="8514"/>
          <ac:graphicFrameMkLst>
            <pc:docMk/>
            <pc:sldMk cId="1298177406" sldId="1168"/>
            <ac:graphicFrameMk id="4" creationId="{B7F14C88-CA21-1906-B7C0-05888224D698}"/>
          </ac:graphicFrameMkLst>
        </pc:graphicFrameChg>
      </pc:sldChg>
      <pc:sldChg chg="new add del">
        <pc:chgData name="KevCla12" userId="ef2eb634-4620-450f-93cc-80cc93397e60" providerId="ADAL" clId="{0BF56A33-4BC5-423F-96C0-6A8645FA96BB}" dt="2023-11-30T19:18:42.350" v="8562" actId="47"/>
        <pc:sldMkLst>
          <pc:docMk/>
          <pc:sldMk cId="949159382" sldId="1169"/>
        </pc:sldMkLst>
      </pc:sldChg>
      <pc:sldChg chg="addSp delSp modSp new add mod modNotes">
        <pc:chgData name="KevCla12" userId="ef2eb634-4620-450f-93cc-80cc93397e60" providerId="ADAL" clId="{0BF56A33-4BC5-423F-96C0-6A8645FA96BB}" dt="2023-12-03T21:48:08.927" v="32282" actId="790"/>
        <pc:sldMkLst>
          <pc:docMk/>
          <pc:sldMk cId="1415787442" sldId="1169"/>
        </pc:sldMkLst>
        <pc:spChg chg="mod">
          <ac:chgData name="KevCla12" userId="ef2eb634-4620-450f-93cc-80cc93397e60" providerId="ADAL" clId="{0BF56A33-4BC5-423F-96C0-6A8645FA96BB}" dt="2023-12-03T21:48:08.845" v="32272" actId="790"/>
          <ac:spMkLst>
            <pc:docMk/>
            <pc:sldMk cId="1415787442" sldId="1169"/>
            <ac:spMk id="2" creationId="{0DD8EDD2-84ED-DE4A-734B-283E2B0BCFCE}"/>
          </ac:spMkLst>
        </pc:spChg>
        <pc:spChg chg="del">
          <ac:chgData name="KevCla12" userId="ef2eb634-4620-450f-93cc-80cc93397e60" providerId="ADAL" clId="{0BF56A33-4BC5-423F-96C0-6A8645FA96BB}" dt="2023-11-30T19:18:59.850" v="8565" actId="478"/>
          <ac:spMkLst>
            <pc:docMk/>
            <pc:sldMk cId="1415787442" sldId="1169"/>
            <ac:spMk id="3" creationId="{0165DD60-92EA-F879-8C36-175C4695D38F}"/>
          </ac:spMkLst>
        </pc:spChg>
        <pc:spChg chg="add del mod modVis">
          <ac:chgData name="KevCla12" userId="ef2eb634-4620-450f-93cc-80cc93397e60" providerId="ADAL" clId="{0BF56A33-4BC5-423F-96C0-6A8645FA96BB}" dt="2023-12-03T19:06:41.006" v="23093"/>
          <ac:spMkLst>
            <pc:docMk/>
            <pc:sldMk cId="1415787442" sldId="1169"/>
            <ac:spMk id="3" creationId="{CCB05B48-0C10-B284-D659-083417F2FFAD}"/>
          </ac:spMkLst>
        </pc:spChg>
        <pc:spChg chg="mod">
          <ac:chgData name="KevCla12" userId="ef2eb634-4620-450f-93cc-80cc93397e60" providerId="ADAL" clId="{0BF56A33-4BC5-423F-96C0-6A8645FA96BB}" dt="2023-12-03T21:48:08.846" v="32273" actId="790"/>
          <ac:spMkLst>
            <pc:docMk/>
            <pc:sldMk cId="1415787442" sldId="1169"/>
            <ac:spMk id="4" creationId="{7FB46D2D-7718-A11A-A02D-53591F02A4EA}"/>
          </ac:spMkLst>
        </pc:spChg>
        <pc:spChg chg="mod">
          <ac:chgData name="KevCla12" userId="ef2eb634-4620-450f-93cc-80cc93397e60" providerId="ADAL" clId="{0BF56A33-4BC5-423F-96C0-6A8645FA96BB}" dt="2023-12-03T21:48:08.848" v="32274" actId="790"/>
          <ac:spMkLst>
            <pc:docMk/>
            <pc:sldMk cId="1415787442" sldId="1169"/>
            <ac:spMk id="5" creationId="{EFA2F9DB-B164-3DC7-B4B6-886999C79FD2}"/>
          </ac:spMkLst>
        </pc:spChg>
        <pc:spChg chg="add del mod modVis">
          <ac:chgData name="KevCla12" userId="ef2eb634-4620-450f-93cc-80cc93397e60" providerId="ADAL" clId="{0BF56A33-4BC5-423F-96C0-6A8645FA96BB}" dt="2023-12-03T19:06:42.494" v="23128"/>
          <ac:spMkLst>
            <pc:docMk/>
            <pc:sldMk cId="1415787442" sldId="1169"/>
            <ac:spMk id="6" creationId="{EDD55495-4071-7C13-6466-579EC7858A84}"/>
          </ac:spMkLst>
        </pc:spChg>
        <pc:spChg chg="del">
          <ac:chgData name="KevCla12" userId="ef2eb634-4620-450f-93cc-80cc93397e60" providerId="ADAL" clId="{0BF56A33-4BC5-423F-96C0-6A8645FA96BB}" dt="2023-11-30T19:41:46.068" v="8927" actId="478"/>
          <ac:spMkLst>
            <pc:docMk/>
            <pc:sldMk cId="1415787442" sldId="1169"/>
            <ac:spMk id="6" creationId="{F6197368-2A00-EB45-EAA0-FE2B6601E914}"/>
          </ac:spMkLst>
        </pc:spChg>
        <pc:spChg chg="mod">
          <ac:chgData name="KevCla12" userId="ef2eb634-4620-450f-93cc-80cc93397e60" providerId="ADAL" clId="{0BF56A33-4BC5-423F-96C0-6A8645FA96BB}" dt="2023-12-03T21:48:08.849" v="32275" actId="790"/>
          <ac:spMkLst>
            <pc:docMk/>
            <pc:sldMk cId="1415787442" sldId="1169"/>
            <ac:spMk id="7" creationId="{8060D6B5-3B54-D5DF-DAA4-47C8816CC56B}"/>
          </ac:spMkLst>
        </pc:spChg>
        <pc:spChg chg="add mod">
          <ac:chgData name="KevCla12" userId="ef2eb634-4620-450f-93cc-80cc93397e60" providerId="ADAL" clId="{0BF56A33-4BC5-423F-96C0-6A8645FA96BB}" dt="2023-12-03T21:48:08.888" v="32276" actId="790"/>
          <ac:spMkLst>
            <pc:docMk/>
            <pc:sldMk cId="1415787442" sldId="1169"/>
            <ac:spMk id="8" creationId="{ED04975C-C723-263B-2CFF-E2CA08DDDE95}"/>
          </ac:spMkLst>
        </pc:spChg>
        <pc:spChg chg="add mod">
          <ac:chgData name="KevCla12" userId="ef2eb634-4620-450f-93cc-80cc93397e60" providerId="ADAL" clId="{0BF56A33-4BC5-423F-96C0-6A8645FA96BB}" dt="2023-12-03T21:48:08.891" v="32277" actId="790"/>
          <ac:spMkLst>
            <pc:docMk/>
            <pc:sldMk cId="1415787442" sldId="1169"/>
            <ac:spMk id="9" creationId="{0587BF02-9105-48B5-6CF5-A046F6706F3F}"/>
          </ac:spMkLst>
        </pc:spChg>
        <pc:spChg chg="add mod">
          <ac:chgData name="KevCla12" userId="ef2eb634-4620-450f-93cc-80cc93397e60" providerId="ADAL" clId="{0BF56A33-4BC5-423F-96C0-6A8645FA96BB}" dt="2023-12-03T21:48:08.921" v="32278" actId="790"/>
          <ac:spMkLst>
            <pc:docMk/>
            <pc:sldMk cId="1415787442" sldId="1169"/>
            <ac:spMk id="10" creationId="{5802BC80-FFBC-CD00-A81C-76A0110EC363}"/>
          </ac:spMkLst>
        </pc:spChg>
        <pc:spChg chg="add mod">
          <ac:chgData name="KevCla12" userId="ef2eb634-4620-450f-93cc-80cc93397e60" providerId="ADAL" clId="{0BF56A33-4BC5-423F-96C0-6A8645FA96BB}" dt="2023-12-03T21:48:08.924" v="32279" actId="790"/>
          <ac:spMkLst>
            <pc:docMk/>
            <pc:sldMk cId="1415787442" sldId="1169"/>
            <ac:spMk id="11" creationId="{CBA36633-56CE-7CF4-5FAA-16792D2F2DC0}"/>
          </ac:spMkLst>
        </pc:spChg>
        <pc:spChg chg="add mod">
          <ac:chgData name="KevCla12" userId="ef2eb634-4620-450f-93cc-80cc93397e60" providerId="ADAL" clId="{0BF56A33-4BC5-423F-96C0-6A8645FA96BB}" dt="2023-12-03T21:48:08.925" v="32280" actId="790"/>
          <ac:spMkLst>
            <pc:docMk/>
            <pc:sldMk cId="1415787442" sldId="1169"/>
            <ac:spMk id="13" creationId="{5E7ABC79-90DA-8454-C9B2-F9AF8278C309}"/>
          </ac:spMkLst>
        </pc:spChg>
        <pc:spChg chg="add del mod modVis">
          <ac:chgData name="KevCla12" userId="ef2eb634-4620-450f-93cc-80cc93397e60" providerId="ADAL" clId="{0BF56A33-4BC5-423F-96C0-6A8645FA96BB}" dt="2023-12-03T19:06:43.338" v="23158"/>
          <ac:spMkLst>
            <pc:docMk/>
            <pc:sldMk cId="1415787442" sldId="1169"/>
            <ac:spMk id="14" creationId="{24339267-385F-5835-5EB5-D68844D66A1D}"/>
          </ac:spMkLst>
        </pc:spChg>
        <pc:spChg chg="add del mod modVis">
          <ac:chgData name="KevCla12" userId="ef2eb634-4620-450f-93cc-80cc93397e60" providerId="ADAL" clId="{0BF56A33-4BC5-423F-96C0-6A8645FA96BB}" dt="2023-12-03T19:06:45.974" v="23186"/>
          <ac:spMkLst>
            <pc:docMk/>
            <pc:sldMk cId="1415787442" sldId="1169"/>
            <ac:spMk id="15" creationId="{63B2DA5D-9B9B-F31B-0128-6CBA2FDA677D}"/>
          </ac:spMkLst>
        </pc:spChg>
        <pc:spChg chg="add del mod modVis">
          <ac:chgData name="KevCla12" userId="ef2eb634-4620-450f-93cc-80cc93397e60" providerId="ADAL" clId="{0BF56A33-4BC5-423F-96C0-6A8645FA96BB}" dt="2023-12-03T19:06:50.025" v="23237"/>
          <ac:spMkLst>
            <pc:docMk/>
            <pc:sldMk cId="1415787442" sldId="1169"/>
            <ac:spMk id="16" creationId="{75F2BFC7-CA1A-357D-0CE2-A52468413687}"/>
          </ac:spMkLst>
        </pc:spChg>
        <pc:spChg chg="add del mod modVis">
          <ac:chgData name="KevCla12" userId="ef2eb634-4620-450f-93cc-80cc93397e60" providerId="ADAL" clId="{0BF56A33-4BC5-423F-96C0-6A8645FA96BB}" dt="2023-12-03T19:06:55.898" v="23283"/>
          <ac:spMkLst>
            <pc:docMk/>
            <pc:sldMk cId="1415787442" sldId="1169"/>
            <ac:spMk id="17" creationId="{777CD283-AEB4-4301-7FCC-CADC1E4F1FAB}"/>
          </ac:spMkLst>
        </pc:spChg>
        <pc:spChg chg="add del mod modVis">
          <ac:chgData name="KevCla12" userId="ef2eb634-4620-450f-93cc-80cc93397e60" providerId="ADAL" clId="{0BF56A33-4BC5-423F-96C0-6A8645FA96BB}" dt="2023-12-03T19:06:58.791" v="23320"/>
          <ac:spMkLst>
            <pc:docMk/>
            <pc:sldMk cId="1415787442" sldId="1169"/>
            <ac:spMk id="18" creationId="{97323068-CEB6-17DD-3988-8DDCEE73755C}"/>
          </ac:spMkLst>
        </pc:spChg>
        <pc:spChg chg="add del mod modVis">
          <ac:chgData name="KevCla12" userId="ef2eb634-4620-450f-93cc-80cc93397e60" providerId="ADAL" clId="{0BF56A33-4BC5-423F-96C0-6A8645FA96BB}" dt="2023-12-03T19:07:14.298" v="23368"/>
          <ac:spMkLst>
            <pc:docMk/>
            <pc:sldMk cId="1415787442" sldId="1169"/>
            <ac:spMk id="19" creationId="{03820E46-483C-EC98-428A-6B5A84D529A5}"/>
          </ac:spMkLst>
        </pc:spChg>
        <pc:spChg chg="add del mod modVis">
          <ac:chgData name="KevCla12" userId="ef2eb634-4620-450f-93cc-80cc93397e60" providerId="ADAL" clId="{0BF56A33-4BC5-423F-96C0-6A8645FA96BB}" dt="2023-12-03T19:07:17.047" v="23408"/>
          <ac:spMkLst>
            <pc:docMk/>
            <pc:sldMk cId="1415787442" sldId="1169"/>
            <ac:spMk id="20" creationId="{BE1713C6-767B-EC48-A22B-854B2813015B}"/>
          </ac:spMkLst>
        </pc:spChg>
        <pc:spChg chg="add del mod modVis">
          <ac:chgData name="KevCla12" userId="ef2eb634-4620-450f-93cc-80cc93397e60" providerId="ADAL" clId="{0BF56A33-4BC5-423F-96C0-6A8645FA96BB}" dt="2023-12-03T19:08:44.641" v="23440"/>
          <ac:spMkLst>
            <pc:docMk/>
            <pc:sldMk cId="1415787442" sldId="1169"/>
            <ac:spMk id="21" creationId="{9B809866-7DEF-E3CE-F740-CECDC8D0798F}"/>
          </ac:spMkLst>
        </pc:spChg>
        <pc:spChg chg="add del mod modVis">
          <ac:chgData name="KevCla12" userId="ef2eb634-4620-450f-93cc-80cc93397e60" providerId="ADAL" clId="{0BF56A33-4BC5-423F-96C0-6A8645FA96BB}" dt="2023-12-03T19:08:45.558" v="23469"/>
          <ac:spMkLst>
            <pc:docMk/>
            <pc:sldMk cId="1415787442" sldId="1169"/>
            <ac:spMk id="22" creationId="{D934BC52-1C5E-19BD-E797-843FB2C0628D}"/>
          </ac:spMkLst>
        </pc:spChg>
        <pc:spChg chg="add del mod modVis">
          <ac:chgData name="KevCla12" userId="ef2eb634-4620-450f-93cc-80cc93397e60" providerId="ADAL" clId="{0BF56A33-4BC5-423F-96C0-6A8645FA96BB}" dt="2023-12-03T19:08:47.186" v="23505"/>
          <ac:spMkLst>
            <pc:docMk/>
            <pc:sldMk cId="1415787442" sldId="1169"/>
            <ac:spMk id="23" creationId="{E46B1E41-BB3E-628F-2AEF-D90A7C785B6A}"/>
          </ac:spMkLst>
        </pc:spChg>
        <pc:spChg chg="add del mod modVis">
          <ac:chgData name="KevCla12" userId="ef2eb634-4620-450f-93cc-80cc93397e60" providerId="ADAL" clId="{0BF56A33-4BC5-423F-96C0-6A8645FA96BB}" dt="2023-12-03T19:08:48.313" v="23536"/>
          <ac:spMkLst>
            <pc:docMk/>
            <pc:sldMk cId="1415787442" sldId="1169"/>
            <ac:spMk id="24" creationId="{9390F794-C65E-4AA4-E784-DBDDAD02580B}"/>
          </ac:spMkLst>
        </pc:spChg>
        <pc:spChg chg="add del mod modVis">
          <ac:chgData name="KevCla12" userId="ef2eb634-4620-450f-93cc-80cc93397e60" providerId="ADAL" clId="{0BF56A33-4BC5-423F-96C0-6A8645FA96BB}" dt="2023-12-03T19:08:49.329" v="23564"/>
          <ac:spMkLst>
            <pc:docMk/>
            <pc:sldMk cId="1415787442" sldId="1169"/>
            <ac:spMk id="25" creationId="{DB1E7468-FD2E-0C0E-459D-86383EA06842}"/>
          </ac:spMkLst>
        </pc:spChg>
        <pc:spChg chg="add del mod modVis">
          <ac:chgData name="KevCla12" userId="ef2eb634-4620-450f-93cc-80cc93397e60" providerId="ADAL" clId="{0BF56A33-4BC5-423F-96C0-6A8645FA96BB}" dt="2023-12-03T19:08:52.596" v="23603"/>
          <ac:spMkLst>
            <pc:docMk/>
            <pc:sldMk cId="1415787442" sldId="1169"/>
            <ac:spMk id="26" creationId="{D1BD4AA2-5C22-2281-3D96-650DC3CA7346}"/>
          </ac:spMkLst>
        </pc:spChg>
        <pc:spChg chg="add del mod modVis">
          <ac:chgData name="KevCla12" userId="ef2eb634-4620-450f-93cc-80cc93397e60" providerId="ADAL" clId="{0BF56A33-4BC5-423F-96C0-6A8645FA96BB}" dt="2023-12-03T19:08:53.772" v="23634"/>
          <ac:spMkLst>
            <pc:docMk/>
            <pc:sldMk cId="1415787442" sldId="1169"/>
            <ac:spMk id="27" creationId="{F45C0396-4E44-089A-4EE0-C93D2A79A43C}"/>
          </ac:spMkLst>
        </pc:spChg>
        <pc:spChg chg="add del mod modVis">
          <ac:chgData name="KevCla12" userId="ef2eb634-4620-450f-93cc-80cc93397e60" providerId="ADAL" clId="{0BF56A33-4BC5-423F-96C0-6A8645FA96BB}" dt="2023-12-03T19:08:59.172" v="23673"/>
          <ac:spMkLst>
            <pc:docMk/>
            <pc:sldMk cId="1415787442" sldId="1169"/>
            <ac:spMk id="28" creationId="{FA95A16B-9598-4D10-0270-9FACA0C555DE}"/>
          </ac:spMkLst>
        </pc:spChg>
        <pc:spChg chg="add del mod modVis">
          <ac:chgData name="KevCla12" userId="ef2eb634-4620-450f-93cc-80cc93397e60" providerId="ADAL" clId="{0BF56A33-4BC5-423F-96C0-6A8645FA96BB}" dt="2023-12-03T19:09:00.851" v="23705"/>
          <ac:spMkLst>
            <pc:docMk/>
            <pc:sldMk cId="1415787442" sldId="1169"/>
            <ac:spMk id="29" creationId="{6458242A-128B-EEC5-0935-726D148B64D3}"/>
          </ac:spMkLst>
        </pc:spChg>
        <pc:graphicFrameChg chg="add mod ord modVis replST">
          <ac:chgData name="KevCla12" userId="ef2eb634-4620-450f-93cc-80cc93397e60" providerId="ADAL" clId="{0BF56A33-4BC5-423F-96C0-6A8645FA96BB}" dt="2023-12-03T19:09:00.857" v="23707"/>
          <ac:graphicFrameMkLst>
            <pc:docMk/>
            <pc:sldMk cId="1415787442" sldId="1169"/>
            <ac:graphicFrameMk id="12" creationId="{42F0F678-2764-8918-EF98-93591CA8FA64}"/>
          </ac:graphicFrameMkLst>
        </pc:graphicFrameChg>
      </pc:sldChg>
      <pc:sldChg chg="addSp delSp modSp add mod modNotes">
        <pc:chgData name="KevCla12" userId="ef2eb634-4620-450f-93cc-80cc93397e60" providerId="ADAL" clId="{0BF56A33-4BC5-423F-96C0-6A8645FA96BB}" dt="2023-12-03T21:48:08.981" v="32293" actId="790"/>
        <pc:sldMkLst>
          <pc:docMk/>
          <pc:sldMk cId="561499177" sldId="1170"/>
        </pc:sldMkLst>
        <pc:spChg chg="mod">
          <ac:chgData name="KevCla12" userId="ef2eb634-4620-450f-93cc-80cc93397e60" providerId="ADAL" clId="{0BF56A33-4BC5-423F-96C0-6A8645FA96BB}" dt="2023-12-03T21:48:08.928" v="32283" actId="790"/>
          <ac:spMkLst>
            <pc:docMk/>
            <pc:sldMk cId="561499177" sldId="1170"/>
            <ac:spMk id="2" creationId="{0DD8EDD2-84ED-DE4A-734B-283E2B0BCFCE}"/>
          </ac:spMkLst>
        </pc:spChg>
        <pc:spChg chg="add del mod modVis">
          <ac:chgData name="KevCla12" userId="ef2eb634-4620-450f-93cc-80cc93397e60" providerId="ADAL" clId="{0BF56A33-4BC5-423F-96C0-6A8645FA96BB}" dt="2023-12-03T19:11:29.469" v="23732"/>
          <ac:spMkLst>
            <pc:docMk/>
            <pc:sldMk cId="561499177" sldId="1170"/>
            <ac:spMk id="3" creationId="{21A43B57-BC45-E466-9182-74EFC2145CC2}"/>
          </ac:spMkLst>
        </pc:spChg>
        <pc:spChg chg="mod">
          <ac:chgData name="KevCla12" userId="ef2eb634-4620-450f-93cc-80cc93397e60" providerId="ADAL" clId="{0BF56A33-4BC5-423F-96C0-6A8645FA96BB}" dt="2023-12-03T21:48:08.929" v="32284" actId="790"/>
          <ac:spMkLst>
            <pc:docMk/>
            <pc:sldMk cId="561499177" sldId="1170"/>
            <ac:spMk id="4" creationId="{7FB46D2D-7718-A11A-A02D-53591F02A4EA}"/>
          </ac:spMkLst>
        </pc:spChg>
        <pc:spChg chg="mod">
          <ac:chgData name="KevCla12" userId="ef2eb634-4620-450f-93cc-80cc93397e60" providerId="ADAL" clId="{0BF56A33-4BC5-423F-96C0-6A8645FA96BB}" dt="2023-12-03T21:48:08.931" v="32285" actId="790"/>
          <ac:spMkLst>
            <pc:docMk/>
            <pc:sldMk cId="561499177" sldId="1170"/>
            <ac:spMk id="5" creationId="{EFA2F9DB-B164-3DC7-B4B6-886999C79FD2}"/>
          </ac:spMkLst>
        </pc:spChg>
        <pc:spChg chg="add del mod modVis">
          <ac:chgData name="KevCla12" userId="ef2eb634-4620-450f-93cc-80cc93397e60" providerId="ADAL" clId="{0BF56A33-4BC5-423F-96C0-6A8645FA96BB}" dt="2023-12-03T19:11:32.167" v="23759"/>
          <ac:spMkLst>
            <pc:docMk/>
            <pc:sldMk cId="561499177" sldId="1170"/>
            <ac:spMk id="6" creationId="{5BBC2D31-3B0E-2223-F764-EA272AD55793}"/>
          </ac:spMkLst>
        </pc:spChg>
        <pc:spChg chg="del mod">
          <ac:chgData name="KevCla12" userId="ef2eb634-4620-450f-93cc-80cc93397e60" providerId="ADAL" clId="{0BF56A33-4BC5-423F-96C0-6A8645FA96BB}" dt="2023-11-30T19:41:43.203" v="8925" actId="21"/>
          <ac:spMkLst>
            <pc:docMk/>
            <pc:sldMk cId="561499177" sldId="1170"/>
            <ac:spMk id="6" creationId="{F6197368-2A00-EB45-EAA0-FE2B6601E914}"/>
          </ac:spMkLst>
        </pc:spChg>
        <pc:spChg chg="mod">
          <ac:chgData name="KevCla12" userId="ef2eb634-4620-450f-93cc-80cc93397e60" providerId="ADAL" clId="{0BF56A33-4BC5-423F-96C0-6A8645FA96BB}" dt="2023-12-03T21:48:08.932" v="32286" actId="790"/>
          <ac:spMkLst>
            <pc:docMk/>
            <pc:sldMk cId="561499177" sldId="1170"/>
            <ac:spMk id="7" creationId="{8060D6B5-3B54-D5DF-DAA4-47C8816CC56B}"/>
          </ac:spMkLst>
        </pc:spChg>
        <pc:spChg chg="mod">
          <ac:chgData name="KevCla12" userId="ef2eb634-4620-450f-93cc-80cc93397e60" providerId="ADAL" clId="{0BF56A33-4BC5-423F-96C0-6A8645FA96BB}" dt="2023-12-03T21:48:08.951" v="32287" actId="790"/>
          <ac:spMkLst>
            <pc:docMk/>
            <pc:sldMk cId="561499177" sldId="1170"/>
            <ac:spMk id="8" creationId="{ED04975C-C723-263B-2CFF-E2CA08DDDE95}"/>
          </ac:spMkLst>
        </pc:spChg>
        <pc:spChg chg="mod">
          <ac:chgData name="KevCla12" userId="ef2eb634-4620-450f-93cc-80cc93397e60" providerId="ADAL" clId="{0BF56A33-4BC5-423F-96C0-6A8645FA96BB}" dt="2023-12-03T21:48:08.953" v="32288" actId="790"/>
          <ac:spMkLst>
            <pc:docMk/>
            <pc:sldMk cId="561499177" sldId="1170"/>
            <ac:spMk id="9" creationId="{0587BF02-9105-48B5-6CF5-A046F6706F3F}"/>
          </ac:spMkLst>
        </pc:spChg>
        <pc:spChg chg="mod">
          <ac:chgData name="KevCla12" userId="ef2eb634-4620-450f-93cc-80cc93397e60" providerId="ADAL" clId="{0BF56A33-4BC5-423F-96C0-6A8645FA96BB}" dt="2023-12-03T21:48:08.974" v="32289" actId="790"/>
          <ac:spMkLst>
            <pc:docMk/>
            <pc:sldMk cId="561499177" sldId="1170"/>
            <ac:spMk id="10" creationId="{5802BC80-FFBC-CD00-A81C-76A0110EC363}"/>
          </ac:spMkLst>
        </pc:spChg>
        <pc:spChg chg="mod">
          <ac:chgData name="KevCla12" userId="ef2eb634-4620-450f-93cc-80cc93397e60" providerId="ADAL" clId="{0BF56A33-4BC5-423F-96C0-6A8645FA96BB}" dt="2023-12-03T21:48:08.977" v="32290" actId="790"/>
          <ac:spMkLst>
            <pc:docMk/>
            <pc:sldMk cId="561499177" sldId="1170"/>
            <ac:spMk id="11" creationId="{CBA36633-56CE-7CF4-5FAA-16792D2F2DC0}"/>
          </ac:spMkLst>
        </pc:spChg>
        <pc:spChg chg="add mod">
          <ac:chgData name="KevCla12" userId="ef2eb634-4620-450f-93cc-80cc93397e60" providerId="ADAL" clId="{0BF56A33-4BC5-423F-96C0-6A8645FA96BB}" dt="2023-12-03T21:48:08.979" v="32291" actId="790"/>
          <ac:spMkLst>
            <pc:docMk/>
            <pc:sldMk cId="561499177" sldId="1170"/>
            <ac:spMk id="13" creationId="{D7D9A494-FC1F-CAC4-9F57-0065FC1FE052}"/>
          </ac:spMkLst>
        </pc:spChg>
        <pc:spChg chg="add del mod modVis">
          <ac:chgData name="KevCla12" userId="ef2eb634-4620-450f-93cc-80cc93397e60" providerId="ADAL" clId="{0BF56A33-4BC5-423F-96C0-6A8645FA96BB}" dt="2023-12-03T19:11:34.744" v="23786"/>
          <ac:spMkLst>
            <pc:docMk/>
            <pc:sldMk cId="561499177" sldId="1170"/>
            <ac:spMk id="14" creationId="{E14B84DE-4882-7722-D712-E8289E4FAD1C}"/>
          </ac:spMkLst>
        </pc:spChg>
        <pc:spChg chg="add del mod modVis">
          <ac:chgData name="KevCla12" userId="ef2eb634-4620-450f-93cc-80cc93397e60" providerId="ADAL" clId="{0BF56A33-4BC5-423F-96C0-6A8645FA96BB}" dt="2023-12-03T19:11:37.610" v="23842"/>
          <ac:spMkLst>
            <pc:docMk/>
            <pc:sldMk cId="561499177" sldId="1170"/>
            <ac:spMk id="15" creationId="{FEA8D69F-FE3B-8D04-52A8-F77C8CACD67C}"/>
          </ac:spMkLst>
        </pc:spChg>
        <pc:spChg chg="add del mod modVis">
          <ac:chgData name="KevCla12" userId="ef2eb634-4620-450f-93cc-80cc93397e60" providerId="ADAL" clId="{0BF56A33-4BC5-423F-96C0-6A8645FA96BB}" dt="2023-12-03T19:11:43.401" v="23889"/>
          <ac:spMkLst>
            <pc:docMk/>
            <pc:sldMk cId="561499177" sldId="1170"/>
            <ac:spMk id="16" creationId="{942E13E6-4E5A-F334-89FC-331178062588}"/>
          </ac:spMkLst>
        </pc:spChg>
        <pc:spChg chg="add del mod modVis">
          <ac:chgData name="KevCla12" userId="ef2eb634-4620-450f-93cc-80cc93397e60" providerId="ADAL" clId="{0BF56A33-4BC5-423F-96C0-6A8645FA96BB}" dt="2023-12-03T19:11:46.263" v="23933"/>
          <ac:spMkLst>
            <pc:docMk/>
            <pc:sldMk cId="561499177" sldId="1170"/>
            <ac:spMk id="17" creationId="{23DE72ED-4E67-C090-8A33-E1724FAFA909}"/>
          </ac:spMkLst>
        </pc:spChg>
        <pc:spChg chg="add del mod modVis">
          <ac:chgData name="KevCla12" userId="ef2eb634-4620-450f-93cc-80cc93397e60" providerId="ADAL" clId="{0BF56A33-4BC5-423F-96C0-6A8645FA96BB}" dt="2023-12-03T19:11:48.482" v="23967"/>
          <ac:spMkLst>
            <pc:docMk/>
            <pc:sldMk cId="561499177" sldId="1170"/>
            <ac:spMk id="18" creationId="{B85FF776-94DA-C61B-48C8-0E3B53A2BDEA}"/>
          </ac:spMkLst>
        </pc:spChg>
        <pc:spChg chg="add del mod modVis">
          <ac:chgData name="KevCla12" userId="ef2eb634-4620-450f-93cc-80cc93397e60" providerId="ADAL" clId="{0BF56A33-4BC5-423F-96C0-6A8645FA96BB}" dt="2023-12-03T19:11:51.178" v="24007"/>
          <ac:spMkLst>
            <pc:docMk/>
            <pc:sldMk cId="561499177" sldId="1170"/>
            <ac:spMk id="19" creationId="{0B1E0F08-F2C8-6F7C-D64D-C852740F5021}"/>
          </ac:spMkLst>
        </pc:spChg>
        <pc:spChg chg="add del mod modVis">
          <ac:chgData name="KevCla12" userId="ef2eb634-4620-450f-93cc-80cc93397e60" providerId="ADAL" clId="{0BF56A33-4BC5-423F-96C0-6A8645FA96BB}" dt="2023-12-03T19:11:52.914" v="24042"/>
          <ac:spMkLst>
            <pc:docMk/>
            <pc:sldMk cId="561499177" sldId="1170"/>
            <ac:spMk id="20" creationId="{73699F23-5F5F-8DC9-3FBD-83B4317A6FFD}"/>
          </ac:spMkLst>
        </pc:spChg>
        <pc:spChg chg="add del mod modVis">
          <ac:chgData name="KevCla12" userId="ef2eb634-4620-450f-93cc-80cc93397e60" providerId="ADAL" clId="{0BF56A33-4BC5-423F-96C0-6A8645FA96BB}" dt="2023-12-03T19:11:53.758" v="24070"/>
          <ac:spMkLst>
            <pc:docMk/>
            <pc:sldMk cId="561499177" sldId="1170"/>
            <ac:spMk id="21" creationId="{1AFD486E-9AF5-D954-EF93-A348C68B4C9C}"/>
          </ac:spMkLst>
        </pc:spChg>
        <pc:spChg chg="add del mod modVis">
          <ac:chgData name="KevCla12" userId="ef2eb634-4620-450f-93cc-80cc93397e60" providerId="ADAL" clId="{0BF56A33-4BC5-423F-96C0-6A8645FA96BB}" dt="2023-12-03T19:11:56.135" v="24105"/>
          <ac:spMkLst>
            <pc:docMk/>
            <pc:sldMk cId="561499177" sldId="1170"/>
            <ac:spMk id="22" creationId="{8B0EC009-835F-66AD-061E-747D35D29D36}"/>
          </ac:spMkLst>
        </pc:spChg>
        <pc:spChg chg="add del mod modVis">
          <ac:chgData name="KevCla12" userId="ef2eb634-4620-450f-93cc-80cc93397e60" providerId="ADAL" clId="{0BF56A33-4BC5-423F-96C0-6A8645FA96BB}" dt="2023-12-03T19:11:57.422" v="24136"/>
          <ac:spMkLst>
            <pc:docMk/>
            <pc:sldMk cId="561499177" sldId="1170"/>
            <ac:spMk id="23" creationId="{4332E908-6D60-0A90-95F5-8184EB61C9B6}"/>
          </ac:spMkLst>
        </pc:spChg>
        <pc:spChg chg="add del mod modVis">
          <ac:chgData name="KevCla12" userId="ef2eb634-4620-450f-93cc-80cc93397e60" providerId="ADAL" clId="{0BF56A33-4BC5-423F-96C0-6A8645FA96BB}" dt="2023-12-03T19:11:58.583" v="24166"/>
          <ac:spMkLst>
            <pc:docMk/>
            <pc:sldMk cId="561499177" sldId="1170"/>
            <ac:spMk id="24" creationId="{DD2302BF-61F0-9FBE-108C-F068E379D4CB}"/>
          </ac:spMkLst>
        </pc:spChg>
        <pc:spChg chg="add del mod modVis">
          <ac:chgData name="KevCla12" userId="ef2eb634-4620-450f-93cc-80cc93397e60" providerId="ADAL" clId="{0BF56A33-4BC5-423F-96C0-6A8645FA96BB}" dt="2023-12-03T19:11:59.647" v="24198"/>
          <ac:spMkLst>
            <pc:docMk/>
            <pc:sldMk cId="561499177" sldId="1170"/>
            <ac:spMk id="25" creationId="{5D4FDBFC-DF7B-60C1-6D20-44EC004B6562}"/>
          </ac:spMkLst>
        </pc:spChg>
        <pc:spChg chg="add del mod modVis">
          <ac:chgData name="KevCla12" userId="ef2eb634-4620-450f-93cc-80cc93397e60" providerId="ADAL" clId="{0BF56A33-4BC5-423F-96C0-6A8645FA96BB}" dt="2023-12-03T19:12:02.189" v="24235"/>
          <ac:spMkLst>
            <pc:docMk/>
            <pc:sldMk cId="561499177" sldId="1170"/>
            <ac:spMk id="26" creationId="{C9781420-0B25-746E-592B-202AFCE700B3}"/>
          </ac:spMkLst>
        </pc:spChg>
        <pc:spChg chg="add del mod modVis">
          <ac:chgData name="KevCla12" userId="ef2eb634-4620-450f-93cc-80cc93397e60" providerId="ADAL" clId="{0BF56A33-4BC5-423F-96C0-6A8645FA96BB}" dt="2023-12-03T19:12:03.131" v="24264"/>
          <ac:spMkLst>
            <pc:docMk/>
            <pc:sldMk cId="561499177" sldId="1170"/>
            <ac:spMk id="27" creationId="{6DFB12DA-0021-58D8-6BFC-7A2A7172FA44}"/>
          </ac:spMkLst>
        </pc:spChg>
        <pc:spChg chg="add del mod modVis">
          <ac:chgData name="KevCla12" userId="ef2eb634-4620-450f-93cc-80cc93397e60" providerId="ADAL" clId="{0BF56A33-4BC5-423F-96C0-6A8645FA96BB}" dt="2023-12-03T19:12:06.725" v="24292"/>
          <ac:spMkLst>
            <pc:docMk/>
            <pc:sldMk cId="561499177" sldId="1170"/>
            <ac:spMk id="28" creationId="{06AD3F25-BF04-B91C-CC48-CE6017648D4F}"/>
          </ac:spMkLst>
        </pc:spChg>
        <pc:graphicFrameChg chg="mod">
          <ac:chgData name="KevCla12" userId="ef2eb634-4620-450f-93cc-80cc93397e60" providerId="ADAL" clId="{0BF56A33-4BC5-423F-96C0-6A8645FA96BB}" dt="2023-12-03T19:12:06.731" v="24294"/>
          <ac:graphicFrameMkLst>
            <pc:docMk/>
            <pc:sldMk cId="561499177" sldId="1170"/>
            <ac:graphicFrameMk id="12" creationId="{42F0F678-2764-8918-EF98-93591CA8FA64}"/>
          </ac:graphicFrameMkLst>
        </pc:graphicFrameChg>
      </pc:sldChg>
      <pc:sldChg chg="addSp delSp modSp add mod modNotes">
        <pc:chgData name="KevCla12" userId="ef2eb634-4620-450f-93cc-80cc93397e60" providerId="ADAL" clId="{0BF56A33-4BC5-423F-96C0-6A8645FA96BB}" dt="2023-12-03T21:48:09.031" v="32304" actId="790"/>
        <pc:sldMkLst>
          <pc:docMk/>
          <pc:sldMk cId="3038651251" sldId="1171"/>
        </pc:sldMkLst>
        <pc:spChg chg="mod">
          <ac:chgData name="KevCla12" userId="ef2eb634-4620-450f-93cc-80cc93397e60" providerId="ADAL" clId="{0BF56A33-4BC5-423F-96C0-6A8645FA96BB}" dt="2023-12-03T21:48:08.983" v="32294" actId="790"/>
          <ac:spMkLst>
            <pc:docMk/>
            <pc:sldMk cId="3038651251" sldId="1171"/>
            <ac:spMk id="2" creationId="{0DD8EDD2-84ED-DE4A-734B-283E2B0BCFCE}"/>
          </ac:spMkLst>
        </pc:spChg>
        <pc:spChg chg="add del mod modVis">
          <ac:chgData name="KevCla12" userId="ef2eb634-4620-450f-93cc-80cc93397e60" providerId="ADAL" clId="{0BF56A33-4BC5-423F-96C0-6A8645FA96BB}" dt="2023-12-03T19:12:25.079" v="24335"/>
          <ac:spMkLst>
            <pc:docMk/>
            <pc:sldMk cId="3038651251" sldId="1171"/>
            <ac:spMk id="3" creationId="{9072CB8A-455B-BC93-2DE9-EB14449406A5}"/>
          </ac:spMkLst>
        </pc:spChg>
        <pc:spChg chg="mod">
          <ac:chgData name="KevCla12" userId="ef2eb634-4620-450f-93cc-80cc93397e60" providerId="ADAL" clId="{0BF56A33-4BC5-423F-96C0-6A8645FA96BB}" dt="2023-12-03T21:48:08.984" v="32295" actId="790"/>
          <ac:spMkLst>
            <pc:docMk/>
            <pc:sldMk cId="3038651251" sldId="1171"/>
            <ac:spMk id="4" creationId="{7FB46D2D-7718-A11A-A02D-53591F02A4EA}"/>
          </ac:spMkLst>
        </pc:spChg>
        <pc:spChg chg="mod">
          <ac:chgData name="KevCla12" userId="ef2eb634-4620-450f-93cc-80cc93397e60" providerId="ADAL" clId="{0BF56A33-4BC5-423F-96C0-6A8645FA96BB}" dt="2023-12-03T21:48:08.987" v="32296" actId="790"/>
          <ac:spMkLst>
            <pc:docMk/>
            <pc:sldMk cId="3038651251" sldId="1171"/>
            <ac:spMk id="5" creationId="{EFA2F9DB-B164-3DC7-B4B6-886999C79FD2}"/>
          </ac:spMkLst>
        </pc:spChg>
        <pc:spChg chg="add del mod modVis">
          <ac:chgData name="KevCla12" userId="ef2eb634-4620-450f-93cc-80cc93397e60" providerId="ADAL" clId="{0BF56A33-4BC5-423F-96C0-6A8645FA96BB}" dt="2023-12-03T19:12:26.515" v="24368"/>
          <ac:spMkLst>
            <pc:docMk/>
            <pc:sldMk cId="3038651251" sldId="1171"/>
            <ac:spMk id="6" creationId="{E1C2E1CA-AF36-E02E-A976-6D6E9881AED0}"/>
          </ac:spMkLst>
        </pc:spChg>
        <pc:spChg chg="mod">
          <ac:chgData name="KevCla12" userId="ef2eb634-4620-450f-93cc-80cc93397e60" providerId="ADAL" clId="{0BF56A33-4BC5-423F-96C0-6A8645FA96BB}" dt="2023-12-03T21:48:08.988" v="32297" actId="790"/>
          <ac:spMkLst>
            <pc:docMk/>
            <pc:sldMk cId="3038651251" sldId="1171"/>
            <ac:spMk id="7" creationId="{8060D6B5-3B54-D5DF-DAA4-47C8816CC56B}"/>
          </ac:spMkLst>
        </pc:spChg>
        <pc:spChg chg="mod">
          <ac:chgData name="KevCla12" userId="ef2eb634-4620-450f-93cc-80cc93397e60" providerId="ADAL" clId="{0BF56A33-4BC5-423F-96C0-6A8645FA96BB}" dt="2023-12-03T21:48:09.004" v="32298" actId="790"/>
          <ac:spMkLst>
            <pc:docMk/>
            <pc:sldMk cId="3038651251" sldId="1171"/>
            <ac:spMk id="8" creationId="{ED04975C-C723-263B-2CFF-E2CA08DDDE95}"/>
          </ac:spMkLst>
        </pc:spChg>
        <pc:spChg chg="mod">
          <ac:chgData name="KevCla12" userId="ef2eb634-4620-450f-93cc-80cc93397e60" providerId="ADAL" clId="{0BF56A33-4BC5-423F-96C0-6A8645FA96BB}" dt="2023-12-03T21:48:09.007" v="32299" actId="790"/>
          <ac:spMkLst>
            <pc:docMk/>
            <pc:sldMk cId="3038651251" sldId="1171"/>
            <ac:spMk id="9" creationId="{0587BF02-9105-48B5-6CF5-A046F6706F3F}"/>
          </ac:spMkLst>
        </pc:spChg>
        <pc:spChg chg="mod">
          <ac:chgData name="KevCla12" userId="ef2eb634-4620-450f-93cc-80cc93397e60" providerId="ADAL" clId="{0BF56A33-4BC5-423F-96C0-6A8645FA96BB}" dt="2023-12-03T21:48:09.026" v="32300" actId="790"/>
          <ac:spMkLst>
            <pc:docMk/>
            <pc:sldMk cId="3038651251" sldId="1171"/>
            <ac:spMk id="10" creationId="{5802BC80-FFBC-CD00-A81C-76A0110EC363}"/>
          </ac:spMkLst>
        </pc:spChg>
        <pc:spChg chg="mod">
          <ac:chgData name="KevCla12" userId="ef2eb634-4620-450f-93cc-80cc93397e60" providerId="ADAL" clId="{0BF56A33-4BC5-423F-96C0-6A8645FA96BB}" dt="2023-12-03T21:48:09.028" v="32301" actId="790"/>
          <ac:spMkLst>
            <pc:docMk/>
            <pc:sldMk cId="3038651251" sldId="1171"/>
            <ac:spMk id="11" creationId="{CBA36633-56CE-7CF4-5FAA-16792D2F2DC0}"/>
          </ac:spMkLst>
        </pc:spChg>
        <pc:spChg chg="mod">
          <ac:chgData name="KevCla12" userId="ef2eb634-4620-450f-93cc-80cc93397e60" providerId="ADAL" clId="{0BF56A33-4BC5-423F-96C0-6A8645FA96BB}" dt="2023-12-03T21:48:09.029" v="32302" actId="790"/>
          <ac:spMkLst>
            <pc:docMk/>
            <pc:sldMk cId="3038651251" sldId="1171"/>
            <ac:spMk id="13" creationId="{D7D9A494-FC1F-CAC4-9F57-0065FC1FE052}"/>
          </ac:spMkLst>
        </pc:spChg>
        <pc:spChg chg="add del mod modVis">
          <ac:chgData name="KevCla12" userId="ef2eb634-4620-450f-93cc-80cc93397e60" providerId="ADAL" clId="{0BF56A33-4BC5-423F-96C0-6A8645FA96BB}" dt="2023-12-03T19:12:31.870" v="24417"/>
          <ac:spMkLst>
            <pc:docMk/>
            <pc:sldMk cId="3038651251" sldId="1171"/>
            <ac:spMk id="14" creationId="{504FCA1C-50BB-0051-76A7-A7F4B1D1B60C}"/>
          </ac:spMkLst>
        </pc:spChg>
        <pc:spChg chg="add del mod modVis">
          <ac:chgData name="KevCla12" userId="ef2eb634-4620-450f-93cc-80cc93397e60" providerId="ADAL" clId="{0BF56A33-4BC5-423F-96C0-6A8645FA96BB}" dt="2023-12-03T19:12:34.025" v="24452"/>
          <ac:spMkLst>
            <pc:docMk/>
            <pc:sldMk cId="3038651251" sldId="1171"/>
            <ac:spMk id="15" creationId="{A9661EE9-3092-C714-6A89-2E3A20DBB953}"/>
          </ac:spMkLst>
        </pc:spChg>
        <pc:spChg chg="add del mod modVis">
          <ac:chgData name="KevCla12" userId="ef2eb634-4620-450f-93cc-80cc93397e60" providerId="ADAL" clId="{0BF56A33-4BC5-423F-96C0-6A8645FA96BB}" dt="2023-12-03T19:12:38.827" v="24504"/>
          <ac:spMkLst>
            <pc:docMk/>
            <pc:sldMk cId="3038651251" sldId="1171"/>
            <ac:spMk id="16" creationId="{15210E27-F986-7CCC-4645-AA94F35DDDE7}"/>
          </ac:spMkLst>
        </pc:spChg>
        <pc:spChg chg="add del mod modVis">
          <ac:chgData name="KevCla12" userId="ef2eb634-4620-450f-93cc-80cc93397e60" providerId="ADAL" clId="{0BF56A33-4BC5-423F-96C0-6A8645FA96BB}" dt="2023-12-03T19:12:39.507" v="24533"/>
          <ac:spMkLst>
            <pc:docMk/>
            <pc:sldMk cId="3038651251" sldId="1171"/>
            <ac:spMk id="17" creationId="{35944220-477F-F76B-49D8-C20F6947D52B}"/>
          </ac:spMkLst>
        </pc:spChg>
        <pc:spChg chg="add del mod modVis">
          <ac:chgData name="KevCla12" userId="ef2eb634-4620-450f-93cc-80cc93397e60" providerId="ADAL" clId="{0BF56A33-4BC5-423F-96C0-6A8645FA96BB}" dt="2023-12-03T19:12:43.403" v="24561"/>
          <ac:spMkLst>
            <pc:docMk/>
            <pc:sldMk cId="3038651251" sldId="1171"/>
            <ac:spMk id="18" creationId="{78B6B8E9-1B35-4AF4-7D0E-F5F368ED1941}"/>
          </ac:spMkLst>
        </pc:spChg>
        <pc:spChg chg="add del mod modVis">
          <ac:chgData name="KevCla12" userId="ef2eb634-4620-450f-93cc-80cc93397e60" providerId="ADAL" clId="{0BF56A33-4BC5-423F-96C0-6A8645FA96BB}" dt="2023-12-03T19:12:45.312" v="24593"/>
          <ac:spMkLst>
            <pc:docMk/>
            <pc:sldMk cId="3038651251" sldId="1171"/>
            <ac:spMk id="19" creationId="{5A6C22A3-20F2-70E6-FFA0-C1A02B061805}"/>
          </ac:spMkLst>
        </pc:spChg>
        <pc:spChg chg="add del mod modVis">
          <ac:chgData name="KevCla12" userId="ef2eb634-4620-450f-93cc-80cc93397e60" providerId="ADAL" clId="{0BF56A33-4BC5-423F-96C0-6A8645FA96BB}" dt="2023-12-03T19:12:46.774" v="24626"/>
          <ac:spMkLst>
            <pc:docMk/>
            <pc:sldMk cId="3038651251" sldId="1171"/>
            <ac:spMk id="20" creationId="{FFE84ACC-4ACA-A20A-B77A-AF3ED2724BD6}"/>
          </ac:spMkLst>
        </pc:spChg>
        <pc:spChg chg="add del mod modVis">
          <ac:chgData name="KevCla12" userId="ef2eb634-4620-450f-93cc-80cc93397e60" providerId="ADAL" clId="{0BF56A33-4BC5-423F-96C0-6A8645FA96BB}" dt="2023-12-03T19:12:47.569" v="24655"/>
          <ac:spMkLst>
            <pc:docMk/>
            <pc:sldMk cId="3038651251" sldId="1171"/>
            <ac:spMk id="21" creationId="{91F2C7EE-F07C-4047-7509-5C5DD791F68B}"/>
          </ac:spMkLst>
        </pc:spChg>
        <pc:spChg chg="add del mod modVis">
          <ac:chgData name="KevCla12" userId="ef2eb634-4620-450f-93cc-80cc93397e60" providerId="ADAL" clId="{0BF56A33-4BC5-423F-96C0-6A8645FA96BB}" dt="2023-12-03T19:12:48.453" v="24683"/>
          <ac:spMkLst>
            <pc:docMk/>
            <pc:sldMk cId="3038651251" sldId="1171"/>
            <ac:spMk id="22" creationId="{0A611CDF-4B0A-9800-575C-B72F58EE3DCA}"/>
          </ac:spMkLst>
        </pc:spChg>
        <pc:spChg chg="add del mod modVis">
          <ac:chgData name="KevCla12" userId="ef2eb634-4620-450f-93cc-80cc93397e60" providerId="ADAL" clId="{0BF56A33-4BC5-423F-96C0-6A8645FA96BB}" dt="2023-12-03T19:12:53.693" v="24717"/>
          <ac:spMkLst>
            <pc:docMk/>
            <pc:sldMk cId="3038651251" sldId="1171"/>
            <ac:spMk id="23" creationId="{21D9471C-255B-6734-8EF0-3C6D7568F556}"/>
          </ac:spMkLst>
        </pc:spChg>
        <pc:spChg chg="add del mod modVis">
          <ac:chgData name="KevCla12" userId="ef2eb634-4620-450f-93cc-80cc93397e60" providerId="ADAL" clId="{0BF56A33-4BC5-423F-96C0-6A8645FA96BB}" dt="2023-12-03T19:12:55.995" v="24754"/>
          <ac:spMkLst>
            <pc:docMk/>
            <pc:sldMk cId="3038651251" sldId="1171"/>
            <ac:spMk id="24" creationId="{F1AF3733-60AB-E901-B4D2-5C9AF781B408}"/>
          </ac:spMkLst>
        </pc:spChg>
        <pc:spChg chg="add del mod modVis">
          <ac:chgData name="KevCla12" userId="ef2eb634-4620-450f-93cc-80cc93397e60" providerId="ADAL" clId="{0BF56A33-4BC5-423F-96C0-6A8645FA96BB}" dt="2023-12-03T19:13:05.657" v="24825"/>
          <ac:spMkLst>
            <pc:docMk/>
            <pc:sldMk cId="3038651251" sldId="1171"/>
            <ac:spMk id="25" creationId="{4CF348D3-DCA0-AB43-B0CC-4411723BFE7E}"/>
          </ac:spMkLst>
        </pc:spChg>
        <pc:spChg chg="add del mod modVis">
          <ac:chgData name="KevCla12" userId="ef2eb634-4620-450f-93cc-80cc93397e60" providerId="ADAL" clId="{0BF56A33-4BC5-423F-96C0-6A8645FA96BB}" dt="2023-12-03T19:13:09.230" v="24865"/>
          <ac:spMkLst>
            <pc:docMk/>
            <pc:sldMk cId="3038651251" sldId="1171"/>
            <ac:spMk id="26" creationId="{1A71BEFC-A702-102A-31A5-A37839ABD452}"/>
          </ac:spMkLst>
        </pc:spChg>
        <pc:spChg chg="add del mod modVis">
          <ac:chgData name="KevCla12" userId="ef2eb634-4620-450f-93cc-80cc93397e60" providerId="ADAL" clId="{0BF56A33-4BC5-423F-96C0-6A8645FA96BB}" dt="2023-12-03T19:13:13.416" v="24907"/>
          <ac:spMkLst>
            <pc:docMk/>
            <pc:sldMk cId="3038651251" sldId="1171"/>
            <ac:spMk id="27" creationId="{4F792E15-1756-6BC3-AECD-532CC5DB3F0A}"/>
          </ac:spMkLst>
        </pc:spChg>
        <pc:spChg chg="add del mod modVis">
          <ac:chgData name="KevCla12" userId="ef2eb634-4620-450f-93cc-80cc93397e60" providerId="ADAL" clId="{0BF56A33-4BC5-423F-96C0-6A8645FA96BB}" dt="2023-12-03T19:13:14.827" v="24937"/>
          <ac:spMkLst>
            <pc:docMk/>
            <pc:sldMk cId="3038651251" sldId="1171"/>
            <ac:spMk id="28" creationId="{BBC19AA0-8363-A26A-2546-7CC8AFA94A51}"/>
          </ac:spMkLst>
        </pc:spChg>
        <pc:graphicFrameChg chg="mod">
          <ac:chgData name="KevCla12" userId="ef2eb634-4620-450f-93cc-80cc93397e60" providerId="ADAL" clId="{0BF56A33-4BC5-423F-96C0-6A8645FA96BB}" dt="2023-12-03T19:13:14.832" v="24939"/>
          <ac:graphicFrameMkLst>
            <pc:docMk/>
            <pc:sldMk cId="3038651251" sldId="1171"/>
            <ac:graphicFrameMk id="12" creationId="{42F0F678-2764-8918-EF98-93591CA8FA64}"/>
          </ac:graphicFrameMkLst>
        </pc:graphicFrameChg>
      </pc:sldChg>
      <pc:sldChg chg="addSp delSp modSp add mod modNotes">
        <pc:chgData name="KevCla12" userId="ef2eb634-4620-450f-93cc-80cc93397e60" providerId="ADAL" clId="{0BF56A33-4BC5-423F-96C0-6A8645FA96BB}" dt="2023-12-03T21:48:09.090" v="32315" actId="790"/>
        <pc:sldMkLst>
          <pc:docMk/>
          <pc:sldMk cId="2467837926" sldId="1172"/>
        </pc:sldMkLst>
        <pc:spChg chg="mod">
          <ac:chgData name="KevCla12" userId="ef2eb634-4620-450f-93cc-80cc93397e60" providerId="ADAL" clId="{0BF56A33-4BC5-423F-96C0-6A8645FA96BB}" dt="2023-12-03T21:48:09.032" v="32305" actId="790"/>
          <ac:spMkLst>
            <pc:docMk/>
            <pc:sldMk cId="2467837926" sldId="1172"/>
            <ac:spMk id="2" creationId="{0DD8EDD2-84ED-DE4A-734B-283E2B0BCFCE}"/>
          </ac:spMkLst>
        </pc:spChg>
        <pc:spChg chg="add del mod modVis">
          <ac:chgData name="KevCla12" userId="ef2eb634-4620-450f-93cc-80cc93397e60" providerId="ADAL" clId="{0BF56A33-4BC5-423F-96C0-6A8645FA96BB}" dt="2023-12-03T19:13:26.988" v="24982"/>
          <ac:spMkLst>
            <pc:docMk/>
            <pc:sldMk cId="2467837926" sldId="1172"/>
            <ac:spMk id="3" creationId="{83D9987A-F216-7E81-0EA8-AABC0DA2862B}"/>
          </ac:spMkLst>
        </pc:spChg>
        <pc:spChg chg="mod">
          <ac:chgData name="KevCla12" userId="ef2eb634-4620-450f-93cc-80cc93397e60" providerId="ADAL" clId="{0BF56A33-4BC5-423F-96C0-6A8645FA96BB}" dt="2023-12-03T21:48:09.033" v="32306" actId="790"/>
          <ac:spMkLst>
            <pc:docMk/>
            <pc:sldMk cId="2467837926" sldId="1172"/>
            <ac:spMk id="4" creationId="{7FB46D2D-7718-A11A-A02D-53591F02A4EA}"/>
          </ac:spMkLst>
        </pc:spChg>
        <pc:spChg chg="mod">
          <ac:chgData name="KevCla12" userId="ef2eb634-4620-450f-93cc-80cc93397e60" providerId="ADAL" clId="{0BF56A33-4BC5-423F-96C0-6A8645FA96BB}" dt="2023-12-03T21:48:09.035" v="32307" actId="790"/>
          <ac:spMkLst>
            <pc:docMk/>
            <pc:sldMk cId="2467837926" sldId="1172"/>
            <ac:spMk id="5" creationId="{EFA2F9DB-B164-3DC7-B4B6-886999C79FD2}"/>
          </ac:spMkLst>
        </pc:spChg>
        <pc:spChg chg="add del mod modVis">
          <ac:chgData name="KevCla12" userId="ef2eb634-4620-450f-93cc-80cc93397e60" providerId="ADAL" clId="{0BF56A33-4BC5-423F-96C0-6A8645FA96BB}" dt="2023-12-03T19:13:32.942" v="25030"/>
          <ac:spMkLst>
            <pc:docMk/>
            <pc:sldMk cId="2467837926" sldId="1172"/>
            <ac:spMk id="6" creationId="{6B7D1A18-CCE8-E7DC-0A07-AB1CD7DBC651}"/>
          </ac:spMkLst>
        </pc:spChg>
        <pc:spChg chg="mod">
          <ac:chgData name="KevCla12" userId="ef2eb634-4620-450f-93cc-80cc93397e60" providerId="ADAL" clId="{0BF56A33-4BC5-423F-96C0-6A8645FA96BB}" dt="2023-12-03T21:48:09.035" v="32308" actId="790"/>
          <ac:spMkLst>
            <pc:docMk/>
            <pc:sldMk cId="2467837926" sldId="1172"/>
            <ac:spMk id="7" creationId="{8060D6B5-3B54-D5DF-DAA4-47C8816CC56B}"/>
          </ac:spMkLst>
        </pc:spChg>
        <pc:spChg chg="mod">
          <ac:chgData name="KevCla12" userId="ef2eb634-4620-450f-93cc-80cc93397e60" providerId="ADAL" clId="{0BF56A33-4BC5-423F-96C0-6A8645FA96BB}" dt="2023-12-03T21:48:09.063" v="32309" actId="790"/>
          <ac:spMkLst>
            <pc:docMk/>
            <pc:sldMk cId="2467837926" sldId="1172"/>
            <ac:spMk id="8" creationId="{ED04975C-C723-263B-2CFF-E2CA08DDDE95}"/>
          </ac:spMkLst>
        </pc:spChg>
        <pc:spChg chg="mod">
          <ac:chgData name="KevCla12" userId="ef2eb634-4620-450f-93cc-80cc93397e60" providerId="ADAL" clId="{0BF56A33-4BC5-423F-96C0-6A8645FA96BB}" dt="2023-12-03T21:48:09.065" v="32310" actId="790"/>
          <ac:spMkLst>
            <pc:docMk/>
            <pc:sldMk cId="2467837926" sldId="1172"/>
            <ac:spMk id="9" creationId="{0587BF02-9105-48B5-6CF5-A046F6706F3F}"/>
          </ac:spMkLst>
        </pc:spChg>
        <pc:spChg chg="mod">
          <ac:chgData name="KevCla12" userId="ef2eb634-4620-450f-93cc-80cc93397e60" providerId="ADAL" clId="{0BF56A33-4BC5-423F-96C0-6A8645FA96BB}" dt="2023-12-03T21:48:09.082" v="32311" actId="790"/>
          <ac:spMkLst>
            <pc:docMk/>
            <pc:sldMk cId="2467837926" sldId="1172"/>
            <ac:spMk id="10" creationId="{5802BC80-FFBC-CD00-A81C-76A0110EC363}"/>
          </ac:spMkLst>
        </pc:spChg>
        <pc:spChg chg="mod">
          <ac:chgData name="KevCla12" userId="ef2eb634-4620-450f-93cc-80cc93397e60" providerId="ADAL" clId="{0BF56A33-4BC5-423F-96C0-6A8645FA96BB}" dt="2023-12-03T21:48:09.085" v="32312" actId="790"/>
          <ac:spMkLst>
            <pc:docMk/>
            <pc:sldMk cId="2467837926" sldId="1172"/>
            <ac:spMk id="11" creationId="{CBA36633-56CE-7CF4-5FAA-16792D2F2DC0}"/>
          </ac:spMkLst>
        </pc:spChg>
        <pc:spChg chg="mod">
          <ac:chgData name="KevCla12" userId="ef2eb634-4620-450f-93cc-80cc93397e60" providerId="ADAL" clId="{0BF56A33-4BC5-423F-96C0-6A8645FA96BB}" dt="2023-12-03T21:48:09.087" v="32313" actId="790"/>
          <ac:spMkLst>
            <pc:docMk/>
            <pc:sldMk cId="2467837926" sldId="1172"/>
            <ac:spMk id="13" creationId="{D7D9A494-FC1F-CAC4-9F57-0065FC1FE052}"/>
          </ac:spMkLst>
        </pc:spChg>
        <pc:spChg chg="add del mod modVis">
          <ac:chgData name="KevCla12" userId="ef2eb634-4620-450f-93cc-80cc93397e60" providerId="ADAL" clId="{0BF56A33-4BC5-423F-96C0-6A8645FA96BB}" dt="2023-12-03T19:13:36.176" v="25070"/>
          <ac:spMkLst>
            <pc:docMk/>
            <pc:sldMk cId="2467837926" sldId="1172"/>
            <ac:spMk id="14" creationId="{4DF1ADFC-F033-0385-79F1-0A8D66FFBC32}"/>
          </ac:spMkLst>
        </pc:spChg>
        <pc:spChg chg="add del mod modVis">
          <ac:chgData name="KevCla12" userId="ef2eb634-4620-450f-93cc-80cc93397e60" providerId="ADAL" clId="{0BF56A33-4BC5-423F-96C0-6A8645FA96BB}" dt="2023-12-03T19:13:41.809" v="25127"/>
          <ac:spMkLst>
            <pc:docMk/>
            <pc:sldMk cId="2467837926" sldId="1172"/>
            <ac:spMk id="15" creationId="{DD951D2E-6C01-54E4-D665-688280BC6BFA}"/>
          </ac:spMkLst>
        </pc:spChg>
        <pc:spChg chg="add del mod modVis">
          <ac:chgData name="KevCla12" userId="ef2eb634-4620-450f-93cc-80cc93397e60" providerId="ADAL" clId="{0BF56A33-4BC5-423F-96C0-6A8645FA96BB}" dt="2023-12-03T19:13:43.052" v="25159"/>
          <ac:spMkLst>
            <pc:docMk/>
            <pc:sldMk cId="2467837926" sldId="1172"/>
            <ac:spMk id="16" creationId="{553B5EB4-8355-CA89-5DFF-A1F7807C4E3B}"/>
          </ac:spMkLst>
        </pc:spChg>
        <pc:spChg chg="add del mod modVis">
          <ac:chgData name="KevCla12" userId="ef2eb634-4620-450f-93cc-80cc93397e60" providerId="ADAL" clId="{0BF56A33-4BC5-423F-96C0-6A8645FA96BB}" dt="2023-12-03T19:13:46.294" v="25188"/>
          <ac:spMkLst>
            <pc:docMk/>
            <pc:sldMk cId="2467837926" sldId="1172"/>
            <ac:spMk id="17" creationId="{4DF80BB7-03AA-D640-57BB-F64F2ABF7773}"/>
          </ac:spMkLst>
        </pc:spChg>
        <pc:spChg chg="add del mod modVis">
          <ac:chgData name="KevCla12" userId="ef2eb634-4620-450f-93cc-80cc93397e60" providerId="ADAL" clId="{0BF56A33-4BC5-423F-96C0-6A8645FA96BB}" dt="2023-12-03T19:13:51.521" v="25241"/>
          <ac:spMkLst>
            <pc:docMk/>
            <pc:sldMk cId="2467837926" sldId="1172"/>
            <ac:spMk id="18" creationId="{4A6805B7-0D4B-A439-8AC1-235565B339F5}"/>
          </ac:spMkLst>
        </pc:spChg>
        <pc:spChg chg="add del mod modVis">
          <ac:chgData name="KevCla12" userId="ef2eb634-4620-450f-93cc-80cc93397e60" providerId="ADAL" clId="{0BF56A33-4BC5-423F-96C0-6A8645FA96BB}" dt="2023-12-03T19:13:53.258" v="25276"/>
          <ac:spMkLst>
            <pc:docMk/>
            <pc:sldMk cId="2467837926" sldId="1172"/>
            <ac:spMk id="19" creationId="{2ADF28CE-25FB-2BC7-37D0-84F2DDEFA363}"/>
          </ac:spMkLst>
        </pc:spChg>
        <pc:spChg chg="add del mod modVis">
          <ac:chgData name="KevCla12" userId="ef2eb634-4620-450f-93cc-80cc93397e60" providerId="ADAL" clId="{0BF56A33-4BC5-423F-96C0-6A8645FA96BB}" dt="2023-12-03T19:13:54.703" v="25307"/>
          <ac:spMkLst>
            <pc:docMk/>
            <pc:sldMk cId="2467837926" sldId="1172"/>
            <ac:spMk id="20" creationId="{3DCDF2CE-73B2-A7E6-4A08-8F8FC8C3719A}"/>
          </ac:spMkLst>
        </pc:spChg>
        <pc:spChg chg="add del mod modVis">
          <ac:chgData name="KevCla12" userId="ef2eb634-4620-450f-93cc-80cc93397e60" providerId="ADAL" clId="{0BF56A33-4BC5-423F-96C0-6A8645FA96BB}" dt="2023-12-03T19:14:00.766" v="25357"/>
          <ac:spMkLst>
            <pc:docMk/>
            <pc:sldMk cId="2467837926" sldId="1172"/>
            <ac:spMk id="21" creationId="{90E52BDE-399E-3CD8-44D9-3673D1A61166}"/>
          </ac:spMkLst>
        </pc:spChg>
        <pc:spChg chg="add del mod modVis">
          <ac:chgData name="KevCla12" userId="ef2eb634-4620-450f-93cc-80cc93397e60" providerId="ADAL" clId="{0BF56A33-4BC5-423F-96C0-6A8645FA96BB}" dt="2023-12-03T19:14:04.142" v="25400"/>
          <ac:spMkLst>
            <pc:docMk/>
            <pc:sldMk cId="2467837926" sldId="1172"/>
            <ac:spMk id="22" creationId="{1AFBD849-9EBF-9717-2057-E6ED9B3DBE92}"/>
          </ac:spMkLst>
        </pc:spChg>
        <pc:graphicFrameChg chg="mod">
          <ac:chgData name="KevCla12" userId="ef2eb634-4620-450f-93cc-80cc93397e60" providerId="ADAL" clId="{0BF56A33-4BC5-423F-96C0-6A8645FA96BB}" dt="2023-12-03T19:14:04.148" v="25402"/>
          <ac:graphicFrameMkLst>
            <pc:docMk/>
            <pc:sldMk cId="2467837926" sldId="1172"/>
            <ac:graphicFrameMk id="12" creationId="{42F0F678-2764-8918-EF98-93591CA8FA64}"/>
          </ac:graphicFrameMkLst>
        </pc:graphicFrameChg>
      </pc:sldChg>
      <pc:sldChg chg="addSp delSp modSp add mod modCm modNotes">
        <pc:chgData name="KevCla12" userId="ef2eb634-4620-450f-93cc-80cc93397e60" providerId="ADAL" clId="{0BF56A33-4BC5-423F-96C0-6A8645FA96BB}" dt="2023-12-03T21:48:07.650" v="31558" actId="790"/>
        <pc:sldMkLst>
          <pc:docMk/>
          <pc:sldMk cId="3534520235" sldId="1173"/>
        </pc:sldMkLst>
        <pc:spChg chg="mod">
          <ac:chgData name="KevCla12" userId="ef2eb634-4620-450f-93cc-80cc93397e60" providerId="ADAL" clId="{0BF56A33-4BC5-423F-96C0-6A8645FA96BB}" dt="2023-12-03T21:48:07.533" v="31467" actId="790"/>
          <ac:spMkLst>
            <pc:docMk/>
            <pc:sldMk cId="3534520235" sldId="1173"/>
            <ac:spMk id="2" creationId="{9FCF470F-26E3-DE75-7C3A-92ED46D3A48B}"/>
          </ac:spMkLst>
        </pc:spChg>
        <pc:spChg chg="add mod">
          <ac:chgData name="KevCla12" userId="ef2eb634-4620-450f-93cc-80cc93397e60" providerId="ADAL" clId="{0BF56A33-4BC5-423F-96C0-6A8645FA96BB}" dt="2023-12-03T21:48:07.615" v="31528" actId="790"/>
          <ac:spMkLst>
            <pc:docMk/>
            <pc:sldMk cId="3534520235" sldId="1173"/>
            <ac:spMk id="3" creationId="{C14104A4-F0BE-8198-6A11-B1190B7183CE}"/>
          </ac:spMkLst>
        </pc:spChg>
        <pc:spChg chg="mod">
          <ac:chgData name="KevCla12" userId="ef2eb634-4620-450f-93cc-80cc93397e60" providerId="ADAL" clId="{0BF56A33-4BC5-423F-96C0-6A8645FA96BB}" dt="2023-12-03T21:48:07.535" v="31468" actId="790"/>
          <ac:spMkLst>
            <pc:docMk/>
            <pc:sldMk cId="3534520235" sldId="1173"/>
            <ac:spMk id="4" creationId="{625630F4-F526-CF70-E918-9F4CD1A64ED5}"/>
          </ac:spMkLst>
        </pc:spChg>
        <pc:spChg chg="add mod">
          <ac:chgData name="KevCla12" userId="ef2eb634-4620-450f-93cc-80cc93397e60" providerId="ADAL" clId="{0BF56A33-4BC5-423F-96C0-6A8645FA96BB}" dt="2023-12-03T21:48:07.615" v="31529" actId="790"/>
          <ac:spMkLst>
            <pc:docMk/>
            <pc:sldMk cId="3534520235" sldId="1173"/>
            <ac:spMk id="5" creationId="{6A15BB8D-2553-88B4-21B4-626769A15C17}"/>
          </ac:spMkLst>
        </pc:spChg>
        <pc:spChg chg="del">
          <ac:chgData name="KevCla12" userId="ef2eb634-4620-450f-93cc-80cc93397e60" providerId="ADAL" clId="{0BF56A33-4BC5-423F-96C0-6A8645FA96BB}" dt="2023-11-30T20:04:54.924" v="9392" actId="478"/>
          <ac:spMkLst>
            <pc:docMk/>
            <pc:sldMk cId="3534520235" sldId="1173"/>
            <ac:spMk id="6" creationId="{6B10C636-B876-CA9B-CEDA-49DA0017F229}"/>
          </ac:spMkLst>
        </pc:spChg>
        <pc:spChg chg="add mod">
          <ac:chgData name="KevCla12" userId="ef2eb634-4620-450f-93cc-80cc93397e60" providerId="ADAL" clId="{0BF56A33-4BC5-423F-96C0-6A8645FA96BB}" dt="2023-12-03T21:48:07.616" v="31530" actId="790"/>
          <ac:spMkLst>
            <pc:docMk/>
            <pc:sldMk cId="3534520235" sldId="1173"/>
            <ac:spMk id="6" creationId="{8AE3424B-6869-882F-1312-10ED936E4328}"/>
          </ac:spMkLst>
        </pc:spChg>
        <pc:spChg chg="mod">
          <ac:chgData name="KevCla12" userId="ef2eb634-4620-450f-93cc-80cc93397e60" providerId="ADAL" clId="{0BF56A33-4BC5-423F-96C0-6A8645FA96BB}" dt="2023-12-03T21:48:07.536" v="31469" actId="790"/>
          <ac:spMkLst>
            <pc:docMk/>
            <pc:sldMk cId="3534520235" sldId="1173"/>
            <ac:spMk id="7" creationId="{DC8224F6-F364-9541-1FBB-737C7C708238}"/>
          </ac:spMkLst>
        </pc:spChg>
        <pc:spChg chg="add mod">
          <ac:chgData name="KevCla12" userId="ef2eb634-4620-450f-93cc-80cc93397e60" providerId="ADAL" clId="{0BF56A33-4BC5-423F-96C0-6A8645FA96BB}" dt="2023-12-03T21:48:07.617" v="31531" actId="790"/>
          <ac:spMkLst>
            <pc:docMk/>
            <pc:sldMk cId="3534520235" sldId="1173"/>
            <ac:spMk id="8" creationId="{1A238CEA-CC80-6362-E009-E6FF17CFA256}"/>
          </ac:spMkLst>
        </pc:spChg>
        <pc:spChg chg="del">
          <ac:chgData name="KevCla12" userId="ef2eb634-4620-450f-93cc-80cc93397e60" providerId="ADAL" clId="{0BF56A33-4BC5-423F-96C0-6A8645FA96BB}" dt="2023-11-30T20:04:42.071" v="9385" actId="478"/>
          <ac:spMkLst>
            <pc:docMk/>
            <pc:sldMk cId="3534520235" sldId="1173"/>
            <ac:spMk id="8" creationId="{EE4FF448-5EF8-341E-93E0-37586ADB7B62}"/>
          </ac:spMkLst>
        </pc:spChg>
        <pc:spChg chg="add mod">
          <ac:chgData name="KevCla12" userId="ef2eb634-4620-450f-93cc-80cc93397e60" providerId="ADAL" clId="{0BF56A33-4BC5-423F-96C0-6A8645FA96BB}" dt="2023-12-03T21:48:07.541" v="31471" actId="790"/>
          <ac:spMkLst>
            <pc:docMk/>
            <pc:sldMk cId="3534520235" sldId="1173"/>
            <ac:spMk id="10" creationId="{9052EDAE-7D91-3078-E691-AFB4A58AF266}"/>
          </ac:spMkLst>
        </pc:spChg>
        <pc:spChg chg="del mod">
          <ac:chgData name="KevCla12" userId="ef2eb634-4620-450f-93cc-80cc93397e60" providerId="ADAL" clId="{0BF56A33-4BC5-423F-96C0-6A8645FA96BB}" dt="2023-11-30T20:04:39.977" v="9383" actId="478"/>
          <ac:spMkLst>
            <pc:docMk/>
            <pc:sldMk cId="3534520235" sldId="1173"/>
            <ac:spMk id="11" creationId="{000FB1DC-0FEC-C3F9-538E-DB1F7BB5873C}"/>
          </ac:spMkLst>
        </pc:spChg>
        <pc:spChg chg="add mod">
          <ac:chgData name="KevCla12" userId="ef2eb634-4620-450f-93cc-80cc93397e60" providerId="ADAL" clId="{0BF56A33-4BC5-423F-96C0-6A8645FA96BB}" dt="2023-12-03T21:48:07.618" v="31532" actId="790"/>
          <ac:spMkLst>
            <pc:docMk/>
            <pc:sldMk cId="3534520235" sldId="1173"/>
            <ac:spMk id="11" creationId="{35363A1F-B676-2A19-9DDD-171E5A2CB794}"/>
          </ac:spMkLst>
        </pc:spChg>
        <pc:spChg chg="add mod">
          <ac:chgData name="KevCla12" userId="ef2eb634-4620-450f-93cc-80cc93397e60" providerId="ADAL" clId="{0BF56A33-4BC5-423F-96C0-6A8645FA96BB}" dt="2023-12-03T21:48:07.619" v="31533" actId="790"/>
          <ac:spMkLst>
            <pc:docMk/>
            <pc:sldMk cId="3534520235" sldId="1173"/>
            <ac:spMk id="12" creationId="{FD0D5283-A6E0-A877-866D-509A28DB79E4}"/>
          </ac:spMkLst>
        </pc:spChg>
        <pc:spChg chg="add mod">
          <ac:chgData name="KevCla12" userId="ef2eb634-4620-450f-93cc-80cc93397e60" providerId="ADAL" clId="{0BF56A33-4BC5-423F-96C0-6A8645FA96BB}" dt="2023-12-03T21:48:07.620" v="31534" actId="790"/>
          <ac:spMkLst>
            <pc:docMk/>
            <pc:sldMk cId="3534520235" sldId="1173"/>
            <ac:spMk id="13" creationId="{0BF679C9-84D0-F6FD-5457-A0BAAFCDE8B3}"/>
          </ac:spMkLst>
        </pc:spChg>
        <pc:spChg chg="add del mod">
          <ac:chgData name="KevCla12" userId="ef2eb634-4620-450f-93cc-80cc93397e60" providerId="ADAL" clId="{0BF56A33-4BC5-423F-96C0-6A8645FA96BB}" dt="2023-12-02T17:22:19.705" v="12384" actId="478"/>
          <ac:spMkLst>
            <pc:docMk/>
            <pc:sldMk cId="3534520235" sldId="1173"/>
            <ac:spMk id="14" creationId="{52E8BCB5-B5C5-9AAE-A291-9A6D74E7BE62}"/>
          </ac:spMkLst>
        </pc:spChg>
        <pc:spChg chg="add mod">
          <ac:chgData name="KevCla12" userId="ef2eb634-4620-450f-93cc-80cc93397e60" providerId="ADAL" clId="{0BF56A33-4BC5-423F-96C0-6A8645FA96BB}" dt="2023-12-03T21:48:07.648" v="31556" actId="790"/>
          <ac:spMkLst>
            <pc:docMk/>
            <pc:sldMk cId="3534520235" sldId="1173"/>
            <ac:spMk id="14" creationId="{B3B240A6-25FE-3C86-7F28-AA6B25D7692D}"/>
          </ac:spMkLst>
        </pc:spChg>
        <pc:spChg chg="add mod">
          <ac:chgData name="KevCla12" userId="ef2eb634-4620-450f-93cc-80cc93397e60" providerId="ADAL" clId="{0BF56A33-4BC5-423F-96C0-6A8645FA96BB}" dt="2023-12-03T21:48:07.621" v="31535" actId="790"/>
          <ac:spMkLst>
            <pc:docMk/>
            <pc:sldMk cId="3534520235" sldId="1173"/>
            <ac:spMk id="15" creationId="{4201963A-4B42-7696-5522-C735DD5AF604}"/>
          </ac:spMkLst>
        </pc:spChg>
        <pc:spChg chg="add mod">
          <ac:chgData name="KevCla12" userId="ef2eb634-4620-450f-93cc-80cc93397e60" providerId="ADAL" clId="{0BF56A33-4BC5-423F-96C0-6A8645FA96BB}" dt="2023-12-03T21:48:07.622" v="31536" actId="790"/>
          <ac:spMkLst>
            <pc:docMk/>
            <pc:sldMk cId="3534520235" sldId="1173"/>
            <ac:spMk id="16" creationId="{744510F5-A8F1-2C64-70E9-E3C9462F9797}"/>
          </ac:spMkLst>
        </pc:spChg>
        <pc:spChg chg="add mod">
          <ac:chgData name="KevCla12" userId="ef2eb634-4620-450f-93cc-80cc93397e60" providerId="ADAL" clId="{0BF56A33-4BC5-423F-96C0-6A8645FA96BB}" dt="2023-12-03T21:48:07.623" v="31537" actId="790"/>
          <ac:spMkLst>
            <pc:docMk/>
            <pc:sldMk cId="3534520235" sldId="1173"/>
            <ac:spMk id="17" creationId="{8A9CDEC8-892C-C3DB-3E2A-4562F86F787F}"/>
          </ac:spMkLst>
        </pc:spChg>
        <pc:spChg chg="del mod">
          <ac:chgData name="KevCla12" userId="ef2eb634-4620-450f-93cc-80cc93397e60" providerId="ADAL" clId="{0BF56A33-4BC5-423F-96C0-6A8645FA96BB}" dt="2023-11-30T20:04:40.584" v="9384" actId="478"/>
          <ac:spMkLst>
            <pc:docMk/>
            <pc:sldMk cId="3534520235" sldId="1173"/>
            <ac:spMk id="17" creationId="{C22CFC35-351A-1868-5CB6-20D9DA3B9902}"/>
          </ac:spMkLst>
        </pc:spChg>
        <pc:spChg chg="add mod">
          <ac:chgData name="KevCla12" userId="ef2eb634-4620-450f-93cc-80cc93397e60" providerId="ADAL" clId="{0BF56A33-4BC5-423F-96C0-6A8645FA96BB}" dt="2023-12-03T21:48:07.546" v="31472" actId="790"/>
          <ac:spMkLst>
            <pc:docMk/>
            <pc:sldMk cId="3534520235" sldId="1173"/>
            <ac:spMk id="18" creationId="{1924DF93-A774-0B55-5EA0-6FE0A12B3F31}"/>
          </ac:spMkLst>
        </pc:spChg>
        <pc:spChg chg="add mod">
          <ac:chgData name="KevCla12" userId="ef2eb634-4620-450f-93cc-80cc93397e60" providerId="ADAL" clId="{0BF56A33-4BC5-423F-96C0-6A8645FA96BB}" dt="2023-12-03T21:48:07.549" v="31473" actId="790"/>
          <ac:spMkLst>
            <pc:docMk/>
            <pc:sldMk cId="3534520235" sldId="1173"/>
            <ac:spMk id="19" creationId="{714C8199-CFE1-87AE-6B1D-ABAD183BDD24}"/>
          </ac:spMkLst>
        </pc:spChg>
        <pc:spChg chg="mod">
          <ac:chgData name="KevCla12" userId="ef2eb634-4620-450f-93cc-80cc93397e60" providerId="ADAL" clId="{0BF56A33-4BC5-423F-96C0-6A8645FA96BB}" dt="2023-12-03T21:48:07.538" v="31470" actId="790"/>
          <ac:spMkLst>
            <pc:docMk/>
            <pc:sldMk cId="3534520235" sldId="1173"/>
            <ac:spMk id="21" creationId="{832FD35D-B91A-6AAD-C703-84CDF09CCC65}"/>
          </ac:spMkLst>
        </pc:spChg>
        <pc:spChg chg="add mod">
          <ac:chgData name="KevCla12" userId="ef2eb634-4620-450f-93cc-80cc93397e60" providerId="ADAL" clId="{0BF56A33-4BC5-423F-96C0-6A8645FA96BB}" dt="2023-12-03T21:48:07.624" v="31538" actId="790"/>
          <ac:spMkLst>
            <pc:docMk/>
            <pc:sldMk cId="3534520235" sldId="1173"/>
            <ac:spMk id="22" creationId="{FC3B076D-6F4E-9409-61AA-24245440E79C}"/>
          </ac:spMkLst>
        </pc:spChg>
        <pc:spChg chg="del">
          <ac:chgData name="KevCla12" userId="ef2eb634-4620-450f-93cc-80cc93397e60" providerId="ADAL" clId="{0BF56A33-4BC5-423F-96C0-6A8645FA96BB}" dt="2023-11-30T20:04:52.284" v="9391" actId="478"/>
          <ac:spMkLst>
            <pc:docMk/>
            <pc:sldMk cId="3534520235" sldId="1173"/>
            <ac:spMk id="23" creationId="{CBE54B35-D231-09CB-EE7E-6FDAD85DBBAD}"/>
          </ac:spMkLst>
        </pc:spChg>
        <pc:spChg chg="add mod">
          <ac:chgData name="KevCla12" userId="ef2eb634-4620-450f-93cc-80cc93397e60" providerId="ADAL" clId="{0BF56A33-4BC5-423F-96C0-6A8645FA96BB}" dt="2023-12-03T21:48:07.624" v="31539" actId="790"/>
          <ac:spMkLst>
            <pc:docMk/>
            <pc:sldMk cId="3534520235" sldId="1173"/>
            <ac:spMk id="23" creationId="{E6613962-62BD-736A-C5E3-E2F23DCE1098}"/>
          </ac:spMkLst>
        </pc:spChg>
        <pc:spChg chg="add mod">
          <ac:chgData name="KevCla12" userId="ef2eb634-4620-450f-93cc-80cc93397e60" providerId="ADAL" clId="{0BF56A33-4BC5-423F-96C0-6A8645FA96BB}" dt="2023-12-03T21:48:07.625" v="31540" actId="790"/>
          <ac:spMkLst>
            <pc:docMk/>
            <pc:sldMk cId="3534520235" sldId="1173"/>
            <ac:spMk id="24" creationId="{58BF21FA-24A0-72BB-F438-8BBC9F6B22A2}"/>
          </ac:spMkLst>
        </pc:spChg>
        <pc:spChg chg="del">
          <ac:chgData name="KevCla12" userId="ef2eb634-4620-450f-93cc-80cc93397e60" providerId="ADAL" clId="{0BF56A33-4BC5-423F-96C0-6A8645FA96BB}" dt="2023-11-30T20:04:50.321" v="9389" actId="478"/>
          <ac:spMkLst>
            <pc:docMk/>
            <pc:sldMk cId="3534520235" sldId="1173"/>
            <ac:spMk id="25" creationId="{748C96A3-EDF1-EBDB-3DAB-888F39F7903F}"/>
          </ac:spMkLst>
        </pc:spChg>
        <pc:spChg chg="add mod">
          <ac:chgData name="KevCla12" userId="ef2eb634-4620-450f-93cc-80cc93397e60" providerId="ADAL" clId="{0BF56A33-4BC5-423F-96C0-6A8645FA96BB}" dt="2023-12-03T21:48:07.626" v="31541" actId="790"/>
          <ac:spMkLst>
            <pc:docMk/>
            <pc:sldMk cId="3534520235" sldId="1173"/>
            <ac:spMk id="25" creationId="{EEC3DB19-90A7-936C-8F43-B01CACACAF26}"/>
          </ac:spMkLst>
        </pc:spChg>
        <pc:spChg chg="mod modVis">
          <ac:chgData name="KevCla12" userId="ef2eb634-4620-450f-93cc-80cc93397e60" providerId="ADAL" clId="{0BF56A33-4BC5-423F-96C0-6A8645FA96BB}" dt="2023-12-03T21:48:07.551" v="31474" actId="790"/>
          <ac:spMkLst>
            <pc:docMk/>
            <pc:sldMk cId="3534520235" sldId="1173"/>
            <ac:spMk id="27" creationId="{8D58E0FF-0F58-42BF-3F8A-B69A105D5930}"/>
          </ac:spMkLst>
        </pc:spChg>
        <pc:spChg chg="mod modVis">
          <ac:chgData name="KevCla12" userId="ef2eb634-4620-450f-93cc-80cc93397e60" providerId="ADAL" clId="{0BF56A33-4BC5-423F-96C0-6A8645FA96BB}" dt="2023-12-03T21:48:07.552" v="31475" actId="790"/>
          <ac:spMkLst>
            <pc:docMk/>
            <pc:sldMk cId="3534520235" sldId="1173"/>
            <ac:spMk id="28" creationId="{28FC0101-A67A-01A3-2A29-4DBC8E16CECC}"/>
          </ac:spMkLst>
        </pc:spChg>
        <pc:spChg chg="mod modVis">
          <ac:chgData name="KevCla12" userId="ef2eb634-4620-450f-93cc-80cc93397e60" providerId="ADAL" clId="{0BF56A33-4BC5-423F-96C0-6A8645FA96BB}" dt="2023-12-03T21:48:07.553" v="31476" actId="790"/>
          <ac:spMkLst>
            <pc:docMk/>
            <pc:sldMk cId="3534520235" sldId="1173"/>
            <ac:spMk id="29" creationId="{E0D3EB55-7C32-8392-21F5-59E5F88D6ECB}"/>
          </ac:spMkLst>
        </pc:spChg>
        <pc:spChg chg="mod modVis">
          <ac:chgData name="KevCla12" userId="ef2eb634-4620-450f-93cc-80cc93397e60" providerId="ADAL" clId="{0BF56A33-4BC5-423F-96C0-6A8645FA96BB}" dt="2023-12-03T21:48:07.554" v="31477" actId="790"/>
          <ac:spMkLst>
            <pc:docMk/>
            <pc:sldMk cId="3534520235" sldId="1173"/>
            <ac:spMk id="30" creationId="{E4BB25FB-D1BA-B706-D045-4B74139752B6}"/>
          </ac:spMkLst>
        </pc:spChg>
        <pc:spChg chg="mod modVis">
          <ac:chgData name="KevCla12" userId="ef2eb634-4620-450f-93cc-80cc93397e60" providerId="ADAL" clId="{0BF56A33-4BC5-423F-96C0-6A8645FA96BB}" dt="2023-12-03T21:48:07.555" v="31478" actId="790"/>
          <ac:spMkLst>
            <pc:docMk/>
            <pc:sldMk cId="3534520235" sldId="1173"/>
            <ac:spMk id="31" creationId="{24FDE808-A9FA-7F76-540C-B19C1DD4FD3C}"/>
          </ac:spMkLst>
        </pc:spChg>
        <pc:spChg chg="mod modVis">
          <ac:chgData name="KevCla12" userId="ef2eb634-4620-450f-93cc-80cc93397e60" providerId="ADAL" clId="{0BF56A33-4BC5-423F-96C0-6A8645FA96BB}" dt="2023-12-03T21:48:07.556" v="31479" actId="790"/>
          <ac:spMkLst>
            <pc:docMk/>
            <pc:sldMk cId="3534520235" sldId="1173"/>
            <ac:spMk id="32" creationId="{AEE95C68-3AB8-D33A-8E79-CA4752FE4339}"/>
          </ac:spMkLst>
        </pc:spChg>
        <pc:spChg chg="mod modVis">
          <ac:chgData name="KevCla12" userId="ef2eb634-4620-450f-93cc-80cc93397e60" providerId="ADAL" clId="{0BF56A33-4BC5-423F-96C0-6A8645FA96BB}" dt="2023-12-03T21:48:07.556" v="31480" actId="790"/>
          <ac:spMkLst>
            <pc:docMk/>
            <pc:sldMk cId="3534520235" sldId="1173"/>
            <ac:spMk id="33" creationId="{C3A9B7DB-AC44-9756-3E49-14BDCF034FF0}"/>
          </ac:spMkLst>
        </pc:spChg>
        <pc:spChg chg="mod modVis">
          <ac:chgData name="KevCla12" userId="ef2eb634-4620-450f-93cc-80cc93397e60" providerId="ADAL" clId="{0BF56A33-4BC5-423F-96C0-6A8645FA96BB}" dt="2023-12-03T21:48:07.557" v="31481" actId="790"/>
          <ac:spMkLst>
            <pc:docMk/>
            <pc:sldMk cId="3534520235" sldId="1173"/>
            <ac:spMk id="34" creationId="{E86F1AF8-6300-643F-6AC2-A85424A86CC1}"/>
          </ac:spMkLst>
        </pc:spChg>
        <pc:spChg chg="mod modVis">
          <ac:chgData name="KevCla12" userId="ef2eb634-4620-450f-93cc-80cc93397e60" providerId="ADAL" clId="{0BF56A33-4BC5-423F-96C0-6A8645FA96BB}" dt="2023-12-03T21:48:07.558" v="31482" actId="790"/>
          <ac:spMkLst>
            <pc:docMk/>
            <pc:sldMk cId="3534520235" sldId="1173"/>
            <ac:spMk id="35" creationId="{C3FF3CAE-5057-8427-1B20-BBCDBA5E9903}"/>
          </ac:spMkLst>
        </pc:spChg>
        <pc:spChg chg="mod modVis">
          <ac:chgData name="KevCla12" userId="ef2eb634-4620-450f-93cc-80cc93397e60" providerId="ADAL" clId="{0BF56A33-4BC5-423F-96C0-6A8645FA96BB}" dt="2023-12-03T21:48:07.559" v="31483" actId="790"/>
          <ac:spMkLst>
            <pc:docMk/>
            <pc:sldMk cId="3534520235" sldId="1173"/>
            <ac:spMk id="36" creationId="{9FBF80B9-D573-6BD1-E3BD-9FD7B1ACC35B}"/>
          </ac:spMkLst>
        </pc:spChg>
        <pc:spChg chg="mod modVis">
          <ac:chgData name="KevCla12" userId="ef2eb634-4620-450f-93cc-80cc93397e60" providerId="ADAL" clId="{0BF56A33-4BC5-423F-96C0-6A8645FA96BB}" dt="2023-12-03T21:48:07.560" v="31484" actId="790"/>
          <ac:spMkLst>
            <pc:docMk/>
            <pc:sldMk cId="3534520235" sldId="1173"/>
            <ac:spMk id="37" creationId="{D9C1DF02-8563-B171-2A2E-72B66C2DFF6B}"/>
          </ac:spMkLst>
        </pc:spChg>
        <pc:spChg chg="mod modVis">
          <ac:chgData name="KevCla12" userId="ef2eb634-4620-450f-93cc-80cc93397e60" providerId="ADAL" clId="{0BF56A33-4BC5-423F-96C0-6A8645FA96BB}" dt="2023-12-03T21:48:07.561" v="31485" actId="790"/>
          <ac:spMkLst>
            <pc:docMk/>
            <pc:sldMk cId="3534520235" sldId="1173"/>
            <ac:spMk id="38" creationId="{F9CA6A12-46C2-37A7-8CB4-C82568E84B99}"/>
          </ac:spMkLst>
        </pc:spChg>
        <pc:spChg chg="mod modVis">
          <ac:chgData name="KevCla12" userId="ef2eb634-4620-450f-93cc-80cc93397e60" providerId="ADAL" clId="{0BF56A33-4BC5-423F-96C0-6A8645FA96BB}" dt="2023-12-03T21:48:07.562" v="31486" actId="790"/>
          <ac:spMkLst>
            <pc:docMk/>
            <pc:sldMk cId="3534520235" sldId="1173"/>
            <ac:spMk id="39" creationId="{09AC897D-1B59-4571-E8AE-510C118A4A92}"/>
          </ac:spMkLst>
        </pc:spChg>
        <pc:spChg chg="mod modVis">
          <ac:chgData name="KevCla12" userId="ef2eb634-4620-450f-93cc-80cc93397e60" providerId="ADAL" clId="{0BF56A33-4BC5-423F-96C0-6A8645FA96BB}" dt="2023-12-03T21:48:07.563" v="31487" actId="790"/>
          <ac:spMkLst>
            <pc:docMk/>
            <pc:sldMk cId="3534520235" sldId="1173"/>
            <ac:spMk id="40" creationId="{0B7F39F9-8149-64D3-95DD-F4A649D6D0B2}"/>
          </ac:spMkLst>
        </pc:spChg>
        <pc:spChg chg="mod modVis">
          <ac:chgData name="KevCla12" userId="ef2eb634-4620-450f-93cc-80cc93397e60" providerId="ADAL" clId="{0BF56A33-4BC5-423F-96C0-6A8645FA96BB}" dt="2023-12-03T21:48:07.564" v="31488" actId="790"/>
          <ac:spMkLst>
            <pc:docMk/>
            <pc:sldMk cId="3534520235" sldId="1173"/>
            <ac:spMk id="41" creationId="{6B53AFD5-A1C2-207F-765F-7351F01C7553}"/>
          </ac:spMkLst>
        </pc:spChg>
        <pc:spChg chg="add mod">
          <ac:chgData name="KevCla12" userId="ef2eb634-4620-450f-93cc-80cc93397e60" providerId="ADAL" clId="{0BF56A33-4BC5-423F-96C0-6A8645FA96BB}" dt="2023-12-03T21:48:07.566" v="31489" actId="790"/>
          <ac:spMkLst>
            <pc:docMk/>
            <pc:sldMk cId="3534520235" sldId="1173"/>
            <ac:spMk id="42" creationId="{4861E9C6-4AA5-141A-265F-D0F051E209CA}"/>
          </ac:spMkLst>
        </pc:spChg>
        <pc:spChg chg="add del mod">
          <ac:chgData name="KevCla12" userId="ef2eb634-4620-450f-93cc-80cc93397e60" providerId="ADAL" clId="{0BF56A33-4BC5-423F-96C0-6A8645FA96BB}" dt="2023-12-02T17:22:55.901" v="12389" actId="478"/>
          <ac:spMkLst>
            <pc:docMk/>
            <pc:sldMk cId="3534520235" sldId="1173"/>
            <ac:spMk id="43" creationId="{DE6FD6E4-CF1D-5339-FBD6-AD8E04400D69}"/>
          </ac:spMkLst>
        </pc:spChg>
        <pc:spChg chg="add mod">
          <ac:chgData name="KevCla12" userId="ef2eb634-4620-450f-93cc-80cc93397e60" providerId="ADAL" clId="{0BF56A33-4BC5-423F-96C0-6A8645FA96BB}" dt="2023-12-03T21:48:07.627" v="31542" actId="790"/>
          <ac:spMkLst>
            <pc:docMk/>
            <pc:sldMk cId="3534520235" sldId="1173"/>
            <ac:spMk id="44" creationId="{05351679-B115-8A23-6156-E63291449B9E}"/>
          </ac:spMkLst>
        </pc:spChg>
        <pc:spChg chg="mod modVis">
          <ac:chgData name="KevCla12" userId="ef2eb634-4620-450f-93cc-80cc93397e60" providerId="ADAL" clId="{0BF56A33-4BC5-423F-96C0-6A8645FA96BB}" dt="2023-11-30T20:36:26.836" v="9730"/>
          <ac:spMkLst>
            <pc:docMk/>
            <pc:sldMk cId="3534520235" sldId="1173"/>
            <ac:spMk id="44" creationId="{5247EC54-D083-AE78-A381-772134E047CE}"/>
          </ac:spMkLst>
        </pc:spChg>
        <pc:spChg chg="add mod">
          <ac:chgData name="KevCla12" userId="ef2eb634-4620-450f-93cc-80cc93397e60" providerId="ADAL" clId="{0BF56A33-4BC5-423F-96C0-6A8645FA96BB}" dt="2023-12-03T21:48:07.627" v="31543" actId="790"/>
          <ac:spMkLst>
            <pc:docMk/>
            <pc:sldMk cId="3534520235" sldId="1173"/>
            <ac:spMk id="45" creationId="{2E3873CB-1378-AB2A-0A82-AB374AE9A143}"/>
          </ac:spMkLst>
        </pc:spChg>
        <pc:spChg chg="mod modVis">
          <ac:chgData name="KevCla12" userId="ef2eb634-4620-450f-93cc-80cc93397e60" providerId="ADAL" clId="{0BF56A33-4BC5-423F-96C0-6A8645FA96BB}" dt="2023-11-30T20:36:26.836" v="9730"/>
          <ac:spMkLst>
            <pc:docMk/>
            <pc:sldMk cId="3534520235" sldId="1173"/>
            <ac:spMk id="45" creationId="{87D3D26C-7EA5-2554-B16D-5CF154F6163D}"/>
          </ac:spMkLst>
        </pc:spChg>
        <pc:spChg chg="mod modVis">
          <ac:chgData name="KevCla12" userId="ef2eb634-4620-450f-93cc-80cc93397e60" providerId="ADAL" clId="{0BF56A33-4BC5-423F-96C0-6A8645FA96BB}" dt="2023-11-30T20:36:26.836" v="9730"/>
          <ac:spMkLst>
            <pc:docMk/>
            <pc:sldMk cId="3534520235" sldId="1173"/>
            <ac:spMk id="46" creationId="{53853364-AF0C-D477-A731-84E3BE16A76C}"/>
          </ac:spMkLst>
        </pc:spChg>
        <pc:spChg chg="add mod">
          <ac:chgData name="KevCla12" userId="ef2eb634-4620-450f-93cc-80cc93397e60" providerId="ADAL" clId="{0BF56A33-4BC5-423F-96C0-6A8645FA96BB}" dt="2023-12-03T21:48:07.628" v="31544" actId="790"/>
          <ac:spMkLst>
            <pc:docMk/>
            <pc:sldMk cId="3534520235" sldId="1173"/>
            <ac:spMk id="46" creationId="{FCD3D6F2-E11E-8154-1BD9-B708830C9150}"/>
          </ac:spMkLst>
        </pc:spChg>
        <pc:spChg chg="mod modVis">
          <ac:chgData name="KevCla12" userId="ef2eb634-4620-450f-93cc-80cc93397e60" providerId="ADAL" clId="{0BF56A33-4BC5-423F-96C0-6A8645FA96BB}" dt="2023-11-30T20:36:26.836" v="9730"/>
          <ac:spMkLst>
            <pc:docMk/>
            <pc:sldMk cId="3534520235" sldId="1173"/>
            <ac:spMk id="47" creationId="{5C3B2457-91AA-6EEE-0C0B-3E93C4B79043}"/>
          </ac:spMkLst>
        </pc:spChg>
        <pc:spChg chg="add mod">
          <ac:chgData name="KevCla12" userId="ef2eb634-4620-450f-93cc-80cc93397e60" providerId="ADAL" clId="{0BF56A33-4BC5-423F-96C0-6A8645FA96BB}" dt="2023-12-03T21:48:07.629" v="31545" actId="790"/>
          <ac:spMkLst>
            <pc:docMk/>
            <pc:sldMk cId="3534520235" sldId="1173"/>
            <ac:spMk id="47" creationId="{94D27D64-A45B-4673-5853-CBC803F36550}"/>
          </ac:spMkLst>
        </pc:spChg>
        <pc:spChg chg="mod modVis">
          <ac:chgData name="KevCla12" userId="ef2eb634-4620-450f-93cc-80cc93397e60" providerId="ADAL" clId="{0BF56A33-4BC5-423F-96C0-6A8645FA96BB}" dt="2023-11-30T20:36:26.836" v="9730"/>
          <ac:spMkLst>
            <pc:docMk/>
            <pc:sldMk cId="3534520235" sldId="1173"/>
            <ac:spMk id="48" creationId="{794A82E1-528B-7463-2DF8-3E90D97B1D0D}"/>
          </ac:spMkLst>
        </pc:spChg>
        <pc:spChg chg="add mod">
          <ac:chgData name="KevCla12" userId="ef2eb634-4620-450f-93cc-80cc93397e60" providerId="ADAL" clId="{0BF56A33-4BC5-423F-96C0-6A8645FA96BB}" dt="2023-12-03T21:48:07.630" v="31546" actId="790"/>
          <ac:spMkLst>
            <pc:docMk/>
            <pc:sldMk cId="3534520235" sldId="1173"/>
            <ac:spMk id="48" creationId="{A1B28934-C33D-7C18-388B-CF7785F543EE}"/>
          </ac:spMkLst>
        </pc:spChg>
        <pc:spChg chg="mod modVis">
          <ac:chgData name="KevCla12" userId="ef2eb634-4620-450f-93cc-80cc93397e60" providerId="ADAL" clId="{0BF56A33-4BC5-423F-96C0-6A8645FA96BB}" dt="2023-11-30T20:36:26.836" v="9730"/>
          <ac:spMkLst>
            <pc:docMk/>
            <pc:sldMk cId="3534520235" sldId="1173"/>
            <ac:spMk id="49" creationId="{0662BEC1-7B55-5EFC-E597-2745A2DA1218}"/>
          </ac:spMkLst>
        </pc:spChg>
        <pc:spChg chg="add mod">
          <ac:chgData name="KevCla12" userId="ef2eb634-4620-450f-93cc-80cc93397e60" providerId="ADAL" clId="{0BF56A33-4BC5-423F-96C0-6A8645FA96BB}" dt="2023-12-03T21:48:07.631" v="31547" actId="790"/>
          <ac:spMkLst>
            <pc:docMk/>
            <pc:sldMk cId="3534520235" sldId="1173"/>
            <ac:spMk id="49" creationId="{FA82E168-FD5F-DB91-35B3-045E71C3394E}"/>
          </ac:spMkLst>
        </pc:spChg>
        <pc:spChg chg="add mod">
          <ac:chgData name="KevCla12" userId="ef2eb634-4620-450f-93cc-80cc93397e60" providerId="ADAL" clId="{0BF56A33-4BC5-423F-96C0-6A8645FA96BB}" dt="2023-12-03T21:48:07.632" v="31548" actId="790"/>
          <ac:spMkLst>
            <pc:docMk/>
            <pc:sldMk cId="3534520235" sldId="1173"/>
            <ac:spMk id="50" creationId="{6AE06FF9-3239-EBD3-F8F7-F1D5C2A35B65}"/>
          </ac:spMkLst>
        </pc:spChg>
        <pc:spChg chg="mod modVis">
          <ac:chgData name="KevCla12" userId="ef2eb634-4620-450f-93cc-80cc93397e60" providerId="ADAL" clId="{0BF56A33-4BC5-423F-96C0-6A8645FA96BB}" dt="2023-11-30T20:36:26.836" v="9730"/>
          <ac:spMkLst>
            <pc:docMk/>
            <pc:sldMk cId="3534520235" sldId="1173"/>
            <ac:spMk id="50" creationId="{A1A31454-A410-3C50-5843-FE271905C10E}"/>
          </ac:spMkLst>
        </pc:spChg>
        <pc:spChg chg="add del mod">
          <ac:chgData name="KevCla12" userId="ef2eb634-4620-450f-93cc-80cc93397e60" providerId="ADAL" clId="{0BF56A33-4BC5-423F-96C0-6A8645FA96BB}" dt="2023-12-02T17:24:03.207" v="12405" actId="478"/>
          <ac:spMkLst>
            <pc:docMk/>
            <pc:sldMk cId="3534520235" sldId="1173"/>
            <ac:spMk id="51" creationId="{3AD5FB9B-119A-8ED6-BFBD-078B4E8E6460}"/>
          </ac:spMkLst>
        </pc:spChg>
        <pc:spChg chg="mod modVis">
          <ac:chgData name="KevCla12" userId="ef2eb634-4620-450f-93cc-80cc93397e60" providerId="ADAL" clId="{0BF56A33-4BC5-423F-96C0-6A8645FA96BB}" dt="2023-11-30T20:36:26.836" v="9730"/>
          <ac:spMkLst>
            <pc:docMk/>
            <pc:sldMk cId="3534520235" sldId="1173"/>
            <ac:spMk id="51" creationId="{83FA239C-80C8-9AE9-CC1E-462B2928F3E3}"/>
          </ac:spMkLst>
        </pc:spChg>
        <pc:spChg chg="mod modVis">
          <ac:chgData name="KevCla12" userId="ef2eb634-4620-450f-93cc-80cc93397e60" providerId="ADAL" clId="{0BF56A33-4BC5-423F-96C0-6A8645FA96BB}" dt="2023-11-30T20:36:26.836" v="9730"/>
          <ac:spMkLst>
            <pc:docMk/>
            <pc:sldMk cId="3534520235" sldId="1173"/>
            <ac:spMk id="52" creationId="{8E403D22-8BC5-B36A-5FAB-13CBA7310525}"/>
          </ac:spMkLst>
        </pc:spChg>
        <pc:spChg chg="add mod">
          <ac:chgData name="KevCla12" userId="ef2eb634-4620-450f-93cc-80cc93397e60" providerId="ADAL" clId="{0BF56A33-4BC5-423F-96C0-6A8645FA96BB}" dt="2023-12-02T17:13:25.264" v="12259" actId="571"/>
          <ac:spMkLst>
            <pc:docMk/>
            <pc:sldMk cId="3534520235" sldId="1173"/>
            <ac:spMk id="52" creationId="{952C21B9-B863-E6EE-44A6-0B91D1839078}"/>
          </ac:spMkLst>
        </pc:spChg>
        <pc:spChg chg="add mod">
          <ac:chgData name="KevCla12" userId="ef2eb634-4620-450f-93cc-80cc93397e60" providerId="ADAL" clId="{0BF56A33-4BC5-423F-96C0-6A8645FA96BB}" dt="2023-12-02T17:14:20.375" v="12265" actId="571"/>
          <ac:spMkLst>
            <pc:docMk/>
            <pc:sldMk cId="3534520235" sldId="1173"/>
            <ac:spMk id="53" creationId="{296A0012-F625-08B6-65BC-1976DBDE129D}"/>
          </ac:spMkLst>
        </pc:spChg>
        <pc:spChg chg="mod modVis">
          <ac:chgData name="KevCla12" userId="ef2eb634-4620-450f-93cc-80cc93397e60" providerId="ADAL" clId="{0BF56A33-4BC5-423F-96C0-6A8645FA96BB}" dt="2023-11-30T20:36:26.836" v="9730"/>
          <ac:spMkLst>
            <pc:docMk/>
            <pc:sldMk cId="3534520235" sldId="1173"/>
            <ac:spMk id="53" creationId="{E84D7890-7C0D-5506-BCB3-4928491F7664}"/>
          </ac:spMkLst>
        </pc:spChg>
        <pc:spChg chg="mod modVis">
          <ac:chgData name="KevCla12" userId="ef2eb634-4620-450f-93cc-80cc93397e60" providerId="ADAL" clId="{0BF56A33-4BC5-423F-96C0-6A8645FA96BB}" dt="2023-12-03T21:48:07.567" v="31490" actId="790"/>
          <ac:spMkLst>
            <pc:docMk/>
            <pc:sldMk cId="3534520235" sldId="1173"/>
            <ac:spMk id="55" creationId="{688162A0-9579-B05F-D6F5-D9195200594F}"/>
          </ac:spMkLst>
        </pc:spChg>
        <pc:spChg chg="mod modVis">
          <ac:chgData name="KevCla12" userId="ef2eb634-4620-450f-93cc-80cc93397e60" providerId="ADAL" clId="{0BF56A33-4BC5-423F-96C0-6A8645FA96BB}" dt="2023-12-03T21:48:07.568" v="31491" actId="790"/>
          <ac:spMkLst>
            <pc:docMk/>
            <pc:sldMk cId="3534520235" sldId="1173"/>
            <ac:spMk id="56" creationId="{4AE38718-356D-1F24-FCC4-3667A66EF51E}"/>
          </ac:spMkLst>
        </pc:spChg>
        <pc:spChg chg="mod modVis">
          <ac:chgData name="KevCla12" userId="ef2eb634-4620-450f-93cc-80cc93397e60" providerId="ADAL" clId="{0BF56A33-4BC5-423F-96C0-6A8645FA96BB}" dt="2023-12-03T21:48:07.569" v="31492" actId="790"/>
          <ac:spMkLst>
            <pc:docMk/>
            <pc:sldMk cId="3534520235" sldId="1173"/>
            <ac:spMk id="57" creationId="{0BD256BE-6176-05AB-0114-C122EF3C7105}"/>
          </ac:spMkLst>
        </pc:spChg>
        <pc:spChg chg="mod modVis">
          <ac:chgData name="KevCla12" userId="ef2eb634-4620-450f-93cc-80cc93397e60" providerId="ADAL" clId="{0BF56A33-4BC5-423F-96C0-6A8645FA96BB}" dt="2023-12-03T21:48:07.569" v="31493" actId="790"/>
          <ac:spMkLst>
            <pc:docMk/>
            <pc:sldMk cId="3534520235" sldId="1173"/>
            <ac:spMk id="58" creationId="{F15C3850-75FC-C5FA-EB04-70CE4FFC3C37}"/>
          </ac:spMkLst>
        </pc:spChg>
        <pc:spChg chg="mod modVis">
          <ac:chgData name="KevCla12" userId="ef2eb634-4620-450f-93cc-80cc93397e60" providerId="ADAL" clId="{0BF56A33-4BC5-423F-96C0-6A8645FA96BB}" dt="2023-12-03T21:48:07.570" v="31494" actId="790"/>
          <ac:spMkLst>
            <pc:docMk/>
            <pc:sldMk cId="3534520235" sldId="1173"/>
            <ac:spMk id="59" creationId="{F19B2815-C8A2-64A0-37DC-ED789D0C1A12}"/>
          </ac:spMkLst>
        </pc:spChg>
        <pc:spChg chg="mod modVis">
          <ac:chgData name="KevCla12" userId="ef2eb634-4620-450f-93cc-80cc93397e60" providerId="ADAL" clId="{0BF56A33-4BC5-423F-96C0-6A8645FA96BB}" dt="2023-12-03T21:48:07.571" v="31495" actId="790"/>
          <ac:spMkLst>
            <pc:docMk/>
            <pc:sldMk cId="3534520235" sldId="1173"/>
            <ac:spMk id="60" creationId="{4F2A969C-C309-A5F6-6295-2F460E4ECDE2}"/>
          </ac:spMkLst>
        </pc:spChg>
        <pc:spChg chg="mod modVis">
          <ac:chgData name="KevCla12" userId="ef2eb634-4620-450f-93cc-80cc93397e60" providerId="ADAL" clId="{0BF56A33-4BC5-423F-96C0-6A8645FA96BB}" dt="2023-12-03T21:48:07.571" v="31496" actId="790"/>
          <ac:spMkLst>
            <pc:docMk/>
            <pc:sldMk cId="3534520235" sldId="1173"/>
            <ac:spMk id="61" creationId="{E14C3813-5001-0D95-358A-EEAB2A016268}"/>
          </ac:spMkLst>
        </pc:spChg>
        <pc:spChg chg="mod modVis">
          <ac:chgData name="KevCla12" userId="ef2eb634-4620-450f-93cc-80cc93397e60" providerId="ADAL" clId="{0BF56A33-4BC5-423F-96C0-6A8645FA96BB}" dt="2023-12-03T21:48:07.572" v="31497" actId="790"/>
          <ac:spMkLst>
            <pc:docMk/>
            <pc:sldMk cId="3534520235" sldId="1173"/>
            <ac:spMk id="62" creationId="{28FC99EC-B356-0815-12D7-C36396DF3845}"/>
          </ac:spMkLst>
        </pc:spChg>
        <pc:spChg chg="mod modVis">
          <ac:chgData name="KevCla12" userId="ef2eb634-4620-450f-93cc-80cc93397e60" providerId="ADAL" clId="{0BF56A33-4BC5-423F-96C0-6A8645FA96BB}" dt="2023-12-03T21:48:07.573" v="31498" actId="790"/>
          <ac:spMkLst>
            <pc:docMk/>
            <pc:sldMk cId="3534520235" sldId="1173"/>
            <ac:spMk id="64" creationId="{6F9382EC-0C60-999C-DD21-B36831090543}"/>
          </ac:spMkLst>
        </pc:spChg>
        <pc:spChg chg="mod modVis">
          <ac:chgData name="KevCla12" userId="ef2eb634-4620-450f-93cc-80cc93397e60" providerId="ADAL" clId="{0BF56A33-4BC5-423F-96C0-6A8645FA96BB}" dt="2023-12-03T21:48:07.573" v="31499" actId="790"/>
          <ac:spMkLst>
            <pc:docMk/>
            <pc:sldMk cId="3534520235" sldId="1173"/>
            <ac:spMk id="65" creationId="{BA95B332-626D-DD3F-E7D0-14154B1CA290}"/>
          </ac:spMkLst>
        </pc:spChg>
        <pc:spChg chg="mod modVis">
          <ac:chgData name="KevCla12" userId="ef2eb634-4620-450f-93cc-80cc93397e60" providerId="ADAL" clId="{0BF56A33-4BC5-423F-96C0-6A8645FA96BB}" dt="2023-12-03T21:48:07.574" v="31500" actId="790"/>
          <ac:spMkLst>
            <pc:docMk/>
            <pc:sldMk cId="3534520235" sldId="1173"/>
            <ac:spMk id="66" creationId="{37597916-DF7A-F8CD-768B-07AD60AA0EA4}"/>
          </ac:spMkLst>
        </pc:spChg>
        <pc:spChg chg="add mod">
          <ac:chgData name="KevCla12" userId="ef2eb634-4620-450f-93cc-80cc93397e60" providerId="ADAL" clId="{0BF56A33-4BC5-423F-96C0-6A8645FA96BB}" dt="2023-12-03T21:48:07.575" v="31501" actId="790"/>
          <ac:spMkLst>
            <pc:docMk/>
            <pc:sldMk cId="3534520235" sldId="1173"/>
            <ac:spMk id="67" creationId="{E42AB6EE-76CF-AFDD-759F-0405F8D4DD90}"/>
          </ac:spMkLst>
        </pc:spChg>
        <pc:spChg chg="add mod">
          <ac:chgData name="KevCla12" userId="ef2eb634-4620-450f-93cc-80cc93397e60" providerId="ADAL" clId="{0BF56A33-4BC5-423F-96C0-6A8645FA96BB}" dt="2023-12-03T21:48:07.576" v="31502" actId="790"/>
          <ac:spMkLst>
            <pc:docMk/>
            <pc:sldMk cId="3534520235" sldId="1173"/>
            <ac:spMk id="69" creationId="{7A7CFD72-F984-5210-D210-6B99A1D7D59C}"/>
          </ac:spMkLst>
        </pc:spChg>
        <pc:spChg chg="add del mod">
          <ac:chgData name="KevCla12" userId="ef2eb634-4620-450f-93cc-80cc93397e60" providerId="ADAL" clId="{0BF56A33-4BC5-423F-96C0-6A8645FA96BB}" dt="2023-11-30T20:39:31.410" v="9802"/>
          <ac:spMkLst>
            <pc:docMk/>
            <pc:sldMk cId="3534520235" sldId="1173"/>
            <ac:spMk id="70" creationId="{CEF1FB68-E6AE-A692-6049-8062D05FF7B9}"/>
          </ac:spMkLst>
        </pc:spChg>
        <pc:spChg chg="add mod">
          <ac:chgData name="KevCla12" userId="ef2eb634-4620-450f-93cc-80cc93397e60" providerId="ADAL" clId="{0BF56A33-4BC5-423F-96C0-6A8645FA96BB}" dt="2023-12-03T21:48:07.578" v="31503" actId="790"/>
          <ac:spMkLst>
            <pc:docMk/>
            <pc:sldMk cId="3534520235" sldId="1173"/>
            <ac:spMk id="71" creationId="{F4007D91-C03F-D4D9-4CEA-25CC3AAA4DFB}"/>
          </ac:spMkLst>
        </pc:spChg>
        <pc:spChg chg="add mod">
          <ac:chgData name="KevCla12" userId="ef2eb634-4620-450f-93cc-80cc93397e60" providerId="ADAL" clId="{0BF56A33-4BC5-423F-96C0-6A8645FA96BB}" dt="2023-12-03T21:48:07.580" v="31504" actId="790"/>
          <ac:spMkLst>
            <pc:docMk/>
            <pc:sldMk cId="3534520235" sldId="1173"/>
            <ac:spMk id="72" creationId="{17FF5B36-133F-EAB5-456E-DB7C4C65AB15}"/>
          </ac:spMkLst>
        </pc:spChg>
        <pc:spChg chg="add mod">
          <ac:chgData name="KevCla12" userId="ef2eb634-4620-450f-93cc-80cc93397e60" providerId="ADAL" clId="{0BF56A33-4BC5-423F-96C0-6A8645FA96BB}" dt="2023-12-03T21:48:07.581" v="31505" actId="790"/>
          <ac:spMkLst>
            <pc:docMk/>
            <pc:sldMk cId="3534520235" sldId="1173"/>
            <ac:spMk id="73" creationId="{7ECE28A5-B4A0-339F-93D0-8BD8F5338302}"/>
          </ac:spMkLst>
        </pc:spChg>
        <pc:spChg chg="add del">
          <ac:chgData name="KevCla12" userId="ef2eb634-4620-450f-93cc-80cc93397e60" providerId="ADAL" clId="{0BF56A33-4BC5-423F-96C0-6A8645FA96BB}" dt="2023-12-02T17:16:23.434" v="12269" actId="22"/>
          <ac:spMkLst>
            <pc:docMk/>
            <pc:sldMk cId="3534520235" sldId="1173"/>
            <ac:spMk id="74" creationId="{71A93831-7BC4-01DD-38CA-38707AEB4EDE}"/>
          </ac:spMkLst>
        </pc:spChg>
        <pc:spChg chg="mod">
          <ac:chgData name="KevCla12" userId="ef2eb634-4620-450f-93cc-80cc93397e60" providerId="ADAL" clId="{0BF56A33-4BC5-423F-96C0-6A8645FA96BB}" dt="2023-11-30T20:42:16.692" v="10016"/>
          <ac:spMkLst>
            <pc:docMk/>
            <pc:sldMk cId="3534520235" sldId="1173"/>
            <ac:spMk id="76" creationId="{50D7DCF4-3204-6E11-008F-7182EDC0CF5E}"/>
          </ac:spMkLst>
        </pc:spChg>
        <pc:spChg chg="add del mod">
          <ac:chgData name="KevCla12" userId="ef2eb634-4620-450f-93cc-80cc93397e60" providerId="ADAL" clId="{0BF56A33-4BC5-423F-96C0-6A8645FA96BB}" dt="2023-12-02T17:18:05.200" v="12286" actId="478"/>
          <ac:spMkLst>
            <pc:docMk/>
            <pc:sldMk cId="3534520235" sldId="1173"/>
            <ac:spMk id="76" creationId="{6EBD0506-569A-85EB-0490-8B44AF6FF7AE}"/>
          </ac:spMkLst>
        </pc:spChg>
        <pc:spChg chg="mod">
          <ac:chgData name="KevCla12" userId="ef2eb634-4620-450f-93cc-80cc93397e60" providerId="ADAL" clId="{0BF56A33-4BC5-423F-96C0-6A8645FA96BB}" dt="2023-11-30T20:42:16.692" v="10016"/>
          <ac:spMkLst>
            <pc:docMk/>
            <pc:sldMk cId="3534520235" sldId="1173"/>
            <ac:spMk id="77" creationId="{0B086B80-1446-DA7D-FAA3-E1B241B79D2A}"/>
          </ac:spMkLst>
        </pc:spChg>
        <pc:spChg chg="mod">
          <ac:chgData name="KevCla12" userId="ef2eb634-4620-450f-93cc-80cc93397e60" providerId="ADAL" clId="{0BF56A33-4BC5-423F-96C0-6A8645FA96BB}" dt="2023-12-02T17:18:39.048" v="12291" actId="20577"/>
          <ac:spMkLst>
            <pc:docMk/>
            <pc:sldMk cId="3534520235" sldId="1173"/>
            <ac:spMk id="78" creationId="{227470C1-509E-4FAD-EE9A-F0D1693F76A3}"/>
          </ac:spMkLst>
        </pc:spChg>
        <pc:spChg chg="mod">
          <ac:chgData name="KevCla12" userId="ef2eb634-4620-450f-93cc-80cc93397e60" providerId="ADAL" clId="{0BF56A33-4BC5-423F-96C0-6A8645FA96BB}" dt="2023-11-30T20:42:16.692" v="10016"/>
          <ac:spMkLst>
            <pc:docMk/>
            <pc:sldMk cId="3534520235" sldId="1173"/>
            <ac:spMk id="78" creationId="{AEAA4C7E-F749-A14F-26BA-6702FB47E3AB}"/>
          </ac:spMkLst>
        </pc:spChg>
        <pc:spChg chg="mod">
          <ac:chgData name="KevCla12" userId="ef2eb634-4620-450f-93cc-80cc93397e60" providerId="ADAL" clId="{0BF56A33-4BC5-423F-96C0-6A8645FA96BB}" dt="2023-11-30T20:42:16.692" v="10016"/>
          <ac:spMkLst>
            <pc:docMk/>
            <pc:sldMk cId="3534520235" sldId="1173"/>
            <ac:spMk id="79" creationId="{5571C9EC-E98B-5F27-7348-D6289BC6424E}"/>
          </ac:spMkLst>
        </pc:spChg>
        <pc:spChg chg="mod">
          <ac:chgData name="KevCla12" userId="ef2eb634-4620-450f-93cc-80cc93397e60" providerId="ADAL" clId="{0BF56A33-4BC5-423F-96C0-6A8645FA96BB}" dt="2023-12-02T17:18:52.124" v="12293" actId="14100"/>
          <ac:spMkLst>
            <pc:docMk/>
            <pc:sldMk cId="3534520235" sldId="1173"/>
            <ac:spMk id="79" creationId="{EC7E93A5-A5F1-204C-C9E1-0B84A331FACB}"/>
          </ac:spMkLst>
        </pc:spChg>
        <pc:spChg chg="mod">
          <ac:chgData name="KevCla12" userId="ef2eb634-4620-450f-93cc-80cc93397e60" providerId="ADAL" clId="{0BF56A33-4BC5-423F-96C0-6A8645FA96BB}" dt="2023-11-30T20:42:16.692" v="10016"/>
          <ac:spMkLst>
            <pc:docMk/>
            <pc:sldMk cId="3534520235" sldId="1173"/>
            <ac:spMk id="80" creationId="{805C3B0A-DA13-7E6C-AD97-A7CD1835450C}"/>
          </ac:spMkLst>
        </pc:spChg>
        <pc:spChg chg="add del">
          <ac:chgData name="KevCla12" userId="ef2eb634-4620-450f-93cc-80cc93397e60" providerId="ADAL" clId="{0BF56A33-4BC5-423F-96C0-6A8645FA96BB}" dt="2023-12-02T17:21:06.756" v="12297" actId="22"/>
          <ac:spMkLst>
            <pc:docMk/>
            <pc:sldMk cId="3534520235" sldId="1173"/>
            <ac:spMk id="81" creationId="{C1BAB539-533F-7758-8C92-F594F64DC17D}"/>
          </ac:spMkLst>
        </pc:spChg>
        <pc:spChg chg="mod">
          <ac:chgData name="KevCla12" userId="ef2eb634-4620-450f-93cc-80cc93397e60" providerId="ADAL" clId="{0BF56A33-4BC5-423F-96C0-6A8645FA96BB}" dt="2023-11-30T20:42:16.692" v="10016"/>
          <ac:spMkLst>
            <pc:docMk/>
            <pc:sldMk cId="3534520235" sldId="1173"/>
            <ac:spMk id="81" creationId="{D47F887E-3D38-EA0B-9776-A27982AFEFDC}"/>
          </ac:spMkLst>
        </pc:spChg>
        <pc:spChg chg="mod">
          <ac:chgData name="KevCla12" userId="ef2eb634-4620-450f-93cc-80cc93397e60" providerId="ADAL" clId="{0BF56A33-4BC5-423F-96C0-6A8645FA96BB}" dt="2023-11-30T20:42:16.692" v="10016"/>
          <ac:spMkLst>
            <pc:docMk/>
            <pc:sldMk cId="3534520235" sldId="1173"/>
            <ac:spMk id="82" creationId="{25D58026-D154-D746-AD55-83DCDAEBE98A}"/>
          </ac:spMkLst>
        </pc:spChg>
        <pc:spChg chg="add mod">
          <ac:chgData name="KevCla12" userId="ef2eb634-4620-450f-93cc-80cc93397e60" providerId="ADAL" clId="{0BF56A33-4BC5-423F-96C0-6A8645FA96BB}" dt="2023-12-03T21:48:07.635" v="31549" actId="790"/>
          <ac:spMkLst>
            <pc:docMk/>
            <pc:sldMk cId="3534520235" sldId="1173"/>
            <ac:spMk id="83" creationId="{16824470-945C-E5E0-BE95-59FB964CBCCA}"/>
          </ac:spMkLst>
        </pc:spChg>
        <pc:spChg chg="mod">
          <ac:chgData name="KevCla12" userId="ef2eb634-4620-450f-93cc-80cc93397e60" providerId="ADAL" clId="{0BF56A33-4BC5-423F-96C0-6A8645FA96BB}" dt="2023-11-30T20:42:16.692" v="10016"/>
          <ac:spMkLst>
            <pc:docMk/>
            <pc:sldMk cId="3534520235" sldId="1173"/>
            <ac:spMk id="83" creationId="{BAC311E3-4437-8116-47CF-E122052A0CFA}"/>
          </ac:spMkLst>
        </pc:spChg>
        <pc:spChg chg="mod">
          <ac:chgData name="KevCla12" userId="ef2eb634-4620-450f-93cc-80cc93397e60" providerId="ADAL" clId="{0BF56A33-4BC5-423F-96C0-6A8645FA96BB}" dt="2023-11-30T20:42:16.692" v="10016"/>
          <ac:spMkLst>
            <pc:docMk/>
            <pc:sldMk cId="3534520235" sldId="1173"/>
            <ac:spMk id="84" creationId="{567EE88E-86BF-20E5-1015-BC9609A9B931}"/>
          </ac:spMkLst>
        </pc:spChg>
        <pc:spChg chg="add del mod">
          <ac:chgData name="KevCla12" userId="ef2eb634-4620-450f-93cc-80cc93397e60" providerId="ADAL" clId="{0BF56A33-4BC5-423F-96C0-6A8645FA96BB}" dt="2023-12-02T17:21:47.254" v="12379" actId="478"/>
          <ac:spMkLst>
            <pc:docMk/>
            <pc:sldMk cId="3534520235" sldId="1173"/>
            <ac:spMk id="84" creationId="{858113C8-F6F2-8199-1A4E-6E9F18EDFD7A}"/>
          </ac:spMkLst>
        </pc:spChg>
        <pc:spChg chg="add mod">
          <ac:chgData name="KevCla12" userId="ef2eb634-4620-450f-93cc-80cc93397e60" providerId="ADAL" clId="{0BF56A33-4BC5-423F-96C0-6A8645FA96BB}" dt="2023-12-03T21:48:07.637" v="31550" actId="790"/>
          <ac:spMkLst>
            <pc:docMk/>
            <pc:sldMk cId="3534520235" sldId="1173"/>
            <ac:spMk id="85" creationId="{5069BA15-BBAD-B17D-7ED2-442EC0EB2322}"/>
          </ac:spMkLst>
        </pc:spChg>
        <pc:spChg chg="add mod">
          <ac:chgData name="KevCla12" userId="ef2eb634-4620-450f-93cc-80cc93397e60" providerId="ADAL" clId="{0BF56A33-4BC5-423F-96C0-6A8645FA96BB}" dt="2023-12-03T21:48:07.638" v="31551" actId="790"/>
          <ac:spMkLst>
            <pc:docMk/>
            <pc:sldMk cId="3534520235" sldId="1173"/>
            <ac:spMk id="86" creationId="{634E1AC4-1F38-0B78-1764-D432CA99176D}"/>
          </ac:spMkLst>
        </pc:spChg>
        <pc:spChg chg="mod">
          <ac:chgData name="KevCla12" userId="ef2eb634-4620-450f-93cc-80cc93397e60" providerId="ADAL" clId="{0BF56A33-4BC5-423F-96C0-6A8645FA96BB}" dt="2023-11-30T20:42:16.692" v="10016"/>
          <ac:spMkLst>
            <pc:docMk/>
            <pc:sldMk cId="3534520235" sldId="1173"/>
            <ac:spMk id="86" creationId="{C15F3F3C-B0C9-95E8-AAB7-A53ED9D8F3A0}"/>
          </ac:spMkLst>
        </pc:spChg>
        <pc:spChg chg="mod">
          <ac:chgData name="KevCla12" userId="ef2eb634-4620-450f-93cc-80cc93397e60" providerId="ADAL" clId="{0BF56A33-4BC5-423F-96C0-6A8645FA96BB}" dt="2023-11-30T20:42:16.692" v="10016"/>
          <ac:spMkLst>
            <pc:docMk/>
            <pc:sldMk cId="3534520235" sldId="1173"/>
            <ac:spMk id="87" creationId="{5D40AC63-0CEB-E991-722F-C586B058B3B6}"/>
          </ac:spMkLst>
        </pc:spChg>
        <pc:spChg chg="add mod">
          <ac:chgData name="KevCla12" userId="ef2eb634-4620-450f-93cc-80cc93397e60" providerId="ADAL" clId="{0BF56A33-4BC5-423F-96C0-6A8645FA96BB}" dt="2023-12-03T21:48:07.640" v="31552" actId="790"/>
          <ac:spMkLst>
            <pc:docMk/>
            <pc:sldMk cId="3534520235" sldId="1173"/>
            <ac:spMk id="87" creationId="{A9CF7267-51AE-3A26-2863-2104197E8440}"/>
          </ac:spMkLst>
        </pc:spChg>
        <pc:spChg chg="add mod">
          <ac:chgData name="KevCla12" userId="ef2eb634-4620-450f-93cc-80cc93397e60" providerId="ADAL" clId="{0BF56A33-4BC5-423F-96C0-6A8645FA96BB}" dt="2023-12-03T21:48:07.641" v="31553" actId="790"/>
          <ac:spMkLst>
            <pc:docMk/>
            <pc:sldMk cId="3534520235" sldId="1173"/>
            <ac:spMk id="88" creationId="{09A1E3F6-88C7-ACF7-2492-A3604EF19480}"/>
          </ac:spMkLst>
        </pc:spChg>
        <pc:spChg chg="mod">
          <ac:chgData name="KevCla12" userId="ef2eb634-4620-450f-93cc-80cc93397e60" providerId="ADAL" clId="{0BF56A33-4BC5-423F-96C0-6A8645FA96BB}" dt="2023-11-30T20:42:16.692" v="10016"/>
          <ac:spMkLst>
            <pc:docMk/>
            <pc:sldMk cId="3534520235" sldId="1173"/>
            <ac:spMk id="88" creationId="{F7E63BD7-928A-2C2C-3349-0C0C21E207F9}"/>
          </ac:spMkLst>
        </pc:spChg>
        <pc:spChg chg="add mod">
          <ac:chgData name="KevCla12" userId="ef2eb634-4620-450f-93cc-80cc93397e60" providerId="ADAL" clId="{0BF56A33-4BC5-423F-96C0-6A8645FA96BB}" dt="2023-12-03T21:48:07.582" v="31506" actId="790"/>
          <ac:spMkLst>
            <pc:docMk/>
            <pc:sldMk cId="3534520235" sldId="1173"/>
            <ac:spMk id="89" creationId="{D4658FB7-F2D3-1ED3-6D5B-0BDE6E22B202}"/>
          </ac:spMkLst>
        </pc:spChg>
        <pc:spChg chg="add mod">
          <ac:chgData name="KevCla12" userId="ef2eb634-4620-450f-93cc-80cc93397e60" providerId="ADAL" clId="{0BF56A33-4BC5-423F-96C0-6A8645FA96BB}" dt="2023-12-03T21:48:07.585" v="31507" actId="790"/>
          <ac:spMkLst>
            <pc:docMk/>
            <pc:sldMk cId="3534520235" sldId="1173"/>
            <ac:spMk id="90" creationId="{2D31FF3C-9F98-D2FE-CFF5-FD7DFB7B2D1E}"/>
          </ac:spMkLst>
        </pc:spChg>
        <pc:spChg chg="add del mod">
          <ac:chgData name="KevCla12" userId="ef2eb634-4620-450f-93cc-80cc93397e60" providerId="ADAL" clId="{0BF56A33-4BC5-423F-96C0-6A8645FA96BB}" dt="2023-12-03T21:48:07.587" v="31508" actId="790"/>
          <ac:spMkLst>
            <pc:docMk/>
            <pc:sldMk cId="3534520235" sldId="1173"/>
            <ac:spMk id="91" creationId="{3CF2FBAD-38E4-F95C-D1FB-D3B9FBD36C22}"/>
          </ac:spMkLst>
        </pc:spChg>
        <pc:spChg chg="add mod">
          <ac:chgData name="KevCla12" userId="ef2eb634-4620-450f-93cc-80cc93397e60" providerId="ADAL" clId="{0BF56A33-4BC5-423F-96C0-6A8645FA96BB}" dt="2023-12-03T21:48:07.592" v="31509" actId="790"/>
          <ac:spMkLst>
            <pc:docMk/>
            <pc:sldMk cId="3534520235" sldId="1173"/>
            <ac:spMk id="92" creationId="{31954087-8855-3571-4B47-ED44AE416B9A}"/>
          </ac:spMkLst>
        </pc:spChg>
        <pc:spChg chg="add mod">
          <ac:chgData name="KevCla12" userId="ef2eb634-4620-450f-93cc-80cc93397e60" providerId="ADAL" clId="{0BF56A33-4BC5-423F-96C0-6A8645FA96BB}" dt="2023-12-03T21:48:07.643" v="31554" actId="790"/>
          <ac:spMkLst>
            <pc:docMk/>
            <pc:sldMk cId="3534520235" sldId="1173"/>
            <ac:spMk id="93" creationId="{811BA2E4-7E50-D30B-0554-57D4F1F2A88C}"/>
          </ac:spMkLst>
        </pc:spChg>
        <pc:spChg chg="mod">
          <ac:chgData name="KevCla12" userId="ef2eb634-4620-450f-93cc-80cc93397e60" providerId="ADAL" clId="{0BF56A33-4BC5-423F-96C0-6A8645FA96BB}" dt="2023-11-30T20:42:21.434" v="10018"/>
          <ac:spMkLst>
            <pc:docMk/>
            <pc:sldMk cId="3534520235" sldId="1173"/>
            <ac:spMk id="95" creationId="{E81349B6-E1A2-630F-F3A7-9EE7419313B6}"/>
          </ac:spMkLst>
        </pc:spChg>
        <pc:spChg chg="mod">
          <ac:chgData name="KevCla12" userId="ef2eb634-4620-450f-93cc-80cc93397e60" providerId="ADAL" clId="{0BF56A33-4BC5-423F-96C0-6A8645FA96BB}" dt="2023-11-30T20:42:21.434" v="10018"/>
          <ac:spMkLst>
            <pc:docMk/>
            <pc:sldMk cId="3534520235" sldId="1173"/>
            <ac:spMk id="96" creationId="{90B92E30-60F3-E6AF-34CF-B985FC8128D8}"/>
          </ac:spMkLst>
        </pc:spChg>
        <pc:spChg chg="add del">
          <ac:chgData name="KevCla12" userId="ef2eb634-4620-450f-93cc-80cc93397e60" providerId="ADAL" clId="{0BF56A33-4BC5-423F-96C0-6A8645FA96BB}" dt="2023-12-02T17:29:06.420" v="12465" actId="22"/>
          <ac:spMkLst>
            <pc:docMk/>
            <pc:sldMk cId="3534520235" sldId="1173"/>
            <ac:spMk id="97" creationId="{147D9896-B821-BBBA-4214-01CA0BF69AA0}"/>
          </ac:spMkLst>
        </pc:spChg>
        <pc:spChg chg="mod">
          <ac:chgData name="KevCla12" userId="ef2eb634-4620-450f-93cc-80cc93397e60" providerId="ADAL" clId="{0BF56A33-4BC5-423F-96C0-6A8645FA96BB}" dt="2023-11-30T20:42:21.434" v="10018"/>
          <ac:spMkLst>
            <pc:docMk/>
            <pc:sldMk cId="3534520235" sldId="1173"/>
            <ac:spMk id="97" creationId="{8BA7F82C-CD70-50FB-74CC-B375DE8E62B8}"/>
          </ac:spMkLst>
        </pc:spChg>
        <pc:spChg chg="mod">
          <ac:chgData name="KevCla12" userId="ef2eb634-4620-450f-93cc-80cc93397e60" providerId="ADAL" clId="{0BF56A33-4BC5-423F-96C0-6A8645FA96BB}" dt="2023-11-30T20:42:21.434" v="10018"/>
          <ac:spMkLst>
            <pc:docMk/>
            <pc:sldMk cId="3534520235" sldId="1173"/>
            <ac:spMk id="98" creationId="{4DDBB997-B522-89A4-AD65-D026069D106F}"/>
          </ac:spMkLst>
        </pc:spChg>
        <pc:spChg chg="mod">
          <ac:chgData name="KevCla12" userId="ef2eb634-4620-450f-93cc-80cc93397e60" providerId="ADAL" clId="{0BF56A33-4BC5-423F-96C0-6A8645FA96BB}" dt="2023-11-30T20:42:21.434" v="10018"/>
          <ac:spMkLst>
            <pc:docMk/>
            <pc:sldMk cId="3534520235" sldId="1173"/>
            <ac:spMk id="99" creationId="{4917B617-A9E8-589A-D144-F4C8BDC68571}"/>
          </ac:spMkLst>
        </pc:spChg>
        <pc:spChg chg="add del">
          <ac:chgData name="KevCla12" userId="ef2eb634-4620-450f-93cc-80cc93397e60" providerId="ADAL" clId="{0BF56A33-4BC5-423F-96C0-6A8645FA96BB}" dt="2023-12-02T17:29:09.963" v="12468" actId="22"/>
          <ac:spMkLst>
            <pc:docMk/>
            <pc:sldMk cId="3534520235" sldId="1173"/>
            <ac:spMk id="99" creationId="{494AA066-12FA-B270-4709-D910346BBB6E}"/>
          </ac:spMkLst>
        </pc:spChg>
        <pc:spChg chg="mod">
          <ac:chgData name="KevCla12" userId="ef2eb634-4620-450f-93cc-80cc93397e60" providerId="ADAL" clId="{0BF56A33-4BC5-423F-96C0-6A8645FA96BB}" dt="2023-11-30T20:42:21.434" v="10018"/>
          <ac:spMkLst>
            <pc:docMk/>
            <pc:sldMk cId="3534520235" sldId="1173"/>
            <ac:spMk id="100" creationId="{68339D26-BAC0-BC65-7FE5-C19CB3D688E3}"/>
          </ac:spMkLst>
        </pc:spChg>
        <pc:spChg chg="add mod">
          <ac:chgData name="KevCla12" userId="ef2eb634-4620-450f-93cc-80cc93397e60" providerId="ADAL" clId="{0BF56A33-4BC5-423F-96C0-6A8645FA96BB}" dt="2023-12-03T21:48:07.647" v="31555" actId="790"/>
          <ac:spMkLst>
            <pc:docMk/>
            <pc:sldMk cId="3534520235" sldId="1173"/>
            <ac:spMk id="101" creationId="{1220FCEC-4982-D12A-CCDE-591E4196BF6D}"/>
          </ac:spMkLst>
        </pc:spChg>
        <pc:spChg chg="mod">
          <ac:chgData name="KevCla12" userId="ef2eb634-4620-450f-93cc-80cc93397e60" providerId="ADAL" clId="{0BF56A33-4BC5-423F-96C0-6A8645FA96BB}" dt="2023-11-30T20:42:21.434" v="10018"/>
          <ac:spMkLst>
            <pc:docMk/>
            <pc:sldMk cId="3534520235" sldId="1173"/>
            <ac:spMk id="101" creationId="{BDB5220A-BE6D-2418-9D71-24B2E5A64E59}"/>
          </ac:spMkLst>
        </pc:spChg>
        <pc:spChg chg="mod">
          <ac:chgData name="KevCla12" userId="ef2eb634-4620-450f-93cc-80cc93397e60" providerId="ADAL" clId="{0BF56A33-4BC5-423F-96C0-6A8645FA96BB}" dt="2023-11-30T20:42:21.434" v="10018"/>
          <ac:spMkLst>
            <pc:docMk/>
            <pc:sldMk cId="3534520235" sldId="1173"/>
            <ac:spMk id="102" creationId="{1FD85A72-57ED-E46A-A009-55BE556EF5DF}"/>
          </ac:spMkLst>
        </pc:spChg>
        <pc:spChg chg="mod">
          <ac:chgData name="KevCla12" userId="ef2eb634-4620-450f-93cc-80cc93397e60" providerId="ADAL" clId="{0BF56A33-4BC5-423F-96C0-6A8645FA96BB}" dt="2023-11-30T20:42:21.434" v="10018"/>
          <ac:spMkLst>
            <pc:docMk/>
            <pc:sldMk cId="3534520235" sldId="1173"/>
            <ac:spMk id="103" creationId="{B8337F18-E7FF-2BBF-FB92-D1F526B50003}"/>
          </ac:spMkLst>
        </pc:spChg>
        <pc:spChg chg="mod">
          <ac:chgData name="KevCla12" userId="ef2eb634-4620-450f-93cc-80cc93397e60" providerId="ADAL" clId="{0BF56A33-4BC5-423F-96C0-6A8645FA96BB}" dt="2023-11-30T20:42:21.434" v="10018"/>
          <ac:spMkLst>
            <pc:docMk/>
            <pc:sldMk cId="3534520235" sldId="1173"/>
            <ac:spMk id="105" creationId="{5C9D7FB1-6C92-90A2-D726-281140C98F18}"/>
          </ac:spMkLst>
        </pc:spChg>
        <pc:spChg chg="mod">
          <ac:chgData name="KevCla12" userId="ef2eb634-4620-450f-93cc-80cc93397e60" providerId="ADAL" clId="{0BF56A33-4BC5-423F-96C0-6A8645FA96BB}" dt="2023-11-30T20:42:21.434" v="10018"/>
          <ac:spMkLst>
            <pc:docMk/>
            <pc:sldMk cId="3534520235" sldId="1173"/>
            <ac:spMk id="106" creationId="{9DEAC0F2-863D-2141-E695-113032C32872}"/>
          </ac:spMkLst>
        </pc:spChg>
        <pc:spChg chg="mod">
          <ac:chgData name="KevCla12" userId="ef2eb634-4620-450f-93cc-80cc93397e60" providerId="ADAL" clId="{0BF56A33-4BC5-423F-96C0-6A8645FA96BB}" dt="2023-11-30T20:42:21.434" v="10018"/>
          <ac:spMkLst>
            <pc:docMk/>
            <pc:sldMk cId="3534520235" sldId="1173"/>
            <ac:spMk id="107" creationId="{DB6E2E5B-48B0-134F-9B80-FD47E7D2CC6D}"/>
          </ac:spMkLst>
        </pc:spChg>
        <pc:spChg chg="add mod">
          <ac:chgData name="KevCla12" userId="ef2eb634-4620-450f-93cc-80cc93397e60" providerId="ADAL" clId="{0BF56A33-4BC5-423F-96C0-6A8645FA96BB}" dt="2023-12-03T21:48:07.595" v="31510" actId="790"/>
          <ac:spMkLst>
            <pc:docMk/>
            <pc:sldMk cId="3534520235" sldId="1173"/>
            <ac:spMk id="108" creationId="{26461FD8-7993-5A0B-F094-1E7CE21DA502}"/>
          </ac:spMkLst>
        </pc:spChg>
        <pc:spChg chg="add mod">
          <ac:chgData name="KevCla12" userId="ef2eb634-4620-450f-93cc-80cc93397e60" providerId="ADAL" clId="{0BF56A33-4BC5-423F-96C0-6A8645FA96BB}" dt="2023-12-03T21:48:07.599" v="31511" actId="790"/>
          <ac:spMkLst>
            <pc:docMk/>
            <pc:sldMk cId="3534520235" sldId="1173"/>
            <ac:spMk id="109" creationId="{AF56EA8B-B81F-C0D3-2D0F-873827E56E7A}"/>
          </ac:spMkLst>
        </pc:spChg>
        <pc:spChg chg="add mod">
          <ac:chgData name="KevCla12" userId="ef2eb634-4620-450f-93cc-80cc93397e60" providerId="ADAL" clId="{0BF56A33-4BC5-423F-96C0-6A8645FA96BB}" dt="2023-12-03T21:48:07.601" v="31512" actId="790"/>
          <ac:spMkLst>
            <pc:docMk/>
            <pc:sldMk cId="3534520235" sldId="1173"/>
            <ac:spMk id="110" creationId="{7B81213E-29FC-6453-0D4C-388E9E5EFDBC}"/>
          </ac:spMkLst>
        </pc:spChg>
        <pc:spChg chg="mod modVis">
          <ac:chgData name="KevCla12" userId="ef2eb634-4620-450f-93cc-80cc93397e60" providerId="ADAL" clId="{0BF56A33-4BC5-423F-96C0-6A8645FA96BB}" dt="2023-12-03T21:48:07.602" v="31513" actId="790"/>
          <ac:spMkLst>
            <pc:docMk/>
            <pc:sldMk cId="3534520235" sldId="1173"/>
            <ac:spMk id="112" creationId="{6B4EA3A4-B661-C8D7-DC6E-DC5FFD79CE4A}"/>
          </ac:spMkLst>
        </pc:spChg>
        <pc:spChg chg="mod modVis">
          <ac:chgData name="KevCla12" userId="ef2eb634-4620-450f-93cc-80cc93397e60" providerId="ADAL" clId="{0BF56A33-4BC5-423F-96C0-6A8645FA96BB}" dt="2023-12-03T21:48:07.603" v="31514" actId="790"/>
          <ac:spMkLst>
            <pc:docMk/>
            <pc:sldMk cId="3534520235" sldId="1173"/>
            <ac:spMk id="113" creationId="{80823FC0-6E91-D50A-D2FA-55A4C392DFFA}"/>
          </ac:spMkLst>
        </pc:spChg>
        <pc:spChg chg="mod modVis">
          <ac:chgData name="KevCla12" userId="ef2eb634-4620-450f-93cc-80cc93397e60" providerId="ADAL" clId="{0BF56A33-4BC5-423F-96C0-6A8645FA96BB}" dt="2023-12-03T21:48:07.604" v="31515" actId="790"/>
          <ac:spMkLst>
            <pc:docMk/>
            <pc:sldMk cId="3534520235" sldId="1173"/>
            <ac:spMk id="114" creationId="{964CDE5E-FE2D-875C-0867-DEDE4C10ABDD}"/>
          </ac:spMkLst>
        </pc:spChg>
        <pc:spChg chg="mod modVis">
          <ac:chgData name="KevCla12" userId="ef2eb634-4620-450f-93cc-80cc93397e60" providerId="ADAL" clId="{0BF56A33-4BC5-423F-96C0-6A8645FA96BB}" dt="2023-12-03T21:48:07.605" v="31516" actId="790"/>
          <ac:spMkLst>
            <pc:docMk/>
            <pc:sldMk cId="3534520235" sldId="1173"/>
            <ac:spMk id="115" creationId="{80763B48-CF43-D0C3-2605-BB260D8EDCBE}"/>
          </ac:spMkLst>
        </pc:spChg>
        <pc:spChg chg="mod modVis">
          <ac:chgData name="KevCla12" userId="ef2eb634-4620-450f-93cc-80cc93397e60" providerId="ADAL" clId="{0BF56A33-4BC5-423F-96C0-6A8645FA96BB}" dt="2023-12-03T21:48:07.606" v="31517" actId="790"/>
          <ac:spMkLst>
            <pc:docMk/>
            <pc:sldMk cId="3534520235" sldId="1173"/>
            <ac:spMk id="116" creationId="{C21C7AD7-64AF-326B-3598-476C3F9094C7}"/>
          </ac:spMkLst>
        </pc:spChg>
        <pc:spChg chg="mod modVis">
          <ac:chgData name="KevCla12" userId="ef2eb634-4620-450f-93cc-80cc93397e60" providerId="ADAL" clId="{0BF56A33-4BC5-423F-96C0-6A8645FA96BB}" dt="2023-12-03T21:48:07.606" v="31518" actId="790"/>
          <ac:spMkLst>
            <pc:docMk/>
            <pc:sldMk cId="3534520235" sldId="1173"/>
            <ac:spMk id="117" creationId="{B3E35EFF-7EF5-F32E-B627-4524614B6BC4}"/>
          </ac:spMkLst>
        </pc:spChg>
        <pc:spChg chg="mod modVis">
          <ac:chgData name="KevCla12" userId="ef2eb634-4620-450f-93cc-80cc93397e60" providerId="ADAL" clId="{0BF56A33-4BC5-423F-96C0-6A8645FA96BB}" dt="2023-12-03T21:48:07.607" v="31519" actId="790"/>
          <ac:spMkLst>
            <pc:docMk/>
            <pc:sldMk cId="3534520235" sldId="1173"/>
            <ac:spMk id="118" creationId="{E0621A61-E8D4-2A94-FBD2-461BD5A39A5F}"/>
          </ac:spMkLst>
        </pc:spChg>
        <pc:spChg chg="mod modVis">
          <ac:chgData name="KevCla12" userId="ef2eb634-4620-450f-93cc-80cc93397e60" providerId="ADAL" clId="{0BF56A33-4BC5-423F-96C0-6A8645FA96BB}" dt="2023-12-03T21:48:07.608" v="31520" actId="790"/>
          <ac:spMkLst>
            <pc:docMk/>
            <pc:sldMk cId="3534520235" sldId="1173"/>
            <ac:spMk id="119" creationId="{082D1BC7-27B9-957E-8EEF-1D31BE2692C9}"/>
          </ac:spMkLst>
        </pc:spChg>
        <pc:spChg chg="mod modVis">
          <ac:chgData name="KevCla12" userId="ef2eb634-4620-450f-93cc-80cc93397e60" providerId="ADAL" clId="{0BF56A33-4BC5-423F-96C0-6A8645FA96BB}" dt="2023-12-03T21:48:07.609" v="31521" actId="790"/>
          <ac:spMkLst>
            <pc:docMk/>
            <pc:sldMk cId="3534520235" sldId="1173"/>
            <ac:spMk id="120" creationId="{316EE3EC-5D6A-5DB6-A9A1-00CB99CEF0ED}"/>
          </ac:spMkLst>
        </pc:spChg>
        <pc:spChg chg="mod modVis">
          <ac:chgData name="KevCla12" userId="ef2eb634-4620-450f-93cc-80cc93397e60" providerId="ADAL" clId="{0BF56A33-4BC5-423F-96C0-6A8645FA96BB}" dt="2023-12-03T21:48:07.610" v="31522" actId="790"/>
          <ac:spMkLst>
            <pc:docMk/>
            <pc:sldMk cId="3534520235" sldId="1173"/>
            <ac:spMk id="121" creationId="{D8DB3713-71BE-2686-253D-587E2B10D90B}"/>
          </ac:spMkLst>
        </pc:spChg>
        <pc:spChg chg="mod modVis">
          <ac:chgData name="KevCla12" userId="ef2eb634-4620-450f-93cc-80cc93397e60" providerId="ADAL" clId="{0BF56A33-4BC5-423F-96C0-6A8645FA96BB}" dt="2023-12-03T21:48:07.610" v="31523" actId="790"/>
          <ac:spMkLst>
            <pc:docMk/>
            <pc:sldMk cId="3534520235" sldId="1173"/>
            <ac:spMk id="123" creationId="{3123433E-5B47-60BF-A53A-8AC7BC5691E1}"/>
          </ac:spMkLst>
        </pc:spChg>
        <pc:spChg chg="mod modVis">
          <ac:chgData name="KevCla12" userId="ef2eb634-4620-450f-93cc-80cc93397e60" providerId="ADAL" clId="{0BF56A33-4BC5-423F-96C0-6A8645FA96BB}" dt="2023-12-03T21:48:07.611" v="31524" actId="790"/>
          <ac:spMkLst>
            <pc:docMk/>
            <pc:sldMk cId="3534520235" sldId="1173"/>
            <ac:spMk id="124" creationId="{B7D37635-5D0A-9473-2054-785D5C2E8FE4}"/>
          </ac:spMkLst>
        </pc:spChg>
        <pc:spChg chg="mod modVis">
          <ac:chgData name="KevCla12" userId="ef2eb634-4620-450f-93cc-80cc93397e60" providerId="ADAL" clId="{0BF56A33-4BC5-423F-96C0-6A8645FA96BB}" dt="2023-12-03T21:48:07.612" v="31525" actId="790"/>
          <ac:spMkLst>
            <pc:docMk/>
            <pc:sldMk cId="3534520235" sldId="1173"/>
            <ac:spMk id="125" creationId="{6480BD09-1A7C-09FA-318A-DF3A89BB61CE}"/>
          </ac:spMkLst>
        </pc:spChg>
        <pc:spChg chg="mod modVis">
          <ac:chgData name="KevCla12" userId="ef2eb634-4620-450f-93cc-80cc93397e60" providerId="ADAL" clId="{0BF56A33-4BC5-423F-96C0-6A8645FA96BB}" dt="2023-12-03T21:48:07.613" v="31526" actId="790"/>
          <ac:spMkLst>
            <pc:docMk/>
            <pc:sldMk cId="3534520235" sldId="1173"/>
            <ac:spMk id="126" creationId="{FAEBC94C-6831-6CBC-696E-82CB1CCF0C5C}"/>
          </ac:spMkLst>
        </pc:spChg>
        <pc:spChg chg="mod modVis">
          <ac:chgData name="KevCla12" userId="ef2eb634-4620-450f-93cc-80cc93397e60" providerId="ADAL" clId="{0BF56A33-4BC5-423F-96C0-6A8645FA96BB}" dt="2023-12-03T21:48:07.614" v="31527" actId="790"/>
          <ac:spMkLst>
            <pc:docMk/>
            <pc:sldMk cId="3534520235" sldId="1173"/>
            <ac:spMk id="127" creationId="{E3BA604E-69A7-F5D2-B7BB-0D0D7C02C0A7}"/>
          </ac:spMkLst>
        </pc:spChg>
        <pc:grpChg chg="del">
          <ac:chgData name="KevCla12" userId="ef2eb634-4620-450f-93cc-80cc93397e60" providerId="ADAL" clId="{0BF56A33-4BC5-423F-96C0-6A8645FA96BB}" dt="2023-11-30T20:04:43.367" v="9386" actId="478"/>
          <ac:grpSpMkLst>
            <pc:docMk/>
            <pc:sldMk cId="3534520235" sldId="1173"/>
            <ac:grpSpMk id="12" creationId="{C3814E82-AAB5-4859-7B50-EC1AED238561}"/>
          </ac:grpSpMkLst>
        </pc:grpChg>
        <pc:grpChg chg="add mod modVis">
          <ac:chgData name="KevCla12" userId="ef2eb634-4620-450f-93cc-80cc93397e60" providerId="ADAL" clId="{0BF56A33-4BC5-423F-96C0-6A8645FA96BB}" dt="2023-11-30T20:33:11.770" v="9660" actId="1076"/>
          <ac:grpSpMkLst>
            <pc:docMk/>
            <pc:sldMk cId="3534520235" sldId="1173"/>
            <ac:grpSpMk id="20" creationId="{62941369-8583-0D4C-E988-86AE683B6270}"/>
          </ac:grpSpMkLst>
        </pc:grpChg>
        <pc:grpChg chg="add del mod modVis">
          <ac:chgData name="KevCla12" userId="ef2eb634-4620-450f-93cc-80cc93397e60" providerId="ADAL" clId="{0BF56A33-4BC5-423F-96C0-6A8645FA96BB}" dt="2023-11-30T20:36:30.252" v="9732" actId="478"/>
          <ac:grpSpMkLst>
            <pc:docMk/>
            <pc:sldMk cId="3534520235" sldId="1173"/>
            <ac:grpSpMk id="43" creationId="{BDF56567-F5CF-C10C-0EC3-0D85EF97E30D}"/>
          </ac:grpSpMkLst>
        </pc:grpChg>
        <pc:grpChg chg="add mod modVis">
          <ac:chgData name="KevCla12" userId="ef2eb634-4620-450f-93cc-80cc93397e60" providerId="ADAL" clId="{0BF56A33-4BC5-423F-96C0-6A8645FA96BB}" dt="2023-11-30T20:38:26.395" v="9766" actId="164"/>
          <ac:grpSpMkLst>
            <pc:docMk/>
            <pc:sldMk cId="3534520235" sldId="1173"/>
            <ac:grpSpMk id="54" creationId="{12CF51E6-E2DA-68EA-9B2E-0BEF952BFAAB}"/>
          </ac:grpSpMkLst>
        </pc:grpChg>
        <pc:grpChg chg="mod modVis">
          <ac:chgData name="KevCla12" userId="ef2eb634-4620-450f-93cc-80cc93397e60" providerId="ADAL" clId="{0BF56A33-4BC5-423F-96C0-6A8645FA96BB}" dt="2023-11-30T20:37:40.841" v="9758" actId="207"/>
          <ac:grpSpMkLst>
            <pc:docMk/>
            <pc:sldMk cId="3534520235" sldId="1173"/>
            <ac:grpSpMk id="63" creationId="{18CC38F9-E1C1-54DB-A223-C68D5F21A386}"/>
          </ac:grpSpMkLst>
        </pc:grpChg>
        <pc:grpChg chg="add mod">
          <ac:chgData name="KevCla12" userId="ef2eb634-4620-450f-93cc-80cc93397e60" providerId="ADAL" clId="{0BF56A33-4BC5-423F-96C0-6A8645FA96BB}" dt="2023-11-30T20:43:11.718" v="10041" actId="1076"/>
          <ac:grpSpMkLst>
            <pc:docMk/>
            <pc:sldMk cId="3534520235" sldId="1173"/>
            <ac:grpSpMk id="68" creationId="{FC60C023-677D-C400-B0D7-1041DBE92192}"/>
          </ac:grpSpMkLst>
        </pc:grpChg>
        <pc:grpChg chg="add del mod">
          <ac:chgData name="KevCla12" userId="ef2eb634-4620-450f-93cc-80cc93397e60" providerId="ADAL" clId="{0BF56A33-4BC5-423F-96C0-6A8645FA96BB}" dt="2023-11-30T20:43:16.475" v="10043" actId="478"/>
          <ac:grpSpMkLst>
            <pc:docMk/>
            <pc:sldMk cId="3534520235" sldId="1173"/>
            <ac:grpSpMk id="74" creationId="{DB1E133D-B9DA-2EB1-5720-3B0F9B8E9282}"/>
          </ac:grpSpMkLst>
        </pc:grpChg>
        <pc:grpChg chg="mod">
          <ac:chgData name="KevCla12" userId="ef2eb634-4620-450f-93cc-80cc93397e60" providerId="ADAL" clId="{0BF56A33-4BC5-423F-96C0-6A8645FA96BB}" dt="2023-11-30T20:42:16.692" v="10016"/>
          <ac:grpSpMkLst>
            <pc:docMk/>
            <pc:sldMk cId="3534520235" sldId="1173"/>
            <ac:grpSpMk id="75" creationId="{BF278FD1-D62D-002B-578E-0687C9CDCA32}"/>
          </ac:grpSpMkLst>
        </pc:grpChg>
        <pc:grpChg chg="add del mod">
          <ac:chgData name="KevCla12" userId="ef2eb634-4620-450f-93cc-80cc93397e60" providerId="ADAL" clId="{0BF56A33-4BC5-423F-96C0-6A8645FA96BB}" dt="2023-12-02T17:19:05.345" v="12294" actId="478"/>
          <ac:grpSpMkLst>
            <pc:docMk/>
            <pc:sldMk cId="3534520235" sldId="1173"/>
            <ac:grpSpMk id="77" creationId="{0B5EBA08-E8F0-B0A3-2A84-168CEB0A6FA9}"/>
          </ac:grpSpMkLst>
        </pc:grpChg>
        <pc:grpChg chg="mod">
          <ac:chgData name="KevCla12" userId="ef2eb634-4620-450f-93cc-80cc93397e60" providerId="ADAL" clId="{0BF56A33-4BC5-423F-96C0-6A8645FA96BB}" dt="2023-11-30T20:42:16.692" v="10016"/>
          <ac:grpSpMkLst>
            <pc:docMk/>
            <pc:sldMk cId="3534520235" sldId="1173"/>
            <ac:grpSpMk id="85" creationId="{67354514-DFB4-BEBF-A4E6-644DFAE381A7}"/>
          </ac:grpSpMkLst>
        </pc:grpChg>
        <pc:grpChg chg="add del mod">
          <ac:chgData name="KevCla12" userId="ef2eb634-4620-450f-93cc-80cc93397e60" providerId="ADAL" clId="{0BF56A33-4BC5-423F-96C0-6A8645FA96BB}" dt="2023-11-30T20:54:39.327" v="10427" actId="478"/>
          <ac:grpSpMkLst>
            <pc:docMk/>
            <pc:sldMk cId="3534520235" sldId="1173"/>
            <ac:grpSpMk id="93" creationId="{8742F91E-6501-EFB4-7318-7605CFDBCB66}"/>
          </ac:grpSpMkLst>
        </pc:grpChg>
        <pc:grpChg chg="mod">
          <ac:chgData name="KevCla12" userId="ef2eb634-4620-450f-93cc-80cc93397e60" providerId="ADAL" clId="{0BF56A33-4BC5-423F-96C0-6A8645FA96BB}" dt="2023-11-30T20:42:21.434" v="10018"/>
          <ac:grpSpMkLst>
            <pc:docMk/>
            <pc:sldMk cId="3534520235" sldId="1173"/>
            <ac:grpSpMk id="94" creationId="{E26FEC2F-C2C4-8AAC-73CF-3B52DC3D94BF}"/>
          </ac:grpSpMkLst>
        </pc:grpChg>
        <pc:grpChg chg="mod">
          <ac:chgData name="KevCla12" userId="ef2eb634-4620-450f-93cc-80cc93397e60" providerId="ADAL" clId="{0BF56A33-4BC5-423F-96C0-6A8645FA96BB}" dt="2023-11-30T20:42:21.434" v="10018"/>
          <ac:grpSpMkLst>
            <pc:docMk/>
            <pc:sldMk cId="3534520235" sldId="1173"/>
            <ac:grpSpMk id="104" creationId="{00B6E9B1-6481-48B0-9804-FEE7627B7B41}"/>
          </ac:grpSpMkLst>
        </pc:grpChg>
        <pc:grpChg chg="add mod modVis">
          <ac:chgData name="KevCla12" userId="ef2eb634-4620-450f-93cc-80cc93397e60" providerId="ADAL" clId="{0BF56A33-4BC5-423F-96C0-6A8645FA96BB}" dt="2023-11-30T20:45:17.848" v="10101" actId="207"/>
          <ac:grpSpMkLst>
            <pc:docMk/>
            <pc:sldMk cId="3534520235" sldId="1173"/>
            <ac:grpSpMk id="111" creationId="{65F6F7CD-ADAC-125C-68E8-1013FECDBEB4}"/>
          </ac:grpSpMkLst>
        </pc:grpChg>
        <pc:grpChg chg="add mod modVis">
          <ac:chgData name="KevCla12" userId="ef2eb634-4620-450f-93cc-80cc93397e60" providerId="ADAL" clId="{0BF56A33-4BC5-423F-96C0-6A8645FA96BB}" dt="2023-11-30T20:54:54.986" v="10431" actId="1076"/>
          <ac:grpSpMkLst>
            <pc:docMk/>
            <pc:sldMk cId="3534520235" sldId="1173"/>
            <ac:grpSpMk id="122" creationId="{5766AB53-3A53-283F-C68E-8CAD26467DF1}"/>
          </ac:grpSpMkLst>
        </pc:grpChg>
        <pc:graphicFrameChg chg="del">
          <ac:chgData name="KevCla12" userId="ef2eb634-4620-450f-93cc-80cc93397e60" providerId="ADAL" clId="{0BF56A33-4BC5-423F-96C0-6A8645FA96BB}" dt="2023-11-30T20:04:51.456" v="9390" actId="478"/>
          <ac:graphicFrameMkLst>
            <pc:docMk/>
            <pc:sldMk cId="3534520235" sldId="1173"/>
            <ac:graphicFrameMk id="22" creationId="{6059CC08-B2D5-63C5-4D1D-CF13B6442DDE}"/>
          </ac:graphicFrameMkLst>
        </pc:graphicFrameChg>
        <pc:graphicFrameChg chg="del">
          <ac:chgData name="KevCla12" userId="ef2eb634-4620-450f-93cc-80cc93397e60" providerId="ADAL" clId="{0BF56A33-4BC5-423F-96C0-6A8645FA96BB}" dt="2023-11-30T20:04:49.267" v="9388" actId="478"/>
          <ac:graphicFrameMkLst>
            <pc:docMk/>
            <pc:sldMk cId="3534520235" sldId="1173"/>
            <ac:graphicFrameMk id="24" creationId="{731194C2-04C3-355A-F412-A7BC3AB0EAC0}"/>
          </ac:graphicFrameMkLst>
        </pc:graphicFrameChg>
        <pc:picChg chg="add mod">
          <ac:chgData name="KevCla12" userId="ef2eb634-4620-450f-93cc-80cc93397e60" providerId="ADAL" clId="{0BF56A33-4BC5-423F-96C0-6A8645FA96BB}" dt="2023-12-02T17:27:25.834" v="12459" actId="1035"/>
          <ac:picMkLst>
            <pc:docMk/>
            <pc:sldMk cId="3534520235" sldId="1173"/>
            <ac:picMk id="1026" creationId="{DDBB76A9-E55A-A890-DDE8-D40B39E83554}"/>
          </ac:picMkLst>
        </pc:picChg>
        <pc:picChg chg="add mod">
          <ac:chgData name="KevCla12" userId="ef2eb634-4620-450f-93cc-80cc93397e60" providerId="ADAL" clId="{0BF56A33-4BC5-423F-96C0-6A8645FA96BB}" dt="2023-12-02T17:27:25.834" v="12459" actId="1035"/>
          <ac:picMkLst>
            <pc:docMk/>
            <pc:sldMk cId="3534520235" sldId="1173"/>
            <ac:picMk id="1028" creationId="{E1330C67-F1FD-8980-02DA-F3D4CC6F6902}"/>
          </ac:picMkLst>
        </pc:picChg>
        <pc:picChg chg="add mod">
          <ac:chgData name="KevCla12" userId="ef2eb634-4620-450f-93cc-80cc93397e60" providerId="ADAL" clId="{0BF56A33-4BC5-423F-96C0-6A8645FA96BB}" dt="2023-12-02T17:27:25.834" v="12459" actId="1035"/>
          <ac:picMkLst>
            <pc:docMk/>
            <pc:sldMk cId="3534520235" sldId="1173"/>
            <ac:picMk id="1030" creationId="{B6E2D85D-FAA2-1EA4-DBDF-8524FF1D0DA4}"/>
          </ac:picMkLst>
        </pc:picChg>
        <pc:cxnChg chg="mod">
          <ac:chgData name="KevCla12" userId="ef2eb634-4620-450f-93cc-80cc93397e60" providerId="ADAL" clId="{0BF56A33-4BC5-423F-96C0-6A8645FA96BB}" dt="2023-11-30T20:04:46.690" v="9387" actId="14100"/>
          <ac:cxnSpMkLst>
            <pc:docMk/>
            <pc:sldMk cId="3534520235" sldId="1173"/>
            <ac:cxnSpMk id="9" creationId="{E2C91137-4D65-B248-E84A-C48B8C2BAAE4}"/>
          </ac:cxnSpMkLst>
        </pc:cxnChg>
        <pc:cxnChg chg="add mod">
          <ac:chgData name="KevCla12" userId="ef2eb634-4620-450f-93cc-80cc93397e60" providerId="ADAL" clId="{0BF56A33-4BC5-423F-96C0-6A8645FA96BB}" dt="2023-12-02T17:27:47.919" v="12462" actId="13822"/>
          <ac:cxnSpMkLst>
            <pc:docMk/>
            <pc:sldMk cId="3534520235" sldId="1173"/>
            <ac:cxnSpMk id="95" creationId="{4F5EC465-998E-9670-4040-1095F0A16FC4}"/>
          </ac:cxnSpMkLst>
        </pc:cxnChg>
        <pc:extLst>
          <p:ext xmlns:p="http://schemas.openxmlformats.org/presentationml/2006/main" uri="{D6D511B9-2390-475A-947B-AFAB55BFBCF1}">
            <pc226:cmChg xmlns:pc226="http://schemas.microsoft.com/office/powerpoint/2022/06/main/command" chg="mod">
              <pc226:chgData name="KevCla12" userId="ef2eb634-4620-450f-93cc-80cc93397e60" providerId="ADAL" clId="{0BF56A33-4BC5-423F-96C0-6A8645FA96BB}" dt="2023-11-30T21:02:20.180" v="10574"/>
              <pc2:cmMkLst xmlns:pc2="http://schemas.microsoft.com/office/powerpoint/2019/9/main/command">
                <pc:docMk/>
                <pc:sldMk cId="3534520235" sldId="1173"/>
                <pc2:cmMk id="{803E4FC6-1CFC-4403-A9D7-180FBCEDA8EB}"/>
              </pc2:cmMkLst>
            </pc226:cmChg>
          </p:ext>
        </pc:extLst>
      </pc:sldChg>
      <pc:sldChg chg="modSp add mod modNotes">
        <pc:chgData name="KevCla12" userId="ef2eb634-4620-450f-93cc-80cc93397e60" providerId="ADAL" clId="{0BF56A33-4BC5-423F-96C0-6A8645FA96BB}" dt="2023-12-03T21:48:06.584" v="31056" actId="790"/>
        <pc:sldMkLst>
          <pc:docMk/>
          <pc:sldMk cId="323813945" sldId="1174"/>
        </pc:sldMkLst>
        <pc:spChg chg="mod">
          <ac:chgData name="KevCla12" userId="ef2eb634-4620-450f-93cc-80cc93397e60" providerId="ADAL" clId="{0BF56A33-4BC5-423F-96C0-6A8645FA96BB}" dt="2023-12-03T21:48:06.554" v="31049" actId="790"/>
          <ac:spMkLst>
            <pc:docMk/>
            <pc:sldMk cId="323813945" sldId="1174"/>
            <ac:spMk id="4" creationId="{65031C8A-B73D-A3B1-1237-4589974E064D}"/>
          </ac:spMkLst>
        </pc:spChg>
        <pc:spChg chg="mod">
          <ac:chgData name="KevCla12" userId="ef2eb634-4620-450f-93cc-80cc93397e60" providerId="ADAL" clId="{0BF56A33-4BC5-423F-96C0-6A8645FA96BB}" dt="2023-12-03T21:48:06.555" v="31050" actId="790"/>
          <ac:spMkLst>
            <pc:docMk/>
            <pc:sldMk cId="323813945" sldId="1174"/>
            <ac:spMk id="6" creationId="{A7C86C26-4362-6963-9B90-7AA23DE2CFFD}"/>
          </ac:spMkLst>
        </pc:spChg>
        <pc:spChg chg="mod">
          <ac:chgData name="KevCla12" userId="ef2eb634-4620-450f-93cc-80cc93397e60" providerId="ADAL" clId="{0BF56A33-4BC5-423F-96C0-6A8645FA96BB}" dt="2023-12-03T21:48:06.556" v="31051" actId="790"/>
          <ac:spMkLst>
            <pc:docMk/>
            <pc:sldMk cId="323813945" sldId="1174"/>
            <ac:spMk id="7" creationId="{C3BE0EFA-37A6-1AAE-9238-A75FB08EEB3B}"/>
          </ac:spMkLst>
        </pc:spChg>
        <pc:spChg chg="mod">
          <ac:chgData name="KevCla12" userId="ef2eb634-4620-450f-93cc-80cc93397e60" providerId="ADAL" clId="{0BF56A33-4BC5-423F-96C0-6A8645FA96BB}" dt="2023-12-03T21:48:06.565" v="31052" actId="790"/>
          <ac:spMkLst>
            <pc:docMk/>
            <pc:sldMk cId="323813945" sldId="1174"/>
            <ac:spMk id="13" creationId="{D388B387-A3E7-7EA1-9070-A31F6FA6879C}"/>
          </ac:spMkLst>
        </pc:spChg>
        <pc:spChg chg="mod">
          <ac:chgData name="KevCla12" userId="ef2eb634-4620-450f-93cc-80cc93397e60" providerId="ADAL" clId="{0BF56A33-4BC5-423F-96C0-6A8645FA96BB}" dt="2023-12-03T21:48:06.566" v="31053" actId="790"/>
          <ac:spMkLst>
            <pc:docMk/>
            <pc:sldMk cId="323813945" sldId="1174"/>
            <ac:spMk id="14" creationId="{52AA7DD2-BB60-7533-CCFE-8201A4BCA192}"/>
          </ac:spMkLst>
        </pc:spChg>
        <pc:spChg chg="mod">
          <ac:chgData name="KevCla12" userId="ef2eb634-4620-450f-93cc-80cc93397e60" providerId="ADAL" clId="{0BF56A33-4BC5-423F-96C0-6A8645FA96BB}" dt="2023-12-03T21:48:06.582" v="31054" actId="790"/>
          <ac:spMkLst>
            <pc:docMk/>
            <pc:sldMk cId="323813945" sldId="1174"/>
            <ac:spMk id="15" creationId="{4EC6CD5C-3F06-1053-82C1-D878CD59DEE3}"/>
          </ac:spMkLst>
        </pc:spChg>
      </pc:sldChg>
      <pc:sldChg chg="addSp delSp modSp add mod modNotes">
        <pc:chgData name="KevCla12" userId="ef2eb634-4620-450f-93cc-80cc93397e60" providerId="ADAL" clId="{0BF56A33-4BC5-423F-96C0-6A8645FA96BB}" dt="2023-12-03T21:48:06.439" v="30999" actId="790"/>
        <pc:sldMkLst>
          <pc:docMk/>
          <pc:sldMk cId="1895016407" sldId="1175"/>
        </pc:sldMkLst>
        <pc:spChg chg="mod">
          <ac:chgData name="KevCla12" userId="ef2eb634-4620-450f-93cc-80cc93397e60" providerId="ADAL" clId="{0BF56A33-4BC5-423F-96C0-6A8645FA96BB}" dt="2023-12-03T21:48:06.436" v="30996" actId="790"/>
          <ac:spMkLst>
            <pc:docMk/>
            <pc:sldMk cId="1895016407" sldId="1175"/>
            <ac:spMk id="2" creationId="{BA9CF71D-69DB-0F38-348E-EDD6B061A5F6}"/>
          </ac:spMkLst>
        </pc:spChg>
        <pc:spChg chg="mod">
          <ac:chgData name="KevCla12" userId="ef2eb634-4620-450f-93cc-80cc93397e60" providerId="ADAL" clId="{0BF56A33-4BC5-423F-96C0-6A8645FA96BB}" dt="2023-12-03T21:48:06.437" v="30997" actId="790"/>
          <ac:spMkLst>
            <pc:docMk/>
            <pc:sldMk cId="1895016407" sldId="1175"/>
            <ac:spMk id="3" creationId="{4643EE31-1C72-3234-2CAD-AC1EE7C353A8}"/>
          </ac:spMkLst>
        </pc:spChg>
        <pc:spChg chg="add del mod modVis">
          <ac:chgData name="KevCla12" userId="ef2eb634-4620-450f-93cc-80cc93397e60" providerId="ADAL" clId="{0BF56A33-4BC5-423F-96C0-6A8645FA96BB}" dt="2023-12-02T17:31:32.444" v="12584"/>
          <ac:spMkLst>
            <pc:docMk/>
            <pc:sldMk cId="1895016407" sldId="1175"/>
            <ac:spMk id="4" creationId="{E26B6762-173B-F0B4-E560-9F548F5889B5}"/>
          </ac:spMkLst>
        </pc:spChg>
        <pc:graphicFrameChg chg="mod">
          <ac:chgData name="KevCla12" userId="ef2eb634-4620-450f-93cc-80cc93397e60" providerId="ADAL" clId="{0BF56A33-4BC5-423F-96C0-6A8645FA96BB}" dt="2023-12-02T17:31:32.448" v="12586"/>
          <ac:graphicFrameMkLst>
            <pc:docMk/>
            <pc:sldMk cId="1895016407" sldId="1175"/>
            <ac:graphicFrameMk id="5" creationId="{E81F6C5D-5863-F569-639B-5B2249F8AA19}"/>
          </ac:graphicFrameMkLst>
        </pc:graphicFrameChg>
      </pc:sldChg>
      <pc:sldChg chg="modSp mod modNotes">
        <pc:chgData name="KevCla12" userId="ef2eb634-4620-450f-93cc-80cc93397e60" providerId="ADAL" clId="{0BF56A33-4BC5-423F-96C0-6A8645FA96BB}" dt="2023-12-03T21:48:10.117" v="32572" actId="790"/>
        <pc:sldMkLst>
          <pc:docMk/>
          <pc:sldMk cId="4038454778" sldId="1177"/>
        </pc:sldMkLst>
        <pc:spChg chg="mod">
          <ac:chgData name="KevCla12" userId="ef2eb634-4620-450f-93cc-80cc93397e60" providerId="ADAL" clId="{0BF56A33-4BC5-423F-96C0-6A8645FA96BB}" dt="2023-12-03T21:48:10.105" v="32565" actId="790"/>
          <ac:spMkLst>
            <pc:docMk/>
            <pc:sldMk cId="4038454778" sldId="1177"/>
            <ac:spMk id="2" creationId="{F7AA135D-54EB-A20F-C715-6F5FD95F69B2}"/>
          </ac:spMkLst>
        </pc:spChg>
        <pc:spChg chg="mod">
          <ac:chgData name="KevCla12" userId="ef2eb634-4620-450f-93cc-80cc93397e60" providerId="ADAL" clId="{0BF56A33-4BC5-423F-96C0-6A8645FA96BB}" dt="2023-12-03T21:48:10.112" v="32566" actId="790"/>
          <ac:spMkLst>
            <pc:docMk/>
            <pc:sldMk cId="4038454778" sldId="1177"/>
            <ac:spMk id="3" creationId="{6CE9B396-42D9-C6D2-386A-9A00AFD22DB6}"/>
          </ac:spMkLst>
        </pc:spChg>
        <pc:spChg chg="mod">
          <ac:chgData name="KevCla12" userId="ef2eb634-4620-450f-93cc-80cc93397e60" providerId="ADAL" clId="{0BF56A33-4BC5-423F-96C0-6A8645FA96BB}" dt="2023-12-03T21:48:10.114" v="32567" actId="790"/>
          <ac:spMkLst>
            <pc:docMk/>
            <pc:sldMk cId="4038454778" sldId="1177"/>
            <ac:spMk id="4" creationId="{6A4FB9BB-756A-E862-00C6-8F9B54C4B77A}"/>
          </ac:spMkLst>
        </pc:spChg>
        <pc:spChg chg="mod">
          <ac:chgData name="KevCla12" userId="ef2eb634-4620-450f-93cc-80cc93397e60" providerId="ADAL" clId="{0BF56A33-4BC5-423F-96C0-6A8645FA96BB}" dt="2023-12-03T21:48:10.114" v="32568" actId="790"/>
          <ac:spMkLst>
            <pc:docMk/>
            <pc:sldMk cId="4038454778" sldId="1177"/>
            <ac:spMk id="5" creationId="{E330FE02-62CD-7299-8DB8-8525CDC3945A}"/>
          </ac:spMkLst>
        </pc:spChg>
        <pc:spChg chg="mod">
          <ac:chgData name="KevCla12" userId="ef2eb634-4620-450f-93cc-80cc93397e60" providerId="ADAL" clId="{0BF56A33-4BC5-423F-96C0-6A8645FA96BB}" dt="2023-12-03T21:48:10.115" v="32569" actId="790"/>
          <ac:spMkLst>
            <pc:docMk/>
            <pc:sldMk cId="4038454778" sldId="1177"/>
            <ac:spMk id="6" creationId="{886743A3-ABBB-1335-55D0-3118159C96C3}"/>
          </ac:spMkLst>
        </pc:spChg>
        <pc:spChg chg="mod">
          <ac:chgData name="KevCla12" userId="ef2eb634-4620-450f-93cc-80cc93397e60" providerId="ADAL" clId="{0BF56A33-4BC5-423F-96C0-6A8645FA96BB}" dt="2023-12-03T21:48:10.116" v="32570" actId="790"/>
          <ac:spMkLst>
            <pc:docMk/>
            <pc:sldMk cId="4038454778" sldId="1177"/>
            <ac:spMk id="7" creationId="{E003F319-747C-CD47-201C-E840570C5734}"/>
          </ac:spMkLst>
        </pc:spChg>
      </pc:sldChg>
      <pc:sldChg chg="modSp mod modNotes">
        <pc:chgData name="KevCla12" userId="ef2eb634-4620-450f-93cc-80cc93397e60" providerId="ADAL" clId="{0BF56A33-4BC5-423F-96C0-6A8645FA96BB}" dt="2023-12-03T21:48:06.879" v="31180" actId="790"/>
        <pc:sldMkLst>
          <pc:docMk/>
          <pc:sldMk cId="669661950" sldId="1178"/>
        </pc:sldMkLst>
        <pc:spChg chg="mod">
          <ac:chgData name="KevCla12" userId="ef2eb634-4620-450f-93cc-80cc93397e60" providerId="ADAL" clId="{0BF56A33-4BC5-423F-96C0-6A8645FA96BB}" dt="2023-12-03T21:48:06.852" v="31156" actId="790"/>
          <ac:spMkLst>
            <pc:docMk/>
            <pc:sldMk cId="669661950" sldId="1178"/>
            <ac:spMk id="2" creationId="{5F012A04-7C51-EA4B-703A-4D86273F7181}"/>
          </ac:spMkLst>
        </pc:spChg>
        <pc:spChg chg="mod">
          <ac:chgData name="KevCla12" userId="ef2eb634-4620-450f-93cc-80cc93397e60" providerId="ADAL" clId="{0BF56A33-4BC5-423F-96C0-6A8645FA96BB}" dt="2023-12-03T21:48:06.875" v="31175" actId="790"/>
          <ac:spMkLst>
            <pc:docMk/>
            <pc:sldMk cId="669661950" sldId="1178"/>
            <ac:spMk id="4" creationId="{A2A8E662-F544-FFF7-D3F7-4F1B28FBADCB}"/>
          </ac:spMkLst>
        </pc:spChg>
        <pc:spChg chg="mod">
          <ac:chgData name="KevCla12" userId="ef2eb634-4620-450f-93cc-80cc93397e60" providerId="ADAL" clId="{0BF56A33-4BC5-423F-96C0-6A8645FA96BB}" dt="2023-12-03T21:48:06.876" v="31176" actId="790"/>
          <ac:spMkLst>
            <pc:docMk/>
            <pc:sldMk cId="669661950" sldId="1178"/>
            <ac:spMk id="5" creationId="{28313855-7255-D371-E9FA-E4F1A0E2206B}"/>
          </ac:spMkLst>
        </pc:spChg>
        <pc:spChg chg="mod">
          <ac:chgData name="KevCla12" userId="ef2eb634-4620-450f-93cc-80cc93397e60" providerId="ADAL" clId="{0BF56A33-4BC5-423F-96C0-6A8645FA96BB}" dt="2023-12-03T21:48:06.877" v="31177" actId="790"/>
          <ac:spMkLst>
            <pc:docMk/>
            <pc:sldMk cId="669661950" sldId="1178"/>
            <ac:spMk id="6" creationId="{B9AF06A0-EFF8-B57D-CEFC-5DA9C4A9C9CC}"/>
          </ac:spMkLst>
        </pc:spChg>
        <pc:spChg chg="mod">
          <ac:chgData name="KevCla12" userId="ef2eb634-4620-450f-93cc-80cc93397e60" providerId="ADAL" clId="{0BF56A33-4BC5-423F-96C0-6A8645FA96BB}" dt="2023-12-03T21:48:06.878" v="31178" actId="790"/>
          <ac:spMkLst>
            <pc:docMk/>
            <pc:sldMk cId="669661950" sldId="1178"/>
            <ac:spMk id="7" creationId="{0D2210AB-E274-45CB-0504-99A48E4D0C50}"/>
          </ac:spMkLst>
        </pc:spChg>
        <pc:graphicFrameChg chg="modGraphic">
          <ac:chgData name="KevCla12" userId="ef2eb634-4620-450f-93cc-80cc93397e60" providerId="ADAL" clId="{0BF56A33-4BC5-423F-96C0-6A8645FA96BB}" dt="2023-12-03T21:48:06.874" v="31174" actId="790"/>
          <ac:graphicFrameMkLst>
            <pc:docMk/>
            <pc:sldMk cId="669661950" sldId="1178"/>
            <ac:graphicFrameMk id="9" creationId="{B5073B81-838F-9536-BC47-90270E77D859}"/>
          </ac:graphicFrameMkLst>
        </pc:graphicFrameChg>
      </pc:sldChg>
      <pc:sldChg chg="modSp mod modNotes">
        <pc:chgData name="KevCla12" userId="ef2eb634-4620-450f-93cc-80cc93397e60" providerId="ADAL" clId="{0BF56A33-4BC5-423F-96C0-6A8645FA96BB}" dt="2023-12-03T21:48:07.183" v="31271" actId="790"/>
        <pc:sldMkLst>
          <pc:docMk/>
          <pc:sldMk cId="1773730786" sldId="1179"/>
        </pc:sldMkLst>
        <pc:spChg chg="mod">
          <ac:chgData name="KevCla12" userId="ef2eb634-4620-450f-93cc-80cc93397e60" providerId="ADAL" clId="{0BF56A33-4BC5-423F-96C0-6A8645FA96BB}" dt="2023-12-03T21:48:07.181" v="31269" actId="790"/>
          <ac:spMkLst>
            <pc:docMk/>
            <pc:sldMk cId="1773730786" sldId="1179"/>
            <ac:spMk id="2" creationId="{700F74EE-08A0-CE58-51C2-7D3AAF8057FA}"/>
          </ac:spMkLst>
        </pc:spChg>
      </pc:sldChg>
      <pc:sldChg chg="modSp mod modNotes">
        <pc:chgData name="KevCla12" userId="ef2eb634-4620-450f-93cc-80cc93397e60" providerId="ADAL" clId="{0BF56A33-4BC5-423F-96C0-6A8645FA96BB}" dt="2023-12-03T21:48:07.206" v="31280" actId="790"/>
        <pc:sldMkLst>
          <pc:docMk/>
          <pc:sldMk cId="2363565334" sldId="1180"/>
        </pc:sldMkLst>
        <pc:spChg chg="mod">
          <ac:chgData name="KevCla12" userId="ef2eb634-4620-450f-93cc-80cc93397e60" providerId="ADAL" clId="{0BF56A33-4BC5-423F-96C0-6A8645FA96BB}" dt="2023-12-03T21:48:07.185" v="31272" actId="790"/>
          <ac:spMkLst>
            <pc:docMk/>
            <pc:sldMk cId="2363565334" sldId="1180"/>
            <ac:spMk id="2" creationId="{F2CFA269-5589-2EA3-85A5-9F0537F8AED4}"/>
          </ac:spMkLst>
        </pc:spChg>
        <pc:spChg chg="mod">
          <ac:chgData name="KevCla12" userId="ef2eb634-4620-450f-93cc-80cc93397e60" providerId="ADAL" clId="{0BF56A33-4BC5-423F-96C0-6A8645FA96BB}" dt="2023-12-03T21:48:07.186" v="31273" actId="790"/>
          <ac:spMkLst>
            <pc:docMk/>
            <pc:sldMk cId="2363565334" sldId="1180"/>
            <ac:spMk id="4" creationId="{6231288B-AE5D-716B-328E-5914A319486E}"/>
          </ac:spMkLst>
        </pc:spChg>
        <pc:spChg chg="mod">
          <ac:chgData name="KevCla12" userId="ef2eb634-4620-450f-93cc-80cc93397e60" providerId="ADAL" clId="{0BF56A33-4BC5-423F-96C0-6A8645FA96BB}" dt="2023-12-03T21:48:07.188" v="31274" actId="790"/>
          <ac:spMkLst>
            <pc:docMk/>
            <pc:sldMk cId="2363565334" sldId="1180"/>
            <ac:spMk id="6" creationId="{8368093E-E255-1FD0-8253-7359808AD8A4}"/>
          </ac:spMkLst>
        </pc:spChg>
        <pc:spChg chg="mod">
          <ac:chgData name="KevCla12" userId="ef2eb634-4620-450f-93cc-80cc93397e60" providerId="ADAL" clId="{0BF56A33-4BC5-423F-96C0-6A8645FA96BB}" dt="2023-12-03T21:48:07.189" v="31275" actId="790"/>
          <ac:spMkLst>
            <pc:docMk/>
            <pc:sldMk cId="2363565334" sldId="1180"/>
            <ac:spMk id="7" creationId="{3C502EDD-5A19-64AE-A64F-B04FE85D9266}"/>
          </ac:spMkLst>
        </pc:spChg>
        <pc:spChg chg="mod">
          <ac:chgData name="KevCla12" userId="ef2eb634-4620-450f-93cc-80cc93397e60" providerId="ADAL" clId="{0BF56A33-4BC5-423F-96C0-6A8645FA96BB}" dt="2023-12-03T21:48:07.197" v="31277" actId="790"/>
          <ac:spMkLst>
            <pc:docMk/>
            <pc:sldMk cId="2363565334" sldId="1180"/>
            <ac:spMk id="10" creationId="{5ACC1EFE-E771-A193-E05C-DBB70A16DAB1}"/>
          </ac:spMkLst>
        </pc:spChg>
        <pc:spChg chg="mod">
          <ac:chgData name="KevCla12" userId="ef2eb634-4620-450f-93cc-80cc93397e60" providerId="ADAL" clId="{0BF56A33-4BC5-423F-96C0-6A8645FA96BB}" dt="2023-12-03T21:48:07.190" v="31276" actId="790"/>
          <ac:spMkLst>
            <pc:docMk/>
            <pc:sldMk cId="2363565334" sldId="1180"/>
            <ac:spMk id="11" creationId="{0C638B22-28B0-D795-811B-6C03F35B2D1C}"/>
          </ac:spMkLst>
        </pc:spChg>
        <pc:spChg chg="mod">
          <ac:chgData name="KevCla12" userId="ef2eb634-4620-450f-93cc-80cc93397e60" providerId="ADAL" clId="{0BF56A33-4BC5-423F-96C0-6A8645FA96BB}" dt="2023-12-03T21:48:07.205" v="31278" actId="790"/>
          <ac:spMkLst>
            <pc:docMk/>
            <pc:sldMk cId="2363565334" sldId="1180"/>
            <ac:spMk id="12" creationId="{216AEE1E-244E-0AF1-0BBA-8DA83EE14D7E}"/>
          </ac:spMkLst>
        </pc:spChg>
      </pc:sldChg>
      <pc:sldChg chg="modSp mod modNotes">
        <pc:chgData name="KevCla12" userId="ef2eb634-4620-450f-93cc-80cc93397e60" providerId="ADAL" clId="{0BF56A33-4BC5-423F-96C0-6A8645FA96BB}" dt="2023-12-03T21:48:07.231" v="31291" actId="790"/>
        <pc:sldMkLst>
          <pc:docMk/>
          <pc:sldMk cId="530286736" sldId="1181"/>
        </pc:sldMkLst>
        <pc:spChg chg="mod">
          <ac:chgData name="KevCla12" userId="ef2eb634-4620-450f-93cc-80cc93397e60" providerId="ADAL" clId="{0BF56A33-4BC5-423F-96C0-6A8645FA96BB}" dt="2023-12-03T21:48:07.208" v="31281" actId="790"/>
          <ac:spMkLst>
            <pc:docMk/>
            <pc:sldMk cId="530286736" sldId="1181"/>
            <ac:spMk id="2" creationId="{F2CFA269-5589-2EA3-85A5-9F0537F8AED4}"/>
          </ac:spMkLst>
        </pc:spChg>
        <pc:spChg chg="mod">
          <ac:chgData name="KevCla12" userId="ef2eb634-4620-450f-93cc-80cc93397e60" providerId="ADAL" clId="{0BF56A33-4BC5-423F-96C0-6A8645FA96BB}" dt="2023-12-03T21:48:07.224" v="31287" actId="790"/>
          <ac:spMkLst>
            <pc:docMk/>
            <pc:sldMk cId="530286736" sldId="1181"/>
            <ac:spMk id="3" creationId="{1A5266B4-4AF5-4F4E-3505-56B77C8F25BF}"/>
          </ac:spMkLst>
        </pc:spChg>
        <pc:spChg chg="mod">
          <ac:chgData name="KevCla12" userId="ef2eb634-4620-450f-93cc-80cc93397e60" providerId="ADAL" clId="{0BF56A33-4BC5-423F-96C0-6A8645FA96BB}" dt="2023-12-03T21:48:07.208" v="31282" actId="790"/>
          <ac:spMkLst>
            <pc:docMk/>
            <pc:sldMk cId="530286736" sldId="1181"/>
            <ac:spMk id="4" creationId="{6231288B-AE5D-716B-328E-5914A319486E}"/>
          </ac:spMkLst>
        </pc:spChg>
        <pc:spChg chg="mod">
          <ac:chgData name="KevCla12" userId="ef2eb634-4620-450f-93cc-80cc93397e60" providerId="ADAL" clId="{0BF56A33-4BC5-423F-96C0-6A8645FA96BB}" dt="2023-12-03T21:48:07.230" v="31289" actId="790"/>
          <ac:spMkLst>
            <pc:docMk/>
            <pc:sldMk cId="530286736" sldId="1181"/>
            <ac:spMk id="5" creationId="{7FE8DAAA-C564-FADF-4C07-28A63D08DF3A}"/>
          </ac:spMkLst>
        </pc:spChg>
        <pc:spChg chg="mod">
          <ac:chgData name="KevCla12" userId="ef2eb634-4620-450f-93cc-80cc93397e60" providerId="ADAL" clId="{0BF56A33-4BC5-423F-96C0-6A8645FA96BB}" dt="2023-12-03T21:48:07.210" v="31283" actId="790"/>
          <ac:spMkLst>
            <pc:docMk/>
            <pc:sldMk cId="530286736" sldId="1181"/>
            <ac:spMk id="6" creationId="{8368093E-E255-1FD0-8253-7359808AD8A4}"/>
          </ac:spMkLst>
        </pc:spChg>
        <pc:spChg chg="mod">
          <ac:chgData name="KevCla12" userId="ef2eb634-4620-450f-93cc-80cc93397e60" providerId="ADAL" clId="{0BF56A33-4BC5-423F-96C0-6A8645FA96BB}" dt="2023-12-03T21:48:07.212" v="31284" actId="790"/>
          <ac:spMkLst>
            <pc:docMk/>
            <pc:sldMk cId="530286736" sldId="1181"/>
            <ac:spMk id="7" creationId="{3C502EDD-5A19-64AE-A64F-B04FE85D9266}"/>
          </ac:spMkLst>
        </pc:spChg>
        <pc:spChg chg="mod">
          <ac:chgData name="KevCla12" userId="ef2eb634-4620-450f-93cc-80cc93397e60" providerId="ADAL" clId="{0BF56A33-4BC5-423F-96C0-6A8645FA96BB}" dt="2023-12-03T21:48:07.219" v="31286" actId="790"/>
          <ac:spMkLst>
            <pc:docMk/>
            <pc:sldMk cId="530286736" sldId="1181"/>
            <ac:spMk id="8" creationId="{577C39F7-D692-75CF-E4DE-130EF2AB4CA8}"/>
          </ac:spMkLst>
        </pc:spChg>
        <pc:spChg chg="mod">
          <ac:chgData name="KevCla12" userId="ef2eb634-4620-450f-93cc-80cc93397e60" providerId="ADAL" clId="{0BF56A33-4BC5-423F-96C0-6A8645FA96BB}" dt="2023-12-03T21:48:07.228" v="31288" actId="790"/>
          <ac:spMkLst>
            <pc:docMk/>
            <pc:sldMk cId="530286736" sldId="1181"/>
            <ac:spMk id="9" creationId="{63FFA7D8-3B5B-08EC-52F0-E63863E43645}"/>
          </ac:spMkLst>
        </pc:spChg>
        <pc:spChg chg="mod">
          <ac:chgData name="KevCla12" userId="ef2eb634-4620-450f-93cc-80cc93397e60" providerId="ADAL" clId="{0BF56A33-4BC5-423F-96C0-6A8645FA96BB}" dt="2023-12-03T21:48:07.213" v="31285" actId="790"/>
          <ac:spMkLst>
            <pc:docMk/>
            <pc:sldMk cId="530286736" sldId="1181"/>
            <ac:spMk id="11" creationId="{0C638B22-28B0-D795-811B-6C03F35B2D1C}"/>
          </ac:spMkLst>
        </pc:spChg>
      </pc:sldChg>
      <pc:sldChg chg="addSp delSp modSp add mod ord modNotes">
        <pc:chgData name="KevCla12" userId="ef2eb634-4620-450f-93cc-80cc93397e60" providerId="ADAL" clId="{0BF56A33-4BC5-423F-96C0-6A8645FA96BB}" dt="2023-12-03T21:48:10.621" v="32915" actId="790"/>
        <pc:sldMkLst>
          <pc:docMk/>
          <pc:sldMk cId="637833139" sldId="1182"/>
        </pc:sldMkLst>
        <pc:spChg chg="mod">
          <ac:chgData name="KevCla12" userId="ef2eb634-4620-450f-93cc-80cc93397e60" providerId="ADAL" clId="{0BF56A33-4BC5-423F-96C0-6A8645FA96BB}" dt="2023-12-03T21:48:10.619" v="32912" actId="790"/>
          <ac:spMkLst>
            <pc:docMk/>
            <pc:sldMk cId="637833139" sldId="1182"/>
            <ac:spMk id="2" creationId="{A2D65226-42BA-4127-2AAA-561630E0985C}"/>
          </ac:spMkLst>
        </pc:spChg>
        <pc:spChg chg="mod">
          <ac:chgData name="KevCla12" userId="ef2eb634-4620-450f-93cc-80cc93397e60" providerId="ADAL" clId="{0BF56A33-4BC5-423F-96C0-6A8645FA96BB}" dt="2023-12-03T21:48:10.619" v="32913" actId="790"/>
          <ac:spMkLst>
            <pc:docMk/>
            <pc:sldMk cId="637833139" sldId="1182"/>
            <ac:spMk id="3" creationId="{4D2392A8-4AA4-3D9A-F991-CCE602E37FBC}"/>
          </ac:spMkLst>
        </pc:spChg>
        <pc:spChg chg="add del mod modVis">
          <ac:chgData name="KevCla12" userId="ef2eb634-4620-450f-93cc-80cc93397e60" providerId="ADAL" clId="{0BF56A33-4BC5-423F-96C0-6A8645FA96BB}" dt="2023-12-03T14:21:11.029" v="12857"/>
          <ac:spMkLst>
            <pc:docMk/>
            <pc:sldMk cId="637833139" sldId="1182"/>
            <ac:spMk id="5" creationId="{B6E7BF03-9E20-FE08-7437-15EED2DC0BC1}"/>
          </ac:spMkLst>
        </pc:spChg>
        <pc:spChg chg="add del mod modVis">
          <ac:chgData name="KevCla12" userId="ef2eb634-4620-450f-93cc-80cc93397e60" providerId="ADAL" clId="{0BF56A33-4BC5-423F-96C0-6A8645FA96BB}" dt="2023-12-03T14:21:13.967" v="12890"/>
          <ac:spMkLst>
            <pc:docMk/>
            <pc:sldMk cId="637833139" sldId="1182"/>
            <ac:spMk id="6" creationId="{8B89B1EC-CD37-DB88-CD9B-C31F764E1004}"/>
          </ac:spMkLst>
        </pc:spChg>
        <pc:spChg chg="add del mod modVis">
          <ac:chgData name="KevCla12" userId="ef2eb634-4620-450f-93cc-80cc93397e60" providerId="ADAL" clId="{0BF56A33-4BC5-423F-96C0-6A8645FA96BB}" dt="2023-12-03T17:13:54.705" v="18246"/>
          <ac:spMkLst>
            <pc:docMk/>
            <pc:sldMk cId="637833139" sldId="1182"/>
            <ac:spMk id="7" creationId="{9814EFD4-E316-6A02-17CF-7CE5659F0F0D}"/>
          </ac:spMkLst>
        </pc:spChg>
        <pc:spChg chg="add del mod modVis">
          <ac:chgData name="KevCla12" userId="ef2eb634-4620-450f-93cc-80cc93397e60" providerId="ADAL" clId="{0BF56A33-4BC5-423F-96C0-6A8645FA96BB}" dt="2023-12-03T17:13:56.980" v="18276"/>
          <ac:spMkLst>
            <pc:docMk/>
            <pc:sldMk cId="637833139" sldId="1182"/>
            <ac:spMk id="8" creationId="{8DE5F195-E681-B2D0-1BB3-87B259FFC431}"/>
          </ac:spMkLst>
        </pc:spChg>
        <pc:graphicFrameChg chg="mod">
          <ac:chgData name="KevCla12" userId="ef2eb634-4620-450f-93cc-80cc93397e60" providerId="ADAL" clId="{0BF56A33-4BC5-423F-96C0-6A8645FA96BB}" dt="2023-12-03T17:13:56.987" v="18278"/>
          <ac:graphicFrameMkLst>
            <pc:docMk/>
            <pc:sldMk cId="637833139" sldId="1182"/>
            <ac:graphicFrameMk id="4" creationId="{BFD615A3-2335-50D6-E753-6860EEE234B7}"/>
          </ac:graphicFrameMkLst>
        </pc:graphicFrameChg>
      </pc:sldChg>
      <pc:sldChg chg="addSp delSp modSp new add mod modNotes">
        <pc:chgData name="KevCla12" userId="ef2eb634-4620-450f-93cc-80cc93397e60" providerId="ADAL" clId="{0BF56A33-4BC5-423F-96C0-6A8645FA96BB}" dt="2023-12-03T21:48:10.617" v="32911" actId="790"/>
        <pc:sldMkLst>
          <pc:docMk/>
          <pc:sldMk cId="1306429279" sldId="1183"/>
        </pc:sldMkLst>
        <pc:spChg chg="mod">
          <ac:chgData name="KevCla12" userId="ef2eb634-4620-450f-93cc-80cc93397e60" providerId="ADAL" clId="{0BF56A33-4BC5-423F-96C0-6A8645FA96BB}" dt="2023-12-03T21:48:10.430" v="32721" actId="790"/>
          <ac:spMkLst>
            <pc:docMk/>
            <pc:sldMk cId="1306429279" sldId="1183"/>
            <ac:spMk id="2" creationId="{4957A992-8805-DD7D-A6F0-B1247F8CA50D}"/>
          </ac:spMkLst>
        </pc:spChg>
        <pc:spChg chg="del">
          <ac:chgData name="KevCla12" userId="ef2eb634-4620-450f-93cc-80cc93397e60" providerId="ADAL" clId="{0BF56A33-4BC5-423F-96C0-6A8645FA96BB}" dt="2023-12-03T14:56:44.585" v="12943" actId="478"/>
          <ac:spMkLst>
            <pc:docMk/>
            <pc:sldMk cId="1306429279" sldId="1183"/>
            <ac:spMk id="3" creationId="{8DF92B9F-9B28-BA23-ABE3-F27D1F80AE70}"/>
          </ac:spMkLst>
        </pc:spChg>
        <pc:spChg chg="mod">
          <ac:chgData name="KevCla12" userId="ef2eb634-4620-450f-93cc-80cc93397e60" providerId="ADAL" clId="{0BF56A33-4BC5-423F-96C0-6A8645FA96BB}" dt="2023-12-03T21:48:10.432" v="32722" actId="790"/>
          <ac:spMkLst>
            <pc:docMk/>
            <pc:sldMk cId="1306429279" sldId="1183"/>
            <ac:spMk id="4" creationId="{AA3C8F91-5683-CF9B-E4EA-66CF74FC35BE}"/>
          </ac:spMkLst>
        </pc:spChg>
        <pc:spChg chg="mod">
          <ac:chgData name="KevCla12" userId="ef2eb634-4620-450f-93cc-80cc93397e60" providerId="ADAL" clId="{0BF56A33-4BC5-423F-96C0-6A8645FA96BB}" dt="2023-12-03T21:48:10.434" v="32723" actId="790"/>
          <ac:spMkLst>
            <pc:docMk/>
            <pc:sldMk cId="1306429279" sldId="1183"/>
            <ac:spMk id="5" creationId="{17BA3E5D-ED16-79E6-F5F3-EABD3165C749}"/>
          </ac:spMkLst>
        </pc:spChg>
        <pc:spChg chg="mod">
          <ac:chgData name="KevCla12" userId="ef2eb634-4620-450f-93cc-80cc93397e60" providerId="ADAL" clId="{0BF56A33-4BC5-423F-96C0-6A8645FA96BB}" dt="2023-12-03T21:48:10.439" v="32724" actId="790"/>
          <ac:spMkLst>
            <pc:docMk/>
            <pc:sldMk cId="1306429279" sldId="1183"/>
            <ac:spMk id="6" creationId="{05FD89EA-E158-C439-A345-92F6F398D264}"/>
          </ac:spMkLst>
        </pc:spChg>
        <pc:spChg chg="mod">
          <ac:chgData name="KevCla12" userId="ef2eb634-4620-450f-93cc-80cc93397e60" providerId="ADAL" clId="{0BF56A33-4BC5-423F-96C0-6A8645FA96BB}" dt="2023-12-03T21:48:10.440" v="32725" actId="790"/>
          <ac:spMkLst>
            <pc:docMk/>
            <pc:sldMk cId="1306429279" sldId="1183"/>
            <ac:spMk id="7" creationId="{923910D4-C04F-6B45-1878-A380FA2BD0E4}"/>
          </ac:spMkLst>
        </pc:spChg>
        <pc:spChg chg="add del mod">
          <ac:chgData name="KevCla12" userId="ef2eb634-4620-450f-93cc-80cc93397e60" providerId="ADAL" clId="{0BF56A33-4BC5-423F-96C0-6A8645FA96BB}" dt="2023-12-03T14:57:13.461" v="12946"/>
          <ac:spMkLst>
            <pc:docMk/>
            <pc:sldMk cId="1306429279" sldId="1183"/>
            <ac:spMk id="9" creationId="{5382DDDF-F51C-374D-CC44-2FE44CDDDDF7}"/>
          </ac:spMkLst>
        </pc:spChg>
        <pc:spChg chg="add del mod">
          <ac:chgData name="KevCla12" userId="ef2eb634-4620-450f-93cc-80cc93397e60" providerId="ADAL" clId="{0BF56A33-4BC5-423F-96C0-6A8645FA96BB}" dt="2023-12-03T14:57:13.461" v="12946"/>
          <ac:spMkLst>
            <pc:docMk/>
            <pc:sldMk cId="1306429279" sldId="1183"/>
            <ac:spMk id="10" creationId="{C73D54B3-29D3-0229-D20C-77FBBE7BEC9C}"/>
          </ac:spMkLst>
        </pc:spChg>
        <pc:spChg chg="add del mod">
          <ac:chgData name="KevCla12" userId="ef2eb634-4620-450f-93cc-80cc93397e60" providerId="ADAL" clId="{0BF56A33-4BC5-423F-96C0-6A8645FA96BB}" dt="2023-12-03T14:57:13.461" v="12946"/>
          <ac:spMkLst>
            <pc:docMk/>
            <pc:sldMk cId="1306429279" sldId="1183"/>
            <ac:spMk id="11" creationId="{B83B5E1D-2734-60D7-DC2F-36CA1A407AAC}"/>
          </ac:spMkLst>
        </pc:spChg>
        <pc:spChg chg="add del mod">
          <ac:chgData name="KevCla12" userId="ef2eb634-4620-450f-93cc-80cc93397e60" providerId="ADAL" clId="{0BF56A33-4BC5-423F-96C0-6A8645FA96BB}" dt="2023-12-03T14:57:13.461" v="12946"/>
          <ac:spMkLst>
            <pc:docMk/>
            <pc:sldMk cId="1306429279" sldId="1183"/>
            <ac:spMk id="12" creationId="{206E1972-4E13-A5D8-61A3-1BC62715A93C}"/>
          </ac:spMkLst>
        </pc:spChg>
        <pc:spChg chg="add del mod">
          <ac:chgData name="KevCla12" userId="ef2eb634-4620-450f-93cc-80cc93397e60" providerId="ADAL" clId="{0BF56A33-4BC5-423F-96C0-6A8645FA96BB}" dt="2023-12-03T15:23:25.719" v="13784" actId="478"/>
          <ac:spMkLst>
            <pc:docMk/>
            <pc:sldMk cId="1306429279" sldId="1183"/>
            <ac:spMk id="15" creationId="{DF8C2520-55B2-6A87-BB39-B1006585A92D}"/>
          </ac:spMkLst>
        </pc:spChg>
        <pc:spChg chg="add del mod">
          <ac:chgData name="KevCla12" userId="ef2eb634-4620-450f-93cc-80cc93397e60" providerId="ADAL" clId="{0BF56A33-4BC5-423F-96C0-6A8645FA96BB}" dt="2023-12-03T15:23:24.021" v="13783" actId="478"/>
          <ac:spMkLst>
            <pc:docMk/>
            <pc:sldMk cId="1306429279" sldId="1183"/>
            <ac:spMk id="16" creationId="{BBD8CE30-0334-5E2B-36F2-99A192682B57}"/>
          </ac:spMkLst>
        </pc:spChg>
        <pc:spChg chg="add del mod">
          <ac:chgData name="KevCla12" userId="ef2eb634-4620-450f-93cc-80cc93397e60" providerId="ADAL" clId="{0BF56A33-4BC5-423F-96C0-6A8645FA96BB}" dt="2023-12-03T15:23:27.071" v="13785" actId="478"/>
          <ac:spMkLst>
            <pc:docMk/>
            <pc:sldMk cId="1306429279" sldId="1183"/>
            <ac:spMk id="17" creationId="{AA960806-8B9D-39E5-585E-27588E8A7550}"/>
          </ac:spMkLst>
        </pc:spChg>
        <pc:spChg chg="add del mod">
          <ac:chgData name="KevCla12" userId="ef2eb634-4620-450f-93cc-80cc93397e60" providerId="ADAL" clId="{0BF56A33-4BC5-423F-96C0-6A8645FA96BB}" dt="2023-12-03T15:23:29.738" v="13786" actId="478"/>
          <ac:spMkLst>
            <pc:docMk/>
            <pc:sldMk cId="1306429279" sldId="1183"/>
            <ac:spMk id="18" creationId="{4A104CEE-63A8-7F63-8609-718665A23E5B}"/>
          </ac:spMkLst>
        </pc:spChg>
        <pc:spChg chg="add mod">
          <ac:chgData name="KevCla12" userId="ef2eb634-4620-450f-93cc-80cc93397e60" providerId="ADAL" clId="{0BF56A33-4BC5-423F-96C0-6A8645FA96BB}" dt="2023-12-03T21:48:10.442" v="32726" actId="790"/>
          <ac:spMkLst>
            <pc:docMk/>
            <pc:sldMk cId="1306429279" sldId="1183"/>
            <ac:spMk id="19" creationId="{841A9073-ED9D-62BD-F6F4-5DFE735EA6C0}"/>
          </ac:spMkLst>
        </pc:spChg>
        <pc:spChg chg="add del mod">
          <ac:chgData name="KevCla12" userId="ef2eb634-4620-450f-93cc-80cc93397e60" providerId="ADAL" clId="{0BF56A33-4BC5-423F-96C0-6A8645FA96BB}" dt="2023-12-03T15:01:59.813" v="13052" actId="478"/>
          <ac:spMkLst>
            <pc:docMk/>
            <pc:sldMk cId="1306429279" sldId="1183"/>
            <ac:spMk id="20" creationId="{7A54FD6C-0A10-F4F9-D1D8-581BD399D9DC}"/>
          </ac:spMkLst>
        </pc:spChg>
        <pc:spChg chg="mod modVis">
          <ac:chgData name="KevCla12" userId="ef2eb634-4620-450f-93cc-80cc93397e60" providerId="ADAL" clId="{0BF56A33-4BC5-423F-96C0-6A8645FA96BB}" dt="2023-12-03T21:48:10.443" v="32727" actId="790"/>
          <ac:spMkLst>
            <pc:docMk/>
            <pc:sldMk cId="1306429279" sldId="1183"/>
            <ac:spMk id="22" creationId="{D9603AE5-5335-4F99-E4A0-0317DBC13A8D}"/>
          </ac:spMkLst>
        </pc:spChg>
        <pc:spChg chg="mod modVis">
          <ac:chgData name="KevCla12" userId="ef2eb634-4620-450f-93cc-80cc93397e60" providerId="ADAL" clId="{0BF56A33-4BC5-423F-96C0-6A8645FA96BB}" dt="2023-12-03T21:48:10.444" v="32728" actId="790"/>
          <ac:spMkLst>
            <pc:docMk/>
            <pc:sldMk cId="1306429279" sldId="1183"/>
            <ac:spMk id="23" creationId="{78A299B2-C8CC-1F0E-6406-A3EE83E1AF32}"/>
          </ac:spMkLst>
        </pc:spChg>
        <pc:spChg chg="mod modVis">
          <ac:chgData name="KevCla12" userId="ef2eb634-4620-450f-93cc-80cc93397e60" providerId="ADAL" clId="{0BF56A33-4BC5-423F-96C0-6A8645FA96BB}" dt="2023-12-03T21:48:10.445" v="32729" actId="790"/>
          <ac:spMkLst>
            <pc:docMk/>
            <pc:sldMk cId="1306429279" sldId="1183"/>
            <ac:spMk id="24" creationId="{172956F8-38A0-FE6A-7524-2153EC75F75D}"/>
          </ac:spMkLst>
        </pc:spChg>
        <pc:spChg chg="mod modVis">
          <ac:chgData name="KevCla12" userId="ef2eb634-4620-450f-93cc-80cc93397e60" providerId="ADAL" clId="{0BF56A33-4BC5-423F-96C0-6A8645FA96BB}" dt="2023-12-03T21:48:10.446" v="32730" actId="790"/>
          <ac:spMkLst>
            <pc:docMk/>
            <pc:sldMk cId="1306429279" sldId="1183"/>
            <ac:spMk id="25" creationId="{6AB66806-5F90-1B1D-2331-A63D1E6A674F}"/>
          </ac:spMkLst>
        </pc:spChg>
        <pc:spChg chg="mod modVis">
          <ac:chgData name="KevCla12" userId="ef2eb634-4620-450f-93cc-80cc93397e60" providerId="ADAL" clId="{0BF56A33-4BC5-423F-96C0-6A8645FA96BB}" dt="2023-12-03T21:48:10.447" v="32731" actId="790"/>
          <ac:spMkLst>
            <pc:docMk/>
            <pc:sldMk cId="1306429279" sldId="1183"/>
            <ac:spMk id="26" creationId="{0057CE07-5125-726D-722C-5A3307B7B772}"/>
          </ac:spMkLst>
        </pc:spChg>
        <pc:spChg chg="mod modVis">
          <ac:chgData name="KevCla12" userId="ef2eb634-4620-450f-93cc-80cc93397e60" providerId="ADAL" clId="{0BF56A33-4BC5-423F-96C0-6A8645FA96BB}" dt="2023-12-03T21:48:10.447" v="32732" actId="790"/>
          <ac:spMkLst>
            <pc:docMk/>
            <pc:sldMk cId="1306429279" sldId="1183"/>
            <ac:spMk id="27" creationId="{7A138CBC-F9D1-43F0-2BEF-5ACF1A1AE942}"/>
          </ac:spMkLst>
        </pc:spChg>
        <pc:spChg chg="mod modVis">
          <ac:chgData name="KevCla12" userId="ef2eb634-4620-450f-93cc-80cc93397e60" providerId="ADAL" clId="{0BF56A33-4BC5-423F-96C0-6A8645FA96BB}" dt="2023-12-03T21:48:10.448" v="32733" actId="790"/>
          <ac:spMkLst>
            <pc:docMk/>
            <pc:sldMk cId="1306429279" sldId="1183"/>
            <ac:spMk id="28" creationId="{F272355D-768A-5117-AFD4-E35EA6D4F6D3}"/>
          </ac:spMkLst>
        </pc:spChg>
        <pc:spChg chg="mod modVis">
          <ac:chgData name="KevCla12" userId="ef2eb634-4620-450f-93cc-80cc93397e60" providerId="ADAL" clId="{0BF56A33-4BC5-423F-96C0-6A8645FA96BB}" dt="2023-12-03T21:48:10.449" v="32734" actId="790"/>
          <ac:spMkLst>
            <pc:docMk/>
            <pc:sldMk cId="1306429279" sldId="1183"/>
            <ac:spMk id="29" creationId="{4773291A-39AD-F57F-86ED-2ABFA6888D02}"/>
          </ac:spMkLst>
        </pc:spChg>
        <pc:spChg chg="mod modVis">
          <ac:chgData name="KevCla12" userId="ef2eb634-4620-450f-93cc-80cc93397e60" providerId="ADAL" clId="{0BF56A33-4BC5-423F-96C0-6A8645FA96BB}" dt="2023-12-03T21:48:10.450" v="32735" actId="790"/>
          <ac:spMkLst>
            <pc:docMk/>
            <pc:sldMk cId="1306429279" sldId="1183"/>
            <ac:spMk id="30" creationId="{42544205-4ED3-9D5F-F713-FDD96EDF4DD3}"/>
          </ac:spMkLst>
        </pc:spChg>
        <pc:spChg chg="mod modVis">
          <ac:chgData name="KevCla12" userId="ef2eb634-4620-450f-93cc-80cc93397e60" providerId="ADAL" clId="{0BF56A33-4BC5-423F-96C0-6A8645FA96BB}" dt="2023-12-03T21:48:10.451" v="32736" actId="790"/>
          <ac:spMkLst>
            <pc:docMk/>
            <pc:sldMk cId="1306429279" sldId="1183"/>
            <ac:spMk id="31" creationId="{5B9B0ADD-C3AE-EA5A-91BA-1E6DBD9F19C6}"/>
          </ac:spMkLst>
        </pc:spChg>
        <pc:spChg chg="mod modVis">
          <ac:chgData name="KevCla12" userId="ef2eb634-4620-450f-93cc-80cc93397e60" providerId="ADAL" clId="{0BF56A33-4BC5-423F-96C0-6A8645FA96BB}" dt="2023-12-03T15:03:55.292" v="13145"/>
          <ac:spMkLst>
            <pc:docMk/>
            <pc:sldMk cId="1306429279" sldId="1183"/>
            <ac:spMk id="33" creationId="{68393B2A-E8A4-B420-ED43-08318898973A}"/>
          </ac:spMkLst>
        </pc:spChg>
        <pc:spChg chg="mod modVis">
          <ac:chgData name="KevCla12" userId="ef2eb634-4620-450f-93cc-80cc93397e60" providerId="ADAL" clId="{0BF56A33-4BC5-423F-96C0-6A8645FA96BB}" dt="2023-12-03T15:03:55.292" v="13145"/>
          <ac:spMkLst>
            <pc:docMk/>
            <pc:sldMk cId="1306429279" sldId="1183"/>
            <ac:spMk id="34" creationId="{F87F6F69-BF28-632D-7BAB-9438EDF8C295}"/>
          </ac:spMkLst>
        </pc:spChg>
        <pc:spChg chg="mod modVis">
          <ac:chgData name="KevCla12" userId="ef2eb634-4620-450f-93cc-80cc93397e60" providerId="ADAL" clId="{0BF56A33-4BC5-423F-96C0-6A8645FA96BB}" dt="2023-12-03T15:03:55.292" v="13145"/>
          <ac:spMkLst>
            <pc:docMk/>
            <pc:sldMk cId="1306429279" sldId="1183"/>
            <ac:spMk id="35" creationId="{F324BA2B-4AC3-3A77-ACBC-C63B8DDCF402}"/>
          </ac:spMkLst>
        </pc:spChg>
        <pc:spChg chg="mod modVis">
          <ac:chgData name="KevCla12" userId="ef2eb634-4620-450f-93cc-80cc93397e60" providerId="ADAL" clId="{0BF56A33-4BC5-423F-96C0-6A8645FA96BB}" dt="2023-12-03T15:03:55.292" v="13145"/>
          <ac:spMkLst>
            <pc:docMk/>
            <pc:sldMk cId="1306429279" sldId="1183"/>
            <ac:spMk id="36" creationId="{B97AF496-6227-4466-8FA9-76ABACFAF8B6}"/>
          </ac:spMkLst>
        </pc:spChg>
        <pc:spChg chg="mod modVis">
          <ac:chgData name="KevCla12" userId="ef2eb634-4620-450f-93cc-80cc93397e60" providerId="ADAL" clId="{0BF56A33-4BC5-423F-96C0-6A8645FA96BB}" dt="2023-12-03T15:03:55.292" v="13145"/>
          <ac:spMkLst>
            <pc:docMk/>
            <pc:sldMk cId="1306429279" sldId="1183"/>
            <ac:spMk id="37" creationId="{1F96FD62-2E12-E484-B900-5313A4FDF043}"/>
          </ac:spMkLst>
        </pc:spChg>
        <pc:spChg chg="mod modVis">
          <ac:chgData name="KevCla12" userId="ef2eb634-4620-450f-93cc-80cc93397e60" providerId="ADAL" clId="{0BF56A33-4BC5-423F-96C0-6A8645FA96BB}" dt="2023-12-03T15:03:55.292" v="13145"/>
          <ac:spMkLst>
            <pc:docMk/>
            <pc:sldMk cId="1306429279" sldId="1183"/>
            <ac:spMk id="38" creationId="{335AD97B-9425-FEA0-DC6B-F7D134CE3833}"/>
          </ac:spMkLst>
        </pc:spChg>
        <pc:spChg chg="mod modVis">
          <ac:chgData name="KevCla12" userId="ef2eb634-4620-450f-93cc-80cc93397e60" providerId="ADAL" clId="{0BF56A33-4BC5-423F-96C0-6A8645FA96BB}" dt="2023-12-03T15:03:55.292" v="13145"/>
          <ac:spMkLst>
            <pc:docMk/>
            <pc:sldMk cId="1306429279" sldId="1183"/>
            <ac:spMk id="39" creationId="{A6B2C3F4-82DA-7449-4723-BEFC72A4CAD0}"/>
          </ac:spMkLst>
        </pc:spChg>
        <pc:spChg chg="mod modVis">
          <ac:chgData name="KevCla12" userId="ef2eb634-4620-450f-93cc-80cc93397e60" providerId="ADAL" clId="{0BF56A33-4BC5-423F-96C0-6A8645FA96BB}" dt="2023-12-03T15:03:55.292" v="13145"/>
          <ac:spMkLst>
            <pc:docMk/>
            <pc:sldMk cId="1306429279" sldId="1183"/>
            <ac:spMk id="40" creationId="{5609E419-3D11-8F2E-5355-6A5DB0631024}"/>
          </ac:spMkLst>
        </pc:spChg>
        <pc:spChg chg="mod modVis">
          <ac:chgData name="KevCla12" userId="ef2eb634-4620-450f-93cc-80cc93397e60" providerId="ADAL" clId="{0BF56A33-4BC5-423F-96C0-6A8645FA96BB}" dt="2023-12-03T15:03:55.292" v="13145"/>
          <ac:spMkLst>
            <pc:docMk/>
            <pc:sldMk cId="1306429279" sldId="1183"/>
            <ac:spMk id="41" creationId="{9BAE9C67-636D-BBC9-26DB-894328A02618}"/>
          </ac:spMkLst>
        </pc:spChg>
        <pc:spChg chg="mod modVis">
          <ac:chgData name="KevCla12" userId="ef2eb634-4620-450f-93cc-80cc93397e60" providerId="ADAL" clId="{0BF56A33-4BC5-423F-96C0-6A8645FA96BB}" dt="2023-12-03T15:03:55.292" v="13145"/>
          <ac:spMkLst>
            <pc:docMk/>
            <pc:sldMk cId="1306429279" sldId="1183"/>
            <ac:spMk id="42" creationId="{883290FF-14DF-9934-ADF9-BD8647E3F2B3}"/>
          </ac:spMkLst>
        </pc:spChg>
        <pc:spChg chg="mod modVis">
          <ac:chgData name="KevCla12" userId="ef2eb634-4620-450f-93cc-80cc93397e60" providerId="ADAL" clId="{0BF56A33-4BC5-423F-96C0-6A8645FA96BB}" dt="2023-12-03T15:03:55.292" v="13145"/>
          <ac:spMkLst>
            <pc:docMk/>
            <pc:sldMk cId="1306429279" sldId="1183"/>
            <ac:spMk id="43" creationId="{9ECB99D9-63C2-6F4C-5965-44BEB39D8630}"/>
          </ac:spMkLst>
        </pc:spChg>
        <pc:spChg chg="mod modVis">
          <ac:chgData name="KevCla12" userId="ef2eb634-4620-450f-93cc-80cc93397e60" providerId="ADAL" clId="{0BF56A33-4BC5-423F-96C0-6A8645FA96BB}" dt="2023-12-03T15:03:55.292" v="13145"/>
          <ac:spMkLst>
            <pc:docMk/>
            <pc:sldMk cId="1306429279" sldId="1183"/>
            <ac:spMk id="44" creationId="{F0C004A1-4040-ACB7-F09E-E3219BBEB4E4}"/>
          </ac:spMkLst>
        </pc:spChg>
        <pc:spChg chg="mod modVis">
          <ac:chgData name="KevCla12" userId="ef2eb634-4620-450f-93cc-80cc93397e60" providerId="ADAL" clId="{0BF56A33-4BC5-423F-96C0-6A8645FA96BB}" dt="2023-12-03T15:03:55.292" v="13145"/>
          <ac:spMkLst>
            <pc:docMk/>
            <pc:sldMk cId="1306429279" sldId="1183"/>
            <ac:spMk id="45" creationId="{651AD761-131C-8209-DACF-5562539A03B7}"/>
          </ac:spMkLst>
        </pc:spChg>
        <pc:spChg chg="mod modVis">
          <ac:chgData name="KevCla12" userId="ef2eb634-4620-450f-93cc-80cc93397e60" providerId="ADAL" clId="{0BF56A33-4BC5-423F-96C0-6A8645FA96BB}" dt="2023-12-03T15:03:55.292" v="13145"/>
          <ac:spMkLst>
            <pc:docMk/>
            <pc:sldMk cId="1306429279" sldId="1183"/>
            <ac:spMk id="46" creationId="{563919E0-6780-CBE8-56EE-F20CE88929C0}"/>
          </ac:spMkLst>
        </pc:spChg>
        <pc:spChg chg="mod modVis">
          <ac:chgData name="KevCla12" userId="ef2eb634-4620-450f-93cc-80cc93397e60" providerId="ADAL" clId="{0BF56A33-4BC5-423F-96C0-6A8645FA96BB}" dt="2023-12-03T15:03:55.292" v="13145"/>
          <ac:spMkLst>
            <pc:docMk/>
            <pc:sldMk cId="1306429279" sldId="1183"/>
            <ac:spMk id="47" creationId="{A11AB102-CF94-7D1F-F4B4-6CB512079079}"/>
          </ac:spMkLst>
        </pc:spChg>
        <pc:spChg chg="mod modVis">
          <ac:chgData name="KevCla12" userId="ef2eb634-4620-450f-93cc-80cc93397e60" providerId="ADAL" clId="{0BF56A33-4BC5-423F-96C0-6A8645FA96BB}" dt="2023-12-03T15:03:55.292" v="13145"/>
          <ac:spMkLst>
            <pc:docMk/>
            <pc:sldMk cId="1306429279" sldId="1183"/>
            <ac:spMk id="48" creationId="{FE4285F2-A822-1238-F8CA-0FC7904362A3}"/>
          </ac:spMkLst>
        </pc:spChg>
        <pc:spChg chg="mod modVis">
          <ac:chgData name="KevCla12" userId="ef2eb634-4620-450f-93cc-80cc93397e60" providerId="ADAL" clId="{0BF56A33-4BC5-423F-96C0-6A8645FA96BB}" dt="2023-12-03T15:03:55.292" v="13145"/>
          <ac:spMkLst>
            <pc:docMk/>
            <pc:sldMk cId="1306429279" sldId="1183"/>
            <ac:spMk id="49" creationId="{449581DF-C203-24A9-54D7-E4355265007C}"/>
          </ac:spMkLst>
        </pc:spChg>
        <pc:spChg chg="mod modVis">
          <ac:chgData name="KevCla12" userId="ef2eb634-4620-450f-93cc-80cc93397e60" providerId="ADAL" clId="{0BF56A33-4BC5-423F-96C0-6A8645FA96BB}" dt="2023-12-03T15:03:55.292" v="13145"/>
          <ac:spMkLst>
            <pc:docMk/>
            <pc:sldMk cId="1306429279" sldId="1183"/>
            <ac:spMk id="50" creationId="{4BAB210A-4D18-28F6-3A5E-C9AF86C9FD61}"/>
          </ac:spMkLst>
        </pc:spChg>
        <pc:spChg chg="mod modVis">
          <ac:chgData name="KevCla12" userId="ef2eb634-4620-450f-93cc-80cc93397e60" providerId="ADAL" clId="{0BF56A33-4BC5-423F-96C0-6A8645FA96BB}" dt="2023-12-03T15:03:55.292" v="13145"/>
          <ac:spMkLst>
            <pc:docMk/>
            <pc:sldMk cId="1306429279" sldId="1183"/>
            <ac:spMk id="51" creationId="{4B812614-D0C6-C25F-0A9F-18528EABB9BC}"/>
          </ac:spMkLst>
        </pc:spChg>
        <pc:spChg chg="mod modVis">
          <ac:chgData name="KevCla12" userId="ef2eb634-4620-450f-93cc-80cc93397e60" providerId="ADAL" clId="{0BF56A33-4BC5-423F-96C0-6A8645FA96BB}" dt="2023-12-03T15:03:55.292" v="13145"/>
          <ac:spMkLst>
            <pc:docMk/>
            <pc:sldMk cId="1306429279" sldId="1183"/>
            <ac:spMk id="52" creationId="{04428DAD-6C00-C646-9F57-F4BA74416BEA}"/>
          </ac:spMkLst>
        </pc:spChg>
        <pc:spChg chg="mod modVis">
          <ac:chgData name="KevCla12" userId="ef2eb634-4620-450f-93cc-80cc93397e60" providerId="ADAL" clId="{0BF56A33-4BC5-423F-96C0-6A8645FA96BB}" dt="2023-12-03T15:03:55.292" v="13145"/>
          <ac:spMkLst>
            <pc:docMk/>
            <pc:sldMk cId="1306429279" sldId="1183"/>
            <ac:spMk id="53" creationId="{5766A7DF-2CD7-FF76-CABB-947103C640BA}"/>
          </ac:spMkLst>
        </pc:spChg>
        <pc:spChg chg="mod modVis">
          <ac:chgData name="KevCla12" userId="ef2eb634-4620-450f-93cc-80cc93397e60" providerId="ADAL" clId="{0BF56A33-4BC5-423F-96C0-6A8645FA96BB}" dt="2023-12-03T15:03:55.292" v="13145"/>
          <ac:spMkLst>
            <pc:docMk/>
            <pc:sldMk cId="1306429279" sldId="1183"/>
            <ac:spMk id="54" creationId="{520290C0-81C6-F70F-8BEF-540825F48EAB}"/>
          </ac:spMkLst>
        </pc:spChg>
        <pc:spChg chg="mod modVis">
          <ac:chgData name="KevCla12" userId="ef2eb634-4620-450f-93cc-80cc93397e60" providerId="ADAL" clId="{0BF56A33-4BC5-423F-96C0-6A8645FA96BB}" dt="2023-12-03T15:03:55.292" v="13145"/>
          <ac:spMkLst>
            <pc:docMk/>
            <pc:sldMk cId="1306429279" sldId="1183"/>
            <ac:spMk id="55" creationId="{00A5C79C-2372-A7E7-9514-74A0E168D878}"/>
          </ac:spMkLst>
        </pc:spChg>
        <pc:spChg chg="mod modVis">
          <ac:chgData name="KevCla12" userId="ef2eb634-4620-450f-93cc-80cc93397e60" providerId="ADAL" clId="{0BF56A33-4BC5-423F-96C0-6A8645FA96BB}" dt="2023-12-03T15:03:55.292" v="13145"/>
          <ac:spMkLst>
            <pc:docMk/>
            <pc:sldMk cId="1306429279" sldId="1183"/>
            <ac:spMk id="56" creationId="{7B3A9CF3-B641-7888-771A-0C982575C296}"/>
          </ac:spMkLst>
        </pc:spChg>
        <pc:spChg chg="mod modVis">
          <ac:chgData name="KevCla12" userId="ef2eb634-4620-450f-93cc-80cc93397e60" providerId="ADAL" clId="{0BF56A33-4BC5-423F-96C0-6A8645FA96BB}" dt="2023-12-03T15:03:55.292" v="13145"/>
          <ac:spMkLst>
            <pc:docMk/>
            <pc:sldMk cId="1306429279" sldId="1183"/>
            <ac:spMk id="57" creationId="{77A26AD6-12DF-086B-41E2-986AFB2F5AD5}"/>
          </ac:spMkLst>
        </pc:spChg>
        <pc:spChg chg="mod modVis">
          <ac:chgData name="KevCla12" userId="ef2eb634-4620-450f-93cc-80cc93397e60" providerId="ADAL" clId="{0BF56A33-4BC5-423F-96C0-6A8645FA96BB}" dt="2023-12-03T15:06:16.917" v="13216" actId="1582"/>
          <ac:spMkLst>
            <pc:docMk/>
            <pc:sldMk cId="1306429279" sldId="1183"/>
            <ac:spMk id="59" creationId="{624269DF-3FC4-E588-19F7-2E7BC1AC2A6C}"/>
          </ac:spMkLst>
        </pc:spChg>
        <pc:spChg chg="mod modVis">
          <ac:chgData name="KevCla12" userId="ef2eb634-4620-450f-93cc-80cc93397e60" providerId="ADAL" clId="{0BF56A33-4BC5-423F-96C0-6A8645FA96BB}" dt="2023-12-03T15:06:16.917" v="13216" actId="1582"/>
          <ac:spMkLst>
            <pc:docMk/>
            <pc:sldMk cId="1306429279" sldId="1183"/>
            <ac:spMk id="60" creationId="{6B0EA438-B891-E613-735D-D7C298710C27}"/>
          </ac:spMkLst>
        </pc:spChg>
        <pc:spChg chg="mod modVis">
          <ac:chgData name="KevCla12" userId="ef2eb634-4620-450f-93cc-80cc93397e60" providerId="ADAL" clId="{0BF56A33-4BC5-423F-96C0-6A8645FA96BB}" dt="2023-12-03T15:06:16.917" v="13216" actId="1582"/>
          <ac:spMkLst>
            <pc:docMk/>
            <pc:sldMk cId="1306429279" sldId="1183"/>
            <ac:spMk id="61" creationId="{42E1EF31-F9F6-AFEE-2699-4CFB0BBC6447}"/>
          </ac:spMkLst>
        </pc:spChg>
        <pc:spChg chg="mod modVis">
          <ac:chgData name="KevCla12" userId="ef2eb634-4620-450f-93cc-80cc93397e60" providerId="ADAL" clId="{0BF56A33-4BC5-423F-96C0-6A8645FA96BB}" dt="2023-12-03T15:06:16.917" v="13216" actId="1582"/>
          <ac:spMkLst>
            <pc:docMk/>
            <pc:sldMk cId="1306429279" sldId="1183"/>
            <ac:spMk id="62" creationId="{D857A4AD-7C1D-C1AC-0E38-FFA59440E092}"/>
          </ac:spMkLst>
        </pc:spChg>
        <pc:spChg chg="mod modVis">
          <ac:chgData name="KevCla12" userId="ef2eb634-4620-450f-93cc-80cc93397e60" providerId="ADAL" clId="{0BF56A33-4BC5-423F-96C0-6A8645FA96BB}" dt="2023-12-03T15:06:16.917" v="13216" actId="1582"/>
          <ac:spMkLst>
            <pc:docMk/>
            <pc:sldMk cId="1306429279" sldId="1183"/>
            <ac:spMk id="63" creationId="{08793340-A4E4-CEDC-2B64-6C8C7F38CAC0}"/>
          </ac:spMkLst>
        </pc:spChg>
        <pc:spChg chg="mod modVis">
          <ac:chgData name="KevCla12" userId="ef2eb634-4620-450f-93cc-80cc93397e60" providerId="ADAL" clId="{0BF56A33-4BC5-423F-96C0-6A8645FA96BB}" dt="2023-12-03T15:06:16.917" v="13216" actId="1582"/>
          <ac:spMkLst>
            <pc:docMk/>
            <pc:sldMk cId="1306429279" sldId="1183"/>
            <ac:spMk id="64" creationId="{9B18B652-8764-CC3A-02B8-C9281610A587}"/>
          </ac:spMkLst>
        </pc:spChg>
        <pc:spChg chg="mod modVis">
          <ac:chgData name="KevCla12" userId="ef2eb634-4620-450f-93cc-80cc93397e60" providerId="ADAL" clId="{0BF56A33-4BC5-423F-96C0-6A8645FA96BB}" dt="2023-12-03T15:06:16.917" v="13216" actId="1582"/>
          <ac:spMkLst>
            <pc:docMk/>
            <pc:sldMk cId="1306429279" sldId="1183"/>
            <ac:spMk id="65" creationId="{68082BB0-33CF-D77A-A33A-EB0D75397DC7}"/>
          </ac:spMkLst>
        </pc:spChg>
        <pc:spChg chg="mod modVis">
          <ac:chgData name="KevCla12" userId="ef2eb634-4620-450f-93cc-80cc93397e60" providerId="ADAL" clId="{0BF56A33-4BC5-423F-96C0-6A8645FA96BB}" dt="2023-12-03T15:06:16.917" v="13216" actId="1582"/>
          <ac:spMkLst>
            <pc:docMk/>
            <pc:sldMk cId="1306429279" sldId="1183"/>
            <ac:spMk id="66" creationId="{43980472-A87B-47E1-33AB-CE5D15EE5715}"/>
          </ac:spMkLst>
        </pc:spChg>
        <pc:spChg chg="mod modVis">
          <ac:chgData name="KevCla12" userId="ef2eb634-4620-450f-93cc-80cc93397e60" providerId="ADAL" clId="{0BF56A33-4BC5-423F-96C0-6A8645FA96BB}" dt="2023-12-03T15:06:16.917" v="13216" actId="1582"/>
          <ac:spMkLst>
            <pc:docMk/>
            <pc:sldMk cId="1306429279" sldId="1183"/>
            <ac:spMk id="67" creationId="{32FD548E-6985-606A-486A-8DE63E5BD39A}"/>
          </ac:spMkLst>
        </pc:spChg>
        <pc:spChg chg="mod modVis">
          <ac:chgData name="KevCla12" userId="ef2eb634-4620-450f-93cc-80cc93397e60" providerId="ADAL" clId="{0BF56A33-4BC5-423F-96C0-6A8645FA96BB}" dt="2023-12-03T15:06:16.917" v="13216" actId="1582"/>
          <ac:spMkLst>
            <pc:docMk/>
            <pc:sldMk cId="1306429279" sldId="1183"/>
            <ac:spMk id="68" creationId="{D8E5A67D-0F81-BDB2-8790-D135F15F9E82}"/>
          </ac:spMkLst>
        </pc:spChg>
        <pc:spChg chg="mod modVis">
          <ac:chgData name="KevCla12" userId="ef2eb634-4620-450f-93cc-80cc93397e60" providerId="ADAL" clId="{0BF56A33-4BC5-423F-96C0-6A8645FA96BB}" dt="2023-12-03T21:48:10.452" v="32737" actId="790"/>
          <ac:spMkLst>
            <pc:docMk/>
            <pc:sldMk cId="1306429279" sldId="1183"/>
            <ac:spMk id="70" creationId="{734FE179-4725-6847-0FD1-E305906CB03D}"/>
          </ac:spMkLst>
        </pc:spChg>
        <pc:spChg chg="mod modVis">
          <ac:chgData name="KevCla12" userId="ef2eb634-4620-450f-93cc-80cc93397e60" providerId="ADAL" clId="{0BF56A33-4BC5-423F-96C0-6A8645FA96BB}" dt="2023-12-03T21:48:10.453" v="32738" actId="790"/>
          <ac:spMkLst>
            <pc:docMk/>
            <pc:sldMk cId="1306429279" sldId="1183"/>
            <ac:spMk id="71" creationId="{11B37B4B-0AA7-23B4-087A-53C7A295F594}"/>
          </ac:spMkLst>
        </pc:spChg>
        <pc:spChg chg="mod modVis">
          <ac:chgData name="KevCla12" userId="ef2eb634-4620-450f-93cc-80cc93397e60" providerId="ADAL" clId="{0BF56A33-4BC5-423F-96C0-6A8645FA96BB}" dt="2023-12-03T21:48:10.453" v="32739" actId="790"/>
          <ac:spMkLst>
            <pc:docMk/>
            <pc:sldMk cId="1306429279" sldId="1183"/>
            <ac:spMk id="72" creationId="{45CA0B71-851E-E8F6-EE61-B0B36B5FCB8E}"/>
          </ac:spMkLst>
        </pc:spChg>
        <pc:spChg chg="mod modVis">
          <ac:chgData name="KevCla12" userId="ef2eb634-4620-450f-93cc-80cc93397e60" providerId="ADAL" clId="{0BF56A33-4BC5-423F-96C0-6A8645FA96BB}" dt="2023-12-03T21:48:10.454" v="32740" actId="790"/>
          <ac:spMkLst>
            <pc:docMk/>
            <pc:sldMk cId="1306429279" sldId="1183"/>
            <ac:spMk id="73" creationId="{744C3C59-036C-2D20-8710-D237F583308C}"/>
          </ac:spMkLst>
        </pc:spChg>
        <pc:spChg chg="mod modVis">
          <ac:chgData name="KevCla12" userId="ef2eb634-4620-450f-93cc-80cc93397e60" providerId="ADAL" clId="{0BF56A33-4BC5-423F-96C0-6A8645FA96BB}" dt="2023-12-03T21:48:10.455" v="32741" actId="790"/>
          <ac:spMkLst>
            <pc:docMk/>
            <pc:sldMk cId="1306429279" sldId="1183"/>
            <ac:spMk id="74" creationId="{E8031A3F-89F1-63DA-85DA-EB64A8BA5157}"/>
          </ac:spMkLst>
        </pc:spChg>
        <pc:spChg chg="mod modVis">
          <ac:chgData name="KevCla12" userId="ef2eb634-4620-450f-93cc-80cc93397e60" providerId="ADAL" clId="{0BF56A33-4BC5-423F-96C0-6A8645FA96BB}" dt="2023-12-03T21:48:10.456" v="32742" actId="790"/>
          <ac:spMkLst>
            <pc:docMk/>
            <pc:sldMk cId="1306429279" sldId="1183"/>
            <ac:spMk id="75" creationId="{09E8BE02-9C80-E410-1C07-ABFDB2163E81}"/>
          </ac:spMkLst>
        </pc:spChg>
        <pc:spChg chg="mod modVis">
          <ac:chgData name="KevCla12" userId="ef2eb634-4620-450f-93cc-80cc93397e60" providerId="ADAL" clId="{0BF56A33-4BC5-423F-96C0-6A8645FA96BB}" dt="2023-12-03T21:48:10.457" v="32743" actId="790"/>
          <ac:spMkLst>
            <pc:docMk/>
            <pc:sldMk cId="1306429279" sldId="1183"/>
            <ac:spMk id="76" creationId="{A287FC71-21FB-AB63-4296-696B3045D8DD}"/>
          </ac:spMkLst>
        </pc:spChg>
        <pc:spChg chg="mod modVis">
          <ac:chgData name="KevCla12" userId="ef2eb634-4620-450f-93cc-80cc93397e60" providerId="ADAL" clId="{0BF56A33-4BC5-423F-96C0-6A8645FA96BB}" dt="2023-12-03T21:48:10.458" v="32744" actId="790"/>
          <ac:spMkLst>
            <pc:docMk/>
            <pc:sldMk cId="1306429279" sldId="1183"/>
            <ac:spMk id="77" creationId="{0BD65D24-116F-D3EB-7499-AE0600BF6E30}"/>
          </ac:spMkLst>
        </pc:spChg>
        <pc:spChg chg="mod modVis">
          <ac:chgData name="KevCla12" userId="ef2eb634-4620-450f-93cc-80cc93397e60" providerId="ADAL" clId="{0BF56A33-4BC5-423F-96C0-6A8645FA96BB}" dt="2023-12-03T21:48:10.459" v="32745" actId="790"/>
          <ac:spMkLst>
            <pc:docMk/>
            <pc:sldMk cId="1306429279" sldId="1183"/>
            <ac:spMk id="78" creationId="{F74F23AE-D898-44C6-6B4B-89E23172EF46}"/>
          </ac:spMkLst>
        </pc:spChg>
        <pc:spChg chg="mod modVis">
          <ac:chgData name="KevCla12" userId="ef2eb634-4620-450f-93cc-80cc93397e60" providerId="ADAL" clId="{0BF56A33-4BC5-423F-96C0-6A8645FA96BB}" dt="2023-12-03T21:48:10.459" v="32746" actId="790"/>
          <ac:spMkLst>
            <pc:docMk/>
            <pc:sldMk cId="1306429279" sldId="1183"/>
            <ac:spMk id="79" creationId="{88064580-BA8A-F579-1C02-5062F03B66AE}"/>
          </ac:spMkLst>
        </pc:spChg>
        <pc:spChg chg="mod modVis">
          <ac:chgData name="KevCla12" userId="ef2eb634-4620-450f-93cc-80cc93397e60" providerId="ADAL" clId="{0BF56A33-4BC5-423F-96C0-6A8645FA96BB}" dt="2023-12-03T21:48:10.460" v="32747" actId="790"/>
          <ac:spMkLst>
            <pc:docMk/>
            <pc:sldMk cId="1306429279" sldId="1183"/>
            <ac:spMk id="80" creationId="{4E44CB95-0C18-F6FD-F89F-6B1452BF1395}"/>
          </ac:spMkLst>
        </pc:spChg>
        <pc:spChg chg="mod modVis">
          <ac:chgData name="KevCla12" userId="ef2eb634-4620-450f-93cc-80cc93397e60" providerId="ADAL" clId="{0BF56A33-4BC5-423F-96C0-6A8645FA96BB}" dt="2023-12-03T21:48:10.461" v="32748"/>
          <ac:spMkLst>
            <pc:docMk/>
            <pc:sldMk cId="1306429279" sldId="1183"/>
            <ac:spMk id="82" creationId="{568E313F-817C-DD24-6266-91CC7CC8D253}"/>
          </ac:spMkLst>
        </pc:spChg>
        <pc:spChg chg="mod modVis">
          <ac:chgData name="KevCla12" userId="ef2eb634-4620-450f-93cc-80cc93397e60" providerId="ADAL" clId="{0BF56A33-4BC5-423F-96C0-6A8645FA96BB}" dt="2023-12-03T21:48:10.461" v="32749"/>
          <ac:spMkLst>
            <pc:docMk/>
            <pc:sldMk cId="1306429279" sldId="1183"/>
            <ac:spMk id="83" creationId="{74484FEE-22AE-595E-13B3-6C3CDBCDA99E}"/>
          </ac:spMkLst>
        </pc:spChg>
        <pc:spChg chg="mod modVis">
          <ac:chgData name="KevCla12" userId="ef2eb634-4620-450f-93cc-80cc93397e60" providerId="ADAL" clId="{0BF56A33-4BC5-423F-96C0-6A8645FA96BB}" dt="2023-12-03T21:48:10.462" v="32750"/>
          <ac:spMkLst>
            <pc:docMk/>
            <pc:sldMk cId="1306429279" sldId="1183"/>
            <ac:spMk id="84" creationId="{CA912182-A5D2-4FBA-2F39-70C5400DFF7F}"/>
          </ac:spMkLst>
        </pc:spChg>
        <pc:spChg chg="mod modVis">
          <ac:chgData name="KevCla12" userId="ef2eb634-4620-450f-93cc-80cc93397e60" providerId="ADAL" clId="{0BF56A33-4BC5-423F-96C0-6A8645FA96BB}" dt="2023-12-03T21:48:10.462" v="32751"/>
          <ac:spMkLst>
            <pc:docMk/>
            <pc:sldMk cId="1306429279" sldId="1183"/>
            <ac:spMk id="85" creationId="{47F4BFC3-77D7-D37A-9F83-0E8FD76A23F2}"/>
          </ac:spMkLst>
        </pc:spChg>
        <pc:spChg chg="mod modVis">
          <ac:chgData name="KevCla12" userId="ef2eb634-4620-450f-93cc-80cc93397e60" providerId="ADAL" clId="{0BF56A33-4BC5-423F-96C0-6A8645FA96BB}" dt="2023-12-03T21:48:10.463" v="32752"/>
          <ac:spMkLst>
            <pc:docMk/>
            <pc:sldMk cId="1306429279" sldId="1183"/>
            <ac:spMk id="86" creationId="{90DA629C-2947-00B4-FF21-A6F90BFA088E}"/>
          </ac:spMkLst>
        </pc:spChg>
        <pc:spChg chg="mod modVis">
          <ac:chgData name="KevCla12" userId="ef2eb634-4620-450f-93cc-80cc93397e60" providerId="ADAL" clId="{0BF56A33-4BC5-423F-96C0-6A8645FA96BB}" dt="2023-12-03T21:48:10.464" v="32753" actId="790"/>
          <ac:spMkLst>
            <pc:docMk/>
            <pc:sldMk cId="1306429279" sldId="1183"/>
            <ac:spMk id="87" creationId="{7625F9CD-0F1A-5FE3-C765-B22273C3AF11}"/>
          </ac:spMkLst>
        </pc:spChg>
        <pc:spChg chg="mod modVis">
          <ac:chgData name="KevCla12" userId="ef2eb634-4620-450f-93cc-80cc93397e60" providerId="ADAL" clId="{0BF56A33-4BC5-423F-96C0-6A8645FA96BB}" dt="2023-12-03T21:48:10.464" v="32754" actId="790"/>
          <ac:spMkLst>
            <pc:docMk/>
            <pc:sldMk cId="1306429279" sldId="1183"/>
            <ac:spMk id="88" creationId="{1A528084-2E20-4C21-24E6-CB6506BBF457}"/>
          </ac:spMkLst>
        </pc:spChg>
        <pc:spChg chg="add mod">
          <ac:chgData name="KevCla12" userId="ef2eb634-4620-450f-93cc-80cc93397e60" providerId="ADAL" clId="{0BF56A33-4BC5-423F-96C0-6A8645FA96BB}" dt="2023-12-03T21:48:10.467" v="32755" actId="790"/>
          <ac:spMkLst>
            <pc:docMk/>
            <pc:sldMk cId="1306429279" sldId="1183"/>
            <ac:spMk id="89" creationId="{960E7B20-DCA1-A409-1774-7A69FCA99090}"/>
          </ac:spMkLst>
        </pc:spChg>
        <pc:spChg chg="add mod">
          <ac:chgData name="KevCla12" userId="ef2eb634-4620-450f-93cc-80cc93397e60" providerId="ADAL" clId="{0BF56A33-4BC5-423F-96C0-6A8645FA96BB}" dt="2023-12-03T21:48:10.470" v="32756" actId="790"/>
          <ac:spMkLst>
            <pc:docMk/>
            <pc:sldMk cId="1306429279" sldId="1183"/>
            <ac:spMk id="92" creationId="{4893D162-89F9-B45B-0C8B-C9A02B8CF84C}"/>
          </ac:spMkLst>
        </pc:spChg>
        <pc:spChg chg="add mod">
          <ac:chgData name="KevCla12" userId="ef2eb634-4620-450f-93cc-80cc93397e60" providerId="ADAL" clId="{0BF56A33-4BC5-423F-96C0-6A8645FA96BB}" dt="2023-12-03T21:48:10.474" v="32757" actId="790"/>
          <ac:spMkLst>
            <pc:docMk/>
            <pc:sldMk cId="1306429279" sldId="1183"/>
            <ac:spMk id="93" creationId="{8C40AFF9-9C0F-40A9-C40C-E570965E9A55}"/>
          </ac:spMkLst>
        </pc:spChg>
        <pc:spChg chg="add mod">
          <ac:chgData name="KevCla12" userId="ef2eb634-4620-450f-93cc-80cc93397e60" providerId="ADAL" clId="{0BF56A33-4BC5-423F-96C0-6A8645FA96BB}" dt="2023-12-03T21:48:10.477" v="32758" actId="790"/>
          <ac:spMkLst>
            <pc:docMk/>
            <pc:sldMk cId="1306429279" sldId="1183"/>
            <ac:spMk id="94" creationId="{E23E2344-3304-8AB6-7A77-B6046B1E374E}"/>
          </ac:spMkLst>
        </pc:spChg>
        <pc:spChg chg="add mod">
          <ac:chgData name="KevCla12" userId="ef2eb634-4620-450f-93cc-80cc93397e60" providerId="ADAL" clId="{0BF56A33-4BC5-423F-96C0-6A8645FA96BB}" dt="2023-12-03T21:48:10.478" v="32759" actId="790"/>
          <ac:spMkLst>
            <pc:docMk/>
            <pc:sldMk cId="1306429279" sldId="1183"/>
            <ac:spMk id="95" creationId="{66F101F4-E5DF-2CA4-1A33-0830556BBAAF}"/>
          </ac:spMkLst>
        </pc:spChg>
        <pc:spChg chg="add mod">
          <ac:chgData name="KevCla12" userId="ef2eb634-4620-450f-93cc-80cc93397e60" providerId="ADAL" clId="{0BF56A33-4BC5-423F-96C0-6A8645FA96BB}" dt="2023-12-03T21:48:10.480" v="32760" actId="790"/>
          <ac:spMkLst>
            <pc:docMk/>
            <pc:sldMk cId="1306429279" sldId="1183"/>
            <ac:spMk id="96" creationId="{EBADA574-DB94-1680-6927-ECFF238A7B40}"/>
          </ac:spMkLst>
        </pc:spChg>
        <pc:spChg chg="add del mod">
          <ac:chgData name="KevCla12" userId="ef2eb634-4620-450f-93cc-80cc93397e60" providerId="ADAL" clId="{0BF56A33-4BC5-423F-96C0-6A8645FA96BB}" dt="2023-12-03T15:17:51.067" v="13636"/>
          <ac:spMkLst>
            <pc:docMk/>
            <pc:sldMk cId="1306429279" sldId="1183"/>
            <ac:spMk id="97" creationId="{FD8B491C-08F4-B2CA-6EAB-0990D3CDC26A}"/>
          </ac:spMkLst>
        </pc:spChg>
        <pc:spChg chg="mod">
          <ac:chgData name="KevCla12" userId="ef2eb634-4620-450f-93cc-80cc93397e60" providerId="ADAL" clId="{0BF56A33-4BC5-423F-96C0-6A8645FA96BB}" dt="2023-12-03T21:48:10.481" v="32761"/>
          <ac:spMkLst>
            <pc:docMk/>
            <pc:sldMk cId="1306429279" sldId="1183"/>
            <ac:spMk id="99" creationId="{83ABBF2E-6C8A-C653-0DB0-B86E428298BD}"/>
          </ac:spMkLst>
        </pc:spChg>
        <pc:spChg chg="mod">
          <ac:chgData name="KevCla12" userId="ef2eb634-4620-450f-93cc-80cc93397e60" providerId="ADAL" clId="{0BF56A33-4BC5-423F-96C0-6A8645FA96BB}" dt="2023-12-03T21:48:10.481" v="32762"/>
          <ac:spMkLst>
            <pc:docMk/>
            <pc:sldMk cId="1306429279" sldId="1183"/>
            <ac:spMk id="100" creationId="{4E785859-157C-19B8-D361-9650F49A8431}"/>
          </ac:spMkLst>
        </pc:spChg>
        <pc:spChg chg="mod">
          <ac:chgData name="KevCla12" userId="ef2eb634-4620-450f-93cc-80cc93397e60" providerId="ADAL" clId="{0BF56A33-4BC5-423F-96C0-6A8645FA96BB}" dt="2023-12-03T21:48:10.482" v="32763"/>
          <ac:spMkLst>
            <pc:docMk/>
            <pc:sldMk cId="1306429279" sldId="1183"/>
            <ac:spMk id="101" creationId="{91FBB9E1-CE4C-BAB4-2496-64A0FC804BB2}"/>
          </ac:spMkLst>
        </pc:spChg>
        <pc:spChg chg="mod">
          <ac:chgData name="KevCla12" userId="ef2eb634-4620-450f-93cc-80cc93397e60" providerId="ADAL" clId="{0BF56A33-4BC5-423F-96C0-6A8645FA96BB}" dt="2023-12-03T21:48:10.482" v="32764"/>
          <ac:spMkLst>
            <pc:docMk/>
            <pc:sldMk cId="1306429279" sldId="1183"/>
            <ac:spMk id="102" creationId="{EE066F22-ADB3-1B20-890E-B873BE045ABE}"/>
          </ac:spMkLst>
        </pc:spChg>
        <pc:spChg chg="mod">
          <ac:chgData name="KevCla12" userId="ef2eb634-4620-450f-93cc-80cc93397e60" providerId="ADAL" clId="{0BF56A33-4BC5-423F-96C0-6A8645FA96BB}" dt="2023-12-03T21:48:10.483" v="32765"/>
          <ac:spMkLst>
            <pc:docMk/>
            <pc:sldMk cId="1306429279" sldId="1183"/>
            <ac:spMk id="103" creationId="{F02E3724-A012-42EE-2B58-26349E075E25}"/>
          </ac:spMkLst>
        </pc:spChg>
        <pc:spChg chg="mod">
          <ac:chgData name="KevCla12" userId="ef2eb634-4620-450f-93cc-80cc93397e60" providerId="ADAL" clId="{0BF56A33-4BC5-423F-96C0-6A8645FA96BB}" dt="2023-12-03T21:48:10.483" v="32766"/>
          <ac:spMkLst>
            <pc:docMk/>
            <pc:sldMk cId="1306429279" sldId="1183"/>
            <ac:spMk id="104" creationId="{C0B6F641-0C1E-1C7B-1760-DB5807E551A2}"/>
          </ac:spMkLst>
        </pc:spChg>
        <pc:spChg chg="mod">
          <ac:chgData name="KevCla12" userId="ef2eb634-4620-450f-93cc-80cc93397e60" providerId="ADAL" clId="{0BF56A33-4BC5-423F-96C0-6A8645FA96BB}" dt="2023-12-03T21:48:10.484" v="32767"/>
          <ac:spMkLst>
            <pc:docMk/>
            <pc:sldMk cId="1306429279" sldId="1183"/>
            <ac:spMk id="105" creationId="{F070B19C-38E7-8F50-E996-2863CD7A95E0}"/>
          </ac:spMkLst>
        </pc:spChg>
        <pc:spChg chg="mod">
          <ac:chgData name="KevCla12" userId="ef2eb634-4620-450f-93cc-80cc93397e60" providerId="ADAL" clId="{0BF56A33-4BC5-423F-96C0-6A8645FA96BB}" dt="2023-12-03T21:48:10.484" v="32768"/>
          <ac:spMkLst>
            <pc:docMk/>
            <pc:sldMk cId="1306429279" sldId="1183"/>
            <ac:spMk id="106" creationId="{DF86E314-1664-3E44-81DA-8E52FF2B5A05}"/>
          </ac:spMkLst>
        </pc:spChg>
        <pc:spChg chg="mod">
          <ac:chgData name="KevCla12" userId="ef2eb634-4620-450f-93cc-80cc93397e60" providerId="ADAL" clId="{0BF56A33-4BC5-423F-96C0-6A8645FA96BB}" dt="2023-12-03T21:48:10.485" v="32769"/>
          <ac:spMkLst>
            <pc:docMk/>
            <pc:sldMk cId="1306429279" sldId="1183"/>
            <ac:spMk id="107" creationId="{7C69A4A3-248B-E6E4-F9A9-B78169EDC9B1}"/>
          </ac:spMkLst>
        </pc:spChg>
        <pc:spChg chg="mod">
          <ac:chgData name="KevCla12" userId="ef2eb634-4620-450f-93cc-80cc93397e60" providerId="ADAL" clId="{0BF56A33-4BC5-423F-96C0-6A8645FA96BB}" dt="2023-12-03T21:48:10.485" v="32770"/>
          <ac:spMkLst>
            <pc:docMk/>
            <pc:sldMk cId="1306429279" sldId="1183"/>
            <ac:spMk id="108" creationId="{140F2769-5EE9-F5F8-CD17-2F1CB93BFA11}"/>
          </ac:spMkLst>
        </pc:spChg>
        <pc:spChg chg="mod">
          <ac:chgData name="KevCla12" userId="ef2eb634-4620-450f-93cc-80cc93397e60" providerId="ADAL" clId="{0BF56A33-4BC5-423F-96C0-6A8645FA96BB}" dt="2023-12-03T21:48:10.486" v="32771"/>
          <ac:spMkLst>
            <pc:docMk/>
            <pc:sldMk cId="1306429279" sldId="1183"/>
            <ac:spMk id="109" creationId="{E84E5F97-4884-C589-3E70-C44A8F068DFC}"/>
          </ac:spMkLst>
        </pc:spChg>
        <pc:spChg chg="mod">
          <ac:chgData name="KevCla12" userId="ef2eb634-4620-450f-93cc-80cc93397e60" providerId="ADAL" clId="{0BF56A33-4BC5-423F-96C0-6A8645FA96BB}" dt="2023-12-03T21:48:10.486" v="32772"/>
          <ac:spMkLst>
            <pc:docMk/>
            <pc:sldMk cId="1306429279" sldId="1183"/>
            <ac:spMk id="110" creationId="{4D8581F8-D2BF-CA81-4FF1-636E11B3E597}"/>
          </ac:spMkLst>
        </pc:spChg>
        <pc:spChg chg="mod">
          <ac:chgData name="KevCla12" userId="ef2eb634-4620-450f-93cc-80cc93397e60" providerId="ADAL" clId="{0BF56A33-4BC5-423F-96C0-6A8645FA96BB}" dt="2023-12-03T21:48:10.487" v="32773" actId="790"/>
          <ac:spMkLst>
            <pc:docMk/>
            <pc:sldMk cId="1306429279" sldId="1183"/>
            <ac:spMk id="111" creationId="{94A4E103-1C0E-6C55-10CC-9E2F7625EBB0}"/>
          </ac:spMkLst>
        </pc:spChg>
        <pc:spChg chg="mod">
          <ac:chgData name="KevCla12" userId="ef2eb634-4620-450f-93cc-80cc93397e60" providerId="ADAL" clId="{0BF56A33-4BC5-423F-96C0-6A8645FA96BB}" dt="2023-12-03T21:48:10.488" v="32774"/>
          <ac:spMkLst>
            <pc:docMk/>
            <pc:sldMk cId="1306429279" sldId="1183"/>
            <ac:spMk id="112" creationId="{B60A05B0-CF05-1E59-EA82-5A83E2C69883}"/>
          </ac:spMkLst>
        </pc:spChg>
        <pc:spChg chg="mod">
          <ac:chgData name="KevCla12" userId="ef2eb634-4620-450f-93cc-80cc93397e60" providerId="ADAL" clId="{0BF56A33-4BC5-423F-96C0-6A8645FA96BB}" dt="2023-12-03T21:48:10.489" v="32775"/>
          <ac:spMkLst>
            <pc:docMk/>
            <pc:sldMk cId="1306429279" sldId="1183"/>
            <ac:spMk id="114" creationId="{02EA4128-1AA0-A364-3EE4-C40A8FA42734}"/>
          </ac:spMkLst>
        </pc:spChg>
        <pc:spChg chg="mod">
          <ac:chgData name="KevCla12" userId="ef2eb634-4620-450f-93cc-80cc93397e60" providerId="ADAL" clId="{0BF56A33-4BC5-423F-96C0-6A8645FA96BB}" dt="2023-12-03T21:48:10.489" v="32776"/>
          <ac:spMkLst>
            <pc:docMk/>
            <pc:sldMk cId="1306429279" sldId="1183"/>
            <ac:spMk id="115" creationId="{A2206651-4A71-E23E-D990-F00AA839BA97}"/>
          </ac:spMkLst>
        </pc:spChg>
        <pc:spChg chg="mod">
          <ac:chgData name="KevCla12" userId="ef2eb634-4620-450f-93cc-80cc93397e60" providerId="ADAL" clId="{0BF56A33-4BC5-423F-96C0-6A8645FA96BB}" dt="2023-12-03T21:48:10.490" v="32777"/>
          <ac:spMkLst>
            <pc:docMk/>
            <pc:sldMk cId="1306429279" sldId="1183"/>
            <ac:spMk id="116" creationId="{0A270B6E-8E85-CCF6-E5E1-F5F60049AE7B}"/>
          </ac:spMkLst>
        </pc:spChg>
        <pc:spChg chg="mod">
          <ac:chgData name="KevCla12" userId="ef2eb634-4620-450f-93cc-80cc93397e60" providerId="ADAL" clId="{0BF56A33-4BC5-423F-96C0-6A8645FA96BB}" dt="2023-12-03T21:48:10.490" v="32778"/>
          <ac:spMkLst>
            <pc:docMk/>
            <pc:sldMk cId="1306429279" sldId="1183"/>
            <ac:spMk id="117" creationId="{6C3381B5-4538-AB66-23E5-0B621C3D9AC8}"/>
          </ac:spMkLst>
        </pc:spChg>
        <pc:spChg chg="add mod">
          <ac:chgData name="KevCla12" userId="ef2eb634-4620-450f-93cc-80cc93397e60" providerId="ADAL" clId="{0BF56A33-4BC5-423F-96C0-6A8645FA96BB}" dt="2023-12-03T21:48:10.492" v="32779" actId="790"/>
          <ac:spMkLst>
            <pc:docMk/>
            <pc:sldMk cId="1306429279" sldId="1183"/>
            <ac:spMk id="118" creationId="{8ECFF683-59BA-BD4E-CE0B-02FBDCA44C81}"/>
          </ac:spMkLst>
        </pc:spChg>
        <pc:spChg chg="add mod">
          <ac:chgData name="KevCla12" userId="ef2eb634-4620-450f-93cc-80cc93397e60" providerId="ADAL" clId="{0BF56A33-4BC5-423F-96C0-6A8645FA96BB}" dt="2023-12-03T21:48:10.493" v="32780" actId="790"/>
          <ac:spMkLst>
            <pc:docMk/>
            <pc:sldMk cId="1306429279" sldId="1183"/>
            <ac:spMk id="119" creationId="{29F94521-659A-8B39-D0D1-CE2D9DFAA7C3}"/>
          </ac:spMkLst>
        </pc:spChg>
        <pc:spChg chg="add mod">
          <ac:chgData name="KevCla12" userId="ef2eb634-4620-450f-93cc-80cc93397e60" providerId="ADAL" clId="{0BF56A33-4BC5-423F-96C0-6A8645FA96BB}" dt="2023-12-03T21:48:10.494" v="32781" actId="790"/>
          <ac:spMkLst>
            <pc:docMk/>
            <pc:sldMk cId="1306429279" sldId="1183"/>
            <ac:spMk id="123" creationId="{A123B6B4-E35F-60CD-BB2E-78DF9D29BA3F}"/>
          </ac:spMkLst>
        </pc:spChg>
        <pc:spChg chg="mod">
          <ac:chgData name="KevCla12" userId="ef2eb634-4620-450f-93cc-80cc93397e60" providerId="ADAL" clId="{0BF56A33-4BC5-423F-96C0-6A8645FA96BB}" dt="2023-12-03T21:48:10.495" v="32782" actId="790"/>
          <ac:spMkLst>
            <pc:docMk/>
            <pc:sldMk cId="1306429279" sldId="1183"/>
            <ac:spMk id="125" creationId="{B04898AB-93DF-0AF1-8DB5-2F9C0F46728E}"/>
          </ac:spMkLst>
        </pc:spChg>
        <pc:spChg chg="mod">
          <ac:chgData name="KevCla12" userId="ef2eb634-4620-450f-93cc-80cc93397e60" providerId="ADAL" clId="{0BF56A33-4BC5-423F-96C0-6A8645FA96BB}" dt="2023-12-03T21:48:10.496" v="32783" actId="790"/>
          <ac:spMkLst>
            <pc:docMk/>
            <pc:sldMk cId="1306429279" sldId="1183"/>
            <ac:spMk id="126" creationId="{B5C26A8B-B3F5-CDC1-F9F0-8736E08E648C}"/>
          </ac:spMkLst>
        </pc:spChg>
        <pc:spChg chg="mod">
          <ac:chgData name="KevCla12" userId="ef2eb634-4620-450f-93cc-80cc93397e60" providerId="ADAL" clId="{0BF56A33-4BC5-423F-96C0-6A8645FA96BB}" dt="2023-12-03T21:48:10.496" v="32784"/>
          <ac:spMkLst>
            <pc:docMk/>
            <pc:sldMk cId="1306429279" sldId="1183"/>
            <ac:spMk id="127" creationId="{8E994502-9480-4580-90CD-3FC80A2E2F85}"/>
          </ac:spMkLst>
        </pc:spChg>
        <pc:spChg chg="mod">
          <ac:chgData name="KevCla12" userId="ef2eb634-4620-450f-93cc-80cc93397e60" providerId="ADAL" clId="{0BF56A33-4BC5-423F-96C0-6A8645FA96BB}" dt="2023-12-03T21:48:10.497" v="32785" actId="790"/>
          <ac:spMkLst>
            <pc:docMk/>
            <pc:sldMk cId="1306429279" sldId="1183"/>
            <ac:spMk id="128" creationId="{B788554B-FDD7-27A4-8D3F-6444942446DF}"/>
          </ac:spMkLst>
        </pc:spChg>
        <pc:spChg chg="mod">
          <ac:chgData name="KevCla12" userId="ef2eb634-4620-450f-93cc-80cc93397e60" providerId="ADAL" clId="{0BF56A33-4BC5-423F-96C0-6A8645FA96BB}" dt="2023-12-03T21:48:10.497" v="32786" actId="790"/>
          <ac:spMkLst>
            <pc:docMk/>
            <pc:sldMk cId="1306429279" sldId="1183"/>
            <ac:spMk id="129" creationId="{E7E89898-8ADC-136F-74D6-9EFF8FEA7935}"/>
          </ac:spMkLst>
        </pc:spChg>
        <pc:spChg chg="mod">
          <ac:chgData name="KevCla12" userId="ef2eb634-4620-450f-93cc-80cc93397e60" providerId="ADAL" clId="{0BF56A33-4BC5-423F-96C0-6A8645FA96BB}" dt="2023-12-03T21:48:10.498" v="32787" actId="790"/>
          <ac:spMkLst>
            <pc:docMk/>
            <pc:sldMk cId="1306429279" sldId="1183"/>
            <ac:spMk id="130" creationId="{B66ED4C1-1631-3C80-4A9B-8B9035C980C5}"/>
          </ac:spMkLst>
        </pc:spChg>
        <pc:spChg chg="mod">
          <ac:chgData name="KevCla12" userId="ef2eb634-4620-450f-93cc-80cc93397e60" providerId="ADAL" clId="{0BF56A33-4BC5-423F-96C0-6A8645FA96BB}" dt="2023-12-03T21:48:10.499" v="32788"/>
          <ac:spMkLst>
            <pc:docMk/>
            <pc:sldMk cId="1306429279" sldId="1183"/>
            <ac:spMk id="131" creationId="{F6BF717D-5FF4-52F1-C4AB-3AD9E95E347B}"/>
          </ac:spMkLst>
        </pc:spChg>
        <pc:spChg chg="mod">
          <ac:chgData name="KevCla12" userId="ef2eb634-4620-450f-93cc-80cc93397e60" providerId="ADAL" clId="{0BF56A33-4BC5-423F-96C0-6A8645FA96BB}" dt="2023-12-03T21:48:10.499" v="32789"/>
          <ac:spMkLst>
            <pc:docMk/>
            <pc:sldMk cId="1306429279" sldId="1183"/>
            <ac:spMk id="132" creationId="{1DD1300C-17ED-2BCA-603E-64748053EA3B}"/>
          </ac:spMkLst>
        </pc:spChg>
        <pc:spChg chg="mod">
          <ac:chgData name="KevCla12" userId="ef2eb634-4620-450f-93cc-80cc93397e60" providerId="ADAL" clId="{0BF56A33-4BC5-423F-96C0-6A8645FA96BB}" dt="2023-12-03T21:48:10.500" v="32790" actId="790"/>
          <ac:spMkLst>
            <pc:docMk/>
            <pc:sldMk cId="1306429279" sldId="1183"/>
            <ac:spMk id="133" creationId="{A0D8795D-D159-4E55-5D63-257A4C462D96}"/>
          </ac:spMkLst>
        </pc:spChg>
        <pc:spChg chg="mod">
          <ac:chgData name="KevCla12" userId="ef2eb634-4620-450f-93cc-80cc93397e60" providerId="ADAL" clId="{0BF56A33-4BC5-423F-96C0-6A8645FA96BB}" dt="2023-12-03T21:48:10.501" v="32791" actId="790"/>
          <ac:spMkLst>
            <pc:docMk/>
            <pc:sldMk cId="1306429279" sldId="1183"/>
            <ac:spMk id="134" creationId="{B83F8A1F-9E60-7A14-6379-060187AA08F7}"/>
          </ac:spMkLst>
        </pc:spChg>
        <pc:spChg chg="mod">
          <ac:chgData name="KevCla12" userId="ef2eb634-4620-450f-93cc-80cc93397e60" providerId="ADAL" clId="{0BF56A33-4BC5-423F-96C0-6A8645FA96BB}" dt="2023-12-03T21:48:10.502" v="32792" actId="790"/>
          <ac:spMkLst>
            <pc:docMk/>
            <pc:sldMk cId="1306429279" sldId="1183"/>
            <ac:spMk id="135" creationId="{80E1E173-E9AF-11F8-2EB0-FAA4D86770DB}"/>
          </ac:spMkLst>
        </pc:spChg>
        <pc:spChg chg="mod">
          <ac:chgData name="KevCla12" userId="ef2eb634-4620-450f-93cc-80cc93397e60" providerId="ADAL" clId="{0BF56A33-4BC5-423F-96C0-6A8645FA96BB}" dt="2023-12-03T21:48:10.503" v="32793" actId="790"/>
          <ac:spMkLst>
            <pc:docMk/>
            <pc:sldMk cId="1306429279" sldId="1183"/>
            <ac:spMk id="136" creationId="{1C24F6F9-B133-E1F8-BF0C-E10A56F96143}"/>
          </ac:spMkLst>
        </pc:spChg>
        <pc:spChg chg="mod">
          <ac:chgData name="KevCla12" userId="ef2eb634-4620-450f-93cc-80cc93397e60" providerId="ADAL" clId="{0BF56A33-4BC5-423F-96C0-6A8645FA96BB}" dt="2023-12-03T21:48:10.504" v="32794" actId="790"/>
          <ac:spMkLst>
            <pc:docMk/>
            <pc:sldMk cId="1306429279" sldId="1183"/>
            <ac:spMk id="137" creationId="{C0AC3C2C-D4FE-D7B8-28F6-671DC374F3C3}"/>
          </ac:spMkLst>
        </pc:spChg>
        <pc:spChg chg="mod">
          <ac:chgData name="KevCla12" userId="ef2eb634-4620-450f-93cc-80cc93397e60" providerId="ADAL" clId="{0BF56A33-4BC5-423F-96C0-6A8645FA96BB}" dt="2023-12-03T21:48:10.505" v="32795" actId="790"/>
          <ac:spMkLst>
            <pc:docMk/>
            <pc:sldMk cId="1306429279" sldId="1183"/>
            <ac:spMk id="138" creationId="{FFDEFAD5-895F-1463-54EB-7B4A2A65E810}"/>
          </ac:spMkLst>
        </pc:spChg>
        <pc:spChg chg="mod">
          <ac:chgData name="KevCla12" userId="ef2eb634-4620-450f-93cc-80cc93397e60" providerId="ADAL" clId="{0BF56A33-4BC5-423F-96C0-6A8645FA96BB}" dt="2023-12-03T21:48:10.506" v="32796" actId="790"/>
          <ac:spMkLst>
            <pc:docMk/>
            <pc:sldMk cId="1306429279" sldId="1183"/>
            <ac:spMk id="139" creationId="{3EC4A975-1F87-5F6F-8E09-DCC632DB3B52}"/>
          </ac:spMkLst>
        </pc:spChg>
        <pc:spChg chg="mod">
          <ac:chgData name="KevCla12" userId="ef2eb634-4620-450f-93cc-80cc93397e60" providerId="ADAL" clId="{0BF56A33-4BC5-423F-96C0-6A8645FA96BB}" dt="2023-12-03T21:48:10.507" v="32797" actId="790"/>
          <ac:spMkLst>
            <pc:docMk/>
            <pc:sldMk cId="1306429279" sldId="1183"/>
            <ac:spMk id="140" creationId="{EBCCD546-7639-E9AC-283B-2745C5C16FEC}"/>
          </ac:spMkLst>
        </pc:spChg>
        <pc:spChg chg="mod">
          <ac:chgData name="KevCla12" userId="ef2eb634-4620-450f-93cc-80cc93397e60" providerId="ADAL" clId="{0BF56A33-4BC5-423F-96C0-6A8645FA96BB}" dt="2023-12-03T21:48:10.508" v="32798" actId="790"/>
          <ac:spMkLst>
            <pc:docMk/>
            <pc:sldMk cId="1306429279" sldId="1183"/>
            <ac:spMk id="141" creationId="{AF177CE1-4C3F-BC90-D40D-8084E82384F7}"/>
          </ac:spMkLst>
        </pc:spChg>
        <pc:spChg chg="mod">
          <ac:chgData name="KevCla12" userId="ef2eb634-4620-450f-93cc-80cc93397e60" providerId="ADAL" clId="{0BF56A33-4BC5-423F-96C0-6A8645FA96BB}" dt="2023-12-03T21:48:10.508" v="32799" actId="790"/>
          <ac:spMkLst>
            <pc:docMk/>
            <pc:sldMk cId="1306429279" sldId="1183"/>
            <ac:spMk id="143" creationId="{026EEDDF-E4D0-1B4D-27A3-6430B22E6D67}"/>
          </ac:spMkLst>
        </pc:spChg>
        <pc:spChg chg="mod">
          <ac:chgData name="KevCla12" userId="ef2eb634-4620-450f-93cc-80cc93397e60" providerId="ADAL" clId="{0BF56A33-4BC5-423F-96C0-6A8645FA96BB}" dt="2023-12-03T21:48:10.509" v="32800" actId="790"/>
          <ac:spMkLst>
            <pc:docMk/>
            <pc:sldMk cId="1306429279" sldId="1183"/>
            <ac:spMk id="144" creationId="{4D8751D3-081C-C6E7-CD29-307C42FE502B}"/>
          </ac:spMkLst>
        </pc:spChg>
        <pc:spChg chg="mod">
          <ac:chgData name="KevCla12" userId="ef2eb634-4620-450f-93cc-80cc93397e60" providerId="ADAL" clId="{0BF56A33-4BC5-423F-96C0-6A8645FA96BB}" dt="2023-12-03T21:48:10.510" v="32801" actId="790"/>
          <ac:spMkLst>
            <pc:docMk/>
            <pc:sldMk cId="1306429279" sldId="1183"/>
            <ac:spMk id="145" creationId="{46EA2486-EC19-8140-D2AC-67BBD89FF168}"/>
          </ac:spMkLst>
        </pc:spChg>
        <pc:spChg chg="mod">
          <ac:chgData name="KevCla12" userId="ef2eb634-4620-450f-93cc-80cc93397e60" providerId="ADAL" clId="{0BF56A33-4BC5-423F-96C0-6A8645FA96BB}" dt="2023-12-03T21:48:10.511" v="32802" actId="790"/>
          <ac:spMkLst>
            <pc:docMk/>
            <pc:sldMk cId="1306429279" sldId="1183"/>
            <ac:spMk id="146" creationId="{46FBC9EF-B393-B903-3A33-E6412D66A23D}"/>
          </ac:spMkLst>
        </pc:spChg>
        <pc:spChg chg="mod">
          <ac:chgData name="KevCla12" userId="ef2eb634-4620-450f-93cc-80cc93397e60" providerId="ADAL" clId="{0BF56A33-4BC5-423F-96C0-6A8645FA96BB}" dt="2023-12-03T21:48:10.511" v="32803" actId="790"/>
          <ac:spMkLst>
            <pc:docMk/>
            <pc:sldMk cId="1306429279" sldId="1183"/>
            <ac:spMk id="147" creationId="{C8EE59A7-51A1-1232-4EE9-98429E037AF7}"/>
          </ac:spMkLst>
        </pc:spChg>
        <pc:spChg chg="mod">
          <ac:chgData name="KevCla12" userId="ef2eb634-4620-450f-93cc-80cc93397e60" providerId="ADAL" clId="{0BF56A33-4BC5-423F-96C0-6A8645FA96BB}" dt="2023-12-03T21:48:10.512" v="32804" actId="790"/>
          <ac:spMkLst>
            <pc:docMk/>
            <pc:sldMk cId="1306429279" sldId="1183"/>
            <ac:spMk id="148" creationId="{1D11D7F5-07EF-9BFB-D158-0DEC3DF1E4DE}"/>
          </ac:spMkLst>
        </pc:spChg>
        <pc:spChg chg="mod">
          <ac:chgData name="KevCla12" userId="ef2eb634-4620-450f-93cc-80cc93397e60" providerId="ADAL" clId="{0BF56A33-4BC5-423F-96C0-6A8645FA96BB}" dt="2023-12-03T21:48:10.513" v="32805" actId="790"/>
          <ac:spMkLst>
            <pc:docMk/>
            <pc:sldMk cId="1306429279" sldId="1183"/>
            <ac:spMk id="149" creationId="{F1CEF80B-1779-8903-A970-F4E0049D3591}"/>
          </ac:spMkLst>
        </pc:spChg>
        <pc:spChg chg="mod">
          <ac:chgData name="KevCla12" userId="ef2eb634-4620-450f-93cc-80cc93397e60" providerId="ADAL" clId="{0BF56A33-4BC5-423F-96C0-6A8645FA96BB}" dt="2023-12-03T21:48:10.513" v="32806" actId="790"/>
          <ac:spMkLst>
            <pc:docMk/>
            <pc:sldMk cId="1306429279" sldId="1183"/>
            <ac:spMk id="150" creationId="{0891D987-F8BD-6B05-3F9C-EA0DFD26E99D}"/>
          </ac:spMkLst>
        </pc:spChg>
        <pc:spChg chg="mod">
          <ac:chgData name="KevCla12" userId="ef2eb634-4620-450f-93cc-80cc93397e60" providerId="ADAL" clId="{0BF56A33-4BC5-423F-96C0-6A8645FA96BB}" dt="2023-12-03T21:48:10.514" v="32807" actId="790"/>
          <ac:spMkLst>
            <pc:docMk/>
            <pc:sldMk cId="1306429279" sldId="1183"/>
            <ac:spMk id="151" creationId="{905C056C-2078-EA20-6508-82BA023AD4EE}"/>
          </ac:spMkLst>
        </pc:spChg>
        <pc:spChg chg="mod">
          <ac:chgData name="KevCla12" userId="ef2eb634-4620-450f-93cc-80cc93397e60" providerId="ADAL" clId="{0BF56A33-4BC5-423F-96C0-6A8645FA96BB}" dt="2023-12-03T21:48:10.515" v="32808" actId="790"/>
          <ac:spMkLst>
            <pc:docMk/>
            <pc:sldMk cId="1306429279" sldId="1183"/>
            <ac:spMk id="152" creationId="{67AA52A0-183F-2DB8-D371-19F072B5208F}"/>
          </ac:spMkLst>
        </pc:spChg>
        <pc:spChg chg="mod">
          <ac:chgData name="KevCla12" userId="ef2eb634-4620-450f-93cc-80cc93397e60" providerId="ADAL" clId="{0BF56A33-4BC5-423F-96C0-6A8645FA96BB}" dt="2023-12-03T21:48:10.516" v="32809" actId="790"/>
          <ac:spMkLst>
            <pc:docMk/>
            <pc:sldMk cId="1306429279" sldId="1183"/>
            <ac:spMk id="153" creationId="{A39EC8AB-4156-9404-A1A4-AD5EF40D370D}"/>
          </ac:spMkLst>
        </pc:spChg>
        <pc:spChg chg="mod">
          <ac:chgData name="KevCla12" userId="ef2eb634-4620-450f-93cc-80cc93397e60" providerId="ADAL" clId="{0BF56A33-4BC5-423F-96C0-6A8645FA96BB}" dt="2023-12-03T21:48:10.516" v="32810" actId="790"/>
          <ac:spMkLst>
            <pc:docMk/>
            <pc:sldMk cId="1306429279" sldId="1183"/>
            <ac:spMk id="154" creationId="{DB252B8A-2BE7-4031-2646-3BE7D9EC0F69}"/>
          </ac:spMkLst>
        </pc:spChg>
        <pc:spChg chg="mod">
          <ac:chgData name="KevCla12" userId="ef2eb634-4620-450f-93cc-80cc93397e60" providerId="ADAL" clId="{0BF56A33-4BC5-423F-96C0-6A8645FA96BB}" dt="2023-12-03T21:48:10.517" v="32811" actId="790"/>
          <ac:spMkLst>
            <pc:docMk/>
            <pc:sldMk cId="1306429279" sldId="1183"/>
            <ac:spMk id="155" creationId="{445C01DA-8B6D-024C-BE0F-DFFA31F7C90B}"/>
          </ac:spMkLst>
        </pc:spChg>
        <pc:spChg chg="mod">
          <ac:chgData name="KevCla12" userId="ef2eb634-4620-450f-93cc-80cc93397e60" providerId="ADAL" clId="{0BF56A33-4BC5-423F-96C0-6A8645FA96BB}" dt="2023-12-03T21:48:10.518" v="32812" actId="790"/>
          <ac:spMkLst>
            <pc:docMk/>
            <pc:sldMk cId="1306429279" sldId="1183"/>
            <ac:spMk id="156" creationId="{CBC0416D-F4C2-D8B2-A91D-AFA3F8CB35DD}"/>
          </ac:spMkLst>
        </pc:spChg>
        <pc:spChg chg="mod">
          <ac:chgData name="KevCla12" userId="ef2eb634-4620-450f-93cc-80cc93397e60" providerId="ADAL" clId="{0BF56A33-4BC5-423F-96C0-6A8645FA96BB}" dt="2023-12-03T21:48:10.518" v="32813" actId="790"/>
          <ac:spMkLst>
            <pc:docMk/>
            <pc:sldMk cId="1306429279" sldId="1183"/>
            <ac:spMk id="157" creationId="{CBAC7561-5908-B5C3-1B86-163AB5FDC8FC}"/>
          </ac:spMkLst>
        </pc:spChg>
        <pc:spChg chg="mod">
          <ac:chgData name="KevCla12" userId="ef2eb634-4620-450f-93cc-80cc93397e60" providerId="ADAL" clId="{0BF56A33-4BC5-423F-96C0-6A8645FA96BB}" dt="2023-12-03T21:48:10.519" v="32814" actId="790"/>
          <ac:spMkLst>
            <pc:docMk/>
            <pc:sldMk cId="1306429279" sldId="1183"/>
            <ac:spMk id="159" creationId="{03FBDCF7-717B-B8E5-1313-B88B2842BA9E}"/>
          </ac:spMkLst>
        </pc:spChg>
        <pc:spChg chg="mod">
          <ac:chgData name="KevCla12" userId="ef2eb634-4620-450f-93cc-80cc93397e60" providerId="ADAL" clId="{0BF56A33-4BC5-423F-96C0-6A8645FA96BB}" dt="2023-12-03T21:48:10.520" v="32815" actId="790"/>
          <ac:spMkLst>
            <pc:docMk/>
            <pc:sldMk cId="1306429279" sldId="1183"/>
            <ac:spMk id="160" creationId="{5037772A-1BC0-C047-2567-EC411BE1F949}"/>
          </ac:spMkLst>
        </pc:spChg>
        <pc:spChg chg="mod">
          <ac:chgData name="KevCla12" userId="ef2eb634-4620-450f-93cc-80cc93397e60" providerId="ADAL" clId="{0BF56A33-4BC5-423F-96C0-6A8645FA96BB}" dt="2023-12-03T21:48:10.521" v="32816" actId="790"/>
          <ac:spMkLst>
            <pc:docMk/>
            <pc:sldMk cId="1306429279" sldId="1183"/>
            <ac:spMk id="161" creationId="{DFA7FE0E-D3DB-8470-AFA2-63363D5AD2A8}"/>
          </ac:spMkLst>
        </pc:spChg>
        <pc:spChg chg="mod">
          <ac:chgData name="KevCla12" userId="ef2eb634-4620-450f-93cc-80cc93397e60" providerId="ADAL" clId="{0BF56A33-4BC5-423F-96C0-6A8645FA96BB}" dt="2023-12-03T21:48:10.521" v="32817" actId="790"/>
          <ac:spMkLst>
            <pc:docMk/>
            <pc:sldMk cId="1306429279" sldId="1183"/>
            <ac:spMk id="162" creationId="{92A97F43-8DF8-CFEA-2CF2-72C961DB6912}"/>
          </ac:spMkLst>
        </pc:spChg>
        <pc:spChg chg="add mod">
          <ac:chgData name="KevCla12" userId="ef2eb634-4620-450f-93cc-80cc93397e60" providerId="ADAL" clId="{0BF56A33-4BC5-423F-96C0-6A8645FA96BB}" dt="2023-12-03T21:48:10.522" v="32818" actId="790"/>
          <ac:spMkLst>
            <pc:docMk/>
            <pc:sldMk cId="1306429279" sldId="1183"/>
            <ac:spMk id="163" creationId="{1B3F10F3-D169-83AA-10DA-C369628C79A5}"/>
          </ac:spMkLst>
        </pc:spChg>
        <pc:spChg chg="add mod">
          <ac:chgData name="KevCla12" userId="ef2eb634-4620-450f-93cc-80cc93397e60" providerId="ADAL" clId="{0BF56A33-4BC5-423F-96C0-6A8645FA96BB}" dt="2023-12-03T21:48:10.524" v="32819" actId="790"/>
          <ac:spMkLst>
            <pc:docMk/>
            <pc:sldMk cId="1306429279" sldId="1183"/>
            <ac:spMk id="164" creationId="{267DA71D-F7B4-2078-A203-34210BEB4E36}"/>
          </ac:spMkLst>
        </pc:spChg>
        <pc:spChg chg="add mod">
          <ac:chgData name="KevCla12" userId="ef2eb634-4620-450f-93cc-80cc93397e60" providerId="ADAL" clId="{0BF56A33-4BC5-423F-96C0-6A8645FA96BB}" dt="2023-12-03T21:48:10.525" v="32820" actId="790"/>
          <ac:spMkLst>
            <pc:docMk/>
            <pc:sldMk cId="1306429279" sldId="1183"/>
            <ac:spMk id="165" creationId="{079FE95D-7EC1-0894-A51A-ECB17FEED4C5}"/>
          </ac:spMkLst>
        </pc:spChg>
        <pc:spChg chg="add mod">
          <ac:chgData name="KevCla12" userId="ef2eb634-4620-450f-93cc-80cc93397e60" providerId="ADAL" clId="{0BF56A33-4BC5-423F-96C0-6A8645FA96BB}" dt="2023-12-03T21:48:10.526" v="32821" actId="790"/>
          <ac:spMkLst>
            <pc:docMk/>
            <pc:sldMk cId="1306429279" sldId="1183"/>
            <ac:spMk id="166" creationId="{764DF4AC-F67C-78D0-00F6-8DDDF288BA08}"/>
          </ac:spMkLst>
        </pc:spChg>
        <pc:spChg chg="add mod">
          <ac:chgData name="KevCla12" userId="ef2eb634-4620-450f-93cc-80cc93397e60" providerId="ADAL" clId="{0BF56A33-4BC5-423F-96C0-6A8645FA96BB}" dt="2023-12-03T21:48:10.530" v="32822" actId="790"/>
          <ac:spMkLst>
            <pc:docMk/>
            <pc:sldMk cId="1306429279" sldId="1183"/>
            <ac:spMk id="167" creationId="{4D7C5AC3-8365-9756-E858-4483C1E81015}"/>
          </ac:spMkLst>
        </pc:spChg>
        <pc:spChg chg="add mod">
          <ac:chgData name="KevCla12" userId="ef2eb634-4620-450f-93cc-80cc93397e60" providerId="ADAL" clId="{0BF56A33-4BC5-423F-96C0-6A8645FA96BB}" dt="2023-12-03T21:48:10.534" v="32823" actId="790"/>
          <ac:spMkLst>
            <pc:docMk/>
            <pc:sldMk cId="1306429279" sldId="1183"/>
            <ac:spMk id="168" creationId="{CFCAB74E-E214-8DCB-1A07-24AFB68703A2}"/>
          </ac:spMkLst>
        </pc:spChg>
        <pc:spChg chg="add mod">
          <ac:chgData name="KevCla12" userId="ef2eb634-4620-450f-93cc-80cc93397e60" providerId="ADAL" clId="{0BF56A33-4BC5-423F-96C0-6A8645FA96BB}" dt="2023-12-03T21:48:10.537" v="32824" actId="790"/>
          <ac:spMkLst>
            <pc:docMk/>
            <pc:sldMk cId="1306429279" sldId="1183"/>
            <ac:spMk id="169" creationId="{72E102A8-B635-D8BC-1004-3B484D7B74F2}"/>
          </ac:spMkLst>
        </pc:spChg>
        <pc:spChg chg="add mod">
          <ac:chgData name="KevCla12" userId="ef2eb634-4620-450f-93cc-80cc93397e60" providerId="ADAL" clId="{0BF56A33-4BC5-423F-96C0-6A8645FA96BB}" dt="2023-12-03T21:48:10.539" v="32825" actId="790"/>
          <ac:spMkLst>
            <pc:docMk/>
            <pc:sldMk cId="1306429279" sldId="1183"/>
            <ac:spMk id="170" creationId="{08311602-32E0-67AD-A3C5-3512B6EDD20B}"/>
          </ac:spMkLst>
        </pc:spChg>
        <pc:spChg chg="mod modVis">
          <ac:chgData name="KevCla12" userId="ef2eb634-4620-450f-93cc-80cc93397e60" providerId="ADAL" clId="{0BF56A33-4BC5-423F-96C0-6A8645FA96BB}" dt="2023-12-03T21:48:10.539" v="32826" actId="790"/>
          <ac:spMkLst>
            <pc:docMk/>
            <pc:sldMk cId="1306429279" sldId="1183"/>
            <ac:spMk id="172" creationId="{03F22A7E-51B6-B17D-0C3B-856F5F7501E1}"/>
          </ac:spMkLst>
        </pc:spChg>
        <pc:spChg chg="mod modVis">
          <ac:chgData name="KevCla12" userId="ef2eb634-4620-450f-93cc-80cc93397e60" providerId="ADAL" clId="{0BF56A33-4BC5-423F-96C0-6A8645FA96BB}" dt="2023-12-03T21:48:10.540" v="32827" actId="790"/>
          <ac:spMkLst>
            <pc:docMk/>
            <pc:sldMk cId="1306429279" sldId="1183"/>
            <ac:spMk id="173" creationId="{A54D2ACD-6E41-44FA-3741-7E11A2E4F49A}"/>
          </ac:spMkLst>
        </pc:spChg>
        <pc:spChg chg="mod modVis">
          <ac:chgData name="KevCla12" userId="ef2eb634-4620-450f-93cc-80cc93397e60" providerId="ADAL" clId="{0BF56A33-4BC5-423F-96C0-6A8645FA96BB}" dt="2023-12-03T21:48:10.541" v="32828" actId="790"/>
          <ac:spMkLst>
            <pc:docMk/>
            <pc:sldMk cId="1306429279" sldId="1183"/>
            <ac:spMk id="174" creationId="{B3B53947-E976-C2BF-A658-49D998833218}"/>
          </ac:spMkLst>
        </pc:spChg>
        <pc:spChg chg="mod modVis">
          <ac:chgData name="KevCla12" userId="ef2eb634-4620-450f-93cc-80cc93397e60" providerId="ADAL" clId="{0BF56A33-4BC5-423F-96C0-6A8645FA96BB}" dt="2023-12-03T21:48:10.541" v="32829" actId="790"/>
          <ac:spMkLst>
            <pc:docMk/>
            <pc:sldMk cId="1306429279" sldId="1183"/>
            <ac:spMk id="175" creationId="{872B5083-C2F0-5142-A93B-B16FEDB1E170}"/>
          </ac:spMkLst>
        </pc:spChg>
        <pc:spChg chg="mod modVis">
          <ac:chgData name="KevCla12" userId="ef2eb634-4620-450f-93cc-80cc93397e60" providerId="ADAL" clId="{0BF56A33-4BC5-423F-96C0-6A8645FA96BB}" dt="2023-12-03T21:48:10.542" v="32830" actId="790"/>
          <ac:spMkLst>
            <pc:docMk/>
            <pc:sldMk cId="1306429279" sldId="1183"/>
            <ac:spMk id="176" creationId="{1014BD9B-BEA8-D41C-64CB-9019756A2928}"/>
          </ac:spMkLst>
        </pc:spChg>
        <pc:spChg chg="mod modVis">
          <ac:chgData name="KevCla12" userId="ef2eb634-4620-450f-93cc-80cc93397e60" providerId="ADAL" clId="{0BF56A33-4BC5-423F-96C0-6A8645FA96BB}" dt="2023-12-03T21:48:10.543" v="32831" actId="790"/>
          <ac:spMkLst>
            <pc:docMk/>
            <pc:sldMk cId="1306429279" sldId="1183"/>
            <ac:spMk id="178" creationId="{83D03156-D862-782A-B5CC-EF3CE06782AC}"/>
          </ac:spMkLst>
        </pc:spChg>
        <pc:spChg chg="mod modVis">
          <ac:chgData name="KevCla12" userId="ef2eb634-4620-450f-93cc-80cc93397e60" providerId="ADAL" clId="{0BF56A33-4BC5-423F-96C0-6A8645FA96BB}" dt="2023-12-03T21:48:10.544" v="32832" actId="790"/>
          <ac:spMkLst>
            <pc:docMk/>
            <pc:sldMk cId="1306429279" sldId="1183"/>
            <ac:spMk id="179" creationId="{E2F2EB32-7F45-A84E-2BAD-308353FD1FB6}"/>
          </ac:spMkLst>
        </pc:spChg>
        <pc:spChg chg="mod modVis">
          <ac:chgData name="KevCla12" userId="ef2eb634-4620-450f-93cc-80cc93397e60" providerId="ADAL" clId="{0BF56A33-4BC5-423F-96C0-6A8645FA96BB}" dt="2023-12-03T21:48:10.544" v="32833" actId="790"/>
          <ac:spMkLst>
            <pc:docMk/>
            <pc:sldMk cId="1306429279" sldId="1183"/>
            <ac:spMk id="180" creationId="{6B6419E0-0959-8798-BB7C-6DDA515A5DD9}"/>
          </ac:spMkLst>
        </pc:spChg>
        <pc:spChg chg="mod modVis">
          <ac:chgData name="KevCla12" userId="ef2eb634-4620-450f-93cc-80cc93397e60" providerId="ADAL" clId="{0BF56A33-4BC5-423F-96C0-6A8645FA96BB}" dt="2023-12-03T21:48:10.545" v="32834"/>
          <ac:spMkLst>
            <pc:docMk/>
            <pc:sldMk cId="1306429279" sldId="1183"/>
            <ac:spMk id="182" creationId="{49FAD1F9-8A56-F273-C8F1-35A611387DCC}"/>
          </ac:spMkLst>
        </pc:spChg>
        <pc:spChg chg="mod modVis">
          <ac:chgData name="KevCla12" userId="ef2eb634-4620-450f-93cc-80cc93397e60" providerId="ADAL" clId="{0BF56A33-4BC5-423F-96C0-6A8645FA96BB}" dt="2023-12-03T21:48:10.545" v="32835"/>
          <ac:spMkLst>
            <pc:docMk/>
            <pc:sldMk cId="1306429279" sldId="1183"/>
            <ac:spMk id="183" creationId="{3DEC5F50-18DA-299D-01B3-F90867CDDF7B}"/>
          </ac:spMkLst>
        </pc:spChg>
        <pc:spChg chg="mod modVis">
          <ac:chgData name="KevCla12" userId="ef2eb634-4620-450f-93cc-80cc93397e60" providerId="ADAL" clId="{0BF56A33-4BC5-423F-96C0-6A8645FA96BB}" dt="2023-12-03T21:48:10.546" v="32836"/>
          <ac:spMkLst>
            <pc:docMk/>
            <pc:sldMk cId="1306429279" sldId="1183"/>
            <ac:spMk id="184" creationId="{B25A8343-C966-CDC7-0782-87674527AC67}"/>
          </ac:spMkLst>
        </pc:spChg>
        <pc:spChg chg="mod modVis">
          <ac:chgData name="KevCla12" userId="ef2eb634-4620-450f-93cc-80cc93397e60" providerId="ADAL" clId="{0BF56A33-4BC5-423F-96C0-6A8645FA96BB}" dt="2023-12-03T21:48:10.546" v="32837"/>
          <ac:spMkLst>
            <pc:docMk/>
            <pc:sldMk cId="1306429279" sldId="1183"/>
            <ac:spMk id="185" creationId="{D2CC3F82-1799-B01D-911B-B7FA9C131BC9}"/>
          </ac:spMkLst>
        </pc:spChg>
        <pc:spChg chg="mod modVis">
          <ac:chgData name="KevCla12" userId="ef2eb634-4620-450f-93cc-80cc93397e60" providerId="ADAL" clId="{0BF56A33-4BC5-423F-96C0-6A8645FA96BB}" dt="2023-12-03T21:48:10.546" v="32838"/>
          <ac:spMkLst>
            <pc:docMk/>
            <pc:sldMk cId="1306429279" sldId="1183"/>
            <ac:spMk id="186" creationId="{A6E77E58-6F00-8F08-DA5D-D310C7C2A927}"/>
          </ac:spMkLst>
        </pc:spChg>
        <pc:spChg chg="mod modVis">
          <ac:chgData name="KevCla12" userId="ef2eb634-4620-450f-93cc-80cc93397e60" providerId="ADAL" clId="{0BF56A33-4BC5-423F-96C0-6A8645FA96BB}" dt="2023-12-03T21:48:10.547" v="32839"/>
          <ac:spMkLst>
            <pc:docMk/>
            <pc:sldMk cId="1306429279" sldId="1183"/>
            <ac:spMk id="187" creationId="{A2E14549-3D58-C17B-009F-8BAADAE446F0}"/>
          </ac:spMkLst>
        </pc:spChg>
        <pc:spChg chg="mod modVis">
          <ac:chgData name="KevCla12" userId="ef2eb634-4620-450f-93cc-80cc93397e60" providerId="ADAL" clId="{0BF56A33-4BC5-423F-96C0-6A8645FA96BB}" dt="2023-12-03T21:48:10.547" v="32840"/>
          <ac:spMkLst>
            <pc:docMk/>
            <pc:sldMk cId="1306429279" sldId="1183"/>
            <ac:spMk id="188" creationId="{BDC347F7-51FF-503E-6D2E-E384FF157033}"/>
          </ac:spMkLst>
        </pc:spChg>
        <pc:spChg chg="mod modVis">
          <ac:chgData name="KevCla12" userId="ef2eb634-4620-450f-93cc-80cc93397e60" providerId="ADAL" clId="{0BF56A33-4BC5-423F-96C0-6A8645FA96BB}" dt="2023-12-03T21:48:10.547" v="32841"/>
          <ac:spMkLst>
            <pc:docMk/>
            <pc:sldMk cId="1306429279" sldId="1183"/>
            <ac:spMk id="189" creationId="{3E8CD9E7-352C-383B-EAEB-E3CC77CAC879}"/>
          </ac:spMkLst>
        </pc:spChg>
        <pc:spChg chg="mod modVis">
          <ac:chgData name="KevCla12" userId="ef2eb634-4620-450f-93cc-80cc93397e60" providerId="ADAL" clId="{0BF56A33-4BC5-423F-96C0-6A8645FA96BB}" dt="2023-12-03T21:48:10.548" v="32842" actId="790"/>
          <ac:spMkLst>
            <pc:docMk/>
            <pc:sldMk cId="1306429279" sldId="1183"/>
            <ac:spMk id="190" creationId="{6C2AF2C3-661F-FF13-96D9-83B4D5005073}"/>
          </ac:spMkLst>
        </pc:spChg>
        <pc:spChg chg="mod modVis">
          <ac:chgData name="KevCla12" userId="ef2eb634-4620-450f-93cc-80cc93397e60" providerId="ADAL" clId="{0BF56A33-4BC5-423F-96C0-6A8645FA96BB}" dt="2023-12-03T21:48:10.549" v="32843" actId="790"/>
          <ac:spMkLst>
            <pc:docMk/>
            <pc:sldMk cId="1306429279" sldId="1183"/>
            <ac:spMk id="191" creationId="{D3C84A45-C030-9A28-5E29-EB89A9A060B9}"/>
          </ac:spMkLst>
        </pc:spChg>
        <pc:spChg chg="mod modVis">
          <ac:chgData name="KevCla12" userId="ef2eb634-4620-450f-93cc-80cc93397e60" providerId="ADAL" clId="{0BF56A33-4BC5-423F-96C0-6A8645FA96BB}" dt="2023-12-03T21:48:10.549" v="32844" actId="790"/>
          <ac:spMkLst>
            <pc:docMk/>
            <pc:sldMk cId="1306429279" sldId="1183"/>
            <ac:spMk id="192" creationId="{DC5D20E2-C952-85E5-97FC-68B1AE2C2FC3}"/>
          </ac:spMkLst>
        </pc:spChg>
        <pc:spChg chg="mod modVis">
          <ac:chgData name="KevCla12" userId="ef2eb634-4620-450f-93cc-80cc93397e60" providerId="ADAL" clId="{0BF56A33-4BC5-423F-96C0-6A8645FA96BB}" dt="2023-12-03T21:48:10.550" v="32845"/>
          <ac:spMkLst>
            <pc:docMk/>
            <pc:sldMk cId="1306429279" sldId="1183"/>
            <ac:spMk id="193" creationId="{E89C4953-AF18-695B-32B8-14A204131308}"/>
          </ac:spMkLst>
        </pc:spChg>
        <pc:spChg chg="mod modVis">
          <ac:chgData name="KevCla12" userId="ef2eb634-4620-450f-93cc-80cc93397e60" providerId="ADAL" clId="{0BF56A33-4BC5-423F-96C0-6A8645FA96BB}" dt="2023-12-03T21:48:10.555" v="32855"/>
          <ac:spMkLst>
            <pc:docMk/>
            <pc:sldMk cId="1306429279" sldId="1183"/>
            <ac:spMk id="197" creationId="{AFA43D66-4FB3-B396-451C-3AB426F0BE8B}"/>
          </ac:spMkLst>
        </pc:spChg>
        <pc:spChg chg="mod modVis">
          <ac:chgData name="KevCla12" userId="ef2eb634-4620-450f-93cc-80cc93397e60" providerId="ADAL" clId="{0BF56A33-4BC5-423F-96C0-6A8645FA96BB}" dt="2023-12-03T21:48:10.556" v="32856"/>
          <ac:spMkLst>
            <pc:docMk/>
            <pc:sldMk cId="1306429279" sldId="1183"/>
            <ac:spMk id="198" creationId="{A9FDD2D3-110A-FF58-3E39-EE3AEC0325F9}"/>
          </ac:spMkLst>
        </pc:spChg>
        <pc:spChg chg="mod modVis">
          <ac:chgData name="KevCla12" userId="ef2eb634-4620-450f-93cc-80cc93397e60" providerId="ADAL" clId="{0BF56A33-4BC5-423F-96C0-6A8645FA96BB}" dt="2023-12-03T21:48:10.556" v="32857"/>
          <ac:spMkLst>
            <pc:docMk/>
            <pc:sldMk cId="1306429279" sldId="1183"/>
            <ac:spMk id="199" creationId="{2BD1AB62-E805-26CA-7D11-C8A2DC01BC48}"/>
          </ac:spMkLst>
        </pc:spChg>
        <pc:spChg chg="mod modVis">
          <ac:chgData name="KevCla12" userId="ef2eb634-4620-450f-93cc-80cc93397e60" providerId="ADAL" clId="{0BF56A33-4BC5-423F-96C0-6A8645FA96BB}" dt="2023-12-03T21:48:10.550" v="32846"/>
          <ac:spMkLst>
            <pc:docMk/>
            <pc:sldMk cId="1306429279" sldId="1183"/>
            <ac:spMk id="200" creationId="{60B53DE5-124A-B44A-E503-7FAF8F9B21EF}"/>
          </ac:spMkLst>
        </pc:spChg>
        <pc:spChg chg="mod modVis">
          <ac:chgData name="KevCla12" userId="ef2eb634-4620-450f-93cc-80cc93397e60" providerId="ADAL" clId="{0BF56A33-4BC5-423F-96C0-6A8645FA96BB}" dt="2023-12-03T21:48:10.551" v="32847"/>
          <ac:spMkLst>
            <pc:docMk/>
            <pc:sldMk cId="1306429279" sldId="1183"/>
            <ac:spMk id="201" creationId="{9EEB8623-E6A0-B468-D43D-03D6B39B68C6}"/>
          </ac:spMkLst>
        </pc:spChg>
        <pc:spChg chg="mod modVis">
          <ac:chgData name="KevCla12" userId="ef2eb634-4620-450f-93cc-80cc93397e60" providerId="ADAL" clId="{0BF56A33-4BC5-423F-96C0-6A8645FA96BB}" dt="2023-12-03T21:48:10.551" v="32848"/>
          <ac:spMkLst>
            <pc:docMk/>
            <pc:sldMk cId="1306429279" sldId="1183"/>
            <ac:spMk id="202" creationId="{BE1F50E2-EAF4-FC92-ABFA-57A9087FE149}"/>
          </ac:spMkLst>
        </pc:spChg>
        <pc:spChg chg="mod modVis">
          <ac:chgData name="KevCla12" userId="ef2eb634-4620-450f-93cc-80cc93397e60" providerId="ADAL" clId="{0BF56A33-4BC5-423F-96C0-6A8645FA96BB}" dt="2023-12-03T21:48:10.551" v="32849"/>
          <ac:spMkLst>
            <pc:docMk/>
            <pc:sldMk cId="1306429279" sldId="1183"/>
            <ac:spMk id="203" creationId="{ED812F6D-3E04-F2C9-723D-86943A59AE71}"/>
          </ac:spMkLst>
        </pc:spChg>
        <pc:spChg chg="mod modVis">
          <ac:chgData name="KevCla12" userId="ef2eb634-4620-450f-93cc-80cc93397e60" providerId="ADAL" clId="{0BF56A33-4BC5-423F-96C0-6A8645FA96BB}" dt="2023-12-03T21:48:10.552" v="32850"/>
          <ac:spMkLst>
            <pc:docMk/>
            <pc:sldMk cId="1306429279" sldId="1183"/>
            <ac:spMk id="204" creationId="{ECABA6FF-6FBC-986B-39F7-895AF95F2801}"/>
          </ac:spMkLst>
        </pc:spChg>
        <pc:spChg chg="mod modVis">
          <ac:chgData name="KevCla12" userId="ef2eb634-4620-450f-93cc-80cc93397e60" providerId="ADAL" clId="{0BF56A33-4BC5-423F-96C0-6A8645FA96BB}" dt="2023-12-03T21:48:10.552" v="32851" actId="790"/>
          <ac:spMkLst>
            <pc:docMk/>
            <pc:sldMk cId="1306429279" sldId="1183"/>
            <ac:spMk id="205" creationId="{F2FB5E92-5179-DA48-7995-5390BD949B28}"/>
          </ac:spMkLst>
        </pc:spChg>
        <pc:spChg chg="mod modVis">
          <ac:chgData name="KevCla12" userId="ef2eb634-4620-450f-93cc-80cc93397e60" providerId="ADAL" clId="{0BF56A33-4BC5-423F-96C0-6A8645FA96BB}" dt="2023-12-03T21:48:10.553" v="32852" actId="790"/>
          <ac:spMkLst>
            <pc:docMk/>
            <pc:sldMk cId="1306429279" sldId="1183"/>
            <ac:spMk id="206" creationId="{5F64C8FD-AA1A-E17B-FD7A-174580F729FA}"/>
          </ac:spMkLst>
        </pc:spChg>
        <pc:spChg chg="mod modVis">
          <ac:chgData name="KevCla12" userId="ef2eb634-4620-450f-93cc-80cc93397e60" providerId="ADAL" clId="{0BF56A33-4BC5-423F-96C0-6A8645FA96BB}" dt="2023-12-03T21:48:10.554" v="32853" actId="790"/>
          <ac:spMkLst>
            <pc:docMk/>
            <pc:sldMk cId="1306429279" sldId="1183"/>
            <ac:spMk id="207" creationId="{C0D386AD-0966-9F64-A71A-604D34E7BDC6}"/>
          </ac:spMkLst>
        </pc:spChg>
        <pc:spChg chg="mod modVis">
          <ac:chgData name="KevCla12" userId="ef2eb634-4620-450f-93cc-80cc93397e60" providerId="ADAL" clId="{0BF56A33-4BC5-423F-96C0-6A8645FA96BB}" dt="2023-12-03T21:48:10.555" v="32854" actId="790"/>
          <ac:spMkLst>
            <pc:docMk/>
            <pc:sldMk cId="1306429279" sldId="1183"/>
            <ac:spMk id="208" creationId="{024001E6-047A-6FA7-68D7-91C9B8383FC0}"/>
          </ac:spMkLst>
        </pc:spChg>
        <pc:spChg chg="mod modVis">
          <ac:chgData name="KevCla12" userId="ef2eb634-4620-450f-93cc-80cc93397e60" providerId="ADAL" clId="{0BF56A33-4BC5-423F-96C0-6A8645FA96BB}" dt="2023-12-03T21:48:10.557" v="32858"/>
          <ac:spMkLst>
            <pc:docMk/>
            <pc:sldMk cId="1306429279" sldId="1183"/>
            <ac:spMk id="210" creationId="{F72CC38E-E7C2-00B9-0386-7F67C36B6A2A}"/>
          </ac:spMkLst>
        </pc:spChg>
        <pc:spChg chg="mod modVis">
          <ac:chgData name="KevCla12" userId="ef2eb634-4620-450f-93cc-80cc93397e60" providerId="ADAL" clId="{0BF56A33-4BC5-423F-96C0-6A8645FA96BB}" dt="2023-12-03T21:48:10.558" v="32859" actId="790"/>
          <ac:spMkLst>
            <pc:docMk/>
            <pc:sldMk cId="1306429279" sldId="1183"/>
            <ac:spMk id="211" creationId="{7A30CD7B-2F1C-CA56-DB0D-6FFB91FFA0C5}"/>
          </ac:spMkLst>
        </pc:spChg>
        <pc:spChg chg="mod modVis">
          <ac:chgData name="KevCla12" userId="ef2eb634-4620-450f-93cc-80cc93397e60" providerId="ADAL" clId="{0BF56A33-4BC5-423F-96C0-6A8645FA96BB}" dt="2023-12-03T21:48:10.558" v="32860"/>
          <ac:spMkLst>
            <pc:docMk/>
            <pc:sldMk cId="1306429279" sldId="1183"/>
            <ac:spMk id="212" creationId="{44213C9C-701B-2D69-7D56-D2DFD3C88AA0}"/>
          </ac:spMkLst>
        </pc:spChg>
        <pc:spChg chg="mod modVis">
          <ac:chgData name="KevCla12" userId="ef2eb634-4620-450f-93cc-80cc93397e60" providerId="ADAL" clId="{0BF56A33-4BC5-423F-96C0-6A8645FA96BB}" dt="2023-12-03T21:48:10.559" v="32861" actId="790"/>
          <ac:spMkLst>
            <pc:docMk/>
            <pc:sldMk cId="1306429279" sldId="1183"/>
            <ac:spMk id="213" creationId="{D82090DD-1F15-C040-4616-9B2ADF1D9BA9}"/>
          </ac:spMkLst>
        </pc:spChg>
        <pc:spChg chg="mod modVis">
          <ac:chgData name="KevCla12" userId="ef2eb634-4620-450f-93cc-80cc93397e60" providerId="ADAL" clId="{0BF56A33-4BC5-423F-96C0-6A8645FA96BB}" dt="2023-12-03T21:48:10.560" v="32862" actId="790"/>
          <ac:spMkLst>
            <pc:docMk/>
            <pc:sldMk cId="1306429279" sldId="1183"/>
            <ac:spMk id="214" creationId="{EDC84FDA-CAA5-1C93-6D84-3E1ACDF0EF2E}"/>
          </ac:spMkLst>
        </pc:spChg>
        <pc:spChg chg="mod modVis">
          <ac:chgData name="KevCla12" userId="ef2eb634-4620-450f-93cc-80cc93397e60" providerId="ADAL" clId="{0BF56A33-4BC5-423F-96C0-6A8645FA96BB}" dt="2023-12-03T21:48:10.561" v="32863" actId="790"/>
          <ac:spMkLst>
            <pc:docMk/>
            <pc:sldMk cId="1306429279" sldId="1183"/>
            <ac:spMk id="215" creationId="{1F528D65-DEE4-686B-A7C6-362725D46FB3}"/>
          </ac:spMkLst>
        </pc:spChg>
        <pc:spChg chg="mod modVis">
          <ac:chgData name="KevCla12" userId="ef2eb634-4620-450f-93cc-80cc93397e60" providerId="ADAL" clId="{0BF56A33-4BC5-423F-96C0-6A8645FA96BB}" dt="2023-12-03T21:48:10.561" v="32864" actId="790"/>
          <ac:spMkLst>
            <pc:docMk/>
            <pc:sldMk cId="1306429279" sldId="1183"/>
            <ac:spMk id="216" creationId="{54A56623-5C58-D3ED-4ABD-6A9CC99D47A3}"/>
          </ac:spMkLst>
        </pc:spChg>
        <pc:spChg chg="mod modVis">
          <ac:chgData name="KevCla12" userId="ef2eb634-4620-450f-93cc-80cc93397e60" providerId="ADAL" clId="{0BF56A33-4BC5-423F-96C0-6A8645FA96BB}" dt="2023-12-03T21:48:10.562" v="32865" actId="790"/>
          <ac:spMkLst>
            <pc:docMk/>
            <pc:sldMk cId="1306429279" sldId="1183"/>
            <ac:spMk id="217" creationId="{4EDF68CF-227F-B600-763B-8F97718B1565}"/>
          </ac:spMkLst>
        </pc:spChg>
        <pc:spChg chg="mod modVis">
          <ac:chgData name="KevCla12" userId="ef2eb634-4620-450f-93cc-80cc93397e60" providerId="ADAL" clId="{0BF56A33-4BC5-423F-96C0-6A8645FA96BB}" dt="2023-12-03T21:48:10.563" v="32866" actId="790"/>
          <ac:spMkLst>
            <pc:docMk/>
            <pc:sldMk cId="1306429279" sldId="1183"/>
            <ac:spMk id="218" creationId="{2E3A1ADE-0A45-3EA6-EC9A-87F3C2A13B08}"/>
          </ac:spMkLst>
        </pc:spChg>
        <pc:spChg chg="mod modVis">
          <ac:chgData name="KevCla12" userId="ef2eb634-4620-450f-93cc-80cc93397e60" providerId="ADAL" clId="{0BF56A33-4BC5-423F-96C0-6A8645FA96BB}" dt="2023-12-03T21:48:10.564" v="32867" actId="790"/>
          <ac:spMkLst>
            <pc:docMk/>
            <pc:sldMk cId="1306429279" sldId="1183"/>
            <ac:spMk id="219" creationId="{BBCF1071-E87A-D30F-2A99-C68C93A16107}"/>
          </ac:spMkLst>
        </pc:spChg>
        <pc:spChg chg="mod modVis">
          <ac:chgData name="KevCla12" userId="ef2eb634-4620-450f-93cc-80cc93397e60" providerId="ADAL" clId="{0BF56A33-4BC5-423F-96C0-6A8645FA96BB}" dt="2023-12-03T21:48:10.564" v="32868"/>
          <ac:spMkLst>
            <pc:docMk/>
            <pc:sldMk cId="1306429279" sldId="1183"/>
            <ac:spMk id="220" creationId="{DA7EE629-913E-AD24-43AC-B6FCF1EF8A94}"/>
          </ac:spMkLst>
        </pc:spChg>
        <pc:spChg chg="mod modVis">
          <ac:chgData name="KevCla12" userId="ef2eb634-4620-450f-93cc-80cc93397e60" providerId="ADAL" clId="{0BF56A33-4BC5-423F-96C0-6A8645FA96BB}" dt="2023-12-03T21:48:10.565" v="32869"/>
          <ac:spMkLst>
            <pc:docMk/>
            <pc:sldMk cId="1306429279" sldId="1183"/>
            <ac:spMk id="221" creationId="{EFA4235B-0B2B-84CB-2133-157063E34B7F}"/>
          </ac:spMkLst>
        </pc:spChg>
        <pc:spChg chg="mod modVis">
          <ac:chgData name="KevCla12" userId="ef2eb634-4620-450f-93cc-80cc93397e60" providerId="ADAL" clId="{0BF56A33-4BC5-423F-96C0-6A8645FA96BB}" dt="2023-12-03T21:48:10.566" v="32870"/>
          <ac:spMkLst>
            <pc:docMk/>
            <pc:sldMk cId="1306429279" sldId="1183"/>
            <ac:spMk id="222" creationId="{35DB003A-AE26-1F86-37FA-1F693AC5CC42}"/>
          </ac:spMkLst>
        </pc:spChg>
        <pc:spChg chg="mod modVis">
          <ac:chgData name="KevCla12" userId="ef2eb634-4620-450f-93cc-80cc93397e60" providerId="ADAL" clId="{0BF56A33-4BC5-423F-96C0-6A8645FA96BB}" dt="2023-12-03T21:48:10.566" v="32871"/>
          <ac:spMkLst>
            <pc:docMk/>
            <pc:sldMk cId="1306429279" sldId="1183"/>
            <ac:spMk id="223" creationId="{903A87D3-A5F5-437B-4363-E6C895421E02}"/>
          </ac:spMkLst>
        </pc:spChg>
        <pc:spChg chg="mod modVis">
          <ac:chgData name="KevCla12" userId="ef2eb634-4620-450f-93cc-80cc93397e60" providerId="ADAL" clId="{0BF56A33-4BC5-423F-96C0-6A8645FA96BB}" dt="2023-12-03T21:48:10.567" v="32872"/>
          <ac:spMkLst>
            <pc:docMk/>
            <pc:sldMk cId="1306429279" sldId="1183"/>
            <ac:spMk id="224" creationId="{3A730285-3F54-C46E-CFC3-78B1CB341111}"/>
          </ac:spMkLst>
        </pc:spChg>
        <pc:spChg chg="mod modVis">
          <ac:chgData name="KevCla12" userId="ef2eb634-4620-450f-93cc-80cc93397e60" providerId="ADAL" clId="{0BF56A33-4BC5-423F-96C0-6A8645FA96BB}" dt="2023-12-03T21:48:10.567" v="32873"/>
          <ac:spMkLst>
            <pc:docMk/>
            <pc:sldMk cId="1306429279" sldId="1183"/>
            <ac:spMk id="225" creationId="{D5A360E7-6B3C-B0A6-95F0-9570FD4A2D67}"/>
          </ac:spMkLst>
        </pc:spChg>
        <pc:spChg chg="mod modVis">
          <ac:chgData name="KevCla12" userId="ef2eb634-4620-450f-93cc-80cc93397e60" providerId="ADAL" clId="{0BF56A33-4BC5-423F-96C0-6A8645FA96BB}" dt="2023-12-03T21:48:10.568" v="32874"/>
          <ac:spMkLst>
            <pc:docMk/>
            <pc:sldMk cId="1306429279" sldId="1183"/>
            <ac:spMk id="226" creationId="{C62DE675-BD0B-127A-7887-3A4456E6FD21}"/>
          </ac:spMkLst>
        </pc:spChg>
        <pc:spChg chg="mod modVis">
          <ac:chgData name="KevCla12" userId="ef2eb634-4620-450f-93cc-80cc93397e60" providerId="ADAL" clId="{0BF56A33-4BC5-423F-96C0-6A8645FA96BB}" dt="2023-12-03T21:48:10.569" v="32875" actId="790"/>
          <ac:spMkLst>
            <pc:docMk/>
            <pc:sldMk cId="1306429279" sldId="1183"/>
            <ac:spMk id="227" creationId="{F6D60FDD-2E9F-81A1-D9CD-A4126D799F4C}"/>
          </ac:spMkLst>
        </pc:spChg>
        <pc:spChg chg="add mod">
          <ac:chgData name="KevCla12" userId="ef2eb634-4620-450f-93cc-80cc93397e60" providerId="ADAL" clId="{0BF56A33-4BC5-423F-96C0-6A8645FA96BB}" dt="2023-12-03T21:48:10.575" v="32876" actId="790"/>
          <ac:spMkLst>
            <pc:docMk/>
            <pc:sldMk cId="1306429279" sldId="1183"/>
            <ac:spMk id="228" creationId="{3B733991-1E68-8B09-A848-B0554A93872D}"/>
          </ac:spMkLst>
        </pc:spChg>
        <pc:spChg chg="add mod">
          <ac:chgData name="KevCla12" userId="ef2eb634-4620-450f-93cc-80cc93397e60" providerId="ADAL" clId="{0BF56A33-4BC5-423F-96C0-6A8645FA96BB}" dt="2023-12-03T21:48:10.581" v="32877" actId="790"/>
          <ac:spMkLst>
            <pc:docMk/>
            <pc:sldMk cId="1306429279" sldId="1183"/>
            <ac:spMk id="229" creationId="{81CE18AF-9026-BC0D-ED75-25BE5E450603}"/>
          </ac:spMkLst>
        </pc:spChg>
        <pc:spChg chg="add mod">
          <ac:chgData name="KevCla12" userId="ef2eb634-4620-450f-93cc-80cc93397e60" providerId="ADAL" clId="{0BF56A33-4BC5-423F-96C0-6A8645FA96BB}" dt="2023-12-03T21:48:10.584" v="32878" actId="790"/>
          <ac:spMkLst>
            <pc:docMk/>
            <pc:sldMk cId="1306429279" sldId="1183"/>
            <ac:spMk id="230" creationId="{B917BD95-AAE9-5A63-D15B-30B2DC850BC2}"/>
          </ac:spMkLst>
        </pc:spChg>
        <pc:spChg chg="add mod">
          <ac:chgData name="KevCla12" userId="ef2eb634-4620-450f-93cc-80cc93397e60" providerId="ADAL" clId="{0BF56A33-4BC5-423F-96C0-6A8645FA96BB}" dt="2023-12-03T21:48:10.588" v="32879" actId="790"/>
          <ac:spMkLst>
            <pc:docMk/>
            <pc:sldMk cId="1306429279" sldId="1183"/>
            <ac:spMk id="231" creationId="{DDD29DCC-71C4-A4A2-6E3E-8B64DD8D727E}"/>
          </ac:spMkLst>
        </pc:spChg>
        <pc:spChg chg="add mod">
          <ac:chgData name="KevCla12" userId="ef2eb634-4620-450f-93cc-80cc93397e60" providerId="ADAL" clId="{0BF56A33-4BC5-423F-96C0-6A8645FA96BB}" dt="2023-12-03T21:48:10.589" v="32880" actId="790"/>
          <ac:spMkLst>
            <pc:docMk/>
            <pc:sldMk cId="1306429279" sldId="1183"/>
            <ac:spMk id="233" creationId="{140ED91E-2191-C2B8-7508-3BC56556B6FD}"/>
          </ac:spMkLst>
        </pc:spChg>
        <pc:spChg chg="add mod">
          <ac:chgData name="KevCla12" userId="ef2eb634-4620-450f-93cc-80cc93397e60" providerId="ADAL" clId="{0BF56A33-4BC5-423F-96C0-6A8645FA96BB}" dt="2023-12-03T21:48:10.589" v="32881" actId="790"/>
          <ac:spMkLst>
            <pc:docMk/>
            <pc:sldMk cId="1306429279" sldId="1183"/>
            <ac:spMk id="234" creationId="{EC45E454-FE50-E3A3-93DD-46226D51003C}"/>
          </ac:spMkLst>
        </pc:spChg>
        <pc:spChg chg="mod">
          <ac:chgData name="KevCla12" userId="ef2eb634-4620-450f-93cc-80cc93397e60" providerId="ADAL" clId="{0BF56A33-4BC5-423F-96C0-6A8645FA96BB}" dt="2023-12-03T21:48:10.590" v="32882" actId="790"/>
          <ac:spMkLst>
            <pc:docMk/>
            <pc:sldMk cId="1306429279" sldId="1183"/>
            <ac:spMk id="236" creationId="{DFDFB3AB-367F-CA7D-08AE-D324487DD4F1}"/>
          </ac:spMkLst>
        </pc:spChg>
        <pc:spChg chg="mod">
          <ac:chgData name="KevCla12" userId="ef2eb634-4620-450f-93cc-80cc93397e60" providerId="ADAL" clId="{0BF56A33-4BC5-423F-96C0-6A8645FA96BB}" dt="2023-12-03T21:48:10.593" v="32883" actId="790"/>
          <ac:spMkLst>
            <pc:docMk/>
            <pc:sldMk cId="1306429279" sldId="1183"/>
            <ac:spMk id="237" creationId="{10BCAB8E-4536-E892-7DA6-F0F8AD7223E1}"/>
          </ac:spMkLst>
        </pc:spChg>
        <pc:spChg chg="mod">
          <ac:chgData name="KevCla12" userId="ef2eb634-4620-450f-93cc-80cc93397e60" providerId="ADAL" clId="{0BF56A33-4BC5-423F-96C0-6A8645FA96BB}" dt="2023-12-03T21:48:10.594" v="32884" actId="790"/>
          <ac:spMkLst>
            <pc:docMk/>
            <pc:sldMk cId="1306429279" sldId="1183"/>
            <ac:spMk id="238" creationId="{7D288AE6-A512-3B59-9B2D-E33C553F1F5B}"/>
          </ac:spMkLst>
        </pc:spChg>
        <pc:spChg chg="mod">
          <ac:chgData name="KevCla12" userId="ef2eb634-4620-450f-93cc-80cc93397e60" providerId="ADAL" clId="{0BF56A33-4BC5-423F-96C0-6A8645FA96BB}" dt="2023-12-03T21:48:10.595" v="32885" actId="790"/>
          <ac:spMkLst>
            <pc:docMk/>
            <pc:sldMk cId="1306429279" sldId="1183"/>
            <ac:spMk id="239" creationId="{E5E4A50B-E934-356A-EC41-38F4AE449270}"/>
          </ac:spMkLst>
        </pc:spChg>
        <pc:spChg chg="mod">
          <ac:chgData name="KevCla12" userId="ef2eb634-4620-450f-93cc-80cc93397e60" providerId="ADAL" clId="{0BF56A33-4BC5-423F-96C0-6A8645FA96BB}" dt="2023-12-03T21:48:10.595" v="32886" actId="790"/>
          <ac:spMkLst>
            <pc:docMk/>
            <pc:sldMk cId="1306429279" sldId="1183"/>
            <ac:spMk id="240" creationId="{9A583BE5-C5C2-164B-EF9D-27630F744066}"/>
          </ac:spMkLst>
        </pc:spChg>
        <pc:spChg chg="mod">
          <ac:chgData name="KevCla12" userId="ef2eb634-4620-450f-93cc-80cc93397e60" providerId="ADAL" clId="{0BF56A33-4BC5-423F-96C0-6A8645FA96BB}" dt="2023-12-03T21:48:10.596" v="32887" actId="790"/>
          <ac:spMkLst>
            <pc:docMk/>
            <pc:sldMk cId="1306429279" sldId="1183"/>
            <ac:spMk id="241" creationId="{2126ECBD-EAFE-6796-86A5-5CD7A10946D5}"/>
          </ac:spMkLst>
        </pc:spChg>
        <pc:spChg chg="mod">
          <ac:chgData name="KevCla12" userId="ef2eb634-4620-450f-93cc-80cc93397e60" providerId="ADAL" clId="{0BF56A33-4BC5-423F-96C0-6A8645FA96BB}" dt="2023-12-03T21:48:10.597" v="32888" actId="790"/>
          <ac:spMkLst>
            <pc:docMk/>
            <pc:sldMk cId="1306429279" sldId="1183"/>
            <ac:spMk id="242" creationId="{3DEAF909-AAAA-B27A-B554-314AC4A45C57}"/>
          </ac:spMkLst>
        </pc:spChg>
        <pc:spChg chg="mod">
          <ac:chgData name="KevCla12" userId="ef2eb634-4620-450f-93cc-80cc93397e60" providerId="ADAL" clId="{0BF56A33-4BC5-423F-96C0-6A8645FA96BB}" dt="2023-12-03T21:48:10.597" v="32889" actId="790"/>
          <ac:spMkLst>
            <pc:docMk/>
            <pc:sldMk cId="1306429279" sldId="1183"/>
            <ac:spMk id="243" creationId="{909190ED-BB2D-A0DE-7D87-527C5C11BB46}"/>
          </ac:spMkLst>
        </pc:spChg>
        <pc:spChg chg="mod">
          <ac:chgData name="KevCla12" userId="ef2eb634-4620-450f-93cc-80cc93397e60" providerId="ADAL" clId="{0BF56A33-4BC5-423F-96C0-6A8645FA96BB}" dt="2023-12-03T21:48:10.598" v="32890" actId="790"/>
          <ac:spMkLst>
            <pc:docMk/>
            <pc:sldMk cId="1306429279" sldId="1183"/>
            <ac:spMk id="244" creationId="{23438F14-A64C-636D-FAA3-D2CF51F9720B}"/>
          </ac:spMkLst>
        </pc:spChg>
        <pc:spChg chg="mod">
          <ac:chgData name="KevCla12" userId="ef2eb634-4620-450f-93cc-80cc93397e60" providerId="ADAL" clId="{0BF56A33-4BC5-423F-96C0-6A8645FA96BB}" dt="2023-12-03T21:48:10.599" v="32891" actId="790"/>
          <ac:spMkLst>
            <pc:docMk/>
            <pc:sldMk cId="1306429279" sldId="1183"/>
            <ac:spMk id="245" creationId="{6BF59371-8C60-1BE5-98D3-96462F7119F0}"/>
          </ac:spMkLst>
        </pc:spChg>
        <pc:spChg chg="mod">
          <ac:chgData name="KevCla12" userId="ef2eb634-4620-450f-93cc-80cc93397e60" providerId="ADAL" clId="{0BF56A33-4BC5-423F-96C0-6A8645FA96BB}" dt="2023-12-03T21:48:10.599" v="32892" actId="790"/>
          <ac:spMkLst>
            <pc:docMk/>
            <pc:sldMk cId="1306429279" sldId="1183"/>
            <ac:spMk id="247" creationId="{E8262DA1-4C74-3BCE-1078-FADEC2A3DD66}"/>
          </ac:spMkLst>
        </pc:spChg>
        <pc:spChg chg="mod">
          <ac:chgData name="KevCla12" userId="ef2eb634-4620-450f-93cc-80cc93397e60" providerId="ADAL" clId="{0BF56A33-4BC5-423F-96C0-6A8645FA96BB}" dt="2023-12-03T21:48:10.600" v="32893" actId="790"/>
          <ac:spMkLst>
            <pc:docMk/>
            <pc:sldMk cId="1306429279" sldId="1183"/>
            <ac:spMk id="248" creationId="{974134B1-BFCB-2135-6BDC-5C2E1C48094B}"/>
          </ac:spMkLst>
        </pc:spChg>
        <pc:spChg chg="mod">
          <ac:chgData name="KevCla12" userId="ef2eb634-4620-450f-93cc-80cc93397e60" providerId="ADAL" clId="{0BF56A33-4BC5-423F-96C0-6A8645FA96BB}" dt="2023-12-03T21:48:10.601" v="32894" actId="790"/>
          <ac:spMkLst>
            <pc:docMk/>
            <pc:sldMk cId="1306429279" sldId="1183"/>
            <ac:spMk id="249" creationId="{AD5EDC73-A3AA-4052-88FE-00A517D685D3}"/>
          </ac:spMkLst>
        </pc:spChg>
        <pc:spChg chg="mod">
          <ac:chgData name="KevCla12" userId="ef2eb634-4620-450f-93cc-80cc93397e60" providerId="ADAL" clId="{0BF56A33-4BC5-423F-96C0-6A8645FA96BB}" dt="2023-12-03T21:48:10.601" v="32895" actId="790"/>
          <ac:spMkLst>
            <pc:docMk/>
            <pc:sldMk cId="1306429279" sldId="1183"/>
            <ac:spMk id="250" creationId="{BE28E92A-C15A-F640-26F6-7B84EF7EA581}"/>
          </ac:spMkLst>
        </pc:spChg>
        <pc:spChg chg="mod">
          <ac:chgData name="KevCla12" userId="ef2eb634-4620-450f-93cc-80cc93397e60" providerId="ADAL" clId="{0BF56A33-4BC5-423F-96C0-6A8645FA96BB}" dt="2023-12-03T21:48:10.602" v="32896" actId="790"/>
          <ac:spMkLst>
            <pc:docMk/>
            <pc:sldMk cId="1306429279" sldId="1183"/>
            <ac:spMk id="251" creationId="{B40843EA-7AD3-455C-DA80-2B26E271F8D3}"/>
          </ac:spMkLst>
        </pc:spChg>
        <pc:spChg chg="mod">
          <ac:chgData name="KevCla12" userId="ef2eb634-4620-450f-93cc-80cc93397e60" providerId="ADAL" clId="{0BF56A33-4BC5-423F-96C0-6A8645FA96BB}" dt="2023-12-03T21:48:10.603" v="32897" actId="790"/>
          <ac:spMkLst>
            <pc:docMk/>
            <pc:sldMk cId="1306429279" sldId="1183"/>
            <ac:spMk id="252" creationId="{03FF2E49-1D29-D568-E65A-5EA885B34206}"/>
          </ac:spMkLst>
        </pc:spChg>
        <pc:spChg chg="mod">
          <ac:chgData name="KevCla12" userId="ef2eb634-4620-450f-93cc-80cc93397e60" providerId="ADAL" clId="{0BF56A33-4BC5-423F-96C0-6A8645FA96BB}" dt="2023-12-03T21:48:10.603" v="32898" actId="790"/>
          <ac:spMkLst>
            <pc:docMk/>
            <pc:sldMk cId="1306429279" sldId="1183"/>
            <ac:spMk id="253" creationId="{FA584C26-5D76-4101-553E-567FA6EF7401}"/>
          </ac:spMkLst>
        </pc:spChg>
        <pc:spChg chg="mod">
          <ac:chgData name="KevCla12" userId="ef2eb634-4620-450f-93cc-80cc93397e60" providerId="ADAL" clId="{0BF56A33-4BC5-423F-96C0-6A8645FA96BB}" dt="2023-12-03T21:48:10.604" v="32899" actId="790"/>
          <ac:spMkLst>
            <pc:docMk/>
            <pc:sldMk cId="1306429279" sldId="1183"/>
            <ac:spMk id="254" creationId="{6BD0DDB1-C44E-9863-11C5-5F75FCA61B4B}"/>
          </ac:spMkLst>
        </pc:spChg>
        <pc:spChg chg="mod">
          <ac:chgData name="KevCla12" userId="ef2eb634-4620-450f-93cc-80cc93397e60" providerId="ADAL" clId="{0BF56A33-4BC5-423F-96C0-6A8645FA96BB}" dt="2023-12-03T21:48:10.604" v="32900" actId="790"/>
          <ac:spMkLst>
            <pc:docMk/>
            <pc:sldMk cId="1306429279" sldId="1183"/>
            <ac:spMk id="255" creationId="{D5C7F62C-C560-FF9C-301C-2D0564A19F59}"/>
          </ac:spMkLst>
        </pc:spChg>
        <pc:spChg chg="mod">
          <ac:chgData name="KevCla12" userId="ef2eb634-4620-450f-93cc-80cc93397e60" providerId="ADAL" clId="{0BF56A33-4BC5-423F-96C0-6A8645FA96BB}" dt="2023-12-03T21:48:10.605" v="32901" actId="790"/>
          <ac:spMkLst>
            <pc:docMk/>
            <pc:sldMk cId="1306429279" sldId="1183"/>
            <ac:spMk id="256" creationId="{39668FCF-BB9F-DC29-36D0-C085F6C83E28}"/>
          </ac:spMkLst>
        </pc:spChg>
        <pc:spChg chg="add mod">
          <ac:chgData name="KevCla12" userId="ef2eb634-4620-450f-93cc-80cc93397e60" providerId="ADAL" clId="{0BF56A33-4BC5-423F-96C0-6A8645FA96BB}" dt="2023-12-03T21:48:10.606" v="32902" actId="790"/>
          <ac:spMkLst>
            <pc:docMk/>
            <pc:sldMk cId="1306429279" sldId="1183"/>
            <ac:spMk id="258" creationId="{4EFF1E46-1044-37E6-045E-D55941047CB4}"/>
          </ac:spMkLst>
        </pc:spChg>
        <pc:spChg chg="add mod">
          <ac:chgData name="KevCla12" userId="ef2eb634-4620-450f-93cc-80cc93397e60" providerId="ADAL" clId="{0BF56A33-4BC5-423F-96C0-6A8645FA96BB}" dt="2023-12-03T21:48:10.608" v="32903" actId="790"/>
          <ac:spMkLst>
            <pc:docMk/>
            <pc:sldMk cId="1306429279" sldId="1183"/>
            <ac:spMk id="259" creationId="{58911851-AFA4-3F36-6407-A8915D2EFD28}"/>
          </ac:spMkLst>
        </pc:spChg>
        <pc:spChg chg="add mod">
          <ac:chgData name="KevCla12" userId="ef2eb634-4620-450f-93cc-80cc93397e60" providerId="ADAL" clId="{0BF56A33-4BC5-423F-96C0-6A8645FA96BB}" dt="2023-12-03T21:48:10.609" v="32904" actId="790"/>
          <ac:spMkLst>
            <pc:docMk/>
            <pc:sldMk cId="1306429279" sldId="1183"/>
            <ac:spMk id="260" creationId="{90A07640-9692-5717-064E-A3927988E693}"/>
          </ac:spMkLst>
        </pc:spChg>
        <pc:spChg chg="add mod">
          <ac:chgData name="KevCla12" userId="ef2eb634-4620-450f-93cc-80cc93397e60" providerId="ADAL" clId="{0BF56A33-4BC5-423F-96C0-6A8645FA96BB}" dt="2023-12-03T21:48:10.610" v="32905" actId="790"/>
          <ac:spMkLst>
            <pc:docMk/>
            <pc:sldMk cId="1306429279" sldId="1183"/>
            <ac:spMk id="261" creationId="{0B10472E-90D8-9AA7-807E-01C618DB9F52}"/>
          </ac:spMkLst>
        </pc:spChg>
        <pc:spChg chg="add mod">
          <ac:chgData name="KevCla12" userId="ef2eb634-4620-450f-93cc-80cc93397e60" providerId="ADAL" clId="{0BF56A33-4BC5-423F-96C0-6A8645FA96BB}" dt="2023-12-03T21:48:10.611" v="32906" actId="790"/>
          <ac:spMkLst>
            <pc:docMk/>
            <pc:sldMk cId="1306429279" sldId="1183"/>
            <ac:spMk id="262" creationId="{4B1D0E6D-09D3-2FB6-3D3C-8E5D2429C66F}"/>
          </ac:spMkLst>
        </pc:spChg>
        <pc:spChg chg="add mod">
          <ac:chgData name="KevCla12" userId="ef2eb634-4620-450f-93cc-80cc93397e60" providerId="ADAL" clId="{0BF56A33-4BC5-423F-96C0-6A8645FA96BB}" dt="2023-12-03T21:48:10.613" v="32907" actId="790"/>
          <ac:spMkLst>
            <pc:docMk/>
            <pc:sldMk cId="1306429279" sldId="1183"/>
            <ac:spMk id="263" creationId="{1F736F98-DD6F-018D-C6FB-E4FFE2DE5F4D}"/>
          </ac:spMkLst>
        </pc:spChg>
        <pc:spChg chg="add mod">
          <ac:chgData name="KevCla12" userId="ef2eb634-4620-450f-93cc-80cc93397e60" providerId="ADAL" clId="{0BF56A33-4BC5-423F-96C0-6A8645FA96BB}" dt="2023-12-03T21:48:10.615" v="32908" actId="790"/>
          <ac:spMkLst>
            <pc:docMk/>
            <pc:sldMk cId="1306429279" sldId="1183"/>
            <ac:spMk id="264" creationId="{09980DB1-DC81-E2E5-FE79-3EA4A34732E5}"/>
          </ac:spMkLst>
        </pc:spChg>
        <pc:spChg chg="add mod">
          <ac:chgData name="KevCla12" userId="ef2eb634-4620-450f-93cc-80cc93397e60" providerId="ADAL" clId="{0BF56A33-4BC5-423F-96C0-6A8645FA96BB}" dt="2023-12-03T21:48:10.616" v="32909" actId="790"/>
          <ac:spMkLst>
            <pc:docMk/>
            <pc:sldMk cId="1306429279" sldId="1183"/>
            <ac:spMk id="265" creationId="{F006B415-39D0-2498-5DCB-34F417F601E6}"/>
          </ac:spMkLst>
        </pc:spChg>
        <pc:spChg chg="add del mod modVis">
          <ac:chgData name="KevCla12" userId="ef2eb634-4620-450f-93cc-80cc93397e60" providerId="ADAL" clId="{0BF56A33-4BC5-423F-96C0-6A8645FA96BB}" dt="2023-12-03T16:15:48.073" v="16276" actId="962"/>
          <ac:spMkLst>
            <pc:docMk/>
            <pc:sldMk cId="1306429279" sldId="1183"/>
            <ac:spMk id="267" creationId="{937797D8-3D21-0D9F-B2CB-5DADA92A72F3}"/>
          </ac:spMkLst>
        </pc:spChg>
        <pc:spChg chg="add del mod modVis">
          <ac:chgData name="KevCla12" userId="ef2eb634-4620-450f-93cc-80cc93397e60" providerId="ADAL" clId="{0BF56A33-4BC5-423F-96C0-6A8645FA96BB}" dt="2023-12-03T16:15:57.459" v="16350"/>
          <ac:spMkLst>
            <pc:docMk/>
            <pc:sldMk cId="1306429279" sldId="1183"/>
            <ac:spMk id="268" creationId="{232166EC-F20D-F351-8AF4-17A13BD8F7D8}"/>
          </ac:spMkLst>
        </pc:spChg>
        <pc:spChg chg="add del mod modVis">
          <ac:chgData name="KevCla12" userId="ef2eb634-4620-450f-93cc-80cc93397e60" providerId="ADAL" clId="{0BF56A33-4BC5-423F-96C0-6A8645FA96BB}" dt="2023-12-03T16:16:02.004" v="16382"/>
          <ac:spMkLst>
            <pc:docMk/>
            <pc:sldMk cId="1306429279" sldId="1183"/>
            <ac:spMk id="269" creationId="{E180C62B-CDB3-351D-9225-A562729256FB}"/>
          </ac:spMkLst>
        </pc:spChg>
        <pc:spChg chg="add del mod modVis">
          <ac:chgData name="KevCla12" userId="ef2eb634-4620-450f-93cc-80cc93397e60" providerId="ADAL" clId="{0BF56A33-4BC5-423F-96C0-6A8645FA96BB}" dt="2023-12-03T16:16:06.078" v="16435"/>
          <ac:spMkLst>
            <pc:docMk/>
            <pc:sldMk cId="1306429279" sldId="1183"/>
            <ac:spMk id="270" creationId="{D60826FE-A78B-E6EF-E479-A904C493EF53}"/>
          </ac:spMkLst>
        </pc:spChg>
        <pc:spChg chg="add del mod modVis">
          <ac:chgData name="KevCla12" userId="ef2eb634-4620-450f-93cc-80cc93397e60" providerId="ADAL" clId="{0BF56A33-4BC5-423F-96C0-6A8645FA96BB}" dt="2023-12-03T16:16:07.384" v="16468"/>
          <ac:spMkLst>
            <pc:docMk/>
            <pc:sldMk cId="1306429279" sldId="1183"/>
            <ac:spMk id="271" creationId="{52D4CB35-3FF7-3EEF-BEF1-05AC855AF4F8}"/>
          </ac:spMkLst>
        </pc:spChg>
        <pc:spChg chg="add del mod modVis">
          <ac:chgData name="KevCla12" userId="ef2eb634-4620-450f-93cc-80cc93397e60" providerId="ADAL" clId="{0BF56A33-4BC5-423F-96C0-6A8645FA96BB}" dt="2023-12-03T16:16:11.100" v="16506"/>
          <ac:spMkLst>
            <pc:docMk/>
            <pc:sldMk cId="1306429279" sldId="1183"/>
            <ac:spMk id="272" creationId="{3DB5730F-45D5-56C7-1C01-2F30804B9863}"/>
          </ac:spMkLst>
        </pc:spChg>
        <pc:spChg chg="add del mod modVis">
          <ac:chgData name="KevCla12" userId="ef2eb634-4620-450f-93cc-80cc93397e60" providerId="ADAL" clId="{0BF56A33-4BC5-423F-96C0-6A8645FA96BB}" dt="2023-12-03T16:16:12.627" v="16536"/>
          <ac:spMkLst>
            <pc:docMk/>
            <pc:sldMk cId="1306429279" sldId="1183"/>
            <ac:spMk id="273" creationId="{B3DFC00B-8F4F-F69D-E23F-FCF62265E466}"/>
          </ac:spMkLst>
        </pc:spChg>
        <pc:spChg chg="add del mod modVis">
          <ac:chgData name="KevCla12" userId="ef2eb634-4620-450f-93cc-80cc93397e60" providerId="ADAL" clId="{0BF56A33-4BC5-423F-96C0-6A8645FA96BB}" dt="2023-12-03T16:16:13.870" v="16567"/>
          <ac:spMkLst>
            <pc:docMk/>
            <pc:sldMk cId="1306429279" sldId="1183"/>
            <ac:spMk id="274" creationId="{7E9EFF2B-1705-3FC4-D6D2-5EADDB87D03E}"/>
          </ac:spMkLst>
        </pc:spChg>
        <pc:spChg chg="add del mod modVis">
          <ac:chgData name="KevCla12" userId="ef2eb634-4620-450f-93cc-80cc93397e60" providerId="ADAL" clId="{0BF56A33-4BC5-423F-96C0-6A8645FA96BB}" dt="2023-12-03T16:16:14.886" v="16597"/>
          <ac:spMkLst>
            <pc:docMk/>
            <pc:sldMk cId="1306429279" sldId="1183"/>
            <ac:spMk id="275" creationId="{13234269-B693-DA2B-98BA-AE1D51E8BCB0}"/>
          </ac:spMkLst>
        </pc:spChg>
        <pc:spChg chg="add del mod modVis">
          <ac:chgData name="KevCla12" userId="ef2eb634-4620-450f-93cc-80cc93397e60" providerId="ADAL" clId="{0BF56A33-4BC5-423F-96C0-6A8645FA96BB}" dt="2023-12-03T16:16:24.677" v="16640"/>
          <ac:spMkLst>
            <pc:docMk/>
            <pc:sldMk cId="1306429279" sldId="1183"/>
            <ac:spMk id="276" creationId="{5A7F39BF-E5A9-04FC-A5FF-CF9E534FF782}"/>
          </ac:spMkLst>
        </pc:spChg>
        <pc:spChg chg="add del mod modVis">
          <ac:chgData name="KevCla12" userId="ef2eb634-4620-450f-93cc-80cc93397e60" providerId="ADAL" clId="{0BF56A33-4BC5-423F-96C0-6A8645FA96BB}" dt="2023-12-03T16:16:41.926" v="16678"/>
          <ac:spMkLst>
            <pc:docMk/>
            <pc:sldMk cId="1306429279" sldId="1183"/>
            <ac:spMk id="277" creationId="{9BA2DE2C-8D8B-3D6A-C518-AAA0B900B495}"/>
          </ac:spMkLst>
        </pc:spChg>
        <pc:spChg chg="add del mod modVis">
          <ac:chgData name="KevCla12" userId="ef2eb634-4620-450f-93cc-80cc93397e60" providerId="ADAL" clId="{0BF56A33-4BC5-423F-96C0-6A8645FA96BB}" dt="2023-12-03T16:16:45.213" v="16716"/>
          <ac:spMkLst>
            <pc:docMk/>
            <pc:sldMk cId="1306429279" sldId="1183"/>
            <ac:spMk id="278" creationId="{DCCC383D-529C-7606-6DA6-A593066C8CFF}"/>
          </ac:spMkLst>
        </pc:spChg>
        <pc:grpChg chg="add mod modVis">
          <ac:chgData name="KevCla12" userId="ef2eb634-4620-450f-93cc-80cc93397e60" providerId="ADAL" clId="{0BF56A33-4BC5-423F-96C0-6A8645FA96BB}" dt="2023-12-03T16:01:39.554" v="15035" actId="1036"/>
          <ac:grpSpMkLst>
            <pc:docMk/>
            <pc:sldMk cId="1306429279" sldId="1183"/>
            <ac:grpSpMk id="21" creationId="{AC226C0F-BC55-4D5D-2EC7-2D845E357C9B}"/>
          </ac:grpSpMkLst>
        </pc:grpChg>
        <pc:grpChg chg="add del mod modVis">
          <ac:chgData name="KevCla12" userId="ef2eb634-4620-450f-93cc-80cc93397e60" providerId="ADAL" clId="{0BF56A33-4BC5-423F-96C0-6A8645FA96BB}" dt="2023-12-03T15:03:58.496" v="13147" actId="478"/>
          <ac:grpSpMkLst>
            <pc:docMk/>
            <pc:sldMk cId="1306429279" sldId="1183"/>
            <ac:grpSpMk id="32" creationId="{7C908E8C-5FBE-B9DC-8114-7EEA62486CAC}"/>
          </ac:grpSpMkLst>
        </pc:grpChg>
        <pc:grpChg chg="add del mod modVis">
          <ac:chgData name="KevCla12" userId="ef2eb634-4620-450f-93cc-80cc93397e60" providerId="ADAL" clId="{0BF56A33-4BC5-423F-96C0-6A8645FA96BB}" dt="2023-12-03T15:10:21.010" v="13265" actId="478"/>
          <ac:grpSpMkLst>
            <pc:docMk/>
            <pc:sldMk cId="1306429279" sldId="1183"/>
            <ac:grpSpMk id="58" creationId="{D82DAEA1-4F42-3B57-FA71-9EE64E62ED96}"/>
          </ac:grpSpMkLst>
        </pc:grpChg>
        <pc:grpChg chg="add mod modVis">
          <ac:chgData name="KevCla12" userId="ef2eb634-4620-450f-93cc-80cc93397e60" providerId="ADAL" clId="{0BF56A33-4BC5-423F-96C0-6A8645FA96BB}" dt="2023-12-03T16:01:39.554" v="15035" actId="1036"/>
          <ac:grpSpMkLst>
            <pc:docMk/>
            <pc:sldMk cId="1306429279" sldId="1183"/>
            <ac:grpSpMk id="69" creationId="{5439C5EA-9F38-7852-51B1-2A8744595405}"/>
          </ac:grpSpMkLst>
        </pc:grpChg>
        <pc:grpChg chg="add mod modVis">
          <ac:chgData name="KevCla12" userId="ef2eb634-4620-450f-93cc-80cc93397e60" providerId="ADAL" clId="{0BF56A33-4BC5-423F-96C0-6A8645FA96BB}" dt="2023-12-03T16:01:39.554" v="15035" actId="1036"/>
          <ac:grpSpMkLst>
            <pc:docMk/>
            <pc:sldMk cId="1306429279" sldId="1183"/>
            <ac:grpSpMk id="81" creationId="{6678B514-FF80-A22A-9DA3-2D7CC88B87AC}"/>
          </ac:grpSpMkLst>
        </pc:grpChg>
        <pc:grpChg chg="add mod">
          <ac:chgData name="KevCla12" userId="ef2eb634-4620-450f-93cc-80cc93397e60" providerId="ADAL" clId="{0BF56A33-4BC5-423F-96C0-6A8645FA96BB}" dt="2023-12-03T16:01:39.554" v="15035" actId="1036"/>
          <ac:grpSpMkLst>
            <pc:docMk/>
            <pc:sldMk cId="1306429279" sldId="1183"/>
            <ac:grpSpMk id="98" creationId="{EDE6A58B-FC89-B5B4-2159-15E31C0B1FF7}"/>
          </ac:grpSpMkLst>
        </pc:grpChg>
        <pc:grpChg chg="add mod">
          <ac:chgData name="KevCla12" userId="ef2eb634-4620-450f-93cc-80cc93397e60" providerId="ADAL" clId="{0BF56A33-4BC5-423F-96C0-6A8645FA96BB}" dt="2023-12-03T16:01:39.554" v="15035" actId="1036"/>
          <ac:grpSpMkLst>
            <pc:docMk/>
            <pc:sldMk cId="1306429279" sldId="1183"/>
            <ac:grpSpMk id="113" creationId="{A39F81A8-5AA3-9E33-B8D4-3A307B315179}"/>
          </ac:grpSpMkLst>
        </pc:grpChg>
        <pc:grpChg chg="add mod">
          <ac:chgData name="KevCla12" userId="ef2eb634-4620-450f-93cc-80cc93397e60" providerId="ADAL" clId="{0BF56A33-4BC5-423F-96C0-6A8645FA96BB}" dt="2023-12-03T16:02:15.787" v="15063" actId="1036"/>
          <ac:grpSpMkLst>
            <pc:docMk/>
            <pc:sldMk cId="1306429279" sldId="1183"/>
            <ac:grpSpMk id="124" creationId="{C3F4282E-E173-886D-B36A-A60AED34EE33}"/>
          </ac:grpSpMkLst>
        </pc:grpChg>
        <pc:grpChg chg="add mod">
          <ac:chgData name="KevCla12" userId="ef2eb634-4620-450f-93cc-80cc93397e60" providerId="ADAL" clId="{0BF56A33-4BC5-423F-96C0-6A8645FA96BB}" dt="2023-12-03T16:02:30.557" v="15074" actId="1076"/>
          <ac:grpSpMkLst>
            <pc:docMk/>
            <pc:sldMk cId="1306429279" sldId="1183"/>
            <ac:grpSpMk id="142" creationId="{1CB8E583-B2C9-BBD3-A399-0F50B9C2487F}"/>
          </ac:grpSpMkLst>
        </pc:grpChg>
        <pc:grpChg chg="add mod">
          <ac:chgData name="KevCla12" userId="ef2eb634-4620-450f-93cc-80cc93397e60" providerId="ADAL" clId="{0BF56A33-4BC5-423F-96C0-6A8645FA96BB}" dt="2023-12-03T16:02:15.787" v="15063" actId="1036"/>
          <ac:grpSpMkLst>
            <pc:docMk/>
            <pc:sldMk cId="1306429279" sldId="1183"/>
            <ac:grpSpMk id="158" creationId="{44C8B87C-ADFB-1841-22D1-171CA5571FDB}"/>
          </ac:grpSpMkLst>
        </pc:grpChg>
        <pc:grpChg chg="add mod modVis">
          <ac:chgData name="KevCla12" userId="ef2eb634-4620-450f-93cc-80cc93397e60" providerId="ADAL" clId="{0BF56A33-4BC5-423F-96C0-6A8645FA96BB}" dt="2023-12-03T16:01:39.554" v="15035" actId="1036"/>
          <ac:grpSpMkLst>
            <pc:docMk/>
            <pc:sldMk cId="1306429279" sldId="1183"/>
            <ac:grpSpMk id="171" creationId="{FF027C9B-9CCB-E378-7F9A-7BD1547F24C7}"/>
          </ac:grpSpMkLst>
        </pc:grpChg>
        <pc:grpChg chg="mod modVis">
          <ac:chgData name="KevCla12" userId="ef2eb634-4620-450f-93cc-80cc93397e60" providerId="ADAL" clId="{0BF56A33-4BC5-423F-96C0-6A8645FA96BB}" dt="2023-12-03T16:01:39.554" v="15035" actId="1036"/>
          <ac:grpSpMkLst>
            <pc:docMk/>
            <pc:sldMk cId="1306429279" sldId="1183"/>
            <ac:grpSpMk id="177" creationId="{C82F2220-4787-A0AC-8229-65729945F74B}"/>
          </ac:grpSpMkLst>
        </pc:grpChg>
        <pc:grpChg chg="add mod modVis">
          <ac:chgData name="KevCla12" userId="ef2eb634-4620-450f-93cc-80cc93397e60" providerId="ADAL" clId="{0BF56A33-4BC5-423F-96C0-6A8645FA96BB}" dt="2023-12-03T16:01:39.554" v="15035" actId="1036"/>
          <ac:grpSpMkLst>
            <pc:docMk/>
            <pc:sldMk cId="1306429279" sldId="1183"/>
            <ac:grpSpMk id="181" creationId="{8A846B23-348A-FA0D-BD26-27E162797D76}"/>
          </ac:grpSpMkLst>
        </pc:grpChg>
        <pc:grpChg chg="add mod modVis">
          <ac:chgData name="KevCla12" userId="ef2eb634-4620-450f-93cc-80cc93397e60" providerId="ADAL" clId="{0BF56A33-4BC5-423F-96C0-6A8645FA96BB}" dt="2023-12-03T16:01:39.554" v="15035" actId="1036"/>
          <ac:grpSpMkLst>
            <pc:docMk/>
            <pc:sldMk cId="1306429279" sldId="1183"/>
            <ac:grpSpMk id="194" creationId="{9441E4AE-F28D-5C02-3635-29AA247FA30D}"/>
          </ac:grpSpMkLst>
        </pc:grpChg>
        <pc:grpChg chg="mod modVis">
          <ac:chgData name="KevCla12" userId="ef2eb634-4620-450f-93cc-80cc93397e60" providerId="ADAL" clId="{0BF56A33-4BC5-423F-96C0-6A8645FA96BB}" dt="2023-12-03T16:01:39.554" v="15035" actId="1036"/>
          <ac:grpSpMkLst>
            <pc:docMk/>
            <pc:sldMk cId="1306429279" sldId="1183"/>
            <ac:grpSpMk id="195" creationId="{436AAE14-CB61-8E99-50A7-E487F5E394A1}"/>
          </ac:grpSpMkLst>
        </pc:grpChg>
        <pc:grpChg chg="mod modVis">
          <ac:chgData name="KevCla12" userId="ef2eb634-4620-450f-93cc-80cc93397e60" providerId="ADAL" clId="{0BF56A33-4BC5-423F-96C0-6A8645FA96BB}" dt="2023-12-03T16:01:39.554" v="15035" actId="1036"/>
          <ac:grpSpMkLst>
            <pc:docMk/>
            <pc:sldMk cId="1306429279" sldId="1183"/>
            <ac:grpSpMk id="196" creationId="{B3988E9E-8A17-2D1C-9B4B-BDE7A4AFE76E}"/>
          </ac:grpSpMkLst>
        </pc:grpChg>
        <pc:grpChg chg="add mod modVis">
          <ac:chgData name="KevCla12" userId="ef2eb634-4620-450f-93cc-80cc93397e60" providerId="ADAL" clId="{0BF56A33-4BC5-423F-96C0-6A8645FA96BB}" dt="2023-12-03T16:01:39.554" v="15035" actId="1036"/>
          <ac:grpSpMkLst>
            <pc:docMk/>
            <pc:sldMk cId="1306429279" sldId="1183"/>
            <ac:grpSpMk id="209" creationId="{D0206BE3-27CE-E733-DD46-229C9BB79D20}"/>
          </ac:grpSpMkLst>
        </pc:grpChg>
        <pc:grpChg chg="add mod">
          <ac:chgData name="KevCla12" userId="ef2eb634-4620-450f-93cc-80cc93397e60" providerId="ADAL" clId="{0BF56A33-4BC5-423F-96C0-6A8645FA96BB}" dt="2023-12-03T16:10:01.730" v="15345" actId="1035"/>
          <ac:grpSpMkLst>
            <pc:docMk/>
            <pc:sldMk cId="1306429279" sldId="1183"/>
            <ac:grpSpMk id="235" creationId="{10DB6AFB-D491-F72C-6FDA-06A49D7D370A}"/>
          </ac:grpSpMkLst>
        </pc:grpChg>
        <pc:grpChg chg="add mod">
          <ac:chgData name="KevCla12" userId="ef2eb634-4620-450f-93cc-80cc93397e60" providerId="ADAL" clId="{0BF56A33-4BC5-423F-96C0-6A8645FA96BB}" dt="2023-12-03T16:09:10.419" v="15315" actId="1035"/>
          <ac:grpSpMkLst>
            <pc:docMk/>
            <pc:sldMk cId="1306429279" sldId="1183"/>
            <ac:grpSpMk id="246" creationId="{F228B83F-C125-B074-E4E7-F4630087177F}"/>
          </ac:grpSpMkLst>
        </pc:grpChg>
        <pc:graphicFrameChg chg="add mod ord modVis replST">
          <ac:chgData name="KevCla12" userId="ef2eb634-4620-450f-93cc-80cc93397e60" providerId="ADAL" clId="{0BF56A33-4BC5-423F-96C0-6A8645FA96BB}" dt="2023-12-03T16:16:45.217" v="16718"/>
          <ac:graphicFrameMkLst>
            <pc:docMk/>
            <pc:sldMk cId="1306429279" sldId="1183"/>
            <ac:graphicFrameMk id="266" creationId="{6D93E34F-F7C4-B7A0-BD2D-7FB212EDAAB9}"/>
          </ac:graphicFrameMkLst>
        </pc:graphicFrameChg>
        <pc:picChg chg="add mod">
          <ac:chgData name="KevCla12" userId="ef2eb634-4620-450f-93cc-80cc93397e60" providerId="ADAL" clId="{0BF56A33-4BC5-423F-96C0-6A8645FA96BB}" dt="2023-12-03T16:01:39.554" v="15035" actId="1036"/>
          <ac:picMkLst>
            <pc:docMk/>
            <pc:sldMk cId="1306429279" sldId="1183"/>
            <ac:picMk id="90" creationId="{82055DB6-A35D-1C6C-1898-E92A8E4BA053}"/>
          </ac:picMkLst>
        </pc:picChg>
        <pc:picChg chg="add del mod">
          <ac:chgData name="KevCla12" userId="ef2eb634-4620-450f-93cc-80cc93397e60" providerId="ADAL" clId="{0BF56A33-4BC5-423F-96C0-6A8645FA96BB}" dt="2023-12-03T15:10:53.320" v="13271" actId="478"/>
          <ac:picMkLst>
            <pc:docMk/>
            <pc:sldMk cId="1306429279" sldId="1183"/>
            <ac:picMk id="91" creationId="{F6986F4C-2BF8-1183-5F8E-DF295CBDBF03}"/>
          </ac:picMkLst>
        </pc:picChg>
        <pc:cxnChg chg="add del mod">
          <ac:chgData name="KevCla12" userId="ef2eb634-4620-450f-93cc-80cc93397e60" providerId="ADAL" clId="{0BF56A33-4BC5-423F-96C0-6A8645FA96BB}" dt="2023-12-03T14:58:21.294" v="12954" actId="478"/>
          <ac:cxnSpMkLst>
            <pc:docMk/>
            <pc:sldMk cId="1306429279" sldId="1183"/>
            <ac:cxnSpMk id="8" creationId="{7879CEB7-12D0-0DDD-B3B5-10B58248FC33}"/>
          </ac:cxnSpMkLst>
        </pc:cxnChg>
        <pc:cxnChg chg="add mod">
          <ac:chgData name="KevCla12" userId="ef2eb634-4620-450f-93cc-80cc93397e60" providerId="ADAL" clId="{0BF56A33-4BC5-423F-96C0-6A8645FA96BB}" dt="2023-12-03T16:02:47.026" v="15076" actId="14100"/>
          <ac:cxnSpMkLst>
            <pc:docMk/>
            <pc:sldMk cId="1306429279" sldId="1183"/>
            <ac:cxnSpMk id="14" creationId="{B56F259D-5A19-EFAD-6DE0-45B51C1F2AAB}"/>
          </ac:cxnSpMkLst>
        </pc:cxnChg>
        <pc:cxnChg chg="add mod">
          <ac:chgData name="KevCla12" userId="ef2eb634-4620-450f-93cc-80cc93397e60" providerId="ADAL" clId="{0BF56A33-4BC5-423F-96C0-6A8645FA96BB}" dt="2023-12-03T16:02:57.881" v="15092" actId="1036"/>
          <ac:cxnSpMkLst>
            <pc:docMk/>
            <pc:sldMk cId="1306429279" sldId="1183"/>
            <ac:cxnSpMk id="120" creationId="{92C3091C-4F7A-5408-D5D4-608EF2BFE578}"/>
          </ac:cxnSpMkLst>
        </pc:cxnChg>
        <pc:cxnChg chg="add mod">
          <ac:chgData name="KevCla12" userId="ef2eb634-4620-450f-93cc-80cc93397e60" providerId="ADAL" clId="{0BF56A33-4BC5-423F-96C0-6A8645FA96BB}" dt="2023-12-03T16:01:39.554" v="15035" actId="1036"/>
          <ac:cxnSpMkLst>
            <pc:docMk/>
            <pc:sldMk cId="1306429279" sldId="1183"/>
            <ac:cxnSpMk id="232" creationId="{4DCDD7E2-067C-9737-1478-63E4E1C05701}"/>
          </ac:cxnSpMkLst>
        </pc:cxnChg>
      </pc:sldChg>
      <pc:sldChg chg="addSp delSp modSp add mod ord modNotes">
        <pc:chgData name="KevCla12" userId="ef2eb634-4620-450f-93cc-80cc93397e60" providerId="ADAL" clId="{0BF56A33-4BC5-423F-96C0-6A8645FA96BB}" dt="2023-12-03T21:48:09.495" v="32508" actId="790"/>
        <pc:sldMkLst>
          <pc:docMk/>
          <pc:sldMk cId="1092654571" sldId="1184"/>
        </pc:sldMkLst>
        <pc:spChg chg="mod">
          <ac:chgData name="KevCla12" userId="ef2eb634-4620-450f-93cc-80cc93397e60" providerId="ADAL" clId="{0BF56A33-4BC5-423F-96C0-6A8645FA96BB}" dt="2023-12-03T21:48:09.483" v="32496" actId="790"/>
          <ac:spMkLst>
            <pc:docMk/>
            <pc:sldMk cId="1092654571" sldId="1184"/>
            <ac:spMk id="2" creationId="{8F165729-E43D-4A32-49F0-1A6388CDBE16}"/>
          </ac:spMkLst>
        </pc:spChg>
        <pc:spChg chg="mod">
          <ac:chgData name="KevCla12" userId="ef2eb634-4620-450f-93cc-80cc93397e60" providerId="ADAL" clId="{0BF56A33-4BC5-423F-96C0-6A8645FA96BB}" dt="2023-12-03T21:48:09.483" v="32497" actId="790"/>
          <ac:spMkLst>
            <pc:docMk/>
            <pc:sldMk cId="1092654571" sldId="1184"/>
            <ac:spMk id="4" creationId="{C14DAEE7-5727-71D5-2955-ABA2978C9394}"/>
          </ac:spMkLst>
        </pc:spChg>
        <pc:spChg chg="mod">
          <ac:chgData name="KevCla12" userId="ef2eb634-4620-450f-93cc-80cc93397e60" providerId="ADAL" clId="{0BF56A33-4BC5-423F-96C0-6A8645FA96BB}" dt="2023-12-03T21:48:09.484" v="32498" actId="790"/>
          <ac:spMkLst>
            <pc:docMk/>
            <pc:sldMk cId="1092654571" sldId="1184"/>
            <ac:spMk id="5" creationId="{0AE040AF-3030-42B0-304D-60F16882F598}"/>
          </ac:spMkLst>
        </pc:spChg>
        <pc:spChg chg="mod">
          <ac:chgData name="KevCla12" userId="ef2eb634-4620-450f-93cc-80cc93397e60" providerId="ADAL" clId="{0BF56A33-4BC5-423F-96C0-6A8645FA96BB}" dt="2023-12-03T21:48:09.487" v="32499" actId="790"/>
          <ac:spMkLst>
            <pc:docMk/>
            <pc:sldMk cId="1092654571" sldId="1184"/>
            <ac:spMk id="6" creationId="{1CFAA2CF-7A1E-03AA-AB60-66E8B11E432D}"/>
          </ac:spMkLst>
        </pc:spChg>
        <pc:spChg chg="add mod">
          <ac:chgData name="KevCla12" userId="ef2eb634-4620-450f-93cc-80cc93397e60" providerId="ADAL" clId="{0BF56A33-4BC5-423F-96C0-6A8645FA96BB}" dt="2023-12-03T21:48:09.493" v="32506" actId="790"/>
          <ac:spMkLst>
            <pc:docMk/>
            <pc:sldMk cId="1092654571" sldId="1184"/>
            <ac:spMk id="7" creationId="{218A4AD7-BBDF-E0A4-E4A8-B4995B8671A7}"/>
          </ac:spMkLst>
        </pc:spChg>
        <pc:spChg chg="mod">
          <ac:chgData name="KevCla12" userId="ef2eb634-4620-450f-93cc-80cc93397e60" providerId="ADAL" clId="{0BF56A33-4BC5-423F-96C0-6A8645FA96BB}" dt="2023-12-03T21:48:09.482" v="32495" actId="790"/>
          <ac:spMkLst>
            <pc:docMk/>
            <pc:sldMk cId="1092654571" sldId="1184"/>
            <ac:spMk id="8" creationId="{6D6D110A-645F-4F39-F720-6FA092AE23B2}"/>
          </ac:spMkLst>
        </pc:spChg>
        <pc:spChg chg="del">
          <ac:chgData name="KevCla12" userId="ef2eb634-4620-450f-93cc-80cc93397e60" providerId="ADAL" clId="{0BF56A33-4BC5-423F-96C0-6A8645FA96BB}" dt="2023-12-03T17:12:36.508" v="17987" actId="478"/>
          <ac:spMkLst>
            <pc:docMk/>
            <pc:sldMk cId="1092654571" sldId="1184"/>
            <ac:spMk id="16" creationId="{41F89FD0-0EEB-0ACA-13B1-BB8E7936ECF0}"/>
          </ac:spMkLst>
        </pc:spChg>
        <pc:spChg chg="del">
          <ac:chgData name="KevCla12" userId="ef2eb634-4620-450f-93cc-80cc93397e60" providerId="ADAL" clId="{0BF56A33-4BC5-423F-96C0-6A8645FA96BB}" dt="2023-12-03T17:12:21.777" v="17977" actId="478"/>
          <ac:spMkLst>
            <pc:docMk/>
            <pc:sldMk cId="1092654571" sldId="1184"/>
            <ac:spMk id="17" creationId="{AD88234A-D941-726C-82CE-020882965F2B}"/>
          </ac:spMkLst>
        </pc:spChg>
        <pc:spChg chg="mod">
          <ac:chgData name="KevCla12" userId="ef2eb634-4620-450f-93cc-80cc93397e60" providerId="ADAL" clId="{0BF56A33-4BC5-423F-96C0-6A8645FA96BB}" dt="2023-12-03T21:48:09.489" v="32501" actId="790"/>
          <ac:spMkLst>
            <pc:docMk/>
            <pc:sldMk cId="1092654571" sldId="1184"/>
            <ac:spMk id="19" creationId="{AB361B7B-FC9B-CC36-C059-1B809871715B}"/>
          </ac:spMkLst>
        </pc:spChg>
        <pc:spChg chg="del">
          <ac:chgData name="KevCla12" userId="ef2eb634-4620-450f-93cc-80cc93397e60" providerId="ADAL" clId="{0BF56A33-4BC5-423F-96C0-6A8645FA96BB}" dt="2023-12-03T17:12:24.275" v="17979" actId="478"/>
          <ac:spMkLst>
            <pc:docMk/>
            <pc:sldMk cId="1092654571" sldId="1184"/>
            <ac:spMk id="21" creationId="{31176791-E245-AA11-F8CA-6AC5BB8FAF94}"/>
          </ac:spMkLst>
        </pc:spChg>
        <pc:spChg chg="mod">
          <ac:chgData name="KevCla12" userId="ef2eb634-4620-450f-93cc-80cc93397e60" providerId="ADAL" clId="{0BF56A33-4BC5-423F-96C0-6A8645FA96BB}" dt="2023-12-03T21:48:09.488" v="32500" actId="790"/>
          <ac:spMkLst>
            <pc:docMk/>
            <pc:sldMk cId="1092654571" sldId="1184"/>
            <ac:spMk id="28" creationId="{0DE03E7D-79DD-1D19-0DB1-4FBDED8A9934}"/>
          </ac:spMkLst>
        </pc:spChg>
        <pc:spChg chg="mod">
          <ac:chgData name="KevCla12" userId="ef2eb634-4620-450f-93cc-80cc93397e60" providerId="ADAL" clId="{0BF56A33-4BC5-423F-96C0-6A8645FA96BB}" dt="2023-12-03T21:48:09.490" v="32502" actId="790"/>
          <ac:spMkLst>
            <pc:docMk/>
            <pc:sldMk cId="1092654571" sldId="1184"/>
            <ac:spMk id="29" creationId="{BE0ED9D2-384F-AA22-9747-AAF49E1A2917}"/>
          </ac:spMkLst>
        </pc:spChg>
        <pc:spChg chg="del">
          <ac:chgData name="KevCla12" userId="ef2eb634-4620-450f-93cc-80cc93397e60" providerId="ADAL" clId="{0BF56A33-4BC5-423F-96C0-6A8645FA96BB}" dt="2023-12-03T17:12:38.313" v="17988" actId="478"/>
          <ac:spMkLst>
            <pc:docMk/>
            <pc:sldMk cId="1092654571" sldId="1184"/>
            <ac:spMk id="30" creationId="{06A41644-541E-BD53-BE86-1E876A59CC90}"/>
          </ac:spMkLst>
        </pc:spChg>
        <pc:spChg chg="mod">
          <ac:chgData name="KevCla12" userId="ef2eb634-4620-450f-93cc-80cc93397e60" providerId="ADAL" clId="{0BF56A33-4BC5-423F-96C0-6A8645FA96BB}" dt="2023-12-03T21:48:09.491" v="32503" actId="790"/>
          <ac:spMkLst>
            <pc:docMk/>
            <pc:sldMk cId="1092654571" sldId="1184"/>
            <ac:spMk id="31" creationId="{19B4C18F-B06E-0C97-8835-83426176DC73}"/>
          </ac:spMkLst>
        </pc:spChg>
        <pc:spChg chg="del">
          <ac:chgData name="KevCla12" userId="ef2eb634-4620-450f-93cc-80cc93397e60" providerId="ADAL" clId="{0BF56A33-4BC5-423F-96C0-6A8645FA96BB}" dt="2023-12-03T17:12:40.780" v="17990" actId="478"/>
          <ac:spMkLst>
            <pc:docMk/>
            <pc:sldMk cId="1092654571" sldId="1184"/>
            <ac:spMk id="32" creationId="{4B6C4874-BB42-40C3-DB41-A0367491E14A}"/>
          </ac:spMkLst>
        </pc:spChg>
        <pc:spChg chg="del">
          <ac:chgData name="KevCla12" userId="ef2eb634-4620-450f-93cc-80cc93397e60" providerId="ADAL" clId="{0BF56A33-4BC5-423F-96C0-6A8645FA96BB}" dt="2023-12-03T17:12:45.009" v="17992" actId="478"/>
          <ac:spMkLst>
            <pc:docMk/>
            <pc:sldMk cId="1092654571" sldId="1184"/>
            <ac:spMk id="37" creationId="{4C3BCBAE-6702-95C7-7B11-0F54FA03A8AF}"/>
          </ac:spMkLst>
        </pc:spChg>
        <pc:spChg chg="del">
          <ac:chgData name="KevCla12" userId="ef2eb634-4620-450f-93cc-80cc93397e60" providerId="ADAL" clId="{0BF56A33-4BC5-423F-96C0-6A8645FA96BB}" dt="2023-12-03T17:12:36.508" v="17987" actId="478"/>
          <ac:spMkLst>
            <pc:docMk/>
            <pc:sldMk cId="1092654571" sldId="1184"/>
            <ac:spMk id="44" creationId="{20657DC4-4634-A286-177B-987465D1C832}"/>
          </ac:spMkLst>
        </pc:spChg>
        <pc:spChg chg="del">
          <ac:chgData name="KevCla12" userId="ef2eb634-4620-450f-93cc-80cc93397e60" providerId="ADAL" clId="{0BF56A33-4BC5-423F-96C0-6A8645FA96BB}" dt="2023-12-03T17:12:36.508" v="17987" actId="478"/>
          <ac:spMkLst>
            <pc:docMk/>
            <pc:sldMk cId="1092654571" sldId="1184"/>
            <ac:spMk id="45" creationId="{5A10CAF8-A401-2B01-3999-E02172B71DB3}"/>
          </ac:spMkLst>
        </pc:spChg>
        <pc:spChg chg="del">
          <ac:chgData name="KevCla12" userId="ef2eb634-4620-450f-93cc-80cc93397e60" providerId="ADAL" clId="{0BF56A33-4BC5-423F-96C0-6A8645FA96BB}" dt="2023-12-03T17:12:32.752" v="17986" actId="478"/>
          <ac:spMkLst>
            <pc:docMk/>
            <pc:sldMk cId="1092654571" sldId="1184"/>
            <ac:spMk id="46" creationId="{7DD16662-31DA-1821-5991-71E43007101C}"/>
          </ac:spMkLst>
        </pc:spChg>
        <pc:spChg chg="del">
          <ac:chgData name="KevCla12" userId="ef2eb634-4620-450f-93cc-80cc93397e60" providerId="ADAL" clId="{0BF56A33-4BC5-423F-96C0-6A8645FA96BB}" dt="2023-12-03T17:12:31.989" v="17985" actId="478"/>
          <ac:spMkLst>
            <pc:docMk/>
            <pc:sldMk cId="1092654571" sldId="1184"/>
            <ac:spMk id="47" creationId="{3AC9323F-ADF6-F038-8256-0AC27DCFA0D6}"/>
          </ac:spMkLst>
        </pc:spChg>
        <pc:spChg chg="del">
          <ac:chgData name="KevCla12" userId="ef2eb634-4620-450f-93cc-80cc93397e60" providerId="ADAL" clId="{0BF56A33-4BC5-423F-96C0-6A8645FA96BB}" dt="2023-12-03T17:12:31.402" v="17984" actId="478"/>
          <ac:spMkLst>
            <pc:docMk/>
            <pc:sldMk cId="1092654571" sldId="1184"/>
            <ac:spMk id="48" creationId="{C055B805-BCBD-7067-8B8E-B70F6DB45E3C}"/>
          </ac:spMkLst>
        </pc:spChg>
        <pc:spChg chg="mod">
          <ac:chgData name="KevCla12" userId="ef2eb634-4620-450f-93cc-80cc93397e60" providerId="ADAL" clId="{0BF56A33-4BC5-423F-96C0-6A8645FA96BB}" dt="2023-12-03T21:48:09.492" v="32504" actId="790"/>
          <ac:spMkLst>
            <pc:docMk/>
            <pc:sldMk cId="1092654571" sldId="1184"/>
            <ac:spMk id="49" creationId="{9D21F484-C72C-3257-8568-A4369910EF53}"/>
          </ac:spMkLst>
        </pc:spChg>
        <pc:spChg chg="mod">
          <ac:chgData name="KevCla12" userId="ef2eb634-4620-450f-93cc-80cc93397e60" providerId="ADAL" clId="{0BF56A33-4BC5-423F-96C0-6A8645FA96BB}" dt="2023-12-03T21:48:09.493" v="32505" actId="790"/>
          <ac:spMkLst>
            <pc:docMk/>
            <pc:sldMk cId="1092654571" sldId="1184"/>
            <ac:spMk id="50" creationId="{68996FD2-BD09-D43C-F4A6-88971283125B}"/>
          </ac:spMkLst>
        </pc:spChg>
        <pc:picChg chg="del">
          <ac:chgData name="KevCla12" userId="ef2eb634-4620-450f-93cc-80cc93397e60" providerId="ADAL" clId="{0BF56A33-4BC5-423F-96C0-6A8645FA96BB}" dt="2023-12-03T17:12:30.251" v="17982" actId="478"/>
          <ac:picMkLst>
            <pc:docMk/>
            <pc:sldMk cId="1092654571" sldId="1184"/>
            <ac:picMk id="34" creationId="{E7B8ECFA-4B8F-4DD4-0EEF-B6F9D4E45BAE}"/>
          </ac:picMkLst>
        </pc:picChg>
        <pc:picChg chg="del">
          <ac:chgData name="KevCla12" userId="ef2eb634-4620-450f-93cc-80cc93397e60" providerId="ADAL" clId="{0BF56A33-4BC5-423F-96C0-6A8645FA96BB}" dt="2023-12-03T17:12:30.558" v="17983" actId="478"/>
          <ac:picMkLst>
            <pc:docMk/>
            <pc:sldMk cId="1092654571" sldId="1184"/>
            <ac:picMk id="36" creationId="{C5C3F7D7-A9EF-13CC-63F7-1CAED593113C}"/>
          </ac:picMkLst>
        </pc:picChg>
        <pc:picChg chg="del">
          <ac:chgData name="KevCla12" userId="ef2eb634-4620-450f-93cc-80cc93397e60" providerId="ADAL" clId="{0BF56A33-4BC5-423F-96C0-6A8645FA96BB}" dt="2023-12-03T17:12:41.479" v="17991" actId="478"/>
          <ac:picMkLst>
            <pc:docMk/>
            <pc:sldMk cId="1092654571" sldId="1184"/>
            <ac:picMk id="39" creationId="{8D0DFD1E-FB2C-E4D9-E087-0F1F8496BD85}"/>
          </ac:picMkLst>
        </pc:picChg>
        <pc:picChg chg="del">
          <ac:chgData name="KevCla12" userId="ef2eb634-4620-450f-93cc-80cc93397e60" providerId="ADAL" clId="{0BF56A33-4BC5-423F-96C0-6A8645FA96BB}" dt="2023-12-03T17:12:36.508" v="17987" actId="478"/>
          <ac:picMkLst>
            <pc:docMk/>
            <pc:sldMk cId="1092654571" sldId="1184"/>
            <ac:picMk id="41" creationId="{53384FCE-34F6-07CE-6349-F4383EE2F7B7}"/>
          </ac:picMkLst>
        </pc:picChg>
        <pc:picChg chg="del">
          <ac:chgData name="KevCla12" userId="ef2eb634-4620-450f-93cc-80cc93397e60" providerId="ADAL" clId="{0BF56A33-4BC5-423F-96C0-6A8645FA96BB}" dt="2023-12-03T17:12:36.508" v="17987" actId="478"/>
          <ac:picMkLst>
            <pc:docMk/>
            <pc:sldMk cId="1092654571" sldId="1184"/>
            <ac:picMk id="43" creationId="{08859197-AC24-29ED-C869-93083311F749}"/>
          </ac:picMkLst>
        </pc:picChg>
        <pc:picChg chg="del">
          <ac:chgData name="KevCla12" userId="ef2eb634-4620-450f-93cc-80cc93397e60" providerId="ADAL" clId="{0BF56A33-4BC5-423F-96C0-6A8645FA96BB}" dt="2023-12-03T17:12:36.508" v="17987" actId="478"/>
          <ac:picMkLst>
            <pc:docMk/>
            <pc:sldMk cId="1092654571" sldId="1184"/>
            <ac:picMk id="52" creationId="{CA459E6E-6B0C-EE25-3978-E49A901D69C9}"/>
          </ac:picMkLst>
        </pc:picChg>
        <pc:picChg chg="del">
          <ac:chgData name="KevCla12" userId="ef2eb634-4620-450f-93cc-80cc93397e60" providerId="ADAL" clId="{0BF56A33-4BC5-423F-96C0-6A8645FA96BB}" dt="2023-12-03T17:12:39.173" v="17989" actId="478"/>
          <ac:picMkLst>
            <pc:docMk/>
            <pc:sldMk cId="1092654571" sldId="1184"/>
            <ac:picMk id="54" creationId="{F6D0EA6F-C504-F6D3-FE70-78ACC49FBF3E}"/>
          </ac:picMkLst>
        </pc:picChg>
        <pc:cxnChg chg="add mod">
          <ac:chgData name="KevCla12" userId="ef2eb634-4620-450f-93cc-80cc93397e60" providerId="ADAL" clId="{0BF56A33-4BC5-423F-96C0-6A8645FA96BB}" dt="2023-12-03T17:12:56.573" v="17995" actId="1076"/>
          <ac:cxnSpMkLst>
            <pc:docMk/>
            <pc:sldMk cId="1092654571" sldId="1184"/>
            <ac:cxnSpMk id="9" creationId="{E17C0EFF-FFD0-DF8A-AC0C-C0904CA1F940}"/>
          </ac:cxnSpMkLst>
        </pc:cxnChg>
        <pc:cxnChg chg="del">
          <ac:chgData name="KevCla12" userId="ef2eb634-4620-450f-93cc-80cc93397e60" providerId="ADAL" clId="{0BF56A33-4BC5-423F-96C0-6A8645FA96BB}" dt="2023-12-03T17:12:20.207" v="17976" actId="478"/>
          <ac:cxnSpMkLst>
            <pc:docMk/>
            <pc:sldMk cId="1092654571" sldId="1184"/>
            <ac:cxnSpMk id="20" creationId="{04E09AE1-49AA-EB33-D7F0-133B99F17260}"/>
          </ac:cxnSpMkLst>
        </pc:cxnChg>
        <pc:cxnChg chg="del">
          <ac:chgData name="KevCla12" userId="ef2eb634-4620-450f-93cc-80cc93397e60" providerId="ADAL" clId="{0BF56A33-4BC5-423F-96C0-6A8645FA96BB}" dt="2023-12-03T17:12:22.983" v="17978" actId="478"/>
          <ac:cxnSpMkLst>
            <pc:docMk/>
            <pc:sldMk cId="1092654571" sldId="1184"/>
            <ac:cxnSpMk id="23" creationId="{8C9D88F4-7B7F-3AA6-92BE-5B229C54F728}"/>
          </ac:cxnSpMkLst>
        </pc:cxnChg>
        <pc:cxnChg chg="mod">
          <ac:chgData name="KevCla12" userId="ef2eb634-4620-450f-93cc-80cc93397e60" providerId="ADAL" clId="{0BF56A33-4BC5-423F-96C0-6A8645FA96BB}" dt="2023-12-03T17:12:52.366" v="17993" actId="1076"/>
          <ac:cxnSpMkLst>
            <pc:docMk/>
            <pc:sldMk cId="1092654571" sldId="1184"/>
            <ac:cxnSpMk id="25" creationId="{FAC544C2-2BDA-EDEE-3FC0-26088BFF69DE}"/>
          </ac:cxnSpMkLst>
        </pc:cxnChg>
        <pc:cxnChg chg="del">
          <ac:chgData name="KevCla12" userId="ef2eb634-4620-450f-93cc-80cc93397e60" providerId="ADAL" clId="{0BF56A33-4BC5-423F-96C0-6A8645FA96BB}" dt="2023-12-03T17:12:36.508" v="17987" actId="478"/>
          <ac:cxnSpMkLst>
            <pc:docMk/>
            <pc:sldMk cId="1092654571" sldId="1184"/>
            <ac:cxnSpMk id="27" creationId="{2200A48E-8240-63A8-FA39-727E00673BCC}"/>
          </ac:cxnSpMkLst>
        </pc:cxnChg>
      </pc:sldChg>
      <pc:sldChg chg="addSp delSp modSp add mod ord modNotes">
        <pc:chgData name="KevCla12" userId="ef2eb634-4620-450f-93cc-80cc93397e60" providerId="ADAL" clId="{0BF56A33-4BC5-423F-96C0-6A8645FA96BB}" dt="2023-12-03T21:48:06.434" v="30995" actId="790"/>
        <pc:sldMkLst>
          <pc:docMk/>
          <pc:sldMk cId="4075547953" sldId="1185"/>
        </pc:sldMkLst>
        <pc:spChg chg="mod">
          <ac:chgData name="KevCla12" userId="ef2eb634-4620-450f-93cc-80cc93397e60" providerId="ADAL" clId="{0BF56A33-4BC5-423F-96C0-6A8645FA96BB}" dt="2023-12-03T21:48:06.347" v="30935" actId="790"/>
          <ac:spMkLst>
            <pc:docMk/>
            <pc:sldMk cId="4075547953" sldId="1185"/>
            <ac:spMk id="2" creationId="{E7AC58F6-482D-1F5B-F425-A94C8B9381D3}"/>
          </ac:spMkLst>
        </pc:spChg>
        <pc:spChg chg="mod">
          <ac:chgData name="KevCla12" userId="ef2eb634-4620-450f-93cc-80cc93397e60" providerId="ADAL" clId="{0BF56A33-4BC5-423F-96C0-6A8645FA96BB}" dt="2023-12-03T21:48:06.347" v="30936" actId="790"/>
          <ac:spMkLst>
            <pc:docMk/>
            <pc:sldMk cId="4075547953" sldId="1185"/>
            <ac:spMk id="4" creationId="{1967844B-23F1-38A8-FC1C-34DCE16FC847}"/>
          </ac:spMkLst>
        </pc:spChg>
        <pc:spChg chg="mod">
          <ac:chgData name="KevCla12" userId="ef2eb634-4620-450f-93cc-80cc93397e60" providerId="ADAL" clId="{0BF56A33-4BC5-423F-96C0-6A8645FA96BB}" dt="2023-12-03T21:48:06.348" v="30937" actId="790"/>
          <ac:spMkLst>
            <pc:docMk/>
            <pc:sldMk cId="4075547953" sldId="1185"/>
            <ac:spMk id="5" creationId="{52767825-D0AC-3C6C-9E29-8E3EEB24E48F}"/>
          </ac:spMkLst>
        </pc:spChg>
        <pc:spChg chg="mod">
          <ac:chgData name="KevCla12" userId="ef2eb634-4620-450f-93cc-80cc93397e60" providerId="ADAL" clId="{0BF56A33-4BC5-423F-96C0-6A8645FA96BB}" dt="2023-12-03T21:48:06.350" v="30938" actId="790"/>
          <ac:spMkLst>
            <pc:docMk/>
            <pc:sldMk cId="4075547953" sldId="1185"/>
            <ac:spMk id="6" creationId="{3435E704-5FB6-D280-72B0-F62D4504859B}"/>
          </ac:spMkLst>
        </pc:spChg>
        <pc:spChg chg="mod">
          <ac:chgData name="KevCla12" userId="ef2eb634-4620-450f-93cc-80cc93397e60" providerId="ADAL" clId="{0BF56A33-4BC5-423F-96C0-6A8645FA96BB}" dt="2023-12-03T21:48:06.351" v="30939" actId="790"/>
          <ac:spMkLst>
            <pc:docMk/>
            <pc:sldMk cId="4075547953" sldId="1185"/>
            <ac:spMk id="7" creationId="{88F653BC-5732-0F65-02FA-FAD594233B83}"/>
          </ac:spMkLst>
        </pc:spChg>
        <pc:spChg chg="mod">
          <ac:chgData name="KevCla12" userId="ef2eb634-4620-450f-93cc-80cc93397e60" providerId="ADAL" clId="{0BF56A33-4BC5-423F-96C0-6A8645FA96BB}" dt="2023-12-03T21:48:06.365" v="30940" actId="790"/>
          <ac:spMkLst>
            <pc:docMk/>
            <pc:sldMk cId="4075547953" sldId="1185"/>
            <ac:spMk id="9" creationId="{BD66EC98-2340-D749-4EF0-AA98F214DBD9}"/>
          </ac:spMkLst>
        </pc:spChg>
        <pc:spChg chg="add mod">
          <ac:chgData name="KevCla12" userId="ef2eb634-4620-450f-93cc-80cc93397e60" providerId="ADAL" clId="{0BF56A33-4BC5-423F-96C0-6A8645FA96BB}" dt="2023-12-03T21:48:06.368" v="30941" actId="790"/>
          <ac:spMkLst>
            <pc:docMk/>
            <pc:sldMk cId="4075547953" sldId="1185"/>
            <ac:spMk id="15" creationId="{CEBC92EF-BDEC-6889-1A52-831448752911}"/>
          </ac:spMkLst>
        </pc:spChg>
        <pc:spChg chg="mod">
          <ac:chgData name="KevCla12" userId="ef2eb634-4620-450f-93cc-80cc93397e60" providerId="ADAL" clId="{0BF56A33-4BC5-423F-96C0-6A8645FA96BB}" dt="2023-12-03T21:48:06.369" v="30942" actId="790"/>
          <ac:spMkLst>
            <pc:docMk/>
            <pc:sldMk cId="4075547953" sldId="1185"/>
            <ac:spMk id="17" creationId="{7C72FCB2-C8EB-D870-33C6-1217DBD8C921}"/>
          </ac:spMkLst>
        </pc:spChg>
        <pc:spChg chg="mod">
          <ac:chgData name="KevCla12" userId="ef2eb634-4620-450f-93cc-80cc93397e60" providerId="ADAL" clId="{0BF56A33-4BC5-423F-96C0-6A8645FA96BB}" dt="2023-12-03T21:48:06.370" v="30943" actId="790"/>
          <ac:spMkLst>
            <pc:docMk/>
            <pc:sldMk cId="4075547953" sldId="1185"/>
            <ac:spMk id="18" creationId="{728BF626-A421-0400-03EA-EA0C9DA72592}"/>
          </ac:spMkLst>
        </pc:spChg>
        <pc:spChg chg="mod">
          <ac:chgData name="KevCla12" userId="ef2eb634-4620-450f-93cc-80cc93397e60" providerId="ADAL" clId="{0BF56A33-4BC5-423F-96C0-6A8645FA96BB}" dt="2023-12-03T21:48:06.371" v="30944" actId="790"/>
          <ac:spMkLst>
            <pc:docMk/>
            <pc:sldMk cId="4075547953" sldId="1185"/>
            <ac:spMk id="19" creationId="{2F7BA3C7-602B-41DB-3136-CCAB34E6546F}"/>
          </ac:spMkLst>
        </pc:spChg>
        <pc:spChg chg="mod">
          <ac:chgData name="KevCla12" userId="ef2eb634-4620-450f-93cc-80cc93397e60" providerId="ADAL" clId="{0BF56A33-4BC5-423F-96C0-6A8645FA96BB}" dt="2023-12-03T21:48:06.371" v="30945" actId="790"/>
          <ac:spMkLst>
            <pc:docMk/>
            <pc:sldMk cId="4075547953" sldId="1185"/>
            <ac:spMk id="20" creationId="{E7AEE090-F612-0116-0922-7ECEEE50394F}"/>
          </ac:spMkLst>
        </pc:spChg>
        <pc:spChg chg="mod">
          <ac:chgData name="KevCla12" userId="ef2eb634-4620-450f-93cc-80cc93397e60" providerId="ADAL" clId="{0BF56A33-4BC5-423F-96C0-6A8645FA96BB}" dt="2023-12-03T21:48:06.372" v="30946" actId="790"/>
          <ac:spMkLst>
            <pc:docMk/>
            <pc:sldMk cId="4075547953" sldId="1185"/>
            <ac:spMk id="21" creationId="{946A575E-F6A4-5F41-BF79-5724730F752C}"/>
          </ac:spMkLst>
        </pc:spChg>
        <pc:spChg chg="mod">
          <ac:chgData name="KevCla12" userId="ef2eb634-4620-450f-93cc-80cc93397e60" providerId="ADAL" clId="{0BF56A33-4BC5-423F-96C0-6A8645FA96BB}" dt="2023-12-03T21:48:06.373" v="30947" actId="790"/>
          <ac:spMkLst>
            <pc:docMk/>
            <pc:sldMk cId="4075547953" sldId="1185"/>
            <ac:spMk id="22" creationId="{C6970815-9AD5-3CC0-C8E3-8A58CD861728}"/>
          </ac:spMkLst>
        </pc:spChg>
        <pc:spChg chg="mod">
          <ac:chgData name="KevCla12" userId="ef2eb634-4620-450f-93cc-80cc93397e60" providerId="ADAL" clId="{0BF56A33-4BC5-423F-96C0-6A8645FA96BB}" dt="2023-12-03T21:48:06.373" v="30948" actId="790"/>
          <ac:spMkLst>
            <pc:docMk/>
            <pc:sldMk cId="4075547953" sldId="1185"/>
            <ac:spMk id="23" creationId="{E7015177-0DF8-C31A-5144-2A83B8A5EF1E}"/>
          </ac:spMkLst>
        </pc:spChg>
        <pc:spChg chg="mod">
          <ac:chgData name="KevCla12" userId="ef2eb634-4620-450f-93cc-80cc93397e60" providerId="ADAL" clId="{0BF56A33-4BC5-423F-96C0-6A8645FA96BB}" dt="2023-12-03T21:48:06.374" v="30949" actId="790"/>
          <ac:spMkLst>
            <pc:docMk/>
            <pc:sldMk cId="4075547953" sldId="1185"/>
            <ac:spMk id="24" creationId="{AD78F3CC-514E-B006-523A-6CC05077C44E}"/>
          </ac:spMkLst>
        </pc:spChg>
        <pc:spChg chg="add del mod">
          <ac:chgData name="KevCla12" userId="ef2eb634-4620-450f-93cc-80cc93397e60" providerId="ADAL" clId="{0BF56A33-4BC5-423F-96C0-6A8645FA96BB}" dt="2023-12-03T18:28:14.240" v="18842" actId="478"/>
          <ac:spMkLst>
            <pc:docMk/>
            <pc:sldMk cId="4075547953" sldId="1185"/>
            <ac:spMk id="29" creationId="{FE39FEEB-9800-4222-B335-60E9FB8317C1}"/>
          </ac:spMkLst>
        </pc:spChg>
        <pc:spChg chg="add del mod">
          <ac:chgData name="KevCla12" userId="ef2eb634-4620-450f-93cc-80cc93397e60" providerId="ADAL" clId="{0BF56A33-4BC5-423F-96C0-6A8645FA96BB}" dt="2023-12-03T18:28:12.694" v="18841" actId="478"/>
          <ac:spMkLst>
            <pc:docMk/>
            <pc:sldMk cId="4075547953" sldId="1185"/>
            <ac:spMk id="30" creationId="{AC7D8928-ABA3-41EC-789D-F1CCC4894299}"/>
          </ac:spMkLst>
        </pc:spChg>
        <pc:spChg chg="add del">
          <ac:chgData name="KevCla12" userId="ef2eb634-4620-450f-93cc-80cc93397e60" providerId="ADAL" clId="{0BF56A33-4BC5-423F-96C0-6A8645FA96BB}" dt="2023-12-03T18:28:26.604" v="18845" actId="22"/>
          <ac:spMkLst>
            <pc:docMk/>
            <pc:sldMk cId="4075547953" sldId="1185"/>
            <ac:spMk id="32" creationId="{F04348D4-42EA-B8D0-5A52-AF973275A3CE}"/>
          </ac:spMkLst>
        </pc:spChg>
        <pc:spChg chg="add mod">
          <ac:chgData name="KevCla12" userId="ef2eb634-4620-450f-93cc-80cc93397e60" providerId="ADAL" clId="{0BF56A33-4BC5-423F-96C0-6A8645FA96BB}" dt="2023-12-03T21:48:06.387" v="30950" actId="790"/>
          <ac:spMkLst>
            <pc:docMk/>
            <pc:sldMk cId="4075547953" sldId="1185"/>
            <ac:spMk id="34" creationId="{77BFA119-3B2E-9762-C032-12058E1501FF}"/>
          </ac:spMkLst>
        </pc:spChg>
        <pc:spChg chg="add mod">
          <ac:chgData name="KevCla12" userId="ef2eb634-4620-450f-93cc-80cc93397e60" providerId="ADAL" clId="{0BF56A33-4BC5-423F-96C0-6A8645FA96BB}" dt="2023-12-03T21:48:06.389" v="30951" actId="790"/>
          <ac:spMkLst>
            <pc:docMk/>
            <pc:sldMk cId="4075547953" sldId="1185"/>
            <ac:spMk id="35" creationId="{4FE0456A-1490-C103-0EF3-E8CF87A5AF06}"/>
          </ac:spMkLst>
        </pc:spChg>
        <pc:spChg chg="add mod">
          <ac:chgData name="KevCla12" userId="ef2eb634-4620-450f-93cc-80cc93397e60" providerId="ADAL" clId="{0BF56A33-4BC5-423F-96C0-6A8645FA96BB}" dt="2023-12-03T21:48:06.390" v="30952" actId="790"/>
          <ac:spMkLst>
            <pc:docMk/>
            <pc:sldMk cId="4075547953" sldId="1185"/>
            <ac:spMk id="36" creationId="{0653539B-B7AD-D039-D143-1520EF02EA0B}"/>
          </ac:spMkLst>
        </pc:spChg>
        <pc:spChg chg="add mod">
          <ac:chgData name="KevCla12" userId="ef2eb634-4620-450f-93cc-80cc93397e60" providerId="ADAL" clId="{0BF56A33-4BC5-423F-96C0-6A8645FA96BB}" dt="2023-12-03T21:48:06.391" v="30953" actId="790"/>
          <ac:spMkLst>
            <pc:docMk/>
            <pc:sldMk cId="4075547953" sldId="1185"/>
            <ac:spMk id="37" creationId="{8B5D25C3-38F8-501A-89ED-82457DD8775A}"/>
          </ac:spMkLst>
        </pc:spChg>
        <pc:spChg chg="add mod">
          <ac:chgData name="KevCla12" userId="ef2eb634-4620-450f-93cc-80cc93397e60" providerId="ADAL" clId="{0BF56A33-4BC5-423F-96C0-6A8645FA96BB}" dt="2023-12-03T21:48:06.392" v="30954" actId="790"/>
          <ac:spMkLst>
            <pc:docMk/>
            <pc:sldMk cId="4075547953" sldId="1185"/>
            <ac:spMk id="38" creationId="{BD2D1AE2-3C36-0A3C-2475-60373FF247C1}"/>
          </ac:spMkLst>
        </pc:spChg>
        <pc:spChg chg="add mod">
          <ac:chgData name="KevCla12" userId="ef2eb634-4620-450f-93cc-80cc93397e60" providerId="ADAL" clId="{0BF56A33-4BC5-423F-96C0-6A8645FA96BB}" dt="2023-12-03T21:48:06.393" v="30955" actId="790"/>
          <ac:spMkLst>
            <pc:docMk/>
            <pc:sldMk cId="4075547953" sldId="1185"/>
            <ac:spMk id="39" creationId="{5FB4AF3B-B7B6-EDD4-64CF-4933FFC5B8E8}"/>
          </ac:spMkLst>
        </pc:spChg>
        <pc:spChg chg="add mod">
          <ac:chgData name="KevCla12" userId="ef2eb634-4620-450f-93cc-80cc93397e60" providerId="ADAL" clId="{0BF56A33-4BC5-423F-96C0-6A8645FA96BB}" dt="2023-12-03T21:48:06.394" v="30956" actId="790"/>
          <ac:spMkLst>
            <pc:docMk/>
            <pc:sldMk cId="4075547953" sldId="1185"/>
            <ac:spMk id="40" creationId="{D2E482EA-E45F-A4A2-E1CB-8692B5ACBA05}"/>
          </ac:spMkLst>
        </pc:spChg>
        <pc:spChg chg="add mod">
          <ac:chgData name="KevCla12" userId="ef2eb634-4620-450f-93cc-80cc93397e60" providerId="ADAL" clId="{0BF56A33-4BC5-423F-96C0-6A8645FA96BB}" dt="2023-12-03T21:48:06.395" v="30957" actId="790"/>
          <ac:spMkLst>
            <pc:docMk/>
            <pc:sldMk cId="4075547953" sldId="1185"/>
            <ac:spMk id="41" creationId="{A1B46D36-B2EB-C1D1-11D4-2C70E9AE9A47}"/>
          </ac:spMkLst>
        </pc:spChg>
        <pc:spChg chg="add mod">
          <ac:chgData name="KevCla12" userId="ef2eb634-4620-450f-93cc-80cc93397e60" providerId="ADAL" clId="{0BF56A33-4BC5-423F-96C0-6A8645FA96BB}" dt="2023-12-03T21:48:06.396" v="30958" actId="790"/>
          <ac:spMkLst>
            <pc:docMk/>
            <pc:sldMk cId="4075547953" sldId="1185"/>
            <ac:spMk id="42" creationId="{4ABD6BAC-C801-90A5-D8FB-588DB18AA876}"/>
          </ac:spMkLst>
        </pc:spChg>
        <pc:spChg chg="add del mod">
          <ac:chgData name="KevCla12" userId="ef2eb634-4620-450f-93cc-80cc93397e60" providerId="ADAL" clId="{0BF56A33-4BC5-423F-96C0-6A8645FA96BB}" dt="2023-12-03T18:43:45.061" v="18986"/>
          <ac:spMkLst>
            <pc:docMk/>
            <pc:sldMk cId="4075547953" sldId="1185"/>
            <ac:spMk id="43" creationId="{C5FE1FEA-DE50-C231-DB84-A9C837192BE8}"/>
          </ac:spMkLst>
        </pc:spChg>
        <pc:spChg chg="add mod">
          <ac:chgData name="KevCla12" userId="ef2eb634-4620-450f-93cc-80cc93397e60" providerId="ADAL" clId="{0BF56A33-4BC5-423F-96C0-6A8645FA96BB}" dt="2023-12-03T21:48:06.398" v="30959" actId="790"/>
          <ac:spMkLst>
            <pc:docMk/>
            <pc:sldMk cId="4075547953" sldId="1185"/>
            <ac:spMk id="44" creationId="{8788D9CC-749F-0FB3-1247-57B5F7765C2F}"/>
          </ac:spMkLst>
        </pc:spChg>
        <pc:spChg chg="mod modVis">
          <ac:chgData name="KevCla12" userId="ef2eb634-4620-450f-93cc-80cc93397e60" providerId="ADAL" clId="{0BF56A33-4BC5-423F-96C0-6A8645FA96BB}" dt="2023-12-03T18:45:19.239" v="19035"/>
          <ac:spMkLst>
            <pc:docMk/>
            <pc:sldMk cId="4075547953" sldId="1185"/>
            <ac:spMk id="46" creationId="{0223EB5B-D011-5D0E-C61A-9E84FC1098CB}"/>
          </ac:spMkLst>
        </pc:spChg>
        <pc:spChg chg="mod modVis">
          <ac:chgData name="KevCla12" userId="ef2eb634-4620-450f-93cc-80cc93397e60" providerId="ADAL" clId="{0BF56A33-4BC5-423F-96C0-6A8645FA96BB}" dt="2023-12-03T18:45:19.239" v="19035"/>
          <ac:spMkLst>
            <pc:docMk/>
            <pc:sldMk cId="4075547953" sldId="1185"/>
            <ac:spMk id="47" creationId="{61A967BF-0A8C-3A3C-407D-DB3D72285EFE}"/>
          </ac:spMkLst>
        </pc:spChg>
        <pc:spChg chg="mod modVis">
          <ac:chgData name="KevCla12" userId="ef2eb634-4620-450f-93cc-80cc93397e60" providerId="ADAL" clId="{0BF56A33-4BC5-423F-96C0-6A8645FA96BB}" dt="2023-12-03T18:45:19.239" v="19035"/>
          <ac:spMkLst>
            <pc:docMk/>
            <pc:sldMk cId="4075547953" sldId="1185"/>
            <ac:spMk id="48" creationId="{4CFAFAC4-E7EE-B53F-6DED-5392D5187064}"/>
          </ac:spMkLst>
        </pc:spChg>
        <pc:spChg chg="mod modVis">
          <ac:chgData name="KevCla12" userId="ef2eb634-4620-450f-93cc-80cc93397e60" providerId="ADAL" clId="{0BF56A33-4BC5-423F-96C0-6A8645FA96BB}" dt="2023-12-03T18:45:19.239" v="19035"/>
          <ac:spMkLst>
            <pc:docMk/>
            <pc:sldMk cId="4075547953" sldId="1185"/>
            <ac:spMk id="49" creationId="{BAA36F9C-0DA6-EB06-53B3-06EFA20A04CF}"/>
          </ac:spMkLst>
        </pc:spChg>
        <pc:spChg chg="mod modVis">
          <ac:chgData name="KevCla12" userId="ef2eb634-4620-450f-93cc-80cc93397e60" providerId="ADAL" clId="{0BF56A33-4BC5-423F-96C0-6A8645FA96BB}" dt="2023-12-03T18:45:19.239" v="19035"/>
          <ac:spMkLst>
            <pc:docMk/>
            <pc:sldMk cId="4075547953" sldId="1185"/>
            <ac:spMk id="50" creationId="{AFFEEE68-ADEB-C3F6-7583-B60965115406}"/>
          </ac:spMkLst>
        </pc:spChg>
        <pc:spChg chg="mod modVis">
          <ac:chgData name="KevCla12" userId="ef2eb634-4620-450f-93cc-80cc93397e60" providerId="ADAL" clId="{0BF56A33-4BC5-423F-96C0-6A8645FA96BB}" dt="2023-12-03T18:45:19.239" v="19035"/>
          <ac:spMkLst>
            <pc:docMk/>
            <pc:sldMk cId="4075547953" sldId="1185"/>
            <ac:spMk id="51" creationId="{14BC30C8-9F57-06E3-6682-0ECFA4A95298}"/>
          </ac:spMkLst>
        </pc:spChg>
        <pc:spChg chg="mod modVis">
          <ac:chgData name="KevCla12" userId="ef2eb634-4620-450f-93cc-80cc93397e60" providerId="ADAL" clId="{0BF56A33-4BC5-423F-96C0-6A8645FA96BB}" dt="2023-12-03T18:45:19.239" v="19035"/>
          <ac:spMkLst>
            <pc:docMk/>
            <pc:sldMk cId="4075547953" sldId="1185"/>
            <ac:spMk id="52" creationId="{8D400D9C-1BD1-AFAC-DF6E-544491B92DD0}"/>
          </ac:spMkLst>
        </pc:spChg>
        <pc:spChg chg="mod modVis">
          <ac:chgData name="KevCla12" userId="ef2eb634-4620-450f-93cc-80cc93397e60" providerId="ADAL" clId="{0BF56A33-4BC5-423F-96C0-6A8645FA96BB}" dt="2023-12-03T18:45:19.239" v="19035"/>
          <ac:spMkLst>
            <pc:docMk/>
            <pc:sldMk cId="4075547953" sldId="1185"/>
            <ac:spMk id="53" creationId="{8AB6B7AD-91B9-4B96-A8F9-7591BB30B939}"/>
          </ac:spMkLst>
        </pc:spChg>
        <pc:spChg chg="mod modVis">
          <ac:chgData name="KevCla12" userId="ef2eb634-4620-450f-93cc-80cc93397e60" providerId="ADAL" clId="{0BF56A33-4BC5-423F-96C0-6A8645FA96BB}" dt="2023-12-03T21:48:06.399" v="30960" actId="790"/>
          <ac:spMkLst>
            <pc:docMk/>
            <pc:sldMk cId="4075547953" sldId="1185"/>
            <ac:spMk id="55" creationId="{E1D68DF3-A1D0-EA70-FC45-D137336892D0}"/>
          </ac:spMkLst>
        </pc:spChg>
        <pc:spChg chg="mod modVis">
          <ac:chgData name="KevCla12" userId="ef2eb634-4620-450f-93cc-80cc93397e60" providerId="ADAL" clId="{0BF56A33-4BC5-423F-96C0-6A8645FA96BB}" dt="2023-12-03T21:48:06.400" v="30961" actId="790"/>
          <ac:spMkLst>
            <pc:docMk/>
            <pc:sldMk cId="4075547953" sldId="1185"/>
            <ac:spMk id="56" creationId="{51ECEE6B-95D1-4237-8E1A-EFD18AC229B2}"/>
          </ac:spMkLst>
        </pc:spChg>
        <pc:spChg chg="mod modVis">
          <ac:chgData name="KevCla12" userId="ef2eb634-4620-450f-93cc-80cc93397e60" providerId="ADAL" clId="{0BF56A33-4BC5-423F-96C0-6A8645FA96BB}" dt="2023-12-03T21:48:06.400" v="30962" actId="790"/>
          <ac:spMkLst>
            <pc:docMk/>
            <pc:sldMk cId="4075547953" sldId="1185"/>
            <ac:spMk id="58" creationId="{5193D94F-923B-5E9A-7786-EB070D5DD575}"/>
          </ac:spMkLst>
        </pc:spChg>
        <pc:spChg chg="mod modVis">
          <ac:chgData name="KevCla12" userId="ef2eb634-4620-450f-93cc-80cc93397e60" providerId="ADAL" clId="{0BF56A33-4BC5-423F-96C0-6A8645FA96BB}" dt="2023-12-03T21:48:06.401" v="30963" actId="790"/>
          <ac:spMkLst>
            <pc:docMk/>
            <pc:sldMk cId="4075547953" sldId="1185"/>
            <ac:spMk id="59" creationId="{EF1011AD-8830-A9B3-2158-A4240FED3543}"/>
          </ac:spMkLst>
        </pc:spChg>
        <pc:spChg chg="mod modVis">
          <ac:chgData name="KevCla12" userId="ef2eb634-4620-450f-93cc-80cc93397e60" providerId="ADAL" clId="{0BF56A33-4BC5-423F-96C0-6A8645FA96BB}" dt="2023-12-03T21:48:06.402" v="30964" actId="790"/>
          <ac:spMkLst>
            <pc:docMk/>
            <pc:sldMk cId="4075547953" sldId="1185"/>
            <ac:spMk id="60" creationId="{881FF6B7-900A-C6E5-7489-937EA0A4E81F}"/>
          </ac:spMkLst>
        </pc:spChg>
        <pc:spChg chg="mod modVis">
          <ac:chgData name="KevCla12" userId="ef2eb634-4620-450f-93cc-80cc93397e60" providerId="ADAL" clId="{0BF56A33-4BC5-423F-96C0-6A8645FA96BB}" dt="2023-12-03T21:48:06.403" v="30965" actId="790"/>
          <ac:spMkLst>
            <pc:docMk/>
            <pc:sldMk cId="4075547953" sldId="1185"/>
            <ac:spMk id="61" creationId="{B5CBED7E-91C8-9DCB-3E19-9924B1D859CF}"/>
          </ac:spMkLst>
        </pc:spChg>
        <pc:spChg chg="mod modVis">
          <ac:chgData name="KevCla12" userId="ef2eb634-4620-450f-93cc-80cc93397e60" providerId="ADAL" clId="{0BF56A33-4BC5-423F-96C0-6A8645FA96BB}" dt="2023-12-03T21:48:06.404" v="30966" actId="790"/>
          <ac:spMkLst>
            <pc:docMk/>
            <pc:sldMk cId="4075547953" sldId="1185"/>
            <ac:spMk id="62" creationId="{C064F3D0-8ADC-14DC-6543-055A36BEF7E0}"/>
          </ac:spMkLst>
        </pc:spChg>
        <pc:spChg chg="mod modVis">
          <ac:chgData name="KevCla12" userId="ef2eb634-4620-450f-93cc-80cc93397e60" providerId="ADAL" clId="{0BF56A33-4BC5-423F-96C0-6A8645FA96BB}" dt="2023-12-03T21:48:06.405" v="30967" actId="790"/>
          <ac:spMkLst>
            <pc:docMk/>
            <pc:sldMk cId="4075547953" sldId="1185"/>
            <ac:spMk id="63" creationId="{CB48B14F-69FF-8535-1B33-091B7819795B}"/>
          </ac:spMkLst>
        </pc:spChg>
        <pc:spChg chg="mod modVis">
          <ac:chgData name="KevCla12" userId="ef2eb634-4620-450f-93cc-80cc93397e60" providerId="ADAL" clId="{0BF56A33-4BC5-423F-96C0-6A8645FA96BB}" dt="2023-12-03T21:48:06.406" v="30968" actId="790"/>
          <ac:spMkLst>
            <pc:docMk/>
            <pc:sldMk cId="4075547953" sldId="1185"/>
            <ac:spMk id="64" creationId="{988AC253-9706-8429-9350-9D27921009A4}"/>
          </ac:spMkLst>
        </pc:spChg>
        <pc:spChg chg="mod modVis">
          <ac:chgData name="KevCla12" userId="ef2eb634-4620-450f-93cc-80cc93397e60" providerId="ADAL" clId="{0BF56A33-4BC5-423F-96C0-6A8645FA96BB}" dt="2023-12-03T21:48:06.406" v="30969" actId="790"/>
          <ac:spMkLst>
            <pc:docMk/>
            <pc:sldMk cId="4075547953" sldId="1185"/>
            <ac:spMk id="65" creationId="{C99FFD82-06EC-DBE8-4B1D-A9EF9482BFA8}"/>
          </ac:spMkLst>
        </pc:spChg>
        <pc:spChg chg="mod modVis">
          <ac:chgData name="KevCla12" userId="ef2eb634-4620-450f-93cc-80cc93397e60" providerId="ADAL" clId="{0BF56A33-4BC5-423F-96C0-6A8645FA96BB}" dt="2023-12-03T21:48:06.407" v="30970" actId="790"/>
          <ac:spMkLst>
            <pc:docMk/>
            <pc:sldMk cId="4075547953" sldId="1185"/>
            <ac:spMk id="66" creationId="{70BBC997-0448-FFAE-C882-56DBD93607BF}"/>
          </ac:spMkLst>
        </pc:spChg>
        <pc:spChg chg="mod modVis">
          <ac:chgData name="KevCla12" userId="ef2eb634-4620-450f-93cc-80cc93397e60" providerId="ADAL" clId="{0BF56A33-4BC5-423F-96C0-6A8645FA96BB}" dt="2023-12-03T21:48:06.408" v="30971" actId="790"/>
          <ac:spMkLst>
            <pc:docMk/>
            <pc:sldMk cId="4075547953" sldId="1185"/>
            <ac:spMk id="67" creationId="{7855D8AC-DBAC-56E7-52FC-0337C0F3B5DF}"/>
          </ac:spMkLst>
        </pc:spChg>
        <pc:spChg chg="mod modVis">
          <ac:chgData name="KevCla12" userId="ef2eb634-4620-450f-93cc-80cc93397e60" providerId="ADAL" clId="{0BF56A33-4BC5-423F-96C0-6A8645FA96BB}" dt="2023-12-03T21:48:06.409" v="30972" actId="790"/>
          <ac:spMkLst>
            <pc:docMk/>
            <pc:sldMk cId="4075547953" sldId="1185"/>
            <ac:spMk id="68" creationId="{274C2FB2-D7FE-A1F3-D327-D19487581398}"/>
          </ac:spMkLst>
        </pc:spChg>
        <pc:spChg chg="mod modVis">
          <ac:chgData name="KevCla12" userId="ef2eb634-4620-450f-93cc-80cc93397e60" providerId="ADAL" clId="{0BF56A33-4BC5-423F-96C0-6A8645FA96BB}" dt="2023-12-03T21:48:06.409" v="30973" actId="790"/>
          <ac:spMkLst>
            <pc:docMk/>
            <pc:sldMk cId="4075547953" sldId="1185"/>
            <ac:spMk id="70" creationId="{E00327D8-8A13-E5EE-B6A0-4B1358E83BE1}"/>
          </ac:spMkLst>
        </pc:spChg>
        <pc:spChg chg="mod modVis">
          <ac:chgData name="KevCla12" userId="ef2eb634-4620-450f-93cc-80cc93397e60" providerId="ADAL" clId="{0BF56A33-4BC5-423F-96C0-6A8645FA96BB}" dt="2023-12-03T21:48:06.410" v="30974" actId="790"/>
          <ac:spMkLst>
            <pc:docMk/>
            <pc:sldMk cId="4075547953" sldId="1185"/>
            <ac:spMk id="71" creationId="{E419C101-F5A3-EC37-B865-D1D446FF837C}"/>
          </ac:spMkLst>
        </pc:spChg>
        <pc:spChg chg="mod modVis">
          <ac:chgData name="KevCla12" userId="ef2eb634-4620-450f-93cc-80cc93397e60" providerId="ADAL" clId="{0BF56A33-4BC5-423F-96C0-6A8645FA96BB}" dt="2023-12-03T21:48:06.411" v="30975" actId="790"/>
          <ac:spMkLst>
            <pc:docMk/>
            <pc:sldMk cId="4075547953" sldId="1185"/>
            <ac:spMk id="72" creationId="{E449F380-ACD1-264E-B4A5-01799A7F061D}"/>
          </ac:spMkLst>
        </pc:spChg>
        <pc:spChg chg="mod modVis">
          <ac:chgData name="KevCla12" userId="ef2eb634-4620-450f-93cc-80cc93397e60" providerId="ADAL" clId="{0BF56A33-4BC5-423F-96C0-6A8645FA96BB}" dt="2023-12-03T21:48:06.412" v="30976" actId="790"/>
          <ac:spMkLst>
            <pc:docMk/>
            <pc:sldMk cId="4075547953" sldId="1185"/>
            <ac:spMk id="73" creationId="{D415EA1A-3F4D-4C5C-2E07-94C699A12EED}"/>
          </ac:spMkLst>
        </pc:spChg>
        <pc:spChg chg="mod modVis">
          <ac:chgData name="KevCla12" userId="ef2eb634-4620-450f-93cc-80cc93397e60" providerId="ADAL" clId="{0BF56A33-4BC5-423F-96C0-6A8645FA96BB}" dt="2023-12-03T21:48:06.412" v="30977" actId="790"/>
          <ac:spMkLst>
            <pc:docMk/>
            <pc:sldMk cId="4075547953" sldId="1185"/>
            <ac:spMk id="74" creationId="{36626FFC-B230-6F1B-4BCC-F45C07E8F65B}"/>
          </ac:spMkLst>
        </pc:spChg>
        <pc:spChg chg="mod modVis">
          <ac:chgData name="KevCla12" userId="ef2eb634-4620-450f-93cc-80cc93397e60" providerId="ADAL" clId="{0BF56A33-4BC5-423F-96C0-6A8645FA96BB}" dt="2023-12-03T21:48:06.413" v="30978" actId="790"/>
          <ac:spMkLst>
            <pc:docMk/>
            <pc:sldMk cId="4075547953" sldId="1185"/>
            <ac:spMk id="75" creationId="{F6B7B23F-9CA0-84B9-E6A3-036DD993500D}"/>
          </ac:spMkLst>
        </pc:spChg>
        <pc:spChg chg="mod modVis">
          <ac:chgData name="KevCla12" userId="ef2eb634-4620-450f-93cc-80cc93397e60" providerId="ADAL" clId="{0BF56A33-4BC5-423F-96C0-6A8645FA96BB}" dt="2023-12-03T21:48:06.414" v="30979" actId="790"/>
          <ac:spMkLst>
            <pc:docMk/>
            <pc:sldMk cId="4075547953" sldId="1185"/>
            <ac:spMk id="76" creationId="{D5A14DDC-4942-2C63-F160-7DED7678C50B}"/>
          </ac:spMkLst>
        </pc:spChg>
        <pc:spChg chg="mod modVis">
          <ac:chgData name="KevCla12" userId="ef2eb634-4620-450f-93cc-80cc93397e60" providerId="ADAL" clId="{0BF56A33-4BC5-423F-96C0-6A8645FA96BB}" dt="2023-12-03T21:48:06.414" v="30980" actId="790"/>
          <ac:spMkLst>
            <pc:docMk/>
            <pc:sldMk cId="4075547953" sldId="1185"/>
            <ac:spMk id="77" creationId="{46868A1E-E667-C5E2-AEB5-7EDB0F646130}"/>
          </ac:spMkLst>
        </pc:spChg>
        <pc:spChg chg="mod modVis">
          <ac:chgData name="KevCla12" userId="ef2eb634-4620-450f-93cc-80cc93397e60" providerId="ADAL" clId="{0BF56A33-4BC5-423F-96C0-6A8645FA96BB}" dt="2023-12-03T21:48:06.415" v="30981" actId="790"/>
          <ac:spMkLst>
            <pc:docMk/>
            <pc:sldMk cId="4075547953" sldId="1185"/>
            <ac:spMk id="78" creationId="{AFDA9041-D565-3863-984C-9081851AABE3}"/>
          </ac:spMkLst>
        </pc:spChg>
        <pc:spChg chg="mod modVis">
          <ac:chgData name="KevCla12" userId="ef2eb634-4620-450f-93cc-80cc93397e60" providerId="ADAL" clId="{0BF56A33-4BC5-423F-96C0-6A8645FA96BB}" dt="2023-12-03T21:48:06.416" v="30982" actId="790"/>
          <ac:spMkLst>
            <pc:docMk/>
            <pc:sldMk cId="4075547953" sldId="1185"/>
            <ac:spMk id="79" creationId="{476EC451-0F7D-6057-B05E-900111778073}"/>
          </ac:spMkLst>
        </pc:spChg>
        <pc:spChg chg="mod modVis">
          <ac:chgData name="KevCla12" userId="ef2eb634-4620-450f-93cc-80cc93397e60" providerId="ADAL" clId="{0BF56A33-4BC5-423F-96C0-6A8645FA96BB}" dt="2023-12-03T21:48:06.416" v="30983" actId="790"/>
          <ac:spMkLst>
            <pc:docMk/>
            <pc:sldMk cId="4075547953" sldId="1185"/>
            <ac:spMk id="80" creationId="{81C3CB84-0853-5461-2000-89493CD41FAA}"/>
          </ac:spMkLst>
        </pc:spChg>
        <pc:spChg chg="mod modVis">
          <ac:chgData name="KevCla12" userId="ef2eb634-4620-450f-93cc-80cc93397e60" providerId="ADAL" clId="{0BF56A33-4BC5-423F-96C0-6A8645FA96BB}" dt="2023-12-03T21:48:06.417" v="30984" actId="790"/>
          <ac:spMkLst>
            <pc:docMk/>
            <pc:sldMk cId="4075547953" sldId="1185"/>
            <ac:spMk id="81" creationId="{0CB4CC4A-11F8-C8F9-B360-10C13CE233B7}"/>
          </ac:spMkLst>
        </pc:spChg>
        <pc:spChg chg="mod modVis">
          <ac:chgData name="KevCla12" userId="ef2eb634-4620-450f-93cc-80cc93397e60" providerId="ADAL" clId="{0BF56A33-4BC5-423F-96C0-6A8645FA96BB}" dt="2023-12-03T21:48:06.418" v="30985" actId="790"/>
          <ac:spMkLst>
            <pc:docMk/>
            <pc:sldMk cId="4075547953" sldId="1185"/>
            <ac:spMk id="82" creationId="{18846110-27F0-0B0D-4F20-44E7C0E76671}"/>
          </ac:spMkLst>
        </pc:spChg>
        <pc:spChg chg="mod modVis">
          <ac:chgData name="KevCla12" userId="ef2eb634-4620-450f-93cc-80cc93397e60" providerId="ADAL" clId="{0BF56A33-4BC5-423F-96C0-6A8645FA96BB}" dt="2023-12-03T21:48:06.418" v="30986" actId="790"/>
          <ac:spMkLst>
            <pc:docMk/>
            <pc:sldMk cId="4075547953" sldId="1185"/>
            <ac:spMk id="83" creationId="{F037748C-5E3D-BCCB-5392-79DF788CB5FC}"/>
          </ac:spMkLst>
        </pc:spChg>
        <pc:spChg chg="mod modVis">
          <ac:chgData name="KevCla12" userId="ef2eb634-4620-450f-93cc-80cc93397e60" providerId="ADAL" clId="{0BF56A33-4BC5-423F-96C0-6A8645FA96BB}" dt="2023-12-03T21:48:06.419" v="30987" actId="790"/>
          <ac:spMkLst>
            <pc:docMk/>
            <pc:sldMk cId="4075547953" sldId="1185"/>
            <ac:spMk id="84" creationId="{EA47C641-0A0B-CE48-805C-8825DC5172F3}"/>
          </ac:spMkLst>
        </pc:spChg>
        <pc:spChg chg="mod modVis">
          <ac:chgData name="KevCla12" userId="ef2eb634-4620-450f-93cc-80cc93397e60" providerId="ADAL" clId="{0BF56A33-4BC5-423F-96C0-6A8645FA96BB}" dt="2023-12-03T21:48:06.420" v="30988" actId="790"/>
          <ac:spMkLst>
            <pc:docMk/>
            <pc:sldMk cId="4075547953" sldId="1185"/>
            <ac:spMk id="85" creationId="{3EB4656C-E60C-031D-8100-00BB2FDC4819}"/>
          </ac:spMkLst>
        </pc:spChg>
        <pc:spChg chg="mod modVis">
          <ac:chgData name="KevCla12" userId="ef2eb634-4620-450f-93cc-80cc93397e60" providerId="ADAL" clId="{0BF56A33-4BC5-423F-96C0-6A8645FA96BB}" dt="2023-12-03T21:48:06.420" v="30989" actId="790"/>
          <ac:spMkLst>
            <pc:docMk/>
            <pc:sldMk cId="4075547953" sldId="1185"/>
            <ac:spMk id="86" creationId="{DAB5E72A-6245-2035-B7B4-DC11971BE970}"/>
          </ac:spMkLst>
        </pc:spChg>
        <pc:spChg chg="mod modVis">
          <ac:chgData name="KevCla12" userId="ef2eb634-4620-450f-93cc-80cc93397e60" providerId="ADAL" clId="{0BF56A33-4BC5-423F-96C0-6A8645FA96BB}" dt="2023-12-03T21:48:06.421" v="30990" actId="790"/>
          <ac:spMkLst>
            <pc:docMk/>
            <pc:sldMk cId="4075547953" sldId="1185"/>
            <ac:spMk id="87" creationId="{91CA1DB9-4697-586B-35A9-31D468178BBF}"/>
          </ac:spMkLst>
        </pc:spChg>
        <pc:spChg chg="add mod">
          <ac:chgData name="KevCla12" userId="ef2eb634-4620-450f-93cc-80cc93397e60" providerId="ADAL" clId="{0BF56A33-4BC5-423F-96C0-6A8645FA96BB}" dt="2023-12-03T21:48:06.423" v="30991" actId="790"/>
          <ac:spMkLst>
            <pc:docMk/>
            <pc:sldMk cId="4075547953" sldId="1185"/>
            <ac:spMk id="88" creationId="{AC0050F7-6A44-B476-8624-438C83279906}"/>
          </ac:spMkLst>
        </pc:spChg>
        <pc:spChg chg="add mod">
          <ac:chgData name="KevCla12" userId="ef2eb634-4620-450f-93cc-80cc93397e60" providerId="ADAL" clId="{0BF56A33-4BC5-423F-96C0-6A8645FA96BB}" dt="2023-12-03T21:48:06.428" v="30992" actId="790"/>
          <ac:spMkLst>
            <pc:docMk/>
            <pc:sldMk cId="4075547953" sldId="1185"/>
            <ac:spMk id="89" creationId="{66C98C16-F221-AB02-364D-5D16237DD398}"/>
          </ac:spMkLst>
        </pc:spChg>
        <pc:spChg chg="add mod">
          <ac:chgData name="KevCla12" userId="ef2eb634-4620-450f-93cc-80cc93397e60" providerId="ADAL" clId="{0BF56A33-4BC5-423F-96C0-6A8645FA96BB}" dt="2023-12-03T21:48:06.432" v="30993" actId="790"/>
          <ac:spMkLst>
            <pc:docMk/>
            <pc:sldMk cId="4075547953" sldId="1185"/>
            <ac:spMk id="90" creationId="{4508F540-5F02-BDD2-B6C2-81D5EF818E60}"/>
          </ac:spMkLst>
        </pc:spChg>
        <pc:grpChg chg="add mod">
          <ac:chgData name="KevCla12" userId="ef2eb634-4620-450f-93cc-80cc93397e60" providerId="ADAL" clId="{0BF56A33-4BC5-423F-96C0-6A8645FA96BB}" dt="2023-12-03T18:24:37.503" v="18822" actId="1076"/>
          <ac:grpSpMkLst>
            <pc:docMk/>
            <pc:sldMk cId="4075547953" sldId="1185"/>
            <ac:grpSpMk id="16" creationId="{28EE7482-0A66-7CEC-5671-16D2CA810E2C}"/>
          </ac:grpSpMkLst>
        </pc:grpChg>
        <pc:grpChg chg="add del mod modVis">
          <ac:chgData name="KevCla12" userId="ef2eb634-4620-450f-93cc-80cc93397e60" providerId="ADAL" clId="{0BF56A33-4BC5-423F-96C0-6A8645FA96BB}" dt="2023-12-03T18:46:04.809" v="19054" actId="478"/>
          <ac:grpSpMkLst>
            <pc:docMk/>
            <pc:sldMk cId="4075547953" sldId="1185"/>
            <ac:grpSpMk id="45" creationId="{74ABA8C3-CAA3-36C0-060A-2A05B539CB41}"/>
          </ac:grpSpMkLst>
        </pc:grpChg>
        <pc:grpChg chg="add mod modVis">
          <ac:chgData name="KevCla12" userId="ef2eb634-4620-450f-93cc-80cc93397e60" providerId="ADAL" clId="{0BF56A33-4BC5-423F-96C0-6A8645FA96BB}" dt="2023-12-03T18:49:54.395" v="19125" actId="1076"/>
          <ac:grpSpMkLst>
            <pc:docMk/>
            <pc:sldMk cId="4075547953" sldId="1185"/>
            <ac:grpSpMk id="54" creationId="{51AB9A52-1AA4-B389-1DF8-C5CB57CC9530}"/>
          </ac:grpSpMkLst>
        </pc:grpChg>
        <pc:grpChg chg="add mod modVis">
          <ac:chgData name="KevCla12" userId="ef2eb634-4620-450f-93cc-80cc93397e60" providerId="ADAL" clId="{0BF56A33-4BC5-423F-96C0-6A8645FA96BB}" dt="2023-12-03T18:49:58.284" v="19126" actId="1076"/>
          <ac:grpSpMkLst>
            <pc:docMk/>
            <pc:sldMk cId="4075547953" sldId="1185"/>
            <ac:grpSpMk id="57" creationId="{BF9D4DBA-AA13-9034-0ACB-4C4ECE2EC391}"/>
          </ac:grpSpMkLst>
        </pc:grpChg>
        <pc:grpChg chg="add mod modVis">
          <ac:chgData name="KevCla12" userId="ef2eb634-4620-450f-93cc-80cc93397e60" providerId="ADAL" clId="{0BF56A33-4BC5-423F-96C0-6A8645FA96BB}" dt="2023-12-03T18:49:43.461" v="19123" actId="1076"/>
          <ac:grpSpMkLst>
            <pc:docMk/>
            <pc:sldMk cId="4075547953" sldId="1185"/>
            <ac:grpSpMk id="69" creationId="{ACC2433C-8D53-8149-7079-0E154E197D80}"/>
          </ac:grpSpMkLst>
        </pc:grpChg>
        <pc:graphicFrameChg chg="mod">
          <ac:chgData name="KevCla12" userId="ef2eb634-4620-450f-93cc-80cc93397e60" providerId="ADAL" clId="{0BF56A33-4BC5-423F-96C0-6A8645FA96BB}" dt="2023-12-03T18:48:28.815" v="19105" actId="1076"/>
          <ac:graphicFrameMkLst>
            <pc:docMk/>
            <pc:sldMk cId="4075547953" sldId="1185"/>
            <ac:graphicFrameMk id="8" creationId="{366FE105-6C97-828F-6DA3-02E1165C41BE}"/>
          </ac:graphicFrameMkLst>
        </pc:graphicFrameChg>
        <pc:cxnChg chg="add mod">
          <ac:chgData name="KevCla12" userId="ef2eb634-4620-450f-93cc-80cc93397e60" providerId="ADAL" clId="{0BF56A33-4BC5-423F-96C0-6A8645FA96BB}" dt="2023-12-03T18:14:45.563" v="18659" actId="1076"/>
          <ac:cxnSpMkLst>
            <pc:docMk/>
            <pc:sldMk cId="4075547953" sldId="1185"/>
            <ac:cxnSpMk id="11" creationId="{D469917E-D281-2F17-D7E6-668501637506}"/>
          </ac:cxnSpMkLst>
        </pc:cxnChg>
        <pc:cxnChg chg="add mod">
          <ac:chgData name="KevCla12" userId="ef2eb634-4620-450f-93cc-80cc93397e60" providerId="ADAL" clId="{0BF56A33-4BC5-423F-96C0-6A8645FA96BB}" dt="2023-12-03T18:25:07.146" v="18828" actId="1076"/>
          <ac:cxnSpMkLst>
            <pc:docMk/>
            <pc:sldMk cId="4075547953" sldId="1185"/>
            <ac:cxnSpMk id="25" creationId="{F4721F47-6153-8BC7-2A96-9C7B5AD5DF41}"/>
          </ac:cxnSpMkLst>
        </pc:cxnChg>
      </pc:sldChg>
      <pc:sldChg chg="addSp delSp modSp new add mod modClrScheme chgLayout modNotes">
        <pc:chgData name="KevCla12" userId="ef2eb634-4620-450f-93cc-80cc93397e60" providerId="ADAL" clId="{0BF56A33-4BC5-423F-96C0-6A8645FA96BB}" dt="2023-12-03T22:18:58.896" v="34305" actId="14100"/>
        <pc:sldMkLst>
          <pc:docMk/>
          <pc:sldMk cId="2846232896" sldId="1186"/>
        </pc:sldMkLst>
        <pc:spChg chg="del mod ord">
          <ac:chgData name="KevCla12" userId="ef2eb634-4620-450f-93cc-80cc93397e60" providerId="ADAL" clId="{0BF56A33-4BC5-423F-96C0-6A8645FA96BB}" dt="2023-12-03T21:30:54.537" v="27487"/>
          <ac:spMkLst>
            <pc:docMk/>
            <pc:sldMk cId="2846232896" sldId="1186"/>
            <ac:spMk id="2" creationId="{F13FD9CC-B254-18D6-E37D-11AB9E8543EF}"/>
          </ac:spMkLst>
        </pc:spChg>
        <pc:spChg chg="del mod ord">
          <ac:chgData name="KevCla12" userId="ef2eb634-4620-450f-93cc-80cc93397e60" providerId="ADAL" clId="{0BF56A33-4BC5-423F-96C0-6A8645FA96BB}" dt="2023-12-03T21:30:54.537" v="27487"/>
          <ac:spMkLst>
            <pc:docMk/>
            <pc:sldMk cId="2846232896" sldId="1186"/>
            <ac:spMk id="3" creationId="{AEBEB935-74FF-004D-0F8D-2E3C4E819DC5}"/>
          </ac:spMkLst>
        </pc:spChg>
        <pc:spChg chg="add mod ord">
          <ac:chgData name="KevCla12" userId="ef2eb634-4620-450f-93cc-80cc93397e60" providerId="ADAL" clId="{0BF56A33-4BC5-423F-96C0-6A8645FA96BB}" dt="2023-12-03T21:54:25.146" v="33950" actId="948"/>
          <ac:spMkLst>
            <pc:docMk/>
            <pc:sldMk cId="2846232896" sldId="1186"/>
            <ac:spMk id="4" creationId="{9F788609-21C9-458E-0396-6CC8F82D17FD}"/>
          </ac:spMkLst>
        </pc:spChg>
        <pc:spChg chg="add del mod ord">
          <ac:chgData name="KevCla12" userId="ef2eb634-4620-450f-93cc-80cc93397e60" providerId="ADAL" clId="{0BF56A33-4BC5-423F-96C0-6A8645FA96BB}" dt="2023-12-03T21:37:54.852" v="27655" actId="478"/>
          <ac:spMkLst>
            <pc:docMk/>
            <pc:sldMk cId="2846232896" sldId="1186"/>
            <ac:spMk id="5" creationId="{AC9F8148-8955-75F9-ED4F-969A2F9F71DA}"/>
          </ac:spMkLst>
        </pc:spChg>
        <pc:spChg chg="add mod ord">
          <ac:chgData name="KevCla12" userId="ef2eb634-4620-450f-93cc-80cc93397e60" providerId="ADAL" clId="{0BF56A33-4BC5-423F-96C0-6A8645FA96BB}" dt="2023-12-03T21:48:27.902" v="33787" actId="790"/>
          <ac:spMkLst>
            <pc:docMk/>
            <pc:sldMk cId="2846232896" sldId="1186"/>
            <ac:spMk id="6" creationId="{59013702-EC9B-1168-7C62-14850226E529}"/>
          </ac:spMkLst>
        </pc:spChg>
        <pc:spChg chg="add mod ord">
          <ac:chgData name="KevCla12" userId="ef2eb634-4620-450f-93cc-80cc93397e60" providerId="ADAL" clId="{0BF56A33-4BC5-423F-96C0-6A8645FA96BB}" dt="2023-12-03T21:48:11.973" v="33292" actId="947"/>
          <ac:spMkLst>
            <pc:docMk/>
            <pc:sldMk cId="2846232896" sldId="1186"/>
            <ac:spMk id="7" creationId="{0674217C-1235-E63B-3FA6-C19E9EFCC396}"/>
          </ac:spMkLst>
        </pc:spChg>
        <pc:spChg chg="add mod ord">
          <ac:chgData name="KevCla12" userId="ef2eb634-4620-450f-93cc-80cc93397e60" providerId="ADAL" clId="{0BF56A33-4BC5-423F-96C0-6A8645FA96BB}" dt="2023-12-03T21:48:11.975" v="33294" actId="947"/>
          <ac:spMkLst>
            <pc:docMk/>
            <pc:sldMk cId="2846232896" sldId="1186"/>
            <ac:spMk id="8" creationId="{1DC9C0A8-1656-B89F-D21F-134EFF301192}"/>
          </ac:spMkLst>
        </pc:spChg>
        <pc:spChg chg="add del mod modVis">
          <ac:chgData name="KevCla12" userId="ef2eb634-4620-450f-93cc-80cc93397e60" providerId="ADAL" clId="{0BF56A33-4BC5-423F-96C0-6A8645FA96BB}" dt="2023-12-03T21:31:11.737" v="27531"/>
          <ac:spMkLst>
            <pc:docMk/>
            <pc:sldMk cId="2846232896" sldId="1186"/>
            <ac:spMk id="10" creationId="{03850380-69CD-5AC9-06BF-E979974523E4}"/>
          </ac:spMkLst>
        </pc:spChg>
        <pc:spChg chg="add mod">
          <ac:chgData name="KevCla12" userId="ef2eb634-4620-450f-93cc-80cc93397e60" providerId="ADAL" clId="{0BF56A33-4BC5-423F-96C0-6A8645FA96BB}" dt="2023-12-03T21:49:59.170" v="33818" actId="14100"/>
          <ac:spMkLst>
            <pc:docMk/>
            <pc:sldMk cId="2846232896" sldId="1186"/>
            <ac:spMk id="11" creationId="{0C1BEBA4-6FDD-1673-0D19-853B2D2F36E7}"/>
          </ac:spMkLst>
        </pc:spChg>
        <pc:spChg chg="add mod">
          <ac:chgData name="KevCla12" userId="ef2eb634-4620-450f-93cc-80cc93397e60" providerId="ADAL" clId="{0BF56A33-4BC5-423F-96C0-6A8645FA96BB}" dt="2023-12-03T21:48:35.661" v="33795" actId="790"/>
          <ac:spMkLst>
            <pc:docMk/>
            <pc:sldMk cId="2846232896" sldId="1186"/>
            <ac:spMk id="12" creationId="{2AE5A83C-AA51-DC3F-57FD-816B84674436}"/>
          </ac:spMkLst>
        </pc:spChg>
        <pc:spChg chg="add del mod modVis">
          <ac:chgData name="KevCla12" userId="ef2eb634-4620-450f-93cc-80cc93397e60" providerId="ADAL" clId="{0BF56A33-4BC5-423F-96C0-6A8645FA96BB}" dt="2023-12-03T21:47:50.342" v="30601"/>
          <ac:spMkLst>
            <pc:docMk/>
            <pc:sldMk cId="2846232896" sldId="1186"/>
            <ac:spMk id="13" creationId="{21D96670-1CB5-402B-83CE-19E8797059E0}"/>
          </ac:spMkLst>
        </pc:spChg>
        <pc:spChg chg="add del mod modVis">
          <ac:chgData name="KevCla12" userId="ef2eb634-4620-450f-93cc-80cc93397e60" providerId="ADAL" clId="{0BF56A33-4BC5-423F-96C0-6A8645FA96BB}" dt="2023-12-03T21:48:12.480" v="33752"/>
          <ac:spMkLst>
            <pc:docMk/>
            <pc:sldMk cId="2846232896" sldId="1186"/>
            <ac:spMk id="14" creationId="{724944B1-549B-75C9-E956-5661340566C6}"/>
          </ac:spMkLst>
        </pc:spChg>
        <pc:spChg chg="add del mod modVis">
          <ac:chgData name="KevCla12" userId="ef2eb634-4620-450f-93cc-80cc93397e60" providerId="ADAL" clId="{0BF56A33-4BC5-423F-96C0-6A8645FA96BB}" dt="2023-12-03T21:48:22.889" v="33782"/>
          <ac:spMkLst>
            <pc:docMk/>
            <pc:sldMk cId="2846232896" sldId="1186"/>
            <ac:spMk id="15" creationId="{8E57C6F3-4BC7-1240-29A6-A84F081654CA}"/>
          </ac:spMkLst>
        </pc:spChg>
        <pc:spChg chg="add mod">
          <ac:chgData name="KevCla12" userId="ef2eb634-4620-450f-93cc-80cc93397e60" providerId="ADAL" clId="{0BF56A33-4BC5-423F-96C0-6A8645FA96BB}" dt="2023-12-03T22:18:58.896" v="34305" actId="14100"/>
          <ac:spMkLst>
            <pc:docMk/>
            <pc:sldMk cId="2846232896" sldId="1186"/>
            <ac:spMk id="17" creationId="{7BF7BEA6-DA43-407B-80DD-86D2FBF159F7}"/>
          </ac:spMkLst>
        </pc:spChg>
        <pc:spChg chg="add mod">
          <ac:chgData name="KevCla12" userId="ef2eb634-4620-450f-93cc-80cc93397e60" providerId="ADAL" clId="{0BF56A33-4BC5-423F-96C0-6A8645FA96BB}" dt="2023-12-03T22:18:55.704" v="34304" actId="14100"/>
          <ac:spMkLst>
            <pc:docMk/>
            <pc:sldMk cId="2846232896" sldId="1186"/>
            <ac:spMk id="21" creationId="{C7E47DD9-3F60-5B6E-1783-2D11D54068F8}"/>
          </ac:spMkLst>
        </pc:spChg>
        <pc:spChg chg="add mod">
          <ac:chgData name="KevCla12" userId="ef2eb634-4620-450f-93cc-80cc93397e60" providerId="ADAL" clId="{0BF56A33-4BC5-423F-96C0-6A8645FA96BB}" dt="2023-12-03T22:03:28.073" v="34195" actId="1076"/>
          <ac:spMkLst>
            <pc:docMk/>
            <pc:sldMk cId="2846232896" sldId="1186"/>
            <ac:spMk id="23" creationId="{E9CD39B3-F3FD-FDFE-4ACF-4F1D30668171}"/>
          </ac:spMkLst>
        </pc:spChg>
        <pc:spChg chg="add mod">
          <ac:chgData name="KevCla12" userId="ef2eb634-4620-450f-93cc-80cc93397e60" providerId="ADAL" clId="{0BF56A33-4BC5-423F-96C0-6A8645FA96BB}" dt="2023-12-03T22:18:09.777" v="34302" actId="1076"/>
          <ac:spMkLst>
            <pc:docMk/>
            <pc:sldMk cId="2846232896" sldId="1186"/>
            <ac:spMk id="25" creationId="{97C67EAE-89C4-63D7-C14F-F553A361B994}"/>
          </ac:spMkLst>
        </pc:spChg>
        <pc:spChg chg="add mod">
          <ac:chgData name="KevCla12" userId="ef2eb634-4620-450f-93cc-80cc93397e60" providerId="ADAL" clId="{0BF56A33-4BC5-423F-96C0-6A8645FA96BB}" dt="2023-12-03T22:01:50.317" v="34094" actId="14100"/>
          <ac:spMkLst>
            <pc:docMk/>
            <pc:sldMk cId="2846232896" sldId="1186"/>
            <ac:spMk id="26" creationId="{82858FB6-09EC-7DD9-571E-C3F39597A3AC}"/>
          </ac:spMkLst>
        </pc:spChg>
        <pc:spChg chg="add mod">
          <ac:chgData name="KevCla12" userId="ef2eb634-4620-450f-93cc-80cc93397e60" providerId="ADAL" clId="{0BF56A33-4BC5-423F-96C0-6A8645FA96BB}" dt="2023-12-03T22:01:50.317" v="34094" actId="14100"/>
          <ac:spMkLst>
            <pc:docMk/>
            <pc:sldMk cId="2846232896" sldId="1186"/>
            <ac:spMk id="27" creationId="{004FE086-D4EF-6517-65F5-C49EF25F14A4}"/>
          </ac:spMkLst>
        </pc:spChg>
        <pc:spChg chg="add mod">
          <ac:chgData name="KevCla12" userId="ef2eb634-4620-450f-93cc-80cc93397e60" providerId="ADAL" clId="{0BF56A33-4BC5-423F-96C0-6A8645FA96BB}" dt="2023-12-03T22:01:50.317" v="34094" actId="14100"/>
          <ac:spMkLst>
            <pc:docMk/>
            <pc:sldMk cId="2846232896" sldId="1186"/>
            <ac:spMk id="28" creationId="{1FEB4AC8-FF41-FFF9-FFAB-40568F024B3F}"/>
          </ac:spMkLst>
        </pc:spChg>
        <pc:spChg chg="add mod">
          <ac:chgData name="KevCla12" userId="ef2eb634-4620-450f-93cc-80cc93397e60" providerId="ADAL" clId="{0BF56A33-4BC5-423F-96C0-6A8645FA96BB}" dt="2023-12-03T21:52:54.746" v="33909"/>
          <ac:spMkLst>
            <pc:docMk/>
            <pc:sldMk cId="2846232896" sldId="1186"/>
            <ac:spMk id="29" creationId="{475A4C2A-FC8A-B620-C05A-9922247A9AE6}"/>
          </ac:spMkLst>
        </pc:spChg>
        <pc:spChg chg="add mod">
          <ac:chgData name="KevCla12" userId="ef2eb634-4620-450f-93cc-80cc93397e60" providerId="ADAL" clId="{0BF56A33-4BC5-423F-96C0-6A8645FA96BB}" dt="2023-12-03T21:52:54.746" v="33909"/>
          <ac:spMkLst>
            <pc:docMk/>
            <pc:sldMk cId="2846232896" sldId="1186"/>
            <ac:spMk id="30" creationId="{8CBD333F-97E9-2EA7-E1BA-FBD7B2F2FBCC}"/>
          </ac:spMkLst>
        </pc:spChg>
        <pc:spChg chg="add mod">
          <ac:chgData name="KevCla12" userId="ef2eb634-4620-450f-93cc-80cc93397e60" providerId="ADAL" clId="{0BF56A33-4BC5-423F-96C0-6A8645FA96BB}" dt="2023-12-03T21:52:54.746" v="33909"/>
          <ac:spMkLst>
            <pc:docMk/>
            <pc:sldMk cId="2846232896" sldId="1186"/>
            <ac:spMk id="31" creationId="{B6289A54-82F8-1609-B007-F2F427745915}"/>
          </ac:spMkLst>
        </pc:spChg>
        <pc:spChg chg="add mod">
          <ac:chgData name="KevCla12" userId="ef2eb634-4620-450f-93cc-80cc93397e60" providerId="ADAL" clId="{0BF56A33-4BC5-423F-96C0-6A8645FA96BB}" dt="2023-12-03T21:57:20.709" v="33994"/>
          <ac:spMkLst>
            <pc:docMk/>
            <pc:sldMk cId="2846232896" sldId="1186"/>
            <ac:spMk id="32" creationId="{629280CA-35BC-3BCD-92D3-205F41CC385C}"/>
          </ac:spMkLst>
        </pc:spChg>
        <pc:spChg chg="add mod">
          <ac:chgData name="KevCla12" userId="ef2eb634-4620-450f-93cc-80cc93397e60" providerId="ADAL" clId="{0BF56A33-4BC5-423F-96C0-6A8645FA96BB}" dt="2023-12-03T21:57:36.615" v="33997" actId="1076"/>
          <ac:spMkLst>
            <pc:docMk/>
            <pc:sldMk cId="2846232896" sldId="1186"/>
            <ac:spMk id="33" creationId="{77DB8F19-6288-B0E8-55C7-717AE8B0A80B}"/>
          </ac:spMkLst>
        </pc:spChg>
        <pc:spChg chg="add mod">
          <ac:chgData name="KevCla12" userId="ef2eb634-4620-450f-93cc-80cc93397e60" providerId="ADAL" clId="{0BF56A33-4BC5-423F-96C0-6A8645FA96BB}" dt="2023-12-03T21:57:29.627" v="33996" actId="408"/>
          <ac:spMkLst>
            <pc:docMk/>
            <pc:sldMk cId="2846232896" sldId="1186"/>
            <ac:spMk id="34" creationId="{9B00530B-E891-F720-4D7A-25D5B9F86D4B}"/>
          </ac:spMkLst>
        </pc:spChg>
        <pc:spChg chg="add mod">
          <ac:chgData name="KevCla12" userId="ef2eb634-4620-450f-93cc-80cc93397e60" providerId="ADAL" clId="{0BF56A33-4BC5-423F-96C0-6A8645FA96BB}" dt="2023-12-03T22:01:21.863" v="34051" actId="1035"/>
          <ac:spMkLst>
            <pc:docMk/>
            <pc:sldMk cId="2846232896" sldId="1186"/>
            <ac:spMk id="36" creationId="{D137756A-D939-82D3-82D8-BA388D1403B0}"/>
          </ac:spMkLst>
        </pc:spChg>
        <pc:spChg chg="add mod">
          <ac:chgData name="KevCla12" userId="ef2eb634-4620-450f-93cc-80cc93397e60" providerId="ADAL" clId="{0BF56A33-4BC5-423F-96C0-6A8645FA96BB}" dt="2023-12-03T22:01:25.783" v="34076" actId="1035"/>
          <ac:spMkLst>
            <pc:docMk/>
            <pc:sldMk cId="2846232896" sldId="1186"/>
            <ac:spMk id="37" creationId="{4C92AA12-5026-A371-093D-7EFCAA4FD5A8}"/>
          </ac:spMkLst>
        </pc:spChg>
        <pc:spChg chg="add mod">
          <ac:chgData name="KevCla12" userId="ef2eb634-4620-450f-93cc-80cc93397e60" providerId="ADAL" clId="{0BF56A33-4BC5-423F-96C0-6A8645FA96BB}" dt="2023-12-03T22:01:37.018" v="34092" actId="122"/>
          <ac:spMkLst>
            <pc:docMk/>
            <pc:sldMk cId="2846232896" sldId="1186"/>
            <ac:spMk id="38" creationId="{967535F7-E7F6-7444-DFBC-8F69D8EF8A50}"/>
          </ac:spMkLst>
        </pc:spChg>
        <pc:spChg chg="add mod">
          <ac:chgData name="KevCla12" userId="ef2eb634-4620-450f-93cc-80cc93397e60" providerId="ADAL" clId="{0BF56A33-4BC5-423F-96C0-6A8645FA96BB}" dt="2023-12-03T22:03:39.577" v="34199" actId="1076"/>
          <ac:spMkLst>
            <pc:docMk/>
            <pc:sldMk cId="2846232896" sldId="1186"/>
            <ac:spMk id="40" creationId="{C3FC9727-CCE4-51CC-1C69-9E63A6EAA0E8}"/>
          </ac:spMkLst>
        </pc:spChg>
        <pc:spChg chg="add mod">
          <ac:chgData name="KevCla12" userId="ef2eb634-4620-450f-93cc-80cc93397e60" providerId="ADAL" clId="{0BF56A33-4BC5-423F-96C0-6A8645FA96BB}" dt="2023-12-03T22:03:36.488" v="34198" actId="1076"/>
          <ac:spMkLst>
            <pc:docMk/>
            <pc:sldMk cId="2846232896" sldId="1186"/>
            <ac:spMk id="41" creationId="{BE96BE20-7C9C-5B8A-8E1E-A7F49FC4D675}"/>
          </ac:spMkLst>
        </pc:spChg>
        <pc:spChg chg="add mod">
          <ac:chgData name="KevCla12" userId="ef2eb634-4620-450f-93cc-80cc93397e60" providerId="ADAL" clId="{0BF56A33-4BC5-423F-96C0-6A8645FA96BB}" dt="2023-12-03T22:06:05.883" v="34293" actId="20577"/>
          <ac:spMkLst>
            <pc:docMk/>
            <pc:sldMk cId="2846232896" sldId="1186"/>
            <ac:spMk id="42" creationId="{161AF29F-1028-C625-F90C-2EC0AC522E6E}"/>
          </ac:spMkLst>
        </pc:spChg>
        <pc:graphicFrameChg chg="add mod ord modVis replST">
          <ac:chgData name="KevCla12" userId="ef2eb634-4620-450f-93cc-80cc93397e60" providerId="ADAL" clId="{0BF56A33-4BC5-423F-96C0-6A8645FA96BB}" dt="2023-12-03T21:54:25.152" v="33954"/>
          <ac:graphicFrameMkLst>
            <pc:docMk/>
            <pc:sldMk cId="2846232896" sldId="1186"/>
            <ac:graphicFrameMk id="9" creationId="{31039B68-2D26-20BA-81B9-87C0AC391DE1}"/>
          </ac:graphicFrameMkLst>
        </pc:graphicFrameChg>
        <pc:cxnChg chg="add mod">
          <ac:chgData name="KevCla12" userId="ef2eb634-4620-450f-93cc-80cc93397e60" providerId="ADAL" clId="{0BF56A33-4BC5-423F-96C0-6A8645FA96BB}" dt="2023-12-03T21:49:59.170" v="33818" actId="14100"/>
          <ac:cxnSpMkLst>
            <pc:docMk/>
            <pc:sldMk cId="2846232896" sldId="1186"/>
            <ac:cxnSpMk id="19" creationId="{2C6E032B-F5CE-D753-58C7-FD817B06826B}"/>
          </ac:cxnSpMkLst>
        </pc:cxnChg>
      </pc:sldChg>
      <pc:sldChg chg="addSp delSp modSp add del mod ord delTag modNotes modNotesTx">
        <pc:chgData name="KevCla12" userId="ef2eb634-4620-450f-93cc-80cc93397e60" providerId="ADAL" clId="{0BF56A33-4BC5-423F-96C0-6A8645FA96BB}" dt="2023-12-03T22:39:53.111" v="36719"/>
        <pc:sldMkLst>
          <pc:docMk/>
          <pc:sldMk cId="1959579636" sldId="2774"/>
        </pc:sldMkLst>
        <pc:spChg chg="mod">
          <ac:chgData name="KevCla12" userId="ef2eb634-4620-450f-93cc-80cc93397e60" providerId="ADAL" clId="{0BF56A33-4BC5-423F-96C0-6A8645FA96BB}" dt="2023-12-03T22:39:48.534" v="36691" actId="948"/>
          <ac:spMkLst>
            <pc:docMk/>
            <pc:sldMk cId="1959579636" sldId="2774"/>
            <ac:spMk id="2" creationId="{00000000-0000-0000-0000-000000000000}"/>
          </ac:spMkLst>
        </pc:spChg>
        <pc:spChg chg="mod">
          <ac:chgData name="KevCla12" userId="ef2eb634-4620-450f-93cc-80cc93397e60" providerId="ADAL" clId="{0BF56A33-4BC5-423F-96C0-6A8645FA96BB}" dt="2023-12-03T22:31:33.704" v="35319" actId="404"/>
          <ac:spMkLst>
            <pc:docMk/>
            <pc:sldMk cId="1959579636" sldId="2774"/>
            <ac:spMk id="4" creationId="{00000000-0000-0000-0000-000000000000}"/>
          </ac:spMkLst>
        </pc:spChg>
        <pc:spChg chg="mod">
          <ac:chgData name="KevCla12" userId="ef2eb634-4620-450f-93cc-80cc93397e60" providerId="ADAL" clId="{0BF56A33-4BC5-423F-96C0-6A8645FA96BB}" dt="2023-12-03T22:26:22.244" v="34948" actId="403"/>
          <ac:spMkLst>
            <pc:docMk/>
            <pc:sldMk cId="1959579636" sldId="2774"/>
            <ac:spMk id="5" creationId="{00000000-0000-0000-0000-000000000000}"/>
          </ac:spMkLst>
        </pc:spChg>
        <pc:spChg chg="mod">
          <ac:chgData name="KevCla12" userId="ef2eb634-4620-450f-93cc-80cc93397e60" providerId="ADAL" clId="{0BF56A33-4BC5-423F-96C0-6A8645FA96BB}" dt="2023-12-03T22:31:22.308" v="35316" actId="404"/>
          <ac:spMkLst>
            <pc:docMk/>
            <pc:sldMk cId="1959579636" sldId="2774"/>
            <ac:spMk id="6" creationId="{00000000-0000-0000-0000-000000000000}"/>
          </ac:spMkLst>
        </pc:spChg>
        <pc:spChg chg="add mod">
          <ac:chgData name="KevCla12" userId="ef2eb634-4620-450f-93cc-80cc93397e60" providerId="ADAL" clId="{0BF56A33-4BC5-423F-96C0-6A8645FA96BB}" dt="2023-12-03T22:21:20.888" v="34428"/>
          <ac:spMkLst>
            <pc:docMk/>
            <pc:sldMk cId="1959579636" sldId="2774"/>
            <ac:spMk id="7" creationId="{83D2EA32-5D7E-F1F4-B02E-75D47B8F440D}"/>
          </ac:spMkLst>
        </pc:spChg>
        <pc:spChg chg="add del mod">
          <ac:chgData name="KevCla12" userId="ef2eb634-4620-450f-93cc-80cc93397e60" providerId="ADAL" clId="{0BF56A33-4BC5-423F-96C0-6A8645FA96BB}" dt="2023-12-03T22:21:50.665" v="34526" actId="478"/>
          <ac:spMkLst>
            <pc:docMk/>
            <pc:sldMk cId="1959579636" sldId="2774"/>
            <ac:spMk id="7" creationId="{FC0FBF96-69CB-84C4-F305-8ACE738CFAE8}"/>
          </ac:spMkLst>
        </pc:spChg>
        <pc:spChg chg="mod">
          <ac:chgData name="KevCla12" userId="ef2eb634-4620-450f-93cc-80cc93397e60" providerId="ADAL" clId="{0BF56A33-4BC5-423F-96C0-6A8645FA96BB}" dt="2023-12-03T22:33:31.470" v="35432" actId="404"/>
          <ac:spMkLst>
            <pc:docMk/>
            <pc:sldMk cId="1959579636" sldId="2774"/>
            <ac:spMk id="8" creationId="{00000000-0000-0000-0000-000000000000}"/>
          </ac:spMkLst>
        </pc:spChg>
        <pc:spChg chg="add mod">
          <ac:chgData name="KevCla12" userId="ef2eb634-4620-450f-93cc-80cc93397e60" providerId="ADAL" clId="{0BF56A33-4BC5-423F-96C0-6A8645FA96BB}" dt="2023-12-03T22:21:20.888" v="34428"/>
          <ac:spMkLst>
            <pc:docMk/>
            <pc:sldMk cId="1959579636" sldId="2774"/>
            <ac:spMk id="9" creationId="{8213673E-0AFD-0C6B-C399-15D4B87A1DAC}"/>
          </ac:spMkLst>
        </pc:spChg>
        <pc:spChg chg="add mod">
          <ac:chgData name="KevCla12" userId="ef2eb634-4620-450f-93cc-80cc93397e60" providerId="ADAL" clId="{0BF56A33-4BC5-423F-96C0-6A8645FA96BB}" dt="2023-12-03T22:38:18.252" v="36004" actId="20577"/>
          <ac:spMkLst>
            <pc:docMk/>
            <pc:sldMk cId="1959579636" sldId="2774"/>
            <ac:spMk id="9" creationId="{9B9A3822-FA2E-8859-808A-28671136DD7C}"/>
          </ac:spMkLst>
        </pc:spChg>
        <pc:spChg chg="mod">
          <ac:chgData name="KevCla12" userId="ef2eb634-4620-450f-93cc-80cc93397e60" providerId="ADAL" clId="{0BF56A33-4BC5-423F-96C0-6A8645FA96BB}" dt="2023-12-03T22:27:51.975" v="35060" actId="20577"/>
          <ac:spMkLst>
            <pc:docMk/>
            <pc:sldMk cId="1959579636" sldId="2774"/>
            <ac:spMk id="10" creationId="{00000000-0000-0000-0000-000000000000}"/>
          </ac:spMkLst>
        </pc:spChg>
        <pc:spChg chg="mod">
          <ac:chgData name="KevCla12" userId="ef2eb634-4620-450f-93cc-80cc93397e60" providerId="ADAL" clId="{0BF56A33-4BC5-423F-96C0-6A8645FA96BB}" dt="2023-12-03T22:34:11.903" v="35515" actId="20577"/>
          <ac:spMkLst>
            <pc:docMk/>
            <pc:sldMk cId="1959579636" sldId="2774"/>
            <ac:spMk id="11" creationId="{00000000-0000-0000-0000-000000000000}"/>
          </ac:spMkLst>
        </pc:spChg>
        <pc:spChg chg="mod">
          <ac:chgData name="KevCla12" userId="ef2eb634-4620-450f-93cc-80cc93397e60" providerId="ADAL" clId="{0BF56A33-4BC5-423F-96C0-6A8645FA96BB}" dt="2023-12-03T22:33:37.415" v="35433" actId="255"/>
          <ac:spMkLst>
            <pc:docMk/>
            <pc:sldMk cId="1959579636" sldId="2774"/>
            <ac:spMk id="12" creationId="{00000000-0000-0000-0000-000000000000}"/>
          </ac:spMkLst>
        </pc:spChg>
        <pc:spChg chg="mod">
          <ac:chgData name="KevCla12" userId="ef2eb634-4620-450f-93cc-80cc93397e60" providerId="ADAL" clId="{0BF56A33-4BC5-423F-96C0-6A8645FA96BB}" dt="2023-12-03T22:36:17.867" v="35824" actId="404"/>
          <ac:spMkLst>
            <pc:docMk/>
            <pc:sldMk cId="1959579636" sldId="2774"/>
            <ac:spMk id="13" creationId="{00000000-0000-0000-0000-000000000000}"/>
          </ac:spMkLst>
        </pc:spChg>
        <pc:spChg chg="add mod">
          <ac:chgData name="KevCla12" userId="ef2eb634-4620-450f-93cc-80cc93397e60" providerId="ADAL" clId="{0BF56A33-4BC5-423F-96C0-6A8645FA96BB}" dt="2023-12-03T22:21:43.785" v="34480"/>
          <ac:spMkLst>
            <pc:docMk/>
            <pc:sldMk cId="1959579636" sldId="2774"/>
            <ac:spMk id="14" creationId="{6D534DFE-22D8-3F19-D8C5-4CCA39922E0B}"/>
          </ac:spMkLst>
        </pc:spChg>
        <pc:spChg chg="add mod">
          <ac:chgData name="KevCla12" userId="ef2eb634-4620-450f-93cc-80cc93397e60" providerId="ADAL" clId="{0BF56A33-4BC5-423F-96C0-6A8645FA96BB}" dt="2023-12-03T22:21:20.888" v="34428"/>
          <ac:spMkLst>
            <pc:docMk/>
            <pc:sldMk cId="1959579636" sldId="2774"/>
            <ac:spMk id="14" creationId="{DFFA5FEB-3705-4D44-CFFB-B4F1BE15070E}"/>
          </ac:spMkLst>
        </pc:spChg>
        <pc:spChg chg="mod">
          <ac:chgData name="KevCla12" userId="ef2eb634-4620-450f-93cc-80cc93397e60" providerId="ADAL" clId="{0BF56A33-4BC5-423F-96C0-6A8645FA96BB}" dt="2023-12-03T22:37:48.517" v="35996" actId="255"/>
          <ac:spMkLst>
            <pc:docMk/>
            <pc:sldMk cId="1959579636" sldId="2774"/>
            <ac:spMk id="15" creationId="{00000000-0000-0000-0000-000000000000}"/>
          </ac:spMkLst>
        </pc:spChg>
        <pc:spChg chg="add mod">
          <ac:chgData name="KevCla12" userId="ef2eb634-4620-450f-93cc-80cc93397e60" providerId="ADAL" clId="{0BF56A33-4BC5-423F-96C0-6A8645FA96BB}" dt="2023-12-03T22:21:43.785" v="34480"/>
          <ac:spMkLst>
            <pc:docMk/>
            <pc:sldMk cId="1959579636" sldId="2774"/>
            <ac:spMk id="16" creationId="{2E09D480-28F9-D2EA-EDBD-08D64B646032}"/>
          </ac:spMkLst>
        </pc:spChg>
        <pc:spChg chg="add mod">
          <ac:chgData name="KevCla12" userId="ef2eb634-4620-450f-93cc-80cc93397e60" providerId="ADAL" clId="{0BF56A33-4BC5-423F-96C0-6A8645FA96BB}" dt="2023-12-03T22:21:20.888" v="34428"/>
          <ac:spMkLst>
            <pc:docMk/>
            <pc:sldMk cId="1959579636" sldId="2774"/>
            <ac:spMk id="16" creationId="{473F4D06-7211-A3F7-213D-115A57D773AB}"/>
          </ac:spMkLst>
        </pc:spChg>
        <pc:spChg chg="add del mod modVis">
          <ac:chgData name="KevCla12" userId="ef2eb634-4620-450f-93cc-80cc93397e60" providerId="ADAL" clId="{0BF56A33-4BC5-423F-96C0-6A8645FA96BB}" dt="2023-12-03T22:21:44.328" v="34509"/>
          <ac:spMkLst>
            <pc:docMk/>
            <pc:sldMk cId="1959579636" sldId="2774"/>
            <ac:spMk id="17" creationId="{27DF3C10-5CC6-713A-C76F-A4A54D99777D}"/>
          </ac:spMkLst>
        </pc:spChg>
        <pc:spChg chg="add mod">
          <ac:chgData name="KevCla12" userId="ef2eb634-4620-450f-93cc-80cc93397e60" providerId="ADAL" clId="{0BF56A33-4BC5-423F-96C0-6A8645FA96BB}" dt="2023-12-03T22:21:20.888" v="34428"/>
          <ac:spMkLst>
            <pc:docMk/>
            <pc:sldMk cId="1959579636" sldId="2774"/>
            <ac:spMk id="17" creationId="{5AD5E331-49A5-58CD-A334-FE63015FC5CF}"/>
          </ac:spMkLst>
        </pc:spChg>
        <pc:spChg chg="add mod">
          <ac:chgData name="KevCla12" userId="ef2eb634-4620-450f-93cc-80cc93397e60" providerId="ADAL" clId="{0BF56A33-4BC5-423F-96C0-6A8645FA96BB}" dt="2023-12-03T22:21:20.888" v="34428"/>
          <ac:spMkLst>
            <pc:docMk/>
            <pc:sldMk cId="1959579636" sldId="2774"/>
            <ac:spMk id="18" creationId="{7AC5ED85-764C-7A83-1067-452F4917DF3A}"/>
          </ac:spMkLst>
        </pc:spChg>
        <pc:spChg chg="add mod">
          <ac:chgData name="KevCla12" userId="ef2eb634-4620-450f-93cc-80cc93397e60" providerId="ADAL" clId="{0BF56A33-4BC5-423F-96C0-6A8645FA96BB}" dt="2023-12-03T22:21:20.888" v="34428"/>
          <ac:spMkLst>
            <pc:docMk/>
            <pc:sldMk cId="1959579636" sldId="2774"/>
            <ac:spMk id="19" creationId="{06FBD770-3F6C-95E6-C7C1-9DF9C2B7BF80}"/>
          </ac:spMkLst>
        </pc:spChg>
        <pc:spChg chg="add del mod modVis">
          <ac:chgData name="KevCla12" userId="ef2eb634-4620-450f-93cc-80cc93397e60" providerId="ADAL" clId="{0BF56A33-4BC5-423F-96C0-6A8645FA96BB}" dt="2023-12-03T22:39:06.509" v="36106" actId="962"/>
          <ac:spMkLst>
            <pc:docMk/>
            <pc:sldMk cId="1959579636" sldId="2774"/>
            <ac:spMk id="19" creationId="{C66B2E5D-00AC-8B14-F0AF-089029842279}"/>
          </ac:spMkLst>
        </pc:spChg>
        <pc:spChg chg="add mod">
          <ac:chgData name="KevCla12" userId="ef2eb634-4620-450f-93cc-80cc93397e60" providerId="ADAL" clId="{0BF56A33-4BC5-423F-96C0-6A8645FA96BB}" dt="2023-12-03T22:21:20.888" v="34428"/>
          <ac:spMkLst>
            <pc:docMk/>
            <pc:sldMk cId="1959579636" sldId="2774"/>
            <ac:spMk id="20" creationId="{AFCCAB50-CD9B-835F-5EA6-BF68F5457610}"/>
          </ac:spMkLst>
        </pc:spChg>
        <pc:spChg chg="add del mod modVis">
          <ac:chgData name="KevCla12" userId="ef2eb634-4620-450f-93cc-80cc93397e60" providerId="ADAL" clId="{0BF56A33-4BC5-423F-96C0-6A8645FA96BB}" dt="2023-12-03T22:39:05.596" v="36080" actId="962"/>
          <ac:spMkLst>
            <pc:docMk/>
            <pc:sldMk cId="1959579636" sldId="2774"/>
            <ac:spMk id="20" creationId="{D6B7DCB7-5D2B-BEDD-227D-1DDEA3E106A1}"/>
          </ac:spMkLst>
        </pc:spChg>
        <pc:spChg chg="add del mod modVis">
          <ac:chgData name="KevCla12" userId="ef2eb634-4620-450f-93cc-80cc93397e60" providerId="ADAL" clId="{0BF56A33-4BC5-423F-96C0-6A8645FA96BB}" dt="2023-12-03T22:39:08.462" v="36140"/>
          <ac:spMkLst>
            <pc:docMk/>
            <pc:sldMk cId="1959579636" sldId="2774"/>
            <ac:spMk id="21" creationId="{84510CA1-09CF-FF50-0F22-C7DAEDBA6EAB}"/>
          </ac:spMkLst>
        </pc:spChg>
        <pc:spChg chg="add mod">
          <ac:chgData name="KevCla12" userId="ef2eb634-4620-450f-93cc-80cc93397e60" providerId="ADAL" clId="{0BF56A33-4BC5-423F-96C0-6A8645FA96BB}" dt="2023-12-03T22:21:20.888" v="34428"/>
          <ac:spMkLst>
            <pc:docMk/>
            <pc:sldMk cId="1959579636" sldId="2774"/>
            <ac:spMk id="21" creationId="{D11E8924-263C-A4BB-21CC-A32E7B8C8240}"/>
          </ac:spMkLst>
        </pc:spChg>
        <pc:spChg chg="add del mod modVis">
          <ac:chgData name="KevCla12" userId="ef2eb634-4620-450f-93cc-80cc93397e60" providerId="ADAL" clId="{0BF56A33-4BC5-423F-96C0-6A8645FA96BB}" dt="2023-12-03T22:39:10.663" v="36180"/>
          <ac:spMkLst>
            <pc:docMk/>
            <pc:sldMk cId="1959579636" sldId="2774"/>
            <ac:spMk id="22" creationId="{866F0D92-F3FD-7976-217D-C6C990B957FF}"/>
          </ac:spMkLst>
        </pc:spChg>
        <pc:spChg chg="add mod">
          <ac:chgData name="KevCla12" userId="ef2eb634-4620-450f-93cc-80cc93397e60" providerId="ADAL" clId="{0BF56A33-4BC5-423F-96C0-6A8645FA96BB}" dt="2023-12-03T22:21:20.888" v="34428"/>
          <ac:spMkLst>
            <pc:docMk/>
            <pc:sldMk cId="1959579636" sldId="2774"/>
            <ac:spMk id="22" creationId="{DAEFAE70-817E-FE71-7263-BB6E6CFFBD8D}"/>
          </ac:spMkLst>
        </pc:spChg>
        <pc:spChg chg="add mod">
          <ac:chgData name="KevCla12" userId="ef2eb634-4620-450f-93cc-80cc93397e60" providerId="ADAL" clId="{0BF56A33-4BC5-423F-96C0-6A8645FA96BB}" dt="2023-12-03T22:21:20.888" v="34428"/>
          <ac:spMkLst>
            <pc:docMk/>
            <pc:sldMk cId="1959579636" sldId="2774"/>
            <ac:spMk id="23" creationId="{3AD93134-628F-D945-F321-32602B781C83}"/>
          </ac:spMkLst>
        </pc:spChg>
        <pc:spChg chg="add del mod modVis">
          <ac:chgData name="KevCla12" userId="ef2eb634-4620-450f-93cc-80cc93397e60" providerId="ADAL" clId="{0BF56A33-4BC5-423F-96C0-6A8645FA96BB}" dt="2023-12-03T22:39:11.375" v="36211"/>
          <ac:spMkLst>
            <pc:docMk/>
            <pc:sldMk cId="1959579636" sldId="2774"/>
            <ac:spMk id="23" creationId="{CD1A98C1-75FE-EDBA-8975-CD1954BEAE6F}"/>
          </ac:spMkLst>
        </pc:spChg>
        <pc:spChg chg="add del mod modVis">
          <ac:chgData name="KevCla12" userId="ef2eb634-4620-450f-93cc-80cc93397e60" providerId="ADAL" clId="{0BF56A33-4BC5-423F-96C0-6A8645FA96BB}" dt="2023-12-03T22:39:12.478" v="36243"/>
          <ac:spMkLst>
            <pc:docMk/>
            <pc:sldMk cId="1959579636" sldId="2774"/>
            <ac:spMk id="24" creationId="{4461A8F5-22A2-2F04-A609-482C43CC05EA}"/>
          </ac:spMkLst>
        </pc:spChg>
        <pc:spChg chg="add del mod modVis">
          <ac:chgData name="KevCla12" userId="ef2eb634-4620-450f-93cc-80cc93397e60" providerId="ADAL" clId="{0BF56A33-4BC5-423F-96C0-6A8645FA96BB}" dt="2023-12-03T22:21:21.459" v="34457"/>
          <ac:spMkLst>
            <pc:docMk/>
            <pc:sldMk cId="1959579636" sldId="2774"/>
            <ac:spMk id="24" creationId="{56ED8910-2860-54B5-49A9-6FDE7188A7D2}"/>
          </ac:spMkLst>
        </pc:spChg>
        <pc:spChg chg="add del mod modVis">
          <ac:chgData name="KevCla12" userId="ef2eb634-4620-450f-93cc-80cc93397e60" providerId="ADAL" clId="{0BF56A33-4BC5-423F-96C0-6A8645FA96BB}" dt="2023-12-03T22:39:15.916" v="36283"/>
          <ac:spMkLst>
            <pc:docMk/>
            <pc:sldMk cId="1959579636" sldId="2774"/>
            <ac:spMk id="25" creationId="{18951E96-D460-2D27-DB9E-5FF8B6927DB6}"/>
          </ac:spMkLst>
        </pc:spChg>
        <pc:spChg chg="add del mod modVis">
          <ac:chgData name="KevCla12" userId="ef2eb634-4620-450f-93cc-80cc93397e60" providerId="ADAL" clId="{0BF56A33-4BC5-423F-96C0-6A8645FA96BB}" dt="2023-12-03T22:39:18.684" v="36311"/>
          <ac:spMkLst>
            <pc:docMk/>
            <pc:sldMk cId="1959579636" sldId="2774"/>
            <ac:spMk id="26" creationId="{22C28F9A-6C56-B7DF-5572-4A91081FF4C5}"/>
          </ac:spMkLst>
        </pc:spChg>
        <pc:spChg chg="add del mod modVis">
          <ac:chgData name="KevCla12" userId="ef2eb634-4620-450f-93cc-80cc93397e60" providerId="ADAL" clId="{0BF56A33-4BC5-423F-96C0-6A8645FA96BB}" dt="2023-12-03T22:39:19.411" v="36339"/>
          <ac:spMkLst>
            <pc:docMk/>
            <pc:sldMk cId="1959579636" sldId="2774"/>
            <ac:spMk id="27" creationId="{FE8D7BD3-B668-0ED1-4AB8-14BF4BF1BAF4}"/>
          </ac:spMkLst>
        </pc:spChg>
        <pc:spChg chg="add del mod modVis">
          <ac:chgData name="KevCla12" userId="ef2eb634-4620-450f-93cc-80cc93397e60" providerId="ADAL" clId="{0BF56A33-4BC5-423F-96C0-6A8645FA96BB}" dt="2023-12-03T22:39:20.723" v="36373"/>
          <ac:spMkLst>
            <pc:docMk/>
            <pc:sldMk cId="1959579636" sldId="2774"/>
            <ac:spMk id="28" creationId="{117248FC-0694-E07E-3466-005E4C0BA909}"/>
          </ac:spMkLst>
        </pc:spChg>
        <pc:spChg chg="add del mod modVis">
          <ac:chgData name="KevCla12" userId="ef2eb634-4620-450f-93cc-80cc93397e60" providerId="ADAL" clId="{0BF56A33-4BC5-423F-96C0-6A8645FA96BB}" dt="2023-12-03T22:39:21.494" v="36407"/>
          <ac:spMkLst>
            <pc:docMk/>
            <pc:sldMk cId="1959579636" sldId="2774"/>
            <ac:spMk id="29" creationId="{0833BAC2-3E37-E381-5A80-77C842304BBB}"/>
          </ac:spMkLst>
        </pc:spChg>
        <pc:spChg chg="add del mod modVis">
          <ac:chgData name="KevCla12" userId="ef2eb634-4620-450f-93cc-80cc93397e60" providerId="ADAL" clId="{0BF56A33-4BC5-423F-96C0-6A8645FA96BB}" dt="2023-12-03T22:39:23.353" v="36443"/>
          <ac:spMkLst>
            <pc:docMk/>
            <pc:sldMk cId="1959579636" sldId="2774"/>
            <ac:spMk id="30" creationId="{266D4D59-79AA-F3F7-1178-BBCDBCD82455}"/>
          </ac:spMkLst>
        </pc:spChg>
        <pc:spChg chg="add del mod modVis">
          <ac:chgData name="KevCla12" userId="ef2eb634-4620-450f-93cc-80cc93397e60" providerId="ADAL" clId="{0BF56A33-4BC5-423F-96C0-6A8645FA96BB}" dt="2023-12-03T22:39:25.934" v="36484"/>
          <ac:spMkLst>
            <pc:docMk/>
            <pc:sldMk cId="1959579636" sldId="2774"/>
            <ac:spMk id="31" creationId="{D2548D6D-A226-8DCC-45B5-7E4C6ADFB942}"/>
          </ac:spMkLst>
        </pc:spChg>
        <pc:spChg chg="add del mod modVis">
          <ac:chgData name="KevCla12" userId="ef2eb634-4620-450f-93cc-80cc93397e60" providerId="ADAL" clId="{0BF56A33-4BC5-423F-96C0-6A8645FA96BB}" dt="2023-12-03T22:39:31.641" v="36544"/>
          <ac:spMkLst>
            <pc:docMk/>
            <pc:sldMk cId="1959579636" sldId="2774"/>
            <ac:spMk id="32" creationId="{DAEF5301-7F0B-579E-E2E5-88D1C1AFDD4D}"/>
          </ac:spMkLst>
        </pc:spChg>
        <pc:spChg chg="add del mod modVis">
          <ac:chgData name="KevCla12" userId="ef2eb634-4620-450f-93cc-80cc93397e60" providerId="ADAL" clId="{0BF56A33-4BC5-423F-96C0-6A8645FA96BB}" dt="2023-12-03T22:39:33.087" v="36575"/>
          <ac:spMkLst>
            <pc:docMk/>
            <pc:sldMk cId="1959579636" sldId="2774"/>
            <ac:spMk id="33" creationId="{293059B4-6521-BB2A-2826-6C54D0A001C6}"/>
          </ac:spMkLst>
        </pc:spChg>
        <pc:spChg chg="add del mod modVis">
          <ac:chgData name="KevCla12" userId="ef2eb634-4620-450f-93cc-80cc93397e60" providerId="ADAL" clId="{0BF56A33-4BC5-423F-96C0-6A8645FA96BB}" dt="2023-12-03T22:39:35.634" v="36614"/>
          <ac:spMkLst>
            <pc:docMk/>
            <pc:sldMk cId="1959579636" sldId="2774"/>
            <ac:spMk id="34" creationId="{89F39025-3D50-09C7-BC13-A69F903B1180}"/>
          </ac:spMkLst>
        </pc:spChg>
        <pc:spChg chg="add del mod modVis">
          <ac:chgData name="KevCla12" userId="ef2eb634-4620-450f-93cc-80cc93397e60" providerId="ADAL" clId="{0BF56A33-4BC5-423F-96C0-6A8645FA96BB}" dt="2023-12-03T22:39:38.674" v="36645"/>
          <ac:spMkLst>
            <pc:docMk/>
            <pc:sldMk cId="1959579636" sldId="2774"/>
            <ac:spMk id="35" creationId="{BE0E3DA1-8A2A-9866-A0B4-D44FCFA66A56}"/>
          </ac:spMkLst>
        </pc:spChg>
        <pc:spChg chg="add del mod modVis">
          <ac:chgData name="KevCla12" userId="ef2eb634-4620-450f-93cc-80cc93397e60" providerId="ADAL" clId="{0BF56A33-4BC5-423F-96C0-6A8645FA96BB}" dt="2023-12-03T22:39:41.238" v="36687"/>
          <ac:spMkLst>
            <pc:docMk/>
            <pc:sldMk cId="1959579636" sldId="2774"/>
            <ac:spMk id="36" creationId="{7B96E3D2-8313-4722-15CE-48B18933D9EA}"/>
          </ac:spMkLst>
        </pc:spChg>
        <pc:spChg chg="add del mod modVis">
          <ac:chgData name="KevCla12" userId="ef2eb634-4620-450f-93cc-80cc93397e60" providerId="ADAL" clId="{0BF56A33-4BC5-423F-96C0-6A8645FA96BB}" dt="2023-12-03T22:39:48.556" v="36715"/>
          <ac:spMkLst>
            <pc:docMk/>
            <pc:sldMk cId="1959579636" sldId="2774"/>
            <ac:spMk id="37" creationId="{FE18D9D3-3C63-73CE-0961-F52E46B82602}"/>
          </ac:spMkLst>
        </pc:spChg>
        <pc:grpChg chg="del mod">
          <ac:chgData name="KevCla12" userId="ef2eb634-4620-450f-93cc-80cc93397e60" providerId="ADAL" clId="{0BF56A33-4BC5-423F-96C0-6A8645FA96BB}" dt="2023-12-03T22:21:56.539" v="34551" actId="1036"/>
          <ac:grpSpMkLst>
            <pc:docMk/>
            <pc:sldMk cId="1959579636" sldId="2774"/>
            <ac:grpSpMk id="3" creationId="{ECFC8BC3-FA96-E8CE-CEBC-EA504043AF9E}"/>
          </ac:grpSpMkLst>
        </pc:grpChg>
        <pc:graphicFrameChg chg="add mod ord modVis replST">
          <ac:chgData name="KevCla12" userId="ef2eb634-4620-450f-93cc-80cc93397e60" providerId="ADAL" clId="{0BF56A33-4BC5-423F-96C0-6A8645FA96BB}" dt="2023-12-03T22:39:48.558" v="36717"/>
          <ac:graphicFrameMkLst>
            <pc:docMk/>
            <pc:sldMk cId="1959579636" sldId="2774"/>
            <ac:graphicFrameMk id="18" creationId="{4832B089-077B-1AB9-8257-7F2A35BFFB06}"/>
          </ac:graphicFrameMkLst>
        </pc:graphicFrameChg>
        <pc:graphicFrameChg chg="add mod ord modVis replST">
          <ac:chgData name="KevCla12" userId="ef2eb634-4620-450f-93cc-80cc93397e60" providerId="ADAL" clId="{0BF56A33-4BC5-423F-96C0-6A8645FA96BB}" dt="2023-12-03T22:21:21.486" v="34472"/>
          <ac:graphicFrameMkLst>
            <pc:docMk/>
            <pc:sldMk cId="1959579636" sldId="2774"/>
            <ac:graphicFrameMk id="25" creationId="{20F243FC-5F58-53C5-1CC2-30ED94DD175E}"/>
          </ac:graphicFrameMkLst>
        </pc:graphicFrameChg>
      </pc:sldChg>
      <pc:sldChg chg="addSp delSp modSp new add del mod modClrScheme chgLayout">
        <pc:chgData name="KevCla12" userId="ef2eb634-4620-450f-93cc-80cc93397e60" providerId="ADAL" clId="{0BF56A33-4BC5-423F-96C0-6A8645FA96BB}" dt="2023-12-03T22:21:47.704" v="34525" actId="47"/>
        <pc:sldMkLst>
          <pc:docMk/>
          <pc:sldMk cId="2175006607" sldId="2775"/>
        </pc:sldMkLst>
        <pc:spChg chg="mod ord">
          <ac:chgData name="KevCla12" userId="ef2eb634-4620-450f-93cc-80cc93397e60" providerId="ADAL" clId="{0BF56A33-4BC5-423F-96C0-6A8645FA96BB}" dt="2023-12-03T22:21:40.219" v="34477"/>
          <ac:spMkLst>
            <pc:docMk/>
            <pc:sldMk cId="2175006607" sldId="2775"/>
            <ac:spMk id="2" creationId="{FA9DA9E3-2F81-D9CF-D02A-BE7188D02FFF}"/>
          </ac:spMkLst>
        </pc:spChg>
        <pc:spChg chg="del mod ord">
          <ac:chgData name="KevCla12" userId="ef2eb634-4620-450f-93cc-80cc93397e60" providerId="ADAL" clId="{0BF56A33-4BC5-423F-96C0-6A8645FA96BB}" dt="2023-12-03T22:21:40.219" v="34477"/>
          <ac:spMkLst>
            <pc:docMk/>
            <pc:sldMk cId="2175006607" sldId="2775"/>
            <ac:spMk id="3" creationId="{19B69D0A-0D2D-E307-5239-1E51E83B37D0}"/>
          </ac:spMkLst>
        </pc:spChg>
        <pc:spChg chg="del mod ord">
          <ac:chgData name="KevCla12" userId="ef2eb634-4620-450f-93cc-80cc93397e60" providerId="ADAL" clId="{0BF56A33-4BC5-423F-96C0-6A8645FA96BB}" dt="2023-12-03T22:21:40.219" v="34477"/>
          <ac:spMkLst>
            <pc:docMk/>
            <pc:sldMk cId="2175006607" sldId="2775"/>
            <ac:spMk id="4" creationId="{D8322453-D367-9573-0C28-C678EFBE02A6}"/>
          </ac:spMkLst>
        </pc:spChg>
        <pc:spChg chg="del mod ord">
          <ac:chgData name="KevCla12" userId="ef2eb634-4620-450f-93cc-80cc93397e60" providerId="ADAL" clId="{0BF56A33-4BC5-423F-96C0-6A8645FA96BB}" dt="2023-12-03T22:21:40.219" v="34477"/>
          <ac:spMkLst>
            <pc:docMk/>
            <pc:sldMk cId="2175006607" sldId="2775"/>
            <ac:spMk id="5" creationId="{389AE688-C805-5ADE-B050-C131EB06A8FB}"/>
          </ac:spMkLst>
        </pc:spChg>
        <pc:spChg chg="del mod ord">
          <ac:chgData name="KevCla12" userId="ef2eb634-4620-450f-93cc-80cc93397e60" providerId="ADAL" clId="{0BF56A33-4BC5-423F-96C0-6A8645FA96BB}" dt="2023-12-03T22:21:40.219" v="34477"/>
          <ac:spMkLst>
            <pc:docMk/>
            <pc:sldMk cId="2175006607" sldId="2775"/>
            <ac:spMk id="6" creationId="{1CF67AB7-6C64-A78C-7ED4-53C2596DFE5A}"/>
          </ac:spMkLst>
        </pc:spChg>
        <pc:spChg chg="del">
          <ac:chgData name="KevCla12" userId="ef2eb634-4620-450f-93cc-80cc93397e60" providerId="ADAL" clId="{0BF56A33-4BC5-423F-96C0-6A8645FA96BB}" dt="2023-12-03T22:21:40.219" v="34477"/>
          <ac:spMkLst>
            <pc:docMk/>
            <pc:sldMk cId="2175006607" sldId="2775"/>
            <ac:spMk id="7" creationId="{1724ABE0-6DA1-08E8-7E06-5E1AE9EBE26F}"/>
          </ac:spMkLst>
        </pc:spChg>
        <pc:spChg chg="del">
          <ac:chgData name="KevCla12" userId="ef2eb634-4620-450f-93cc-80cc93397e60" providerId="ADAL" clId="{0BF56A33-4BC5-423F-96C0-6A8645FA96BB}" dt="2023-12-03T22:21:40.219" v="34477"/>
          <ac:spMkLst>
            <pc:docMk/>
            <pc:sldMk cId="2175006607" sldId="2775"/>
            <ac:spMk id="8" creationId="{79671A2D-2541-133D-22E8-78A3D74D0828}"/>
          </ac:spMkLst>
        </pc:spChg>
        <pc:spChg chg="del">
          <ac:chgData name="KevCla12" userId="ef2eb634-4620-450f-93cc-80cc93397e60" providerId="ADAL" clId="{0BF56A33-4BC5-423F-96C0-6A8645FA96BB}" dt="2023-12-03T22:21:40.219" v="34477"/>
          <ac:spMkLst>
            <pc:docMk/>
            <pc:sldMk cId="2175006607" sldId="2775"/>
            <ac:spMk id="9" creationId="{156EBB60-1252-D51A-3697-9A35412B9DC4}"/>
          </ac:spMkLst>
        </pc:spChg>
        <pc:spChg chg="del">
          <ac:chgData name="KevCla12" userId="ef2eb634-4620-450f-93cc-80cc93397e60" providerId="ADAL" clId="{0BF56A33-4BC5-423F-96C0-6A8645FA96BB}" dt="2023-12-03T22:21:40.219" v="34477"/>
          <ac:spMkLst>
            <pc:docMk/>
            <pc:sldMk cId="2175006607" sldId="2775"/>
            <ac:spMk id="10" creationId="{BE54704F-2622-4160-A4D2-675FE2F66A97}"/>
          </ac:spMkLst>
        </pc:spChg>
        <pc:spChg chg="del">
          <ac:chgData name="KevCla12" userId="ef2eb634-4620-450f-93cc-80cc93397e60" providerId="ADAL" clId="{0BF56A33-4BC5-423F-96C0-6A8645FA96BB}" dt="2023-12-03T22:21:40.219" v="34477"/>
          <ac:spMkLst>
            <pc:docMk/>
            <pc:sldMk cId="2175006607" sldId="2775"/>
            <ac:spMk id="11" creationId="{DC233540-EFDF-2E15-4EF3-605B121F439C}"/>
          </ac:spMkLst>
        </pc:spChg>
        <pc:spChg chg="del">
          <ac:chgData name="KevCla12" userId="ef2eb634-4620-450f-93cc-80cc93397e60" providerId="ADAL" clId="{0BF56A33-4BC5-423F-96C0-6A8645FA96BB}" dt="2023-12-03T22:21:40.219" v="34477"/>
          <ac:spMkLst>
            <pc:docMk/>
            <pc:sldMk cId="2175006607" sldId="2775"/>
            <ac:spMk id="12" creationId="{9E5F3451-C1AD-8652-F76E-55445B38DCAD}"/>
          </ac:spMkLst>
        </pc:spChg>
        <pc:spChg chg="del">
          <ac:chgData name="KevCla12" userId="ef2eb634-4620-450f-93cc-80cc93397e60" providerId="ADAL" clId="{0BF56A33-4BC5-423F-96C0-6A8645FA96BB}" dt="2023-12-03T22:21:40.219" v="34477"/>
          <ac:spMkLst>
            <pc:docMk/>
            <pc:sldMk cId="2175006607" sldId="2775"/>
            <ac:spMk id="13" creationId="{906B5E27-5D79-A42D-52C9-6B609126BEB2}"/>
          </ac:spMkLst>
        </pc:spChg>
        <pc:spChg chg="add mod ord">
          <ac:chgData name="KevCla12" userId="ef2eb634-4620-450f-93cc-80cc93397e60" providerId="ADAL" clId="{0BF56A33-4BC5-423F-96C0-6A8645FA96BB}" dt="2023-12-03T22:21:40.219" v="34477"/>
          <ac:spMkLst>
            <pc:docMk/>
            <pc:sldMk cId="2175006607" sldId="2775"/>
            <ac:spMk id="14" creationId="{EAC95AEC-FDCB-50A7-914B-A0053F8B770B}"/>
          </ac:spMkLst>
        </pc:spChg>
        <pc:spChg chg="add mod ord">
          <ac:chgData name="KevCla12" userId="ef2eb634-4620-450f-93cc-80cc93397e60" providerId="ADAL" clId="{0BF56A33-4BC5-423F-96C0-6A8645FA96BB}" dt="2023-12-03T22:21:40.219" v="34477"/>
          <ac:spMkLst>
            <pc:docMk/>
            <pc:sldMk cId="2175006607" sldId="2775"/>
            <ac:spMk id="15" creationId="{01B9732E-259E-A815-5D80-E98172044E0C}"/>
          </ac:spMkLst>
        </pc:spChg>
        <pc:spChg chg="add mod ord">
          <ac:chgData name="KevCla12" userId="ef2eb634-4620-450f-93cc-80cc93397e60" providerId="ADAL" clId="{0BF56A33-4BC5-423F-96C0-6A8645FA96BB}" dt="2023-12-03T22:21:40.219" v="34477"/>
          <ac:spMkLst>
            <pc:docMk/>
            <pc:sldMk cId="2175006607" sldId="2775"/>
            <ac:spMk id="16" creationId="{71ED8369-945F-BAE1-48BB-F7E9E70F7E19}"/>
          </ac:spMkLst>
        </pc:spChg>
        <pc:spChg chg="add mod ord">
          <ac:chgData name="KevCla12" userId="ef2eb634-4620-450f-93cc-80cc93397e60" providerId="ADAL" clId="{0BF56A33-4BC5-423F-96C0-6A8645FA96BB}" dt="2023-12-03T22:21:40.219" v="34477"/>
          <ac:spMkLst>
            <pc:docMk/>
            <pc:sldMk cId="2175006607" sldId="2775"/>
            <ac:spMk id="17" creationId="{C64FCE5B-7A67-A412-B84B-5AAE9534BBE3}"/>
          </ac:spMkLst>
        </pc:spChg>
        <pc:spChg chg="add mod ord">
          <ac:chgData name="KevCla12" userId="ef2eb634-4620-450f-93cc-80cc93397e60" providerId="ADAL" clId="{0BF56A33-4BC5-423F-96C0-6A8645FA96BB}" dt="2023-12-03T22:21:40.219" v="34477"/>
          <ac:spMkLst>
            <pc:docMk/>
            <pc:sldMk cId="2175006607" sldId="2775"/>
            <ac:spMk id="18" creationId="{FEF9C475-DE79-9DF9-909A-D6296264DFC4}"/>
          </ac:spMkLst>
        </pc:spChg>
      </pc:sldChg>
      <pc:sldChg chg="addSp delSp modSp new add mod ord">
        <pc:chgData name="KevCla12" userId="ef2eb634-4620-450f-93cc-80cc93397e60" providerId="ADAL" clId="{0BF56A33-4BC5-423F-96C0-6A8645FA96BB}" dt="2023-12-03T23:03:03.660" v="37152"/>
        <pc:sldMkLst>
          <pc:docMk/>
          <pc:sldMk cId="3967241927" sldId="2775"/>
        </pc:sldMkLst>
        <pc:spChg chg="del">
          <ac:chgData name="KevCla12" userId="ef2eb634-4620-450f-93cc-80cc93397e60" providerId="ADAL" clId="{0BF56A33-4BC5-423F-96C0-6A8645FA96BB}" dt="2023-12-03T22:43:51.327" v="36725" actId="478"/>
          <ac:spMkLst>
            <pc:docMk/>
            <pc:sldMk cId="3967241927" sldId="2775"/>
            <ac:spMk id="3" creationId="{0A5E5C35-180D-0574-9769-9E3C03000488}"/>
          </ac:spMkLst>
        </pc:spChg>
        <pc:spChg chg="mod">
          <ac:chgData name="KevCla12" userId="ef2eb634-4620-450f-93cc-80cc93397e60" providerId="ADAL" clId="{0BF56A33-4BC5-423F-96C0-6A8645FA96BB}" dt="2023-12-03T22:43:59.995" v="36746" actId="20577"/>
          <ac:spMkLst>
            <pc:docMk/>
            <pc:sldMk cId="3967241927" sldId="2775"/>
            <ac:spMk id="5" creationId="{261A4DAD-5968-58FF-94FB-00E63A34AA78}"/>
          </ac:spMkLst>
        </pc:spChg>
        <pc:spChg chg="add del mod">
          <ac:chgData name="KevCla12" userId="ef2eb634-4620-450f-93cc-80cc93397e60" providerId="ADAL" clId="{0BF56A33-4BC5-423F-96C0-6A8645FA96BB}" dt="2023-12-03T22:58:56.005" v="36947" actId="478"/>
          <ac:spMkLst>
            <pc:docMk/>
            <pc:sldMk cId="3967241927" sldId="2775"/>
            <ac:spMk id="8" creationId="{96D96EF6-222E-E943-52A4-E1704E2B6FAC}"/>
          </ac:spMkLst>
        </pc:spChg>
        <pc:spChg chg="add del mod">
          <ac:chgData name="KevCla12" userId="ef2eb634-4620-450f-93cc-80cc93397e60" providerId="ADAL" clId="{0BF56A33-4BC5-423F-96C0-6A8645FA96BB}" dt="2023-12-03T22:58:57.906" v="36948" actId="478"/>
          <ac:spMkLst>
            <pc:docMk/>
            <pc:sldMk cId="3967241927" sldId="2775"/>
            <ac:spMk id="9" creationId="{9540D4D2-4A37-5DEE-B3EC-29036EC0DB9A}"/>
          </ac:spMkLst>
        </pc:spChg>
        <pc:spChg chg="add mod">
          <ac:chgData name="KevCla12" userId="ef2eb634-4620-450f-93cc-80cc93397e60" providerId="ADAL" clId="{0BF56A33-4BC5-423F-96C0-6A8645FA96BB}" dt="2023-12-03T22:59:12.900" v="36954" actId="1076"/>
          <ac:spMkLst>
            <pc:docMk/>
            <pc:sldMk cId="3967241927" sldId="2775"/>
            <ac:spMk id="11" creationId="{EE990072-EB52-2732-063C-58EEADDD2B7F}"/>
          </ac:spMkLst>
        </pc:spChg>
        <pc:spChg chg="add del mod">
          <ac:chgData name="KevCla12" userId="ef2eb634-4620-450f-93cc-80cc93397e60" providerId="ADAL" clId="{0BF56A33-4BC5-423F-96C0-6A8645FA96BB}" dt="2023-12-03T22:59:21.385" v="36957" actId="478"/>
          <ac:spMkLst>
            <pc:docMk/>
            <pc:sldMk cId="3967241927" sldId="2775"/>
            <ac:spMk id="12" creationId="{73DC189E-30BC-333D-952D-13EE3E834460}"/>
          </ac:spMkLst>
        </pc:spChg>
        <pc:spChg chg="add del mod">
          <ac:chgData name="KevCla12" userId="ef2eb634-4620-450f-93cc-80cc93397e60" providerId="ADAL" clId="{0BF56A33-4BC5-423F-96C0-6A8645FA96BB}" dt="2023-12-03T22:59:35.457" v="36972" actId="478"/>
          <ac:spMkLst>
            <pc:docMk/>
            <pc:sldMk cId="3967241927" sldId="2775"/>
            <ac:spMk id="13" creationId="{17A31DAA-A498-170F-E607-9DCCA2054848}"/>
          </ac:spMkLst>
        </pc:spChg>
        <pc:spChg chg="add mod">
          <ac:chgData name="KevCla12" userId="ef2eb634-4620-450f-93cc-80cc93397e60" providerId="ADAL" clId="{0BF56A33-4BC5-423F-96C0-6A8645FA96BB}" dt="2023-12-03T22:59:49.570" v="36975" actId="14100"/>
          <ac:spMkLst>
            <pc:docMk/>
            <pc:sldMk cId="3967241927" sldId="2775"/>
            <ac:spMk id="14" creationId="{70CE3E87-522D-2029-CB17-3C74ED17E3F4}"/>
          </ac:spMkLst>
        </pc:spChg>
        <pc:spChg chg="add del mod">
          <ac:chgData name="KevCla12" userId="ef2eb634-4620-450f-93cc-80cc93397e60" providerId="ADAL" clId="{0BF56A33-4BC5-423F-96C0-6A8645FA96BB}" dt="2023-12-03T22:48:39.796" v="36866" actId="22"/>
          <ac:spMkLst>
            <pc:docMk/>
            <pc:sldMk cId="3967241927" sldId="2775"/>
            <ac:spMk id="16" creationId="{B3C4120C-BF70-012D-0C94-1C965DCEEE76}"/>
          </ac:spMkLst>
        </pc:spChg>
        <pc:spChg chg="add mod">
          <ac:chgData name="KevCla12" userId="ef2eb634-4620-450f-93cc-80cc93397e60" providerId="ADAL" clId="{0BF56A33-4BC5-423F-96C0-6A8645FA96BB}" dt="2023-12-03T22:59:49.570" v="36975" actId="14100"/>
          <ac:spMkLst>
            <pc:docMk/>
            <pc:sldMk cId="3967241927" sldId="2775"/>
            <ac:spMk id="17" creationId="{29CB1AA5-042D-FB5C-412D-128FDE7AC008}"/>
          </ac:spMkLst>
        </pc:spChg>
        <pc:spChg chg="add mod">
          <ac:chgData name="KevCla12" userId="ef2eb634-4620-450f-93cc-80cc93397e60" providerId="ADAL" clId="{0BF56A33-4BC5-423F-96C0-6A8645FA96BB}" dt="2023-12-03T22:59:49.570" v="36975" actId="14100"/>
          <ac:spMkLst>
            <pc:docMk/>
            <pc:sldMk cId="3967241927" sldId="2775"/>
            <ac:spMk id="18" creationId="{A79B1181-2329-7A36-0C13-5FB899D0D44A}"/>
          </ac:spMkLst>
        </pc:spChg>
        <pc:spChg chg="add mod">
          <ac:chgData name="KevCla12" userId="ef2eb634-4620-450f-93cc-80cc93397e60" providerId="ADAL" clId="{0BF56A33-4BC5-423F-96C0-6A8645FA96BB}" dt="2023-12-03T22:59:49.570" v="36975" actId="14100"/>
          <ac:spMkLst>
            <pc:docMk/>
            <pc:sldMk cId="3967241927" sldId="2775"/>
            <ac:spMk id="19" creationId="{6C3031BA-0094-EB3C-B085-E0E68D07DBDB}"/>
          </ac:spMkLst>
        </pc:spChg>
        <pc:spChg chg="add mod">
          <ac:chgData name="KevCla12" userId="ef2eb634-4620-450f-93cc-80cc93397e60" providerId="ADAL" clId="{0BF56A33-4BC5-423F-96C0-6A8645FA96BB}" dt="2023-12-03T22:59:49.570" v="36975" actId="14100"/>
          <ac:spMkLst>
            <pc:docMk/>
            <pc:sldMk cId="3967241927" sldId="2775"/>
            <ac:spMk id="20" creationId="{6EAC8362-9B95-8EBE-CDA0-2BA4CE976D48}"/>
          </ac:spMkLst>
        </pc:spChg>
        <pc:spChg chg="add mod">
          <ac:chgData name="KevCla12" userId="ef2eb634-4620-450f-93cc-80cc93397e60" providerId="ADAL" clId="{0BF56A33-4BC5-423F-96C0-6A8645FA96BB}" dt="2023-12-03T22:59:49.570" v="36975" actId="14100"/>
          <ac:spMkLst>
            <pc:docMk/>
            <pc:sldMk cId="3967241927" sldId="2775"/>
            <ac:spMk id="21" creationId="{C56B5090-3F81-75A4-5A50-7E7D9FC7CB29}"/>
          </ac:spMkLst>
        </pc:spChg>
        <pc:spChg chg="add mod">
          <ac:chgData name="KevCla12" userId="ef2eb634-4620-450f-93cc-80cc93397e60" providerId="ADAL" clId="{0BF56A33-4BC5-423F-96C0-6A8645FA96BB}" dt="2023-12-03T22:57:35.456" v="36922" actId="571"/>
          <ac:spMkLst>
            <pc:docMk/>
            <pc:sldMk cId="3967241927" sldId="2775"/>
            <ac:spMk id="22" creationId="{A6009B18-4610-1EFC-3502-9414272E3C0E}"/>
          </ac:spMkLst>
        </pc:spChg>
        <pc:spChg chg="add mod">
          <ac:chgData name="KevCla12" userId="ef2eb634-4620-450f-93cc-80cc93397e60" providerId="ADAL" clId="{0BF56A33-4BC5-423F-96C0-6A8645FA96BB}" dt="2023-12-03T22:59:08.885" v="36953" actId="1076"/>
          <ac:spMkLst>
            <pc:docMk/>
            <pc:sldMk cId="3967241927" sldId="2775"/>
            <ac:spMk id="26" creationId="{42B33883-0412-D8A0-FF6D-EE583977CAEA}"/>
          </ac:spMkLst>
        </pc:spChg>
        <pc:spChg chg="add del mod">
          <ac:chgData name="KevCla12" userId="ef2eb634-4620-450f-93cc-80cc93397e60" providerId="ADAL" clId="{0BF56A33-4BC5-423F-96C0-6A8645FA96BB}" dt="2023-12-03T22:59:25.841" v="36962" actId="22"/>
          <ac:spMkLst>
            <pc:docMk/>
            <pc:sldMk cId="3967241927" sldId="2775"/>
            <ac:spMk id="28" creationId="{6FAE51FD-5DFA-0960-8A5C-468CB8D23B98}"/>
          </ac:spMkLst>
        </pc:spChg>
        <pc:spChg chg="add mod">
          <ac:chgData name="KevCla12" userId="ef2eb634-4620-450f-93cc-80cc93397e60" providerId="ADAL" clId="{0BF56A33-4BC5-423F-96C0-6A8645FA96BB}" dt="2023-12-03T22:59:41.561" v="36973" actId="1076"/>
          <ac:spMkLst>
            <pc:docMk/>
            <pc:sldMk cId="3967241927" sldId="2775"/>
            <ac:spMk id="30" creationId="{40D82809-3DBE-1004-2A4C-A3CB5387CE0E}"/>
          </ac:spMkLst>
        </pc:spChg>
        <pc:spChg chg="add mod">
          <ac:chgData name="KevCla12" userId="ef2eb634-4620-450f-93cc-80cc93397e60" providerId="ADAL" clId="{0BF56A33-4BC5-423F-96C0-6A8645FA96BB}" dt="2023-12-03T23:02:24.323" v="37089" actId="1035"/>
          <ac:spMkLst>
            <pc:docMk/>
            <pc:sldMk cId="3967241927" sldId="2775"/>
            <ac:spMk id="35" creationId="{6EBE9266-A07E-F520-D9C1-C2D7CD97E12A}"/>
          </ac:spMkLst>
        </pc:spChg>
        <pc:spChg chg="add mod">
          <ac:chgData name="KevCla12" userId="ef2eb634-4620-450f-93cc-80cc93397e60" providerId="ADAL" clId="{0BF56A33-4BC5-423F-96C0-6A8645FA96BB}" dt="2023-12-03T23:02:31.866" v="37136" actId="1035"/>
          <ac:spMkLst>
            <pc:docMk/>
            <pc:sldMk cId="3967241927" sldId="2775"/>
            <ac:spMk id="36" creationId="{4F76BF03-3267-D7E9-3014-2A378666A783}"/>
          </ac:spMkLst>
        </pc:spChg>
        <pc:spChg chg="add mod">
          <ac:chgData name="KevCla12" userId="ef2eb634-4620-450f-93cc-80cc93397e60" providerId="ADAL" clId="{0BF56A33-4BC5-423F-96C0-6A8645FA96BB}" dt="2023-12-03T23:02:27.315" v="37110" actId="1035"/>
          <ac:spMkLst>
            <pc:docMk/>
            <pc:sldMk cId="3967241927" sldId="2775"/>
            <ac:spMk id="37" creationId="{E436A2AC-F439-FF61-C917-E58BD071545E}"/>
          </ac:spMkLst>
        </pc:spChg>
        <pc:spChg chg="add mod">
          <ac:chgData name="KevCla12" userId="ef2eb634-4620-450f-93cc-80cc93397e60" providerId="ADAL" clId="{0BF56A33-4BC5-423F-96C0-6A8645FA96BB}" dt="2023-12-03T23:02:56.239" v="37148" actId="20577"/>
          <ac:spMkLst>
            <pc:docMk/>
            <pc:sldMk cId="3967241927" sldId="2775"/>
            <ac:spMk id="38" creationId="{2F56B78E-C5A4-09B5-B580-94071C9D0534}"/>
          </ac:spMkLst>
        </pc:spChg>
        <pc:cxnChg chg="add mod">
          <ac:chgData name="KevCla12" userId="ef2eb634-4620-450f-93cc-80cc93397e60" providerId="ADAL" clId="{0BF56A33-4BC5-423F-96C0-6A8645FA96BB}" dt="2023-12-03T22:58:43.648" v="36941" actId="13822"/>
          <ac:cxnSpMkLst>
            <pc:docMk/>
            <pc:sldMk cId="3967241927" sldId="2775"/>
            <ac:cxnSpMk id="24" creationId="{C85B7AD5-0C32-B09C-007F-9DA31EA49AB7}"/>
          </ac:cxnSpMkLst>
        </pc:cxnChg>
        <pc:cxnChg chg="add mod">
          <ac:chgData name="KevCla12" userId="ef2eb634-4620-450f-93cc-80cc93397e60" providerId="ADAL" clId="{0BF56A33-4BC5-423F-96C0-6A8645FA96BB}" dt="2023-12-03T23:02:20.768" v="37068" actId="1035"/>
          <ac:cxnSpMkLst>
            <pc:docMk/>
            <pc:sldMk cId="3967241927" sldId="2775"/>
            <ac:cxnSpMk id="32" creationId="{6E28C306-1C68-7241-1CDD-0BDBE48C35FC}"/>
          </ac:cxnSpMkLst>
        </pc:cxnChg>
      </pc:sldChg>
      <pc:sldChg chg="add del">
        <pc:chgData name="KevCla12" userId="ef2eb634-4620-450f-93cc-80cc93397e60" providerId="ADAL" clId="{0BF56A33-4BC5-423F-96C0-6A8645FA96BB}" dt="2023-12-03T22:22:51.758" v="34576" actId="2890"/>
        <pc:sldMkLst>
          <pc:docMk/>
          <pc:sldMk cId="4200195746" sldId="2775"/>
        </pc:sldMkLst>
      </pc:sldChg>
      <pc:sldChg chg="addSp delSp modSp new add mod ord">
        <pc:chgData name="KevCla12" userId="ef2eb634-4620-450f-93cc-80cc93397e60" providerId="ADAL" clId="{0BF56A33-4BC5-423F-96C0-6A8645FA96BB}" dt="2023-12-03T23:21:07.390" v="37471" actId="1076"/>
        <pc:sldMkLst>
          <pc:docMk/>
          <pc:sldMk cId="54396085" sldId="2776"/>
        </pc:sldMkLst>
        <pc:spChg chg="del">
          <ac:chgData name="KevCla12" userId="ef2eb634-4620-450f-93cc-80cc93397e60" providerId="ADAL" clId="{0BF56A33-4BC5-423F-96C0-6A8645FA96BB}" dt="2023-12-03T23:06:20.009" v="37222" actId="478"/>
          <ac:spMkLst>
            <pc:docMk/>
            <pc:sldMk cId="54396085" sldId="2776"/>
            <ac:spMk id="3" creationId="{BBB37218-775D-9C28-290B-AC939A73CEDF}"/>
          </ac:spMkLst>
        </pc:spChg>
        <pc:spChg chg="mod">
          <ac:chgData name="KevCla12" userId="ef2eb634-4620-450f-93cc-80cc93397e60" providerId="ADAL" clId="{0BF56A33-4BC5-423F-96C0-6A8645FA96BB}" dt="2023-12-03T23:15:18.258" v="37335"/>
          <ac:spMkLst>
            <pc:docMk/>
            <pc:sldMk cId="54396085" sldId="2776"/>
            <ac:spMk id="5" creationId="{72ABF665-BF56-9447-C810-B7F5BF5B4C6A}"/>
          </ac:spMkLst>
        </pc:spChg>
        <pc:spChg chg="add mod">
          <ac:chgData name="KevCla12" userId="ef2eb634-4620-450f-93cc-80cc93397e60" providerId="ADAL" clId="{0BF56A33-4BC5-423F-96C0-6A8645FA96BB}" dt="2023-12-03T23:18:12.098" v="37340" actId="1076"/>
          <ac:spMkLst>
            <pc:docMk/>
            <pc:sldMk cId="54396085" sldId="2776"/>
            <ac:spMk id="8" creationId="{A872C20D-75CD-4682-CA85-E99675F6A7DC}"/>
          </ac:spMkLst>
        </pc:spChg>
        <pc:spChg chg="add mod">
          <ac:chgData name="KevCla12" userId="ef2eb634-4620-450f-93cc-80cc93397e60" providerId="ADAL" clId="{0BF56A33-4BC5-423F-96C0-6A8645FA96BB}" dt="2023-12-03T23:18:12.098" v="37340" actId="1076"/>
          <ac:spMkLst>
            <pc:docMk/>
            <pc:sldMk cId="54396085" sldId="2776"/>
            <ac:spMk id="9" creationId="{64598B69-3CEF-F6F6-33DF-05559D375B8F}"/>
          </ac:spMkLst>
        </pc:spChg>
        <pc:spChg chg="add mod">
          <ac:chgData name="KevCla12" userId="ef2eb634-4620-450f-93cc-80cc93397e60" providerId="ADAL" clId="{0BF56A33-4BC5-423F-96C0-6A8645FA96BB}" dt="2023-12-03T23:18:12.098" v="37340" actId="1076"/>
          <ac:spMkLst>
            <pc:docMk/>
            <pc:sldMk cId="54396085" sldId="2776"/>
            <ac:spMk id="10" creationId="{7537A954-6906-3F21-75D1-CE7A7642FD0F}"/>
          </ac:spMkLst>
        </pc:spChg>
        <pc:spChg chg="add mod">
          <ac:chgData name="KevCla12" userId="ef2eb634-4620-450f-93cc-80cc93397e60" providerId="ADAL" clId="{0BF56A33-4BC5-423F-96C0-6A8645FA96BB}" dt="2023-12-03T23:18:12.098" v="37340" actId="1076"/>
          <ac:spMkLst>
            <pc:docMk/>
            <pc:sldMk cId="54396085" sldId="2776"/>
            <ac:spMk id="11" creationId="{B08244A1-5C2F-90F2-B9E6-51CB2FF82B13}"/>
          </ac:spMkLst>
        </pc:spChg>
        <pc:spChg chg="add mod">
          <ac:chgData name="KevCla12" userId="ef2eb634-4620-450f-93cc-80cc93397e60" providerId="ADAL" clId="{0BF56A33-4BC5-423F-96C0-6A8645FA96BB}" dt="2023-12-03T23:18:12.098" v="37340" actId="1076"/>
          <ac:spMkLst>
            <pc:docMk/>
            <pc:sldMk cId="54396085" sldId="2776"/>
            <ac:spMk id="12" creationId="{1F72D764-5699-9580-BA15-0A6BD90E000A}"/>
          </ac:spMkLst>
        </pc:spChg>
        <pc:spChg chg="add mod">
          <ac:chgData name="KevCla12" userId="ef2eb634-4620-450f-93cc-80cc93397e60" providerId="ADAL" clId="{0BF56A33-4BC5-423F-96C0-6A8645FA96BB}" dt="2023-12-03T23:18:12.098" v="37340" actId="1076"/>
          <ac:spMkLst>
            <pc:docMk/>
            <pc:sldMk cId="54396085" sldId="2776"/>
            <ac:spMk id="13" creationId="{8CD5E643-7813-0C41-CABB-865804417389}"/>
          </ac:spMkLst>
        </pc:spChg>
        <pc:spChg chg="add mod">
          <ac:chgData name="KevCla12" userId="ef2eb634-4620-450f-93cc-80cc93397e60" providerId="ADAL" clId="{0BF56A33-4BC5-423F-96C0-6A8645FA96BB}" dt="2023-12-03T23:18:12.098" v="37340" actId="1076"/>
          <ac:spMkLst>
            <pc:docMk/>
            <pc:sldMk cId="54396085" sldId="2776"/>
            <ac:spMk id="14" creationId="{0F04F5E9-D63C-6EF6-D7B1-EB311946091F}"/>
          </ac:spMkLst>
        </pc:spChg>
        <pc:spChg chg="add mod">
          <ac:chgData name="KevCla12" userId="ef2eb634-4620-450f-93cc-80cc93397e60" providerId="ADAL" clId="{0BF56A33-4BC5-423F-96C0-6A8645FA96BB}" dt="2023-12-03T23:18:12.098" v="37340" actId="1076"/>
          <ac:spMkLst>
            <pc:docMk/>
            <pc:sldMk cId="54396085" sldId="2776"/>
            <ac:spMk id="15" creationId="{66024C40-DDAF-8267-B838-DB7674C32C3C}"/>
          </ac:spMkLst>
        </pc:spChg>
        <pc:spChg chg="add mod">
          <ac:chgData name="KevCla12" userId="ef2eb634-4620-450f-93cc-80cc93397e60" providerId="ADAL" clId="{0BF56A33-4BC5-423F-96C0-6A8645FA96BB}" dt="2023-12-03T23:18:12.098" v="37340" actId="1076"/>
          <ac:spMkLst>
            <pc:docMk/>
            <pc:sldMk cId="54396085" sldId="2776"/>
            <ac:spMk id="16" creationId="{CD6EDBA4-CD25-4884-5A3F-14F314CE81AF}"/>
          </ac:spMkLst>
        </pc:spChg>
        <pc:spChg chg="add mod">
          <ac:chgData name="KevCla12" userId="ef2eb634-4620-450f-93cc-80cc93397e60" providerId="ADAL" clId="{0BF56A33-4BC5-423F-96C0-6A8645FA96BB}" dt="2023-12-03T23:17:45.643" v="37337" actId="1076"/>
          <ac:spMkLst>
            <pc:docMk/>
            <pc:sldMk cId="54396085" sldId="2776"/>
            <ac:spMk id="17" creationId="{7F9D7294-8184-4BF9-2B78-47AFD49AA28A}"/>
          </ac:spMkLst>
        </pc:spChg>
        <pc:spChg chg="add mod">
          <ac:chgData name="KevCla12" userId="ef2eb634-4620-450f-93cc-80cc93397e60" providerId="ADAL" clId="{0BF56A33-4BC5-423F-96C0-6A8645FA96BB}" dt="2023-12-03T23:18:53.587" v="37395" actId="20577"/>
          <ac:spMkLst>
            <pc:docMk/>
            <pc:sldMk cId="54396085" sldId="2776"/>
            <ac:spMk id="18" creationId="{C5FE9BB7-1645-B6AB-4604-662CD2CCB2C0}"/>
          </ac:spMkLst>
        </pc:spChg>
        <pc:spChg chg="add del mod">
          <ac:chgData name="KevCla12" userId="ef2eb634-4620-450f-93cc-80cc93397e60" providerId="ADAL" clId="{0BF56A33-4BC5-423F-96C0-6A8645FA96BB}" dt="2023-12-03T23:19:04.818" v="37432"/>
          <ac:spMkLst>
            <pc:docMk/>
            <pc:sldMk cId="54396085" sldId="2776"/>
            <ac:spMk id="19" creationId="{D1EE7FD5-820A-51D8-F208-7ABE0F3EC962}"/>
          </ac:spMkLst>
        </pc:spChg>
        <pc:spChg chg="add mod">
          <ac:chgData name="KevCla12" userId="ef2eb634-4620-450f-93cc-80cc93397e60" providerId="ADAL" clId="{0BF56A33-4BC5-423F-96C0-6A8645FA96BB}" dt="2023-12-03T23:17:54.883" v="37339" actId="1076"/>
          <ac:spMkLst>
            <pc:docMk/>
            <pc:sldMk cId="54396085" sldId="2776"/>
            <ac:spMk id="20" creationId="{DFBD7911-4852-36B3-8AE3-7F0D5B1A9337}"/>
          </ac:spMkLst>
        </pc:spChg>
        <pc:spChg chg="add mod">
          <ac:chgData name="KevCla12" userId="ef2eb634-4620-450f-93cc-80cc93397e60" providerId="ADAL" clId="{0BF56A33-4BC5-423F-96C0-6A8645FA96BB}" dt="2023-12-03T23:19:01.505" v="37426" actId="20577"/>
          <ac:spMkLst>
            <pc:docMk/>
            <pc:sldMk cId="54396085" sldId="2776"/>
            <ac:spMk id="21" creationId="{DB5DA25B-8F93-CBAD-F51F-5E098299988F}"/>
          </ac:spMkLst>
        </pc:spChg>
        <pc:spChg chg="add del mod">
          <ac:chgData name="KevCla12" userId="ef2eb634-4620-450f-93cc-80cc93397e60" providerId="ADAL" clId="{0BF56A33-4BC5-423F-96C0-6A8645FA96BB}" dt="2023-12-03T23:19:04.817" v="37430"/>
          <ac:spMkLst>
            <pc:docMk/>
            <pc:sldMk cId="54396085" sldId="2776"/>
            <ac:spMk id="22" creationId="{5DBF9307-35AD-C875-C32C-F591A84A30E5}"/>
          </ac:spMkLst>
        </pc:spChg>
        <pc:spChg chg="add del">
          <ac:chgData name="KevCla12" userId="ef2eb634-4620-450f-93cc-80cc93397e60" providerId="ADAL" clId="{0BF56A33-4BC5-423F-96C0-6A8645FA96BB}" dt="2023-12-03T23:20:24.705" v="37435" actId="22"/>
          <ac:spMkLst>
            <pc:docMk/>
            <pc:sldMk cId="54396085" sldId="2776"/>
            <ac:spMk id="24" creationId="{E3C5BF89-D705-CB70-4749-571D20A2226E}"/>
          </ac:spMkLst>
        </pc:spChg>
        <pc:spChg chg="add mod">
          <ac:chgData name="KevCla12" userId="ef2eb634-4620-450f-93cc-80cc93397e60" providerId="ADAL" clId="{0BF56A33-4BC5-423F-96C0-6A8645FA96BB}" dt="2023-12-03T23:20:48.341" v="37456"/>
          <ac:spMkLst>
            <pc:docMk/>
            <pc:sldMk cId="54396085" sldId="2776"/>
            <ac:spMk id="26" creationId="{95077D84-90FB-D062-2BB7-883A1DCADB54}"/>
          </ac:spMkLst>
        </pc:spChg>
        <pc:spChg chg="add del">
          <ac:chgData name="KevCla12" userId="ef2eb634-4620-450f-93cc-80cc93397e60" providerId="ADAL" clId="{0BF56A33-4BC5-423F-96C0-6A8645FA96BB}" dt="2023-12-03T23:20:51.478" v="37459" actId="22"/>
          <ac:spMkLst>
            <pc:docMk/>
            <pc:sldMk cId="54396085" sldId="2776"/>
            <ac:spMk id="28" creationId="{B263FD33-FDFF-C8FE-43EC-33372DD774DF}"/>
          </ac:spMkLst>
        </pc:spChg>
        <pc:spChg chg="add mod">
          <ac:chgData name="KevCla12" userId="ef2eb634-4620-450f-93cc-80cc93397e60" providerId="ADAL" clId="{0BF56A33-4BC5-423F-96C0-6A8645FA96BB}" dt="2023-12-03T23:21:07.390" v="37471" actId="1076"/>
          <ac:spMkLst>
            <pc:docMk/>
            <pc:sldMk cId="54396085" sldId="2776"/>
            <ac:spMk id="30" creationId="{130CAFCB-BAF9-D044-E126-DB359788A604}"/>
          </ac:spMkLst>
        </pc:spChg>
      </pc:sldChg>
      <pc:sldChg chg="addSp delSp modSp new add mod ord">
        <pc:chgData name="KevCla12" userId="ef2eb634-4620-450f-93cc-80cc93397e60" providerId="ADAL" clId="{0BF56A33-4BC5-423F-96C0-6A8645FA96BB}" dt="2023-12-03T23:36:30.907" v="37739"/>
        <pc:sldMkLst>
          <pc:docMk/>
          <pc:sldMk cId="2355063275" sldId="2777"/>
        </pc:sldMkLst>
        <pc:spChg chg="del">
          <ac:chgData name="KevCla12" userId="ef2eb634-4620-450f-93cc-80cc93397e60" providerId="ADAL" clId="{0BF56A33-4BC5-423F-96C0-6A8645FA96BB}" dt="2023-12-03T23:24:21.534" v="37474" actId="478"/>
          <ac:spMkLst>
            <pc:docMk/>
            <pc:sldMk cId="2355063275" sldId="2777"/>
            <ac:spMk id="3" creationId="{CA94E7DD-6EF6-1672-008F-EFDF2FA8C939}"/>
          </ac:spMkLst>
        </pc:spChg>
        <pc:spChg chg="mod">
          <ac:chgData name="KevCla12" userId="ef2eb634-4620-450f-93cc-80cc93397e60" providerId="ADAL" clId="{0BF56A33-4BC5-423F-96C0-6A8645FA96BB}" dt="2023-12-03T23:36:22.465" v="37737" actId="20577"/>
          <ac:spMkLst>
            <pc:docMk/>
            <pc:sldMk cId="2355063275" sldId="2777"/>
            <ac:spMk id="5" creationId="{FB516DD5-8194-3D5E-8679-E941621B37F1}"/>
          </ac:spMkLst>
        </pc:spChg>
        <pc:spChg chg="add mod">
          <ac:chgData name="KevCla12" userId="ef2eb634-4620-450f-93cc-80cc93397e60" providerId="ADAL" clId="{0BF56A33-4BC5-423F-96C0-6A8645FA96BB}" dt="2023-12-03T23:32:58.607" v="37599" actId="404"/>
          <ac:spMkLst>
            <pc:docMk/>
            <pc:sldMk cId="2355063275" sldId="2777"/>
            <ac:spMk id="9" creationId="{8CF8FA5A-B8A0-4321-D122-CAC996596163}"/>
          </ac:spMkLst>
        </pc:spChg>
        <pc:spChg chg="add mod">
          <ac:chgData name="KevCla12" userId="ef2eb634-4620-450f-93cc-80cc93397e60" providerId="ADAL" clId="{0BF56A33-4BC5-423F-96C0-6A8645FA96BB}" dt="2023-12-03T23:35:19.685" v="37701" actId="1036"/>
          <ac:spMkLst>
            <pc:docMk/>
            <pc:sldMk cId="2355063275" sldId="2777"/>
            <ac:spMk id="12" creationId="{29AC1C8C-5BF5-F87D-97DD-3DB2B7A6FA2C}"/>
          </ac:spMkLst>
        </pc:spChg>
        <pc:graphicFrameChg chg="add mod modGraphic">
          <ac:chgData name="KevCla12" userId="ef2eb634-4620-450f-93cc-80cc93397e60" providerId="ADAL" clId="{0BF56A33-4BC5-423F-96C0-6A8645FA96BB}" dt="2023-12-03T23:35:09.156" v="37690" actId="404"/>
          <ac:graphicFrameMkLst>
            <pc:docMk/>
            <pc:sldMk cId="2355063275" sldId="2777"/>
            <ac:graphicFrameMk id="8" creationId="{937D3BF9-B449-B824-1D9C-0F7968C2DC98}"/>
          </ac:graphicFrameMkLst>
        </pc:graphicFrameChg>
        <pc:graphicFrameChg chg="add mod ord modVis replST">
          <ac:chgData name="KevCla12" userId="ef2eb634-4620-450f-93cc-80cc93397e60" providerId="ADAL" clId="{0BF56A33-4BC5-423F-96C0-6A8645FA96BB}" dt="2023-12-03T23:32:06.759" v="37579"/>
          <ac:graphicFrameMkLst>
            <pc:docMk/>
            <pc:sldMk cId="2355063275" sldId="2777"/>
            <ac:graphicFrameMk id="10" creationId="{D2CEF7A7-BD3C-6FAC-EFED-6CE40BA931A2}"/>
          </ac:graphicFrameMkLst>
        </pc:graphicFrameChg>
        <pc:graphicFrameChg chg="add mod modGraphic">
          <ac:chgData name="KevCla12" userId="ef2eb634-4620-450f-93cc-80cc93397e60" providerId="ADAL" clId="{0BF56A33-4BC5-423F-96C0-6A8645FA96BB}" dt="2023-12-03T23:36:08.582" v="37710"/>
          <ac:graphicFrameMkLst>
            <pc:docMk/>
            <pc:sldMk cId="2355063275" sldId="2777"/>
            <ac:graphicFrameMk id="11" creationId="{70330986-D89A-B110-A4C9-B5C8BA0ECF84}"/>
          </ac:graphicFrameMkLst>
        </pc:graphicFrameChg>
      </pc:sldChg>
      <pc:sldChg chg="addSp delSp modSp new add mod ord">
        <pc:chgData name="KevCla12" userId="ef2eb634-4620-450f-93cc-80cc93397e60" providerId="ADAL" clId="{0BF56A33-4BC5-423F-96C0-6A8645FA96BB}" dt="2023-12-03T23:57:32.758" v="38312" actId="113"/>
        <pc:sldMkLst>
          <pc:docMk/>
          <pc:sldMk cId="3475873930" sldId="2778"/>
        </pc:sldMkLst>
        <pc:spChg chg="del">
          <ac:chgData name="KevCla12" userId="ef2eb634-4620-450f-93cc-80cc93397e60" providerId="ADAL" clId="{0BF56A33-4BC5-423F-96C0-6A8645FA96BB}" dt="2023-12-03T23:39:02.901" v="37743" actId="478"/>
          <ac:spMkLst>
            <pc:docMk/>
            <pc:sldMk cId="3475873930" sldId="2778"/>
            <ac:spMk id="3" creationId="{510ED6F5-DDA8-A2F1-4AA2-5BCDF59EC3ED}"/>
          </ac:spMkLst>
        </pc:spChg>
        <pc:spChg chg="mod">
          <ac:chgData name="KevCla12" userId="ef2eb634-4620-450f-93cc-80cc93397e60" providerId="ADAL" clId="{0BF56A33-4BC5-423F-96C0-6A8645FA96BB}" dt="2023-12-03T23:57:24.471" v="38307" actId="20577"/>
          <ac:spMkLst>
            <pc:docMk/>
            <pc:sldMk cId="3475873930" sldId="2778"/>
            <ac:spMk id="5" creationId="{85487CDD-E65E-598E-E5B6-8A828C54E5FA}"/>
          </ac:spMkLst>
        </pc:spChg>
        <pc:spChg chg="add mod">
          <ac:chgData name="KevCla12" userId="ef2eb634-4620-450f-93cc-80cc93397e60" providerId="ADAL" clId="{0BF56A33-4BC5-423F-96C0-6A8645FA96BB}" dt="2023-12-03T23:53:02.746" v="38135" actId="404"/>
          <ac:spMkLst>
            <pc:docMk/>
            <pc:sldMk cId="3475873930" sldId="2778"/>
            <ac:spMk id="9" creationId="{938AFA62-5077-0CB5-C5D8-8DEA4C53C095}"/>
          </ac:spMkLst>
        </pc:spChg>
        <pc:spChg chg="add del">
          <ac:chgData name="KevCla12" userId="ef2eb634-4620-450f-93cc-80cc93397e60" providerId="ADAL" clId="{0BF56A33-4BC5-423F-96C0-6A8645FA96BB}" dt="2023-12-03T23:41:25.393" v="37747"/>
          <ac:spMkLst>
            <pc:docMk/>
            <pc:sldMk cId="3475873930" sldId="2778"/>
            <ac:spMk id="10" creationId="{EF278789-F00F-F3D3-BD19-3C74B963D726}"/>
          </ac:spMkLst>
        </pc:spChg>
        <pc:spChg chg="add del">
          <ac:chgData name="KevCla12" userId="ef2eb634-4620-450f-93cc-80cc93397e60" providerId="ADAL" clId="{0BF56A33-4BC5-423F-96C0-6A8645FA96BB}" dt="2023-12-03T23:41:27.886" v="37749" actId="21"/>
          <ac:spMkLst>
            <pc:docMk/>
            <pc:sldMk cId="3475873930" sldId="2778"/>
            <ac:spMk id="11" creationId="{B04FED43-22FC-4196-D6EB-D766A06A1F63}"/>
          </ac:spMkLst>
        </pc:spChg>
        <pc:spChg chg="add del mod">
          <ac:chgData name="KevCla12" userId="ef2eb634-4620-450f-93cc-80cc93397e60" providerId="ADAL" clId="{0BF56A33-4BC5-423F-96C0-6A8645FA96BB}" dt="2023-12-03T23:41:34.191" v="37753"/>
          <ac:spMkLst>
            <pc:docMk/>
            <pc:sldMk cId="3475873930" sldId="2778"/>
            <ac:spMk id="12" creationId="{274A4024-6685-18A5-DEE1-34F2287715DD}"/>
          </ac:spMkLst>
        </pc:spChg>
        <pc:spChg chg="add mod">
          <ac:chgData name="KevCla12" userId="ef2eb634-4620-450f-93cc-80cc93397e60" providerId="ADAL" clId="{0BF56A33-4BC5-423F-96C0-6A8645FA96BB}" dt="2023-12-03T23:43:45.496" v="37805" actId="113"/>
          <ac:spMkLst>
            <pc:docMk/>
            <pc:sldMk cId="3475873930" sldId="2778"/>
            <ac:spMk id="13" creationId="{76A39EC6-A65D-0817-C566-FBA7906A2DDE}"/>
          </ac:spMkLst>
        </pc:spChg>
        <pc:spChg chg="add del mod">
          <ac:chgData name="KevCla12" userId="ef2eb634-4620-450f-93cc-80cc93397e60" providerId="ADAL" clId="{0BF56A33-4BC5-423F-96C0-6A8645FA96BB}" dt="2023-12-03T23:41:42.694" v="37756"/>
          <ac:spMkLst>
            <pc:docMk/>
            <pc:sldMk cId="3475873930" sldId="2778"/>
            <ac:spMk id="14" creationId="{81FDB210-6158-FBC4-7404-01AAD1EB9721}"/>
          </ac:spMkLst>
        </pc:spChg>
        <pc:spChg chg="add del mod">
          <ac:chgData name="KevCla12" userId="ef2eb634-4620-450f-93cc-80cc93397e60" providerId="ADAL" clId="{0BF56A33-4BC5-423F-96C0-6A8645FA96BB}" dt="2023-12-03T23:41:45.912" v="37760"/>
          <ac:spMkLst>
            <pc:docMk/>
            <pc:sldMk cId="3475873930" sldId="2778"/>
            <ac:spMk id="15" creationId="{E2F0ECED-9F6C-1CA2-0FF1-1F305D72073F}"/>
          </ac:spMkLst>
        </pc:spChg>
        <pc:spChg chg="add mod modVis">
          <ac:chgData name="KevCla12" userId="ef2eb634-4620-450f-93cc-80cc93397e60" providerId="ADAL" clId="{0BF56A33-4BC5-423F-96C0-6A8645FA96BB}" dt="2023-12-03T23:48:15.104" v="38018" actId="1036"/>
          <ac:spMkLst>
            <pc:docMk/>
            <pc:sldMk cId="3475873930" sldId="2778"/>
            <ac:spMk id="16" creationId="{AC9D6E34-B308-3409-3AD6-F736C1AC3CE2}"/>
          </ac:spMkLst>
        </pc:spChg>
        <pc:spChg chg="mod modVis">
          <ac:chgData name="KevCla12" userId="ef2eb634-4620-450f-93cc-80cc93397e60" providerId="ADAL" clId="{0BF56A33-4BC5-423F-96C0-6A8645FA96BB}" dt="2023-12-03T23:48:15.104" v="38018" actId="1036"/>
          <ac:spMkLst>
            <pc:docMk/>
            <pc:sldMk cId="3475873930" sldId="2778"/>
            <ac:spMk id="18" creationId="{FFAFDE82-56BF-7902-15CB-6FB1A384647D}"/>
          </ac:spMkLst>
        </pc:spChg>
        <pc:spChg chg="mod modVis">
          <ac:chgData name="KevCla12" userId="ef2eb634-4620-450f-93cc-80cc93397e60" providerId="ADAL" clId="{0BF56A33-4BC5-423F-96C0-6A8645FA96BB}" dt="2023-12-03T23:48:15.104" v="38018" actId="1036"/>
          <ac:spMkLst>
            <pc:docMk/>
            <pc:sldMk cId="3475873930" sldId="2778"/>
            <ac:spMk id="19" creationId="{1FFA66E0-C0F7-CD52-6AA3-51F3EB2B9775}"/>
          </ac:spMkLst>
        </pc:spChg>
        <pc:spChg chg="mod modVis">
          <ac:chgData name="KevCla12" userId="ef2eb634-4620-450f-93cc-80cc93397e60" providerId="ADAL" clId="{0BF56A33-4BC5-423F-96C0-6A8645FA96BB}" dt="2023-12-03T23:48:15.104" v="38018" actId="1036"/>
          <ac:spMkLst>
            <pc:docMk/>
            <pc:sldMk cId="3475873930" sldId="2778"/>
            <ac:spMk id="20" creationId="{0CDB3F46-028F-E796-F6AF-535195F8E1EB}"/>
          </ac:spMkLst>
        </pc:spChg>
        <pc:spChg chg="mod modVis">
          <ac:chgData name="KevCla12" userId="ef2eb634-4620-450f-93cc-80cc93397e60" providerId="ADAL" clId="{0BF56A33-4BC5-423F-96C0-6A8645FA96BB}" dt="2023-12-03T23:48:15.104" v="38018" actId="1036"/>
          <ac:spMkLst>
            <pc:docMk/>
            <pc:sldMk cId="3475873930" sldId="2778"/>
            <ac:spMk id="21" creationId="{AA55A757-2C71-DA30-E6DB-391EF13AE25D}"/>
          </ac:spMkLst>
        </pc:spChg>
        <pc:spChg chg="mod modVis">
          <ac:chgData name="KevCla12" userId="ef2eb634-4620-450f-93cc-80cc93397e60" providerId="ADAL" clId="{0BF56A33-4BC5-423F-96C0-6A8645FA96BB}" dt="2023-12-03T23:48:15.104" v="38018" actId="1036"/>
          <ac:spMkLst>
            <pc:docMk/>
            <pc:sldMk cId="3475873930" sldId="2778"/>
            <ac:spMk id="22" creationId="{1F549860-DD20-830B-1CD1-810C9E789631}"/>
          </ac:spMkLst>
        </pc:spChg>
        <pc:spChg chg="mod modVis">
          <ac:chgData name="KevCla12" userId="ef2eb634-4620-450f-93cc-80cc93397e60" providerId="ADAL" clId="{0BF56A33-4BC5-423F-96C0-6A8645FA96BB}" dt="2023-12-03T23:48:15.104" v="38018" actId="1036"/>
          <ac:spMkLst>
            <pc:docMk/>
            <pc:sldMk cId="3475873930" sldId="2778"/>
            <ac:spMk id="23" creationId="{3E88A1FB-DF44-A2D6-A762-ED836482A3A9}"/>
          </ac:spMkLst>
        </pc:spChg>
        <pc:spChg chg="mod modVis">
          <ac:chgData name="KevCla12" userId="ef2eb634-4620-450f-93cc-80cc93397e60" providerId="ADAL" clId="{0BF56A33-4BC5-423F-96C0-6A8645FA96BB}" dt="2023-12-03T23:48:15.104" v="38018" actId="1036"/>
          <ac:spMkLst>
            <pc:docMk/>
            <pc:sldMk cId="3475873930" sldId="2778"/>
            <ac:spMk id="24" creationId="{3B65C77B-CC3D-9743-CDE3-3F8FFF0394A8}"/>
          </ac:spMkLst>
        </pc:spChg>
        <pc:spChg chg="mod modVis">
          <ac:chgData name="KevCla12" userId="ef2eb634-4620-450f-93cc-80cc93397e60" providerId="ADAL" clId="{0BF56A33-4BC5-423F-96C0-6A8645FA96BB}" dt="2023-12-03T23:48:15.104" v="38018" actId="1036"/>
          <ac:spMkLst>
            <pc:docMk/>
            <pc:sldMk cId="3475873930" sldId="2778"/>
            <ac:spMk id="25" creationId="{C4C0FC62-F0F3-021F-9A47-5D76823104A4}"/>
          </ac:spMkLst>
        </pc:spChg>
        <pc:spChg chg="mod modVis">
          <ac:chgData name="KevCla12" userId="ef2eb634-4620-450f-93cc-80cc93397e60" providerId="ADAL" clId="{0BF56A33-4BC5-423F-96C0-6A8645FA96BB}" dt="2023-12-03T23:48:15.104" v="38018" actId="1036"/>
          <ac:spMkLst>
            <pc:docMk/>
            <pc:sldMk cId="3475873930" sldId="2778"/>
            <ac:spMk id="26" creationId="{DEB057C0-4777-B89A-8C07-48CB6FE63A27}"/>
          </ac:spMkLst>
        </pc:spChg>
        <pc:spChg chg="mod modVis">
          <ac:chgData name="KevCla12" userId="ef2eb634-4620-450f-93cc-80cc93397e60" providerId="ADAL" clId="{0BF56A33-4BC5-423F-96C0-6A8645FA96BB}" dt="2023-12-03T23:48:15.104" v="38018" actId="1036"/>
          <ac:spMkLst>
            <pc:docMk/>
            <pc:sldMk cId="3475873930" sldId="2778"/>
            <ac:spMk id="27" creationId="{BEFA6FD7-FEAE-C7C4-DFE6-99FDBC74E090}"/>
          </ac:spMkLst>
        </pc:spChg>
        <pc:spChg chg="mod modVis">
          <ac:chgData name="KevCla12" userId="ef2eb634-4620-450f-93cc-80cc93397e60" providerId="ADAL" clId="{0BF56A33-4BC5-423F-96C0-6A8645FA96BB}" dt="2023-12-03T23:48:15.104" v="38018" actId="1036"/>
          <ac:spMkLst>
            <pc:docMk/>
            <pc:sldMk cId="3475873930" sldId="2778"/>
            <ac:spMk id="28" creationId="{389BFC2B-8670-1ED1-F3E0-798E2891D537}"/>
          </ac:spMkLst>
        </pc:spChg>
        <pc:spChg chg="mod modVis">
          <ac:chgData name="KevCla12" userId="ef2eb634-4620-450f-93cc-80cc93397e60" providerId="ADAL" clId="{0BF56A33-4BC5-423F-96C0-6A8645FA96BB}" dt="2023-12-03T23:48:15.104" v="38018" actId="1036"/>
          <ac:spMkLst>
            <pc:docMk/>
            <pc:sldMk cId="3475873930" sldId="2778"/>
            <ac:spMk id="29" creationId="{728EDD35-FA6C-C6AB-9AA6-E80C6F583B4F}"/>
          </ac:spMkLst>
        </pc:spChg>
        <pc:spChg chg="mod modVis">
          <ac:chgData name="KevCla12" userId="ef2eb634-4620-450f-93cc-80cc93397e60" providerId="ADAL" clId="{0BF56A33-4BC5-423F-96C0-6A8645FA96BB}" dt="2023-12-03T23:48:15.104" v="38018" actId="1036"/>
          <ac:spMkLst>
            <pc:docMk/>
            <pc:sldMk cId="3475873930" sldId="2778"/>
            <ac:spMk id="30" creationId="{4B5824AB-1A09-71E0-E38C-901EF2BACF40}"/>
          </ac:spMkLst>
        </pc:spChg>
        <pc:spChg chg="mod modVis">
          <ac:chgData name="KevCla12" userId="ef2eb634-4620-450f-93cc-80cc93397e60" providerId="ADAL" clId="{0BF56A33-4BC5-423F-96C0-6A8645FA96BB}" dt="2023-12-03T23:48:15.104" v="38018" actId="1036"/>
          <ac:spMkLst>
            <pc:docMk/>
            <pc:sldMk cId="3475873930" sldId="2778"/>
            <ac:spMk id="31" creationId="{42A31366-3AAF-ADE8-FC16-33FCB287A064}"/>
          </ac:spMkLst>
        </pc:spChg>
        <pc:spChg chg="mod modVis">
          <ac:chgData name="KevCla12" userId="ef2eb634-4620-450f-93cc-80cc93397e60" providerId="ADAL" clId="{0BF56A33-4BC5-423F-96C0-6A8645FA96BB}" dt="2023-12-03T23:48:15.104" v="38018" actId="1036"/>
          <ac:spMkLst>
            <pc:docMk/>
            <pc:sldMk cId="3475873930" sldId="2778"/>
            <ac:spMk id="32" creationId="{0C4C4032-CA31-91DF-DA64-A5333D29D761}"/>
          </ac:spMkLst>
        </pc:spChg>
        <pc:spChg chg="mod modVis">
          <ac:chgData name="KevCla12" userId="ef2eb634-4620-450f-93cc-80cc93397e60" providerId="ADAL" clId="{0BF56A33-4BC5-423F-96C0-6A8645FA96BB}" dt="2023-12-03T23:48:15.104" v="38018" actId="1036"/>
          <ac:spMkLst>
            <pc:docMk/>
            <pc:sldMk cId="3475873930" sldId="2778"/>
            <ac:spMk id="33" creationId="{B52B4BF3-8CD5-0F4B-7659-DBCC1815A2C9}"/>
          </ac:spMkLst>
        </pc:spChg>
        <pc:spChg chg="mod modVis">
          <ac:chgData name="KevCla12" userId="ef2eb634-4620-450f-93cc-80cc93397e60" providerId="ADAL" clId="{0BF56A33-4BC5-423F-96C0-6A8645FA96BB}" dt="2023-12-03T23:48:15.104" v="38018" actId="1036"/>
          <ac:spMkLst>
            <pc:docMk/>
            <pc:sldMk cId="3475873930" sldId="2778"/>
            <ac:spMk id="34" creationId="{B8A66E41-FA3C-BC44-91ED-58B264D558EA}"/>
          </ac:spMkLst>
        </pc:spChg>
        <pc:spChg chg="mod modVis">
          <ac:chgData name="KevCla12" userId="ef2eb634-4620-450f-93cc-80cc93397e60" providerId="ADAL" clId="{0BF56A33-4BC5-423F-96C0-6A8645FA96BB}" dt="2023-12-03T23:48:15.104" v="38018" actId="1036"/>
          <ac:spMkLst>
            <pc:docMk/>
            <pc:sldMk cId="3475873930" sldId="2778"/>
            <ac:spMk id="35" creationId="{E06CB0BD-A4D8-817E-B76C-AB8EB0CC900A}"/>
          </ac:spMkLst>
        </pc:spChg>
        <pc:spChg chg="mod modVis">
          <ac:chgData name="KevCla12" userId="ef2eb634-4620-450f-93cc-80cc93397e60" providerId="ADAL" clId="{0BF56A33-4BC5-423F-96C0-6A8645FA96BB}" dt="2023-12-03T23:48:15.104" v="38018" actId="1036"/>
          <ac:spMkLst>
            <pc:docMk/>
            <pc:sldMk cId="3475873930" sldId="2778"/>
            <ac:spMk id="36" creationId="{D8D54364-AE3C-BF70-BEA8-7FD39121A407}"/>
          </ac:spMkLst>
        </pc:spChg>
        <pc:spChg chg="mod modVis">
          <ac:chgData name="KevCla12" userId="ef2eb634-4620-450f-93cc-80cc93397e60" providerId="ADAL" clId="{0BF56A33-4BC5-423F-96C0-6A8645FA96BB}" dt="2023-12-03T23:48:15.104" v="38018" actId="1036"/>
          <ac:spMkLst>
            <pc:docMk/>
            <pc:sldMk cId="3475873930" sldId="2778"/>
            <ac:spMk id="37" creationId="{6439BC2E-5C86-8F56-AC96-CA88232C8879}"/>
          </ac:spMkLst>
        </pc:spChg>
        <pc:spChg chg="mod modVis">
          <ac:chgData name="KevCla12" userId="ef2eb634-4620-450f-93cc-80cc93397e60" providerId="ADAL" clId="{0BF56A33-4BC5-423F-96C0-6A8645FA96BB}" dt="2023-12-03T23:48:15.104" v="38018" actId="1036"/>
          <ac:spMkLst>
            <pc:docMk/>
            <pc:sldMk cId="3475873930" sldId="2778"/>
            <ac:spMk id="38" creationId="{C379EFD1-97C9-CFA4-28D0-7FFC2A0AA957}"/>
          </ac:spMkLst>
        </pc:spChg>
        <pc:spChg chg="mod modVis">
          <ac:chgData name="KevCla12" userId="ef2eb634-4620-450f-93cc-80cc93397e60" providerId="ADAL" clId="{0BF56A33-4BC5-423F-96C0-6A8645FA96BB}" dt="2023-12-03T23:48:15.104" v="38018" actId="1036"/>
          <ac:spMkLst>
            <pc:docMk/>
            <pc:sldMk cId="3475873930" sldId="2778"/>
            <ac:spMk id="39" creationId="{BBD6BFF7-E8F9-972F-4F51-5B7742E38412}"/>
          </ac:spMkLst>
        </pc:spChg>
        <pc:spChg chg="mod modVis">
          <ac:chgData name="KevCla12" userId="ef2eb634-4620-450f-93cc-80cc93397e60" providerId="ADAL" clId="{0BF56A33-4BC5-423F-96C0-6A8645FA96BB}" dt="2023-12-03T23:48:15.104" v="38018" actId="1036"/>
          <ac:spMkLst>
            <pc:docMk/>
            <pc:sldMk cId="3475873930" sldId="2778"/>
            <ac:spMk id="40" creationId="{6AC4A71F-43EE-39A8-F117-A8518665CEAE}"/>
          </ac:spMkLst>
        </pc:spChg>
        <pc:spChg chg="mod modVis">
          <ac:chgData name="KevCla12" userId="ef2eb634-4620-450f-93cc-80cc93397e60" providerId="ADAL" clId="{0BF56A33-4BC5-423F-96C0-6A8645FA96BB}" dt="2023-12-03T23:48:15.104" v="38018" actId="1036"/>
          <ac:spMkLst>
            <pc:docMk/>
            <pc:sldMk cId="3475873930" sldId="2778"/>
            <ac:spMk id="42" creationId="{3280D637-6F86-CD2F-E7FA-862E84D8A46D}"/>
          </ac:spMkLst>
        </pc:spChg>
        <pc:spChg chg="mod modVis">
          <ac:chgData name="KevCla12" userId="ef2eb634-4620-450f-93cc-80cc93397e60" providerId="ADAL" clId="{0BF56A33-4BC5-423F-96C0-6A8645FA96BB}" dt="2023-12-03T23:48:15.104" v="38018" actId="1036"/>
          <ac:spMkLst>
            <pc:docMk/>
            <pc:sldMk cId="3475873930" sldId="2778"/>
            <ac:spMk id="43" creationId="{38BB6115-CDFB-B95E-752F-37516FB83A2D}"/>
          </ac:spMkLst>
        </pc:spChg>
        <pc:spChg chg="mod modVis">
          <ac:chgData name="KevCla12" userId="ef2eb634-4620-450f-93cc-80cc93397e60" providerId="ADAL" clId="{0BF56A33-4BC5-423F-96C0-6A8645FA96BB}" dt="2023-12-03T23:48:15.104" v="38018" actId="1036"/>
          <ac:spMkLst>
            <pc:docMk/>
            <pc:sldMk cId="3475873930" sldId="2778"/>
            <ac:spMk id="44" creationId="{EA407521-7E59-2C55-EC31-9E9E3A7A2EDE}"/>
          </ac:spMkLst>
        </pc:spChg>
        <pc:spChg chg="mod modVis">
          <ac:chgData name="KevCla12" userId="ef2eb634-4620-450f-93cc-80cc93397e60" providerId="ADAL" clId="{0BF56A33-4BC5-423F-96C0-6A8645FA96BB}" dt="2023-12-03T23:48:15.104" v="38018" actId="1036"/>
          <ac:spMkLst>
            <pc:docMk/>
            <pc:sldMk cId="3475873930" sldId="2778"/>
            <ac:spMk id="45" creationId="{4D6DE748-D4CC-BC9D-88A1-399BA4FE8D0F}"/>
          </ac:spMkLst>
        </pc:spChg>
        <pc:spChg chg="mod modVis">
          <ac:chgData name="KevCla12" userId="ef2eb634-4620-450f-93cc-80cc93397e60" providerId="ADAL" clId="{0BF56A33-4BC5-423F-96C0-6A8645FA96BB}" dt="2023-12-03T23:48:15.104" v="38018" actId="1036"/>
          <ac:spMkLst>
            <pc:docMk/>
            <pc:sldMk cId="3475873930" sldId="2778"/>
            <ac:spMk id="46" creationId="{D17F82D6-15A8-0C58-34AB-C640C7D2E326}"/>
          </ac:spMkLst>
        </pc:spChg>
        <pc:spChg chg="mod modVis">
          <ac:chgData name="KevCla12" userId="ef2eb634-4620-450f-93cc-80cc93397e60" providerId="ADAL" clId="{0BF56A33-4BC5-423F-96C0-6A8645FA96BB}" dt="2023-12-03T23:48:15.104" v="38018" actId="1036"/>
          <ac:spMkLst>
            <pc:docMk/>
            <pc:sldMk cId="3475873930" sldId="2778"/>
            <ac:spMk id="47" creationId="{FE58DFDD-0587-4D07-6FC0-3D9CF9A36E7C}"/>
          </ac:spMkLst>
        </pc:spChg>
        <pc:spChg chg="add del mod">
          <ac:chgData name="KevCla12" userId="ef2eb634-4620-450f-93cc-80cc93397e60" providerId="ADAL" clId="{0BF56A33-4BC5-423F-96C0-6A8645FA96BB}" dt="2023-12-03T23:45:47.061" v="37884"/>
          <ac:spMkLst>
            <pc:docMk/>
            <pc:sldMk cId="3475873930" sldId="2778"/>
            <ac:spMk id="48" creationId="{2015D88D-BB19-2AF0-C630-EA2686B1A017}"/>
          </ac:spMkLst>
        </pc:spChg>
        <pc:spChg chg="add mod">
          <ac:chgData name="KevCla12" userId="ef2eb634-4620-450f-93cc-80cc93397e60" providerId="ADAL" clId="{0BF56A33-4BC5-423F-96C0-6A8645FA96BB}" dt="2023-12-03T23:57:32.758" v="38312" actId="113"/>
          <ac:spMkLst>
            <pc:docMk/>
            <pc:sldMk cId="3475873930" sldId="2778"/>
            <ac:spMk id="49" creationId="{B9765C73-CFFA-DBDA-60C6-6085BDAF7BBB}"/>
          </ac:spMkLst>
        </pc:spChg>
        <pc:spChg chg="add mod">
          <ac:chgData name="KevCla12" userId="ef2eb634-4620-450f-93cc-80cc93397e60" providerId="ADAL" clId="{0BF56A33-4BC5-423F-96C0-6A8645FA96BB}" dt="2023-12-03T23:57:30.380" v="38309" actId="113"/>
          <ac:spMkLst>
            <pc:docMk/>
            <pc:sldMk cId="3475873930" sldId="2778"/>
            <ac:spMk id="50" creationId="{BAC1BE08-68B2-8C38-4D1E-AC0C4F413D6D}"/>
          </ac:spMkLst>
        </pc:spChg>
        <pc:spChg chg="add mod">
          <ac:chgData name="KevCla12" userId="ef2eb634-4620-450f-93cc-80cc93397e60" providerId="ADAL" clId="{0BF56A33-4BC5-423F-96C0-6A8645FA96BB}" dt="2023-12-03T23:57:32.032" v="38311" actId="113"/>
          <ac:spMkLst>
            <pc:docMk/>
            <pc:sldMk cId="3475873930" sldId="2778"/>
            <ac:spMk id="51" creationId="{C123F3C4-7F8F-91A2-EC40-1F2F5B82373E}"/>
          </ac:spMkLst>
        </pc:spChg>
        <pc:spChg chg="add mod">
          <ac:chgData name="KevCla12" userId="ef2eb634-4620-450f-93cc-80cc93397e60" providerId="ADAL" clId="{0BF56A33-4BC5-423F-96C0-6A8645FA96BB}" dt="2023-12-03T23:48:58.291" v="38131" actId="1076"/>
          <ac:spMkLst>
            <pc:docMk/>
            <pc:sldMk cId="3475873930" sldId="2778"/>
            <ac:spMk id="52" creationId="{5192357A-3656-89CD-DA94-AEA888D8077A}"/>
          </ac:spMkLst>
        </pc:spChg>
        <pc:spChg chg="add mod">
          <ac:chgData name="KevCla12" userId="ef2eb634-4620-450f-93cc-80cc93397e60" providerId="ADAL" clId="{0BF56A33-4BC5-423F-96C0-6A8645FA96BB}" dt="2023-12-03T23:55:49.164" v="38234" actId="113"/>
          <ac:spMkLst>
            <pc:docMk/>
            <pc:sldMk cId="3475873930" sldId="2778"/>
            <ac:spMk id="54" creationId="{843C6120-1298-27B6-BD00-2452F4B74AE7}"/>
          </ac:spMkLst>
        </pc:spChg>
        <pc:spChg chg="add mod">
          <ac:chgData name="KevCla12" userId="ef2eb634-4620-450f-93cc-80cc93397e60" providerId="ADAL" clId="{0BF56A33-4BC5-423F-96C0-6A8645FA96BB}" dt="2023-12-03T23:53:18.080" v="38167" actId="1076"/>
          <ac:spMkLst>
            <pc:docMk/>
            <pc:sldMk cId="3475873930" sldId="2778"/>
            <ac:spMk id="55" creationId="{778CEB99-D758-DFA0-AB47-95BED05C29E7}"/>
          </ac:spMkLst>
        </pc:spChg>
        <pc:spChg chg="add del">
          <ac:chgData name="KevCla12" userId="ef2eb634-4620-450f-93cc-80cc93397e60" providerId="ADAL" clId="{0BF56A33-4BC5-423F-96C0-6A8645FA96BB}" dt="2023-12-03T23:56:30.278" v="38237" actId="22"/>
          <ac:spMkLst>
            <pc:docMk/>
            <pc:sldMk cId="3475873930" sldId="2778"/>
            <ac:spMk id="57" creationId="{201AA71C-7B46-04E9-8DBF-EE5AC5553D8D}"/>
          </ac:spMkLst>
        </pc:spChg>
        <pc:spChg chg="add mod">
          <ac:chgData name="KevCla12" userId="ef2eb634-4620-450f-93cc-80cc93397e60" providerId="ADAL" clId="{0BF56A33-4BC5-423F-96C0-6A8645FA96BB}" dt="2023-12-03T23:56:39.501" v="38246" actId="113"/>
          <ac:spMkLst>
            <pc:docMk/>
            <pc:sldMk cId="3475873930" sldId="2778"/>
            <ac:spMk id="59" creationId="{53DA1C1A-4BFA-A6C3-2CD7-175416115A26}"/>
          </ac:spMkLst>
        </pc:spChg>
        <pc:grpChg chg="add mod modVis">
          <ac:chgData name="KevCla12" userId="ef2eb634-4620-450f-93cc-80cc93397e60" providerId="ADAL" clId="{0BF56A33-4BC5-423F-96C0-6A8645FA96BB}" dt="2023-12-03T23:48:15.104" v="38018" actId="1036"/>
          <ac:grpSpMkLst>
            <pc:docMk/>
            <pc:sldMk cId="3475873930" sldId="2778"/>
            <ac:grpSpMk id="17" creationId="{AB177C7F-6DB5-C6F9-1082-0DF773029E4B}"/>
          </ac:grpSpMkLst>
        </pc:grpChg>
        <pc:grpChg chg="add mod modVis">
          <ac:chgData name="KevCla12" userId="ef2eb634-4620-450f-93cc-80cc93397e60" providerId="ADAL" clId="{0BF56A33-4BC5-423F-96C0-6A8645FA96BB}" dt="2023-12-03T23:48:15.104" v="38018" actId="1036"/>
          <ac:grpSpMkLst>
            <pc:docMk/>
            <pc:sldMk cId="3475873930" sldId="2778"/>
            <ac:grpSpMk id="41" creationId="{6C97BE2D-82EA-7BBD-BCA9-5E3F4B1357FE}"/>
          </ac:grpSpMkLst>
        </pc:grpChg>
        <pc:cxnChg chg="add mod">
          <ac:chgData name="KevCla12" userId="ef2eb634-4620-450f-93cc-80cc93397e60" providerId="ADAL" clId="{0BF56A33-4BC5-423F-96C0-6A8645FA96BB}" dt="2023-12-03T23:39:01.655" v="37742"/>
          <ac:cxnSpMkLst>
            <pc:docMk/>
            <pc:sldMk cId="3475873930" sldId="2778"/>
            <ac:cxnSpMk id="8" creationId="{0F4A785A-C2BB-C4F2-D22A-9C3454BC1525}"/>
          </ac:cxnSpMkLst>
        </pc:cxnChg>
      </pc:sldChg>
      <pc:sldChg chg="addSp delSp modSp new add mod modClrScheme chgLayout">
        <pc:chgData name="KevCla12" userId="ef2eb634-4620-450f-93cc-80cc93397e60" providerId="ADAL" clId="{0BF56A33-4BC5-423F-96C0-6A8645FA96BB}" dt="2023-12-03T23:57:59.708" v="38466" actId="20577"/>
        <pc:sldMkLst>
          <pc:docMk/>
          <pc:sldMk cId="1306626804" sldId="2779"/>
        </pc:sldMkLst>
        <pc:spChg chg="del mod ord">
          <ac:chgData name="KevCla12" userId="ef2eb634-4620-450f-93cc-80cc93397e60" providerId="ADAL" clId="{0BF56A33-4BC5-423F-96C0-6A8645FA96BB}" dt="2023-12-03T23:57:42.262" v="38316"/>
          <ac:spMkLst>
            <pc:docMk/>
            <pc:sldMk cId="1306626804" sldId="2779"/>
            <ac:spMk id="2" creationId="{0CFB7A56-D1F0-DEA9-96A2-3182063D4C9B}"/>
          </ac:spMkLst>
        </pc:spChg>
        <pc:spChg chg="del mod ord">
          <ac:chgData name="KevCla12" userId="ef2eb634-4620-450f-93cc-80cc93397e60" providerId="ADAL" clId="{0BF56A33-4BC5-423F-96C0-6A8645FA96BB}" dt="2023-12-03T23:57:42.262" v="38316"/>
          <ac:spMkLst>
            <pc:docMk/>
            <pc:sldMk cId="1306626804" sldId="2779"/>
            <ac:spMk id="3" creationId="{E512B38F-7A9B-883D-7F70-639017E0817C}"/>
          </ac:spMkLst>
        </pc:spChg>
        <pc:spChg chg="mod ord">
          <ac:chgData name="KevCla12" userId="ef2eb634-4620-450f-93cc-80cc93397e60" providerId="ADAL" clId="{0BF56A33-4BC5-423F-96C0-6A8645FA96BB}" dt="2023-12-03T23:57:42.262" v="38316"/>
          <ac:spMkLst>
            <pc:docMk/>
            <pc:sldMk cId="1306626804" sldId="2779"/>
            <ac:spMk id="4" creationId="{DF7BAD4A-B0D6-91C2-FFA1-0E3A0E7B34DA}"/>
          </ac:spMkLst>
        </pc:spChg>
        <pc:spChg chg="del">
          <ac:chgData name="KevCla12" userId="ef2eb634-4620-450f-93cc-80cc93397e60" providerId="ADAL" clId="{0BF56A33-4BC5-423F-96C0-6A8645FA96BB}" dt="2023-12-03T23:57:42.262" v="38316"/>
          <ac:spMkLst>
            <pc:docMk/>
            <pc:sldMk cId="1306626804" sldId="2779"/>
            <ac:spMk id="5" creationId="{C0E90DEE-7557-6252-A7E3-ED663D7F2480}"/>
          </ac:spMkLst>
        </pc:spChg>
        <pc:spChg chg="del">
          <ac:chgData name="KevCla12" userId="ef2eb634-4620-450f-93cc-80cc93397e60" providerId="ADAL" clId="{0BF56A33-4BC5-423F-96C0-6A8645FA96BB}" dt="2023-12-03T23:57:42.262" v="38316"/>
          <ac:spMkLst>
            <pc:docMk/>
            <pc:sldMk cId="1306626804" sldId="2779"/>
            <ac:spMk id="6" creationId="{357F9767-B65B-26C6-54DE-1B735940AD6F}"/>
          </ac:spMkLst>
        </pc:spChg>
        <pc:spChg chg="del">
          <ac:chgData name="KevCla12" userId="ef2eb634-4620-450f-93cc-80cc93397e60" providerId="ADAL" clId="{0BF56A33-4BC5-423F-96C0-6A8645FA96BB}" dt="2023-12-03T23:57:42.262" v="38316"/>
          <ac:spMkLst>
            <pc:docMk/>
            <pc:sldMk cId="1306626804" sldId="2779"/>
            <ac:spMk id="7" creationId="{099446B7-7F6A-7DDD-722D-472521E8D51C}"/>
          </ac:spMkLst>
        </pc:spChg>
        <pc:spChg chg="add mod ord">
          <ac:chgData name="KevCla12" userId="ef2eb634-4620-450f-93cc-80cc93397e60" providerId="ADAL" clId="{0BF56A33-4BC5-423F-96C0-6A8645FA96BB}" dt="2023-12-03T23:57:56.221" v="38424" actId="948"/>
          <ac:spMkLst>
            <pc:docMk/>
            <pc:sldMk cId="1306626804" sldId="2779"/>
            <ac:spMk id="8" creationId="{3B79D692-1ED8-EB97-806C-F7A5C666CDF9}"/>
          </ac:spMkLst>
        </pc:spChg>
        <pc:spChg chg="add mod ord">
          <ac:chgData name="KevCla12" userId="ef2eb634-4620-450f-93cc-80cc93397e60" providerId="ADAL" clId="{0BF56A33-4BC5-423F-96C0-6A8645FA96BB}" dt="2023-12-03T23:57:59.708" v="38466" actId="20577"/>
          <ac:spMkLst>
            <pc:docMk/>
            <pc:sldMk cId="1306626804" sldId="2779"/>
            <ac:spMk id="9" creationId="{DAD97A3F-E9CC-4A10-B8B1-003B8B5571D0}"/>
          </ac:spMkLst>
        </pc:spChg>
        <pc:spChg chg="add del mod modVis">
          <ac:chgData name="KevCla12" userId="ef2eb634-4620-450f-93cc-80cc93397e60" providerId="ADAL" clId="{0BF56A33-4BC5-423F-96C0-6A8645FA96BB}" dt="2023-12-03T23:57:48.775" v="38359"/>
          <ac:spMkLst>
            <pc:docMk/>
            <pc:sldMk cId="1306626804" sldId="2779"/>
            <ac:spMk id="11" creationId="{25DA673B-9772-0F90-31D9-C842D05FBC24}"/>
          </ac:spMkLst>
        </pc:spChg>
        <pc:spChg chg="add del mod modVis">
          <ac:chgData name="KevCla12" userId="ef2eb634-4620-450f-93cc-80cc93397e60" providerId="ADAL" clId="{0BF56A33-4BC5-423F-96C0-6A8645FA96BB}" dt="2023-12-03T23:57:52.499" v="38389"/>
          <ac:spMkLst>
            <pc:docMk/>
            <pc:sldMk cId="1306626804" sldId="2779"/>
            <ac:spMk id="12" creationId="{C27F8BE9-8946-7EAF-F243-7DC1CBFE19AB}"/>
          </ac:spMkLst>
        </pc:spChg>
        <pc:spChg chg="add del mod modVis">
          <ac:chgData name="KevCla12" userId="ef2eb634-4620-450f-93cc-80cc93397e60" providerId="ADAL" clId="{0BF56A33-4BC5-423F-96C0-6A8645FA96BB}" dt="2023-12-03T23:57:54.083" v="38420"/>
          <ac:spMkLst>
            <pc:docMk/>
            <pc:sldMk cId="1306626804" sldId="2779"/>
            <ac:spMk id="13" creationId="{7DEA16D7-72DF-65B8-D9E1-A78B981BC9CC}"/>
          </ac:spMkLst>
        </pc:spChg>
        <pc:spChg chg="add del mod modVis">
          <ac:chgData name="KevCla12" userId="ef2eb634-4620-450f-93cc-80cc93397e60" providerId="ADAL" clId="{0BF56A33-4BC5-423F-96C0-6A8645FA96BB}" dt="2023-12-03T23:57:56.242" v="38448"/>
          <ac:spMkLst>
            <pc:docMk/>
            <pc:sldMk cId="1306626804" sldId="2779"/>
            <ac:spMk id="14" creationId="{F13A877E-9BED-D6AC-E88D-B7C56BD3C543}"/>
          </ac:spMkLst>
        </pc:spChg>
        <pc:graphicFrameChg chg="add mod ord modVis replST">
          <ac:chgData name="KevCla12" userId="ef2eb634-4620-450f-93cc-80cc93397e60" providerId="ADAL" clId="{0BF56A33-4BC5-423F-96C0-6A8645FA96BB}" dt="2023-12-03T23:57:56.244" v="38450"/>
          <ac:graphicFrameMkLst>
            <pc:docMk/>
            <pc:sldMk cId="1306626804" sldId="2779"/>
            <ac:graphicFrameMk id="10" creationId="{EA273166-947C-158B-472E-9AF7EA0133FA}"/>
          </ac:graphicFrameMkLst>
        </pc:graphicFrameChg>
      </pc:sldChg>
      <pc:sldChg chg="addSp delSp modSp add del mod replTag delTag modNotes">
        <pc:chgData name="KevCla12" userId="ef2eb634-4620-450f-93cc-80cc93397e60" providerId="ADAL" clId="{0BF56A33-4BC5-423F-96C0-6A8645FA96BB}" dt="2023-12-03T21:32:13.992" v="27654" actId="47"/>
        <pc:sldMkLst>
          <pc:docMk/>
          <pc:sldMk cId="469273562" sldId="2971"/>
        </pc:sldMkLst>
        <pc:spChg chg="mod">
          <ac:chgData name="KevCla12" userId="ef2eb634-4620-450f-93cc-80cc93397e60" providerId="ADAL" clId="{0BF56A33-4BC5-423F-96C0-6A8645FA96BB}" dt="2023-12-03T21:32:11.640" v="27614" actId="948"/>
          <ac:spMkLst>
            <pc:docMk/>
            <pc:sldMk cId="469273562" sldId="2971"/>
            <ac:spMk id="2" creationId="{1AF7C03A-2060-2653-330B-C2968567446F}"/>
          </ac:spMkLst>
        </pc:spChg>
        <pc:spChg chg="add del mod">
          <ac:chgData name="KevCla12" userId="ef2eb634-4620-450f-93cc-80cc93397e60" providerId="ADAL" clId="{0BF56A33-4BC5-423F-96C0-6A8645FA96BB}" dt="2023-12-03T21:32:11.107" v="27613"/>
          <ac:spMkLst>
            <pc:docMk/>
            <pc:sldMk cId="469273562" sldId="2971"/>
            <ac:spMk id="3" creationId="{33BD90FD-8B4C-07D1-379E-DB619A386390}"/>
          </ac:spMkLst>
        </pc:spChg>
        <pc:spChg chg="add del mod">
          <ac:chgData name="KevCla12" userId="ef2eb634-4620-450f-93cc-80cc93397e60" providerId="ADAL" clId="{0BF56A33-4BC5-423F-96C0-6A8645FA96BB}" dt="2023-12-03T21:32:11.107" v="27613"/>
          <ac:spMkLst>
            <pc:docMk/>
            <pc:sldMk cId="469273562" sldId="2971"/>
            <ac:spMk id="4" creationId="{DB6C2B54-3E2A-CE92-E75D-F4E125EBF051}"/>
          </ac:spMkLst>
        </pc:spChg>
        <pc:spChg chg="add del mod">
          <ac:chgData name="KevCla12" userId="ef2eb634-4620-450f-93cc-80cc93397e60" providerId="ADAL" clId="{0BF56A33-4BC5-423F-96C0-6A8645FA96BB}" dt="2023-12-03T21:32:11.107" v="27613"/>
          <ac:spMkLst>
            <pc:docMk/>
            <pc:sldMk cId="469273562" sldId="2971"/>
            <ac:spMk id="5" creationId="{E09F4089-5E23-DD0D-A9A6-9A49F5679133}"/>
          </ac:spMkLst>
        </pc:spChg>
        <pc:spChg chg="add del mod">
          <ac:chgData name="KevCla12" userId="ef2eb634-4620-450f-93cc-80cc93397e60" providerId="ADAL" clId="{0BF56A33-4BC5-423F-96C0-6A8645FA96BB}" dt="2023-12-03T21:32:11.107" v="27613"/>
          <ac:spMkLst>
            <pc:docMk/>
            <pc:sldMk cId="469273562" sldId="2971"/>
            <ac:spMk id="6" creationId="{B2E082F8-BD39-A0E7-99B1-5703DFA01316}"/>
          </ac:spMkLst>
        </pc:spChg>
        <pc:spChg chg="add del mod modVis">
          <ac:chgData name="KevCla12" userId="ef2eb634-4620-450f-93cc-80cc93397e60" providerId="ADAL" clId="{0BF56A33-4BC5-423F-96C0-6A8645FA96BB}" dt="2023-12-03T21:32:11.107" v="27613"/>
          <ac:spMkLst>
            <pc:docMk/>
            <pc:sldMk cId="469273562" sldId="2971"/>
            <ac:spMk id="7" creationId="{1D76C69E-3CE2-C165-3D95-85414FACF9CA}"/>
          </ac:spMkLst>
        </pc:spChg>
        <pc:spChg chg="add del mod modVis">
          <ac:chgData name="KevCla12" userId="ef2eb634-4620-450f-93cc-80cc93397e60" providerId="ADAL" clId="{0BF56A33-4BC5-423F-96C0-6A8645FA96BB}" dt="2023-12-03T21:32:11.656" v="27638"/>
          <ac:spMkLst>
            <pc:docMk/>
            <pc:sldMk cId="469273562" sldId="2971"/>
            <ac:spMk id="9" creationId="{5045FB90-6CE2-9DC9-9DDB-FE9ABF98BAD2}"/>
          </ac:spMkLst>
        </pc:spChg>
        <pc:graphicFrameChg chg="add del mod ord modVis replST delST">
          <ac:chgData name="KevCla12" userId="ef2eb634-4620-450f-93cc-80cc93397e60" providerId="ADAL" clId="{0BF56A33-4BC5-423F-96C0-6A8645FA96BB}" dt="2023-12-03T21:32:11.107" v="27613"/>
          <ac:graphicFrameMkLst>
            <pc:docMk/>
            <pc:sldMk cId="469273562" sldId="2971"/>
            <ac:graphicFrameMk id="8" creationId="{1C893A07-7F69-E1C7-EF5B-7CC244B24A8D}"/>
          </ac:graphicFrameMkLst>
        </pc:graphicFrameChg>
        <pc:graphicFrameChg chg="add mod ord modVis replST">
          <ac:chgData name="KevCla12" userId="ef2eb634-4620-450f-93cc-80cc93397e60" providerId="ADAL" clId="{0BF56A33-4BC5-423F-96C0-6A8645FA96BB}" dt="2023-12-03T21:32:11.680" v="27653"/>
          <ac:graphicFrameMkLst>
            <pc:docMk/>
            <pc:sldMk cId="469273562" sldId="2971"/>
            <ac:graphicFrameMk id="10" creationId="{E0372A1A-0722-F29E-4D52-7F957CB0B567}"/>
          </ac:graphicFrameMkLst>
        </pc:graphicFrameChg>
      </pc:sldChg>
      <pc:sldChg chg="addSp delSp modSp add del mod delTag modNotes">
        <pc:chgData name="KevCla12" userId="ef2eb634-4620-450f-93cc-80cc93397e60" providerId="ADAL" clId="{0BF56A33-4BC5-423F-96C0-6A8645FA96BB}" dt="2023-12-03T18:23:03.469" v="18764" actId="47"/>
        <pc:sldMkLst>
          <pc:docMk/>
          <pc:sldMk cId="17467000" sldId="2993"/>
        </pc:sldMkLst>
        <pc:spChg chg="mod">
          <ac:chgData name="KevCla12" userId="ef2eb634-4620-450f-93cc-80cc93397e60" providerId="ADAL" clId="{0BF56A33-4BC5-423F-96C0-6A8645FA96BB}" dt="2023-12-03T18:21:28.788" v="18706" actId="948"/>
          <ac:spMkLst>
            <pc:docMk/>
            <pc:sldMk cId="17467000" sldId="2993"/>
            <ac:spMk id="2" creationId="{6E4E6C28-D309-C7A4-AB13-C08C3E5F38D3}"/>
          </ac:spMkLst>
        </pc:spChg>
        <pc:spChg chg="add mod">
          <ac:chgData name="KevCla12" userId="ef2eb634-4620-450f-93cc-80cc93397e60" providerId="ADAL" clId="{0BF56A33-4BC5-423F-96C0-6A8645FA96BB}" dt="2023-12-03T18:21:27.931" v="18701"/>
          <ac:spMkLst>
            <pc:docMk/>
            <pc:sldMk cId="17467000" sldId="2993"/>
            <ac:spMk id="28" creationId="{0FEF9C37-6BC0-0E64-649F-8107AE20AFE1}"/>
          </ac:spMkLst>
        </pc:spChg>
        <pc:spChg chg="add mod">
          <ac:chgData name="KevCla12" userId="ef2eb634-4620-450f-93cc-80cc93397e60" providerId="ADAL" clId="{0BF56A33-4BC5-423F-96C0-6A8645FA96BB}" dt="2023-12-03T18:21:27.931" v="18701"/>
          <ac:spMkLst>
            <pc:docMk/>
            <pc:sldMk cId="17467000" sldId="2993"/>
            <ac:spMk id="29" creationId="{81F289B3-C08C-C690-A9E3-30B874C645A8}"/>
          </ac:spMkLst>
        </pc:spChg>
        <pc:spChg chg="add mod">
          <ac:chgData name="KevCla12" userId="ef2eb634-4620-450f-93cc-80cc93397e60" providerId="ADAL" clId="{0BF56A33-4BC5-423F-96C0-6A8645FA96BB}" dt="2023-12-03T18:21:27.931" v="18701"/>
          <ac:spMkLst>
            <pc:docMk/>
            <pc:sldMk cId="17467000" sldId="2993"/>
            <ac:spMk id="30" creationId="{E7186AD7-A7D0-447B-A36F-D7E24346ABB8}"/>
          </ac:spMkLst>
        </pc:spChg>
        <pc:spChg chg="add mod">
          <ac:chgData name="KevCla12" userId="ef2eb634-4620-450f-93cc-80cc93397e60" providerId="ADAL" clId="{0BF56A33-4BC5-423F-96C0-6A8645FA96BB}" dt="2023-12-03T18:21:27.931" v="18701"/>
          <ac:spMkLst>
            <pc:docMk/>
            <pc:sldMk cId="17467000" sldId="2993"/>
            <ac:spMk id="31" creationId="{B470E6F7-3D71-22DF-0C97-C3A2888057B8}"/>
          </ac:spMkLst>
        </pc:spChg>
        <pc:spChg chg="add del mod modVis">
          <ac:chgData name="KevCla12" userId="ef2eb634-4620-450f-93cc-80cc93397e60" providerId="ADAL" clId="{0BF56A33-4BC5-423F-96C0-6A8645FA96BB}" dt="2023-12-03T18:21:28.908" v="18730"/>
          <ac:spMkLst>
            <pc:docMk/>
            <pc:sldMk cId="17467000" sldId="2993"/>
            <ac:spMk id="32" creationId="{59739D2C-B50D-913F-7B63-E539A624187B}"/>
          </ac:spMkLst>
        </pc:spChg>
        <pc:grpChg chg="del mod">
          <ac:chgData name="KevCla12" userId="ef2eb634-4620-450f-93cc-80cc93397e60" providerId="ADAL" clId="{0BF56A33-4BC5-423F-96C0-6A8645FA96BB}" dt="2023-12-03T18:22:04.841" v="18750" actId="21"/>
          <ac:grpSpMkLst>
            <pc:docMk/>
            <pc:sldMk cId="17467000" sldId="2993"/>
            <ac:grpSpMk id="3" creationId="{8D2B565C-3E5A-5B92-C68E-C7B379E8ECD1}"/>
          </ac:grpSpMkLst>
        </pc:grpChg>
        <pc:graphicFrameChg chg="add mod ord modVis replST">
          <ac:chgData name="KevCla12" userId="ef2eb634-4620-450f-93cc-80cc93397e60" providerId="ADAL" clId="{0BF56A33-4BC5-423F-96C0-6A8645FA96BB}" dt="2023-12-03T18:21:29.038" v="18745"/>
          <ac:graphicFrameMkLst>
            <pc:docMk/>
            <pc:sldMk cId="17467000" sldId="2993"/>
            <ac:graphicFrameMk id="33" creationId="{B421A287-D8C5-FED2-BAE9-42E09F754889}"/>
          </ac:graphicFrameMkLst>
        </pc:graphicFrameChg>
      </pc:sldChg>
      <pc:sldMasterChg chg="addSp delSp modSp mod addSldLayout delSldLayout">
        <pc:chgData name="KevCla12" userId="ef2eb634-4620-450f-93cc-80cc93397e60" providerId="ADAL" clId="{0BF56A33-4BC5-423F-96C0-6A8645FA96BB}" dt="2023-12-03T23:05:22.956" v="37157" actId="2696"/>
        <pc:sldMasterMkLst>
          <pc:docMk/>
          <pc:sldMasterMk cId="1070981886" sldId="2147483656"/>
        </pc:sldMasterMkLst>
        <pc:spChg chg="mod">
          <ac:chgData name="KevCla12" userId="ef2eb634-4620-450f-93cc-80cc93397e60" providerId="ADAL" clId="{0BF56A33-4BC5-423F-96C0-6A8645FA96BB}" dt="2023-11-26T10:47:36.744" v="1" actId="948"/>
          <ac:spMkLst>
            <pc:docMk/>
            <pc:sldMasterMk cId="1070981886" sldId="2147483656"/>
            <ac:spMk id="2" creationId="{00000000-0000-0000-0000-000000000000}"/>
          </ac:spMkLst>
        </pc:spChg>
        <pc:spChg chg="add del mod modVis">
          <ac:chgData name="KevCla12" userId="ef2eb634-4620-450f-93cc-80cc93397e60" providerId="ADAL" clId="{0BF56A33-4BC5-423F-96C0-6A8645FA96BB}" dt="2023-11-26T10:47:36.997" v="40"/>
          <ac:spMkLst>
            <pc:docMk/>
            <pc:sldMasterMk cId="1070981886" sldId="2147483656"/>
            <ac:spMk id="4" creationId="{8AAF4942-BF82-4937-75AD-14FC6315CDED}"/>
          </ac:spMkLst>
        </pc:spChg>
        <pc:graphicFrameChg chg="add mod ord modVis replST">
          <ac:chgData name="KevCla12" userId="ef2eb634-4620-450f-93cc-80cc93397e60" providerId="ADAL" clId="{0BF56A33-4BC5-423F-96C0-6A8645FA96BB}" dt="2023-11-26T10:47:37.075" v="55"/>
          <ac:graphicFrameMkLst>
            <pc:docMk/>
            <pc:sldMasterMk cId="1070981886" sldId="2147483656"/>
            <ac:graphicFrameMk id="5" creationId="{34E04A54-E001-EB9F-FD4F-11C54A356919}"/>
          </ac:graphicFrameMkLst>
        </pc:graphicFrameChg>
        <pc:sldLayoutChg chg="del">
          <pc:chgData name="KevCla12" userId="ef2eb634-4620-450f-93cc-80cc93397e60" providerId="ADAL" clId="{0BF56A33-4BC5-423F-96C0-6A8645FA96BB}" dt="2023-11-30T17:50:37.817" v="3337" actId="2696"/>
          <pc:sldLayoutMkLst>
            <pc:docMk/>
            <pc:sldMasterMk cId="1070981886" sldId="2147483656"/>
            <pc:sldLayoutMk cId="301705077" sldId="2147483661"/>
          </pc:sldLayoutMkLst>
        </pc:sldLayoutChg>
        <pc:sldLayoutChg chg="add del">
          <pc:chgData name="KevCla12" userId="ef2eb634-4620-450f-93cc-80cc93397e60" providerId="ADAL" clId="{0BF56A33-4BC5-423F-96C0-6A8645FA96BB}" dt="2023-12-03T21:32:13.992" v="27654" actId="47"/>
          <pc:sldLayoutMkLst>
            <pc:docMk/>
            <pc:sldMasterMk cId="1070981886" sldId="2147483656"/>
            <pc:sldLayoutMk cId="1657502414" sldId="2147483661"/>
          </pc:sldLayoutMkLst>
        </pc:sldLayoutChg>
        <pc:sldLayoutChg chg="del">
          <pc:chgData name="KevCla12" userId="ef2eb634-4620-450f-93cc-80cc93397e60" providerId="ADAL" clId="{0BF56A33-4BC5-423F-96C0-6A8645FA96BB}" dt="2023-11-30T15:02:41.647" v="2569" actId="2696"/>
          <pc:sldLayoutMkLst>
            <pc:docMk/>
            <pc:sldMasterMk cId="1070981886" sldId="2147483656"/>
            <pc:sldLayoutMk cId="2182818267" sldId="2147483661"/>
          </pc:sldLayoutMkLst>
        </pc:sldLayoutChg>
        <pc:sldLayoutChg chg="del">
          <pc:chgData name="KevCla12" userId="ef2eb634-4620-450f-93cc-80cc93397e60" providerId="ADAL" clId="{0BF56A33-4BC5-423F-96C0-6A8645FA96BB}" dt="2023-12-03T23:05:22.956" v="37157" actId="2696"/>
          <pc:sldLayoutMkLst>
            <pc:docMk/>
            <pc:sldMasterMk cId="1070981886" sldId="2147483656"/>
            <pc:sldLayoutMk cId="2983061004" sldId="2147483661"/>
          </pc:sldLayoutMkLst>
        </pc:sldLayoutChg>
        <pc:sldLayoutChg chg="add del">
          <pc:chgData name="KevCla12" userId="ef2eb634-4620-450f-93cc-80cc93397e60" providerId="ADAL" clId="{0BF56A33-4BC5-423F-96C0-6A8645FA96BB}" dt="2023-12-03T18:02:56.292" v="18581" actId="2696"/>
          <pc:sldLayoutMkLst>
            <pc:docMk/>
            <pc:sldMasterMk cId="1070981886" sldId="2147483656"/>
            <pc:sldLayoutMk cId="3282125446" sldId="2147483661"/>
          </pc:sldLayoutMkLst>
        </pc:sldLayoutChg>
        <pc:sldLayoutChg chg="del">
          <pc:chgData name="KevCla12" userId="ef2eb634-4620-450f-93cc-80cc93397e60" providerId="ADAL" clId="{0BF56A33-4BC5-423F-96C0-6A8645FA96BB}" dt="2023-12-03T22:39:55.607" v="36720" actId="47"/>
          <pc:sldLayoutMkLst>
            <pc:docMk/>
            <pc:sldMasterMk cId="1070981886" sldId="2147483656"/>
            <pc:sldLayoutMk cId="4067896903" sldId="2147483661"/>
          </pc:sldLayoutMkLst>
        </pc:sldLayoutChg>
        <pc:sldLayoutChg chg="del">
          <pc:chgData name="KevCla12" userId="ef2eb634-4620-450f-93cc-80cc93397e60" providerId="ADAL" clId="{0BF56A33-4BC5-423F-96C0-6A8645FA96BB}" dt="2023-12-03T18:21:27.943" v="18702" actId="2696"/>
          <pc:sldLayoutMkLst>
            <pc:docMk/>
            <pc:sldMasterMk cId="1070981886" sldId="2147483656"/>
            <pc:sldLayoutMk cId="4220500534" sldId="2147483661"/>
          </pc:sldLayoutMkLst>
        </pc:sldLayoutChg>
        <pc:sldLayoutChg chg="del">
          <pc:chgData name="KevCla12" userId="ef2eb634-4620-450f-93cc-80cc93397e60" providerId="ADAL" clId="{0BF56A33-4BC5-423F-96C0-6A8645FA96BB}" dt="2023-12-03T22:21:43.788" v="34481" actId="2696"/>
          <pc:sldLayoutMkLst>
            <pc:docMk/>
            <pc:sldMasterMk cId="1070981886" sldId="2147483656"/>
            <pc:sldLayoutMk cId="1691390518" sldId="2147483662"/>
          </pc:sldLayoutMkLst>
        </pc:sldLayoutChg>
        <pc:sldLayoutChg chg="del">
          <pc:chgData name="KevCla12" userId="ef2eb634-4620-450f-93cc-80cc93397e60" providerId="ADAL" clId="{0BF56A33-4BC5-423F-96C0-6A8645FA96BB}" dt="2023-12-03T22:21:20.891" v="34429" actId="2696"/>
          <pc:sldLayoutMkLst>
            <pc:docMk/>
            <pc:sldMasterMk cId="1070981886" sldId="2147483656"/>
            <pc:sldLayoutMk cId="2340561894" sldId="2147483662"/>
          </pc:sldLayoutMkLst>
        </pc:sldLayoutChg>
        <pc:sldLayoutChg chg="add del">
          <pc:chgData name="KevCla12" userId="ef2eb634-4620-450f-93cc-80cc93397e60" providerId="ADAL" clId="{0BF56A33-4BC5-423F-96C0-6A8645FA96BB}" dt="2023-12-03T22:20:41.190" v="34426" actId="47"/>
          <pc:sldLayoutMkLst>
            <pc:docMk/>
            <pc:sldMasterMk cId="1070981886" sldId="2147483656"/>
            <pc:sldLayoutMk cId="2845461001" sldId="2147483662"/>
          </pc:sldLayoutMkLst>
        </pc:sldLayoutChg>
      </pc:sldMasterChg>
    </pc:docChg>
  </pc:docChgLst>
  <pc:docChgLst>
    <pc:chgData name="JanEri14" userId="ea321e6f-a9b4-4544-8ae7-a495220778c5" providerId="ADAL" clId="{960103FD-9B34-4231-808F-24D76306D162}"/>
    <pc:docChg chg="delSld modSld sldOrd delSection modSection">
      <pc:chgData name="JanEri14" userId="ea321e6f-a9b4-4544-8ae7-a495220778c5" providerId="ADAL" clId="{960103FD-9B34-4231-808F-24D76306D162}" dt="2023-10-29T14:28:41.993" v="44" actId="17851"/>
      <pc:docMkLst>
        <pc:docMk/>
      </pc:docMkLst>
      <pc:sldChg chg="modSp mod ord">
        <pc:chgData name="JanEri14" userId="ea321e6f-a9b4-4544-8ae7-a495220778c5" providerId="ADAL" clId="{960103FD-9B34-4231-808F-24D76306D162}" dt="2023-10-29T14:28:31.723" v="43" actId="20577"/>
        <pc:sldMkLst>
          <pc:docMk/>
          <pc:sldMk cId="2791746834" sldId="263"/>
        </pc:sldMkLst>
        <pc:spChg chg="mod">
          <ac:chgData name="JanEri14" userId="ea321e6f-a9b4-4544-8ae7-a495220778c5" providerId="ADAL" clId="{960103FD-9B34-4231-808F-24D76306D162}" dt="2023-10-29T14:28:31.723" v="43" actId="20577"/>
          <ac:spMkLst>
            <pc:docMk/>
            <pc:sldMk cId="2791746834" sldId="263"/>
            <ac:spMk id="2" creationId="{00000000-0000-0000-0000-000000000000}"/>
          </ac:spMkLst>
        </pc:spChg>
      </pc:sldChg>
      <pc:sldChg chg="del">
        <pc:chgData name="JanEri14" userId="ea321e6f-a9b4-4544-8ae7-a495220778c5" providerId="ADAL" clId="{960103FD-9B34-4231-808F-24D76306D162}" dt="2023-10-29T14:27:23.887" v="7" actId="47"/>
        <pc:sldMkLst>
          <pc:docMk/>
          <pc:sldMk cId="3148940003" sldId="297"/>
        </pc:sldMkLst>
      </pc:sldChg>
      <pc:sldChg chg="del">
        <pc:chgData name="JanEri14" userId="ea321e6f-a9b4-4544-8ae7-a495220778c5" providerId="ADAL" clId="{960103FD-9B34-4231-808F-24D76306D162}" dt="2023-10-29T14:25:05.295" v="4" actId="47"/>
        <pc:sldMkLst>
          <pc:docMk/>
          <pc:sldMk cId="2648272818" sldId="359"/>
        </pc:sldMkLst>
      </pc:sldChg>
      <pc:sldChg chg="del">
        <pc:chgData name="JanEri14" userId="ea321e6f-a9b4-4544-8ae7-a495220778c5" providerId="ADAL" clId="{960103FD-9B34-4231-808F-24D76306D162}" dt="2023-10-29T14:25:06.045" v="5" actId="47"/>
        <pc:sldMkLst>
          <pc:docMk/>
          <pc:sldMk cId="2598543404" sldId="360"/>
        </pc:sldMkLst>
      </pc:sldChg>
      <pc:sldChg chg="ord">
        <pc:chgData name="JanEri14" userId="ea321e6f-a9b4-4544-8ae7-a495220778c5" providerId="ADAL" clId="{960103FD-9B34-4231-808F-24D76306D162}" dt="2023-10-29T14:27:43.563" v="13"/>
        <pc:sldMkLst>
          <pc:docMk/>
          <pc:sldMk cId="1918179014" sldId="1074"/>
        </pc:sldMkLst>
      </pc:sldChg>
      <pc:sldChg chg="del">
        <pc:chgData name="JanEri14" userId="ea321e6f-a9b4-4544-8ae7-a495220778c5" providerId="ADAL" clId="{960103FD-9B34-4231-808F-24D76306D162}" dt="2023-10-29T14:28:08.285" v="17" actId="47"/>
        <pc:sldMkLst>
          <pc:docMk/>
          <pc:sldMk cId="1719097392" sldId="1076"/>
        </pc:sldMkLst>
      </pc:sldChg>
      <pc:sldChg chg="del">
        <pc:chgData name="JanEri14" userId="ea321e6f-a9b4-4544-8ae7-a495220778c5" providerId="ADAL" clId="{960103FD-9B34-4231-808F-24D76306D162}" dt="2023-10-29T14:28:09.022" v="18" actId="47"/>
        <pc:sldMkLst>
          <pc:docMk/>
          <pc:sldMk cId="1501084352" sldId="1077"/>
        </pc:sldMkLst>
      </pc:sldChg>
      <pc:sldChg chg="del">
        <pc:chgData name="JanEri14" userId="ea321e6f-a9b4-4544-8ae7-a495220778c5" providerId="ADAL" clId="{960103FD-9B34-4231-808F-24D76306D162}" dt="2023-10-29T14:28:09.713" v="19" actId="47"/>
        <pc:sldMkLst>
          <pc:docMk/>
          <pc:sldMk cId="1218183563" sldId="1078"/>
        </pc:sldMkLst>
      </pc:sldChg>
      <pc:sldChg chg="del">
        <pc:chgData name="JanEri14" userId="ea321e6f-a9b4-4544-8ae7-a495220778c5" providerId="ADAL" clId="{960103FD-9B34-4231-808F-24D76306D162}" dt="2023-10-29T14:25:03.704" v="3" actId="47"/>
        <pc:sldMkLst>
          <pc:docMk/>
          <pc:sldMk cId="3302010504" sldId="1087"/>
        </pc:sldMkLst>
      </pc:sldChg>
      <pc:sldChg chg="del">
        <pc:chgData name="JanEri14" userId="ea321e6f-a9b4-4544-8ae7-a495220778c5" providerId="ADAL" clId="{960103FD-9B34-4231-808F-24D76306D162}" dt="2023-10-29T14:25:02.320" v="2" actId="47"/>
        <pc:sldMkLst>
          <pc:docMk/>
          <pc:sldMk cId="3258655641" sldId="1089"/>
        </pc:sldMkLst>
      </pc:sldChg>
      <pc:sldChg chg="del">
        <pc:chgData name="JanEri14" userId="ea321e6f-a9b4-4544-8ae7-a495220778c5" providerId="ADAL" clId="{960103FD-9B34-4231-808F-24D76306D162}" dt="2023-10-29T14:24:46.537" v="0" actId="47"/>
        <pc:sldMkLst>
          <pc:docMk/>
          <pc:sldMk cId="2594762006" sldId="1090"/>
        </pc:sldMkLst>
      </pc:sldChg>
      <pc:sldChg chg="del">
        <pc:chgData name="JanEri14" userId="ea321e6f-a9b4-4544-8ae7-a495220778c5" providerId="ADAL" clId="{960103FD-9B34-4231-808F-24D76306D162}" dt="2023-10-29T14:24:46.537" v="0" actId="47"/>
        <pc:sldMkLst>
          <pc:docMk/>
          <pc:sldMk cId="2622350375" sldId="1091"/>
        </pc:sldMkLst>
      </pc:sldChg>
      <pc:sldChg chg="del">
        <pc:chgData name="JanEri14" userId="ea321e6f-a9b4-4544-8ae7-a495220778c5" providerId="ADAL" clId="{960103FD-9B34-4231-808F-24D76306D162}" dt="2023-10-29T14:24:46.537" v="0" actId="47"/>
        <pc:sldMkLst>
          <pc:docMk/>
          <pc:sldMk cId="2535376068" sldId="1092"/>
        </pc:sldMkLst>
      </pc:sldChg>
      <pc:sldChg chg="del">
        <pc:chgData name="JanEri14" userId="ea321e6f-a9b4-4544-8ae7-a495220778c5" providerId="ADAL" clId="{960103FD-9B34-4231-808F-24D76306D162}" dt="2023-10-29T14:24:46.537" v="0" actId="47"/>
        <pc:sldMkLst>
          <pc:docMk/>
          <pc:sldMk cId="1388155010" sldId="1093"/>
        </pc:sldMkLst>
      </pc:sldChg>
      <pc:sldChg chg="del">
        <pc:chgData name="JanEri14" userId="ea321e6f-a9b4-4544-8ae7-a495220778c5" providerId="ADAL" clId="{960103FD-9B34-4231-808F-24D76306D162}" dt="2023-10-29T14:24:46.537" v="0" actId="47"/>
        <pc:sldMkLst>
          <pc:docMk/>
          <pc:sldMk cId="1401110902" sldId="1094"/>
        </pc:sldMkLst>
      </pc:sldChg>
      <pc:sldChg chg="del">
        <pc:chgData name="JanEri14" userId="ea321e6f-a9b4-4544-8ae7-a495220778c5" providerId="ADAL" clId="{960103FD-9B34-4231-808F-24D76306D162}" dt="2023-10-29T14:24:46.537" v="0" actId="47"/>
        <pc:sldMkLst>
          <pc:docMk/>
          <pc:sldMk cId="2456652186" sldId="1095"/>
        </pc:sldMkLst>
      </pc:sldChg>
      <pc:sldChg chg="del">
        <pc:chgData name="JanEri14" userId="ea321e6f-a9b4-4544-8ae7-a495220778c5" providerId="ADAL" clId="{960103FD-9B34-4231-808F-24D76306D162}" dt="2023-10-29T14:24:46.537" v="0" actId="47"/>
        <pc:sldMkLst>
          <pc:docMk/>
          <pc:sldMk cId="1191728802" sldId="1096"/>
        </pc:sldMkLst>
      </pc:sldChg>
      <pc:sldChg chg="del">
        <pc:chgData name="JanEri14" userId="ea321e6f-a9b4-4544-8ae7-a495220778c5" providerId="ADAL" clId="{960103FD-9B34-4231-808F-24D76306D162}" dt="2023-10-29T14:24:46.537" v="0" actId="47"/>
        <pc:sldMkLst>
          <pc:docMk/>
          <pc:sldMk cId="2479115192" sldId="1097"/>
        </pc:sldMkLst>
      </pc:sldChg>
      <pc:sldChg chg="del">
        <pc:chgData name="JanEri14" userId="ea321e6f-a9b4-4544-8ae7-a495220778c5" providerId="ADAL" clId="{960103FD-9B34-4231-808F-24D76306D162}" dt="2023-10-29T14:24:46.537" v="0" actId="47"/>
        <pc:sldMkLst>
          <pc:docMk/>
          <pc:sldMk cId="2717923213" sldId="1098"/>
        </pc:sldMkLst>
      </pc:sldChg>
      <pc:sldChg chg="del">
        <pc:chgData name="JanEri14" userId="ea321e6f-a9b4-4544-8ae7-a495220778c5" providerId="ADAL" clId="{960103FD-9B34-4231-808F-24D76306D162}" dt="2023-10-29T14:24:46.537" v="0" actId="47"/>
        <pc:sldMkLst>
          <pc:docMk/>
          <pc:sldMk cId="924929014" sldId="1099"/>
        </pc:sldMkLst>
      </pc:sldChg>
      <pc:sldChg chg="del">
        <pc:chgData name="JanEri14" userId="ea321e6f-a9b4-4544-8ae7-a495220778c5" providerId="ADAL" clId="{960103FD-9B34-4231-808F-24D76306D162}" dt="2023-10-29T14:24:46.537" v="0" actId="47"/>
        <pc:sldMkLst>
          <pc:docMk/>
          <pc:sldMk cId="3290350761" sldId="1100"/>
        </pc:sldMkLst>
      </pc:sldChg>
      <pc:sldChg chg="del">
        <pc:chgData name="JanEri14" userId="ea321e6f-a9b4-4544-8ae7-a495220778c5" providerId="ADAL" clId="{960103FD-9B34-4231-808F-24D76306D162}" dt="2023-10-29T14:24:46.537" v="0" actId="47"/>
        <pc:sldMkLst>
          <pc:docMk/>
          <pc:sldMk cId="1165467387" sldId="1101"/>
        </pc:sldMkLst>
      </pc:sldChg>
      <pc:sldChg chg="del">
        <pc:chgData name="JanEri14" userId="ea321e6f-a9b4-4544-8ae7-a495220778c5" providerId="ADAL" clId="{960103FD-9B34-4231-808F-24D76306D162}" dt="2023-10-29T14:24:46.537" v="0" actId="47"/>
        <pc:sldMkLst>
          <pc:docMk/>
          <pc:sldMk cId="3739392293" sldId="1102"/>
        </pc:sldMkLst>
      </pc:sldChg>
      <pc:sldChg chg="del">
        <pc:chgData name="JanEri14" userId="ea321e6f-a9b4-4544-8ae7-a495220778c5" providerId="ADAL" clId="{960103FD-9B34-4231-808F-24D76306D162}" dt="2023-10-29T14:24:46.537" v="0" actId="47"/>
        <pc:sldMkLst>
          <pc:docMk/>
          <pc:sldMk cId="2757695241" sldId="1103"/>
        </pc:sldMkLst>
      </pc:sldChg>
      <pc:sldChg chg="del">
        <pc:chgData name="JanEri14" userId="ea321e6f-a9b4-4544-8ae7-a495220778c5" providerId="ADAL" clId="{960103FD-9B34-4231-808F-24D76306D162}" dt="2023-10-29T14:24:46.537" v="0" actId="47"/>
        <pc:sldMkLst>
          <pc:docMk/>
          <pc:sldMk cId="1387619430" sldId="1104"/>
        </pc:sldMkLst>
      </pc:sldChg>
      <pc:sldChg chg="del">
        <pc:chgData name="JanEri14" userId="ea321e6f-a9b4-4544-8ae7-a495220778c5" providerId="ADAL" clId="{960103FD-9B34-4231-808F-24D76306D162}" dt="2023-10-29T14:24:46.537" v="0" actId="47"/>
        <pc:sldMkLst>
          <pc:docMk/>
          <pc:sldMk cId="1220424663" sldId="1105"/>
        </pc:sldMkLst>
      </pc:sldChg>
      <pc:sldChg chg="del">
        <pc:chgData name="JanEri14" userId="ea321e6f-a9b4-4544-8ae7-a495220778c5" providerId="ADAL" clId="{960103FD-9B34-4231-808F-24D76306D162}" dt="2023-10-29T14:24:46.537" v="0" actId="47"/>
        <pc:sldMkLst>
          <pc:docMk/>
          <pc:sldMk cId="3478039950" sldId="1106"/>
        </pc:sldMkLst>
      </pc:sldChg>
      <pc:sldChg chg="del">
        <pc:chgData name="JanEri14" userId="ea321e6f-a9b4-4544-8ae7-a495220778c5" providerId="ADAL" clId="{960103FD-9B34-4231-808F-24D76306D162}" dt="2023-10-29T14:24:46.537" v="0" actId="47"/>
        <pc:sldMkLst>
          <pc:docMk/>
          <pc:sldMk cId="2886352237" sldId="1107"/>
        </pc:sldMkLst>
      </pc:sldChg>
      <pc:sldChg chg="del">
        <pc:chgData name="JanEri14" userId="ea321e6f-a9b4-4544-8ae7-a495220778c5" providerId="ADAL" clId="{960103FD-9B34-4231-808F-24D76306D162}" dt="2023-10-29T14:24:46.537" v="0" actId="47"/>
        <pc:sldMkLst>
          <pc:docMk/>
          <pc:sldMk cId="3685873746" sldId="1108"/>
        </pc:sldMkLst>
      </pc:sldChg>
      <pc:sldChg chg="del">
        <pc:chgData name="JanEri14" userId="ea321e6f-a9b4-4544-8ae7-a495220778c5" providerId="ADAL" clId="{960103FD-9B34-4231-808F-24D76306D162}" dt="2023-10-29T14:24:46.537" v="0" actId="47"/>
        <pc:sldMkLst>
          <pc:docMk/>
          <pc:sldMk cId="196171203" sldId="1109"/>
        </pc:sldMkLst>
      </pc:sldChg>
      <pc:sldChg chg="del">
        <pc:chgData name="JanEri14" userId="ea321e6f-a9b4-4544-8ae7-a495220778c5" providerId="ADAL" clId="{960103FD-9B34-4231-808F-24D76306D162}" dt="2023-10-29T14:24:46.537" v="0" actId="47"/>
        <pc:sldMkLst>
          <pc:docMk/>
          <pc:sldMk cId="3771377149" sldId="1110"/>
        </pc:sldMkLst>
      </pc:sldChg>
      <pc:sldChg chg="del">
        <pc:chgData name="JanEri14" userId="ea321e6f-a9b4-4544-8ae7-a495220778c5" providerId="ADAL" clId="{960103FD-9B34-4231-808F-24D76306D162}" dt="2023-10-29T14:24:46.537" v="0" actId="47"/>
        <pc:sldMkLst>
          <pc:docMk/>
          <pc:sldMk cId="227470284" sldId="1111"/>
        </pc:sldMkLst>
      </pc:sldChg>
      <pc:sldChg chg="del">
        <pc:chgData name="JanEri14" userId="ea321e6f-a9b4-4544-8ae7-a495220778c5" providerId="ADAL" clId="{960103FD-9B34-4231-808F-24D76306D162}" dt="2023-10-29T14:24:46.537" v="0" actId="47"/>
        <pc:sldMkLst>
          <pc:docMk/>
          <pc:sldMk cId="1197186348" sldId="1112"/>
        </pc:sldMkLst>
      </pc:sldChg>
      <pc:sldChg chg="del">
        <pc:chgData name="JanEri14" userId="ea321e6f-a9b4-4544-8ae7-a495220778c5" providerId="ADAL" clId="{960103FD-9B34-4231-808F-24D76306D162}" dt="2023-10-29T14:24:46.537" v="0" actId="47"/>
        <pc:sldMkLst>
          <pc:docMk/>
          <pc:sldMk cId="1234663187" sldId="1113"/>
        </pc:sldMkLst>
      </pc:sldChg>
      <pc:sldChg chg="del">
        <pc:chgData name="JanEri14" userId="ea321e6f-a9b4-4544-8ae7-a495220778c5" providerId="ADAL" clId="{960103FD-9B34-4231-808F-24D76306D162}" dt="2023-10-29T14:24:46.537" v="0" actId="47"/>
        <pc:sldMkLst>
          <pc:docMk/>
          <pc:sldMk cId="4069112230" sldId="1114"/>
        </pc:sldMkLst>
      </pc:sldChg>
      <pc:sldChg chg="del">
        <pc:chgData name="JanEri14" userId="ea321e6f-a9b4-4544-8ae7-a495220778c5" providerId="ADAL" clId="{960103FD-9B34-4231-808F-24D76306D162}" dt="2023-10-29T14:24:46.537" v="0" actId="47"/>
        <pc:sldMkLst>
          <pc:docMk/>
          <pc:sldMk cId="3873449816" sldId="1115"/>
        </pc:sldMkLst>
      </pc:sldChg>
      <pc:sldChg chg="del">
        <pc:chgData name="JanEri14" userId="ea321e6f-a9b4-4544-8ae7-a495220778c5" providerId="ADAL" clId="{960103FD-9B34-4231-808F-24D76306D162}" dt="2023-10-29T14:24:46.537" v="0" actId="47"/>
        <pc:sldMkLst>
          <pc:docMk/>
          <pc:sldMk cId="2328190052" sldId="1116"/>
        </pc:sldMkLst>
      </pc:sldChg>
      <pc:sldChg chg="del">
        <pc:chgData name="JanEri14" userId="ea321e6f-a9b4-4544-8ae7-a495220778c5" providerId="ADAL" clId="{960103FD-9B34-4231-808F-24D76306D162}" dt="2023-10-29T14:24:46.537" v="0" actId="47"/>
        <pc:sldMkLst>
          <pc:docMk/>
          <pc:sldMk cId="525303409" sldId="1117"/>
        </pc:sldMkLst>
      </pc:sldChg>
      <pc:sldChg chg="del">
        <pc:chgData name="JanEri14" userId="ea321e6f-a9b4-4544-8ae7-a495220778c5" providerId="ADAL" clId="{960103FD-9B34-4231-808F-24D76306D162}" dt="2023-10-29T14:24:46.537" v="0" actId="47"/>
        <pc:sldMkLst>
          <pc:docMk/>
          <pc:sldMk cId="2419523446" sldId="1118"/>
        </pc:sldMkLst>
      </pc:sldChg>
      <pc:sldChg chg="del">
        <pc:chgData name="JanEri14" userId="ea321e6f-a9b4-4544-8ae7-a495220778c5" providerId="ADAL" clId="{960103FD-9B34-4231-808F-24D76306D162}" dt="2023-10-29T14:24:46.537" v="0" actId="47"/>
        <pc:sldMkLst>
          <pc:docMk/>
          <pc:sldMk cId="2076714699" sldId="1119"/>
        </pc:sldMkLst>
      </pc:sldChg>
      <pc:sldChg chg="del">
        <pc:chgData name="JanEri14" userId="ea321e6f-a9b4-4544-8ae7-a495220778c5" providerId="ADAL" clId="{960103FD-9B34-4231-808F-24D76306D162}" dt="2023-10-29T14:24:46.537" v="0" actId="47"/>
        <pc:sldMkLst>
          <pc:docMk/>
          <pc:sldMk cId="59161605" sldId="1120"/>
        </pc:sldMkLst>
      </pc:sldChg>
      <pc:sldChg chg="del">
        <pc:chgData name="JanEri14" userId="ea321e6f-a9b4-4544-8ae7-a495220778c5" providerId="ADAL" clId="{960103FD-9B34-4231-808F-24D76306D162}" dt="2023-10-29T14:24:46.537" v="0" actId="47"/>
        <pc:sldMkLst>
          <pc:docMk/>
          <pc:sldMk cId="4103095037" sldId="1121"/>
        </pc:sldMkLst>
      </pc:sldChg>
      <pc:sldChg chg="del">
        <pc:chgData name="JanEri14" userId="ea321e6f-a9b4-4544-8ae7-a495220778c5" providerId="ADAL" clId="{960103FD-9B34-4231-808F-24D76306D162}" dt="2023-10-29T14:24:46.537" v="0" actId="47"/>
        <pc:sldMkLst>
          <pc:docMk/>
          <pc:sldMk cId="3398791143" sldId="1122"/>
        </pc:sldMkLst>
      </pc:sldChg>
      <pc:sldChg chg="del">
        <pc:chgData name="JanEri14" userId="ea321e6f-a9b4-4544-8ae7-a495220778c5" providerId="ADAL" clId="{960103FD-9B34-4231-808F-24D76306D162}" dt="2023-10-29T14:24:46.537" v="0" actId="47"/>
        <pc:sldMkLst>
          <pc:docMk/>
          <pc:sldMk cId="3558282617" sldId="1125"/>
        </pc:sldMkLst>
      </pc:sldChg>
      <pc:sldChg chg="del">
        <pc:chgData name="JanEri14" userId="ea321e6f-a9b4-4544-8ae7-a495220778c5" providerId="ADAL" clId="{960103FD-9B34-4231-808F-24D76306D162}" dt="2023-10-29T14:27:20.449" v="6" actId="47"/>
        <pc:sldMkLst>
          <pc:docMk/>
          <pc:sldMk cId="3760203483" sldId="1126"/>
        </pc:sldMkLst>
      </pc:sldChg>
      <pc:sldChg chg="del">
        <pc:chgData name="JanEri14" userId="ea321e6f-a9b4-4544-8ae7-a495220778c5" providerId="ADAL" clId="{960103FD-9B34-4231-808F-24D76306D162}" dt="2023-10-29T14:27:31.097" v="9" actId="47"/>
        <pc:sldMkLst>
          <pc:docMk/>
          <pc:sldMk cId="1000353809" sldId="1127"/>
        </pc:sldMkLst>
      </pc:sldChg>
      <pc:sldChg chg="del">
        <pc:chgData name="JanEri14" userId="ea321e6f-a9b4-4544-8ae7-a495220778c5" providerId="ADAL" clId="{960103FD-9B34-4231-808F-24D76306D162}" dt="2023-10-29T14:27:31.605" v="10" actId="47"/>
        <pc:sldMkLst>
          <pc:docMk/>
          <pc:sldMk cId="3578256024" sldId="1128"/>
        </pc:sldMkLst>
      </pc:sldChg>
      <pc:sldChg chg="del">
        <pc:chgData name="JanEri14" userId="ea321e6f-a9b4-4544-8ae7-a495220778c5" providerId="ADAL" clId="{960103FD-9B34-4231-808F-24D76306D162}" dt="2023-10-29T14:27:30.417" v="8" actId="47"/>
        <pc:sldMkLst>
          <pc:docMk/>
          <pc:sldMk cId="1542976176" sldId="1129"/>
        </pc:sldMkLst>
      </pc:sldChg>
    </pc:docChg>
  </pc:docChgLst>
  <pc:docChgLst>
    <pc:chgData name="JanEri14" userId="ea321e6f-a9b4-4544-8ae7-a495220778c5" providerId="ADAL" clId="{F5E438C7-0F25-478D-82E3-E9A3800A5C41}"/>
    <pc:docChg chg="undo custSel addSld delSld modSld modSection">
      <pc:chgData name="JanEri14" userId="ea321e6f-a9b4-4544-8ae7-a495220778c5" providerId="ADAL" clId="{F5E438C7-0F25-478D-82E3-E9A3800A5C41}" dt="2023-11-22T11:08:32.115" v="1258" actId="1076"/>
      <pc:docMkLst>
        <pc:docMk/>
      </pc:docMkLst>
      <pc:sldChg chg="addSp delSp modSp add del mod delTag modNotes modNotesTx">
        <pc:chgData name="JanEri14" userId="ea321e6f-a9b4-4544-8ae7-a495220778c5" providerId="ADAL" clId="{F5E438C7-0F25-478D-82E3-E9A3800A5C41}" dt="2023-11-22T07:50:52.667" v="122" actId="47"/>
        <pc:sldMkLst>
          <pc:docMk/>
          <pc:sldMk cId="1342394811" sldId="580"/>
        </pc:sldMkLst>
        <pc:spChg chg="mod">
          <ac:chgData name="JanEri14" userId="ea321e6f-a9b4-4544-8ae7-a495220778c5" providerId="ADAL" clId="{F5E438C7-0F25-478D-82E3-E9A3800A5C41}" dt="2023-11-22T07:48:29.549" v="86"/>
          <ac:spMkLst>
            <pc:docMk/>
            <pc:sldMk cId="1342394811" sldId="580"/>
            <ac:spMk id="4" creationId="{00000000-0000-0000-0000-000000000000}"/>
          </ac:spMkLst>
        </pc:spChg>
        <pc:spChg chg="add del mod">
          <ac:chgData name="JanEri14" userId="ea321e6f-a9b4-4544-8ae7-a495220778c5" providerId="ADAL" clId="{F5E438C7-0F25-478D-82E3-E9A3800A5C41}" dt="2023-11-22T07:48:33.999" v="91" actId="478"/>
          <ac:spMkLst>
            <pc:docMk/>
            <pc:sldMk cId="1342394811" sldId="580"/>
            <ac:spMk id="6" creationId="{454F4A4C-DB90-40D4-D9A0-2B86B73AF2A9}"/>
          </ac:spMkLst>
        </pc:spChg>
        <pc:spChg chg="add mod">
          <ac:chgData name="JanEri14" userId="ea321e6f-a9b4-4544-8ae7-a495220778c5" providerId="ADAL" clId="{F5E438C7-0F25-478D-82E3-E9A3800A5C41}" dt="2023-11-22T07:48:59.329" v="105" actId="20577"/>
          <ac:spMkLst>
            <pc:docMk/>
            <pc:sldMk cId="1342394811" sldId="580"/>
            <ac:spMk id="7" creationId="{D1681A84-AE0B-266C-3066-4B59820D02E0}"/>
          </ac:spMkLst>
        </pc:spChg>
        <pc:spChg chg="add mod">
          <ac:chgData name="JanEri14" userId="ea321e6f-a9b4-4544-8ae7-a495220778c5" providerId="ADAL" clId="{F5E438C7-0F25-478D-82E3-E9A3800A5C41}" dt="2023-11-22T07:48:29.549" v="86"/>
          <ac:spMkLst>
            <pc:docMk/>
            <pc:sldMk cId="1342394811" sldId="580"/>
            <ac:spMk id="9" creationId="{FC87B81B-C93B-91E7-D696-978C96072B87}"/>
          </ac:spMkLst>
        </pc:spChg>
        <pc:spChg chg="add mod">
          <ac:chgData name="JanEri14" userId="ea321e6f-a9b4-4544-8ae7-a495220778c5" providerId="ADAL" clId="{F5E438C7-0F25-478D-82E3-E9A3800A5C41}" dt="2023-11-22T07:48:29.549" v="86"/>
          <ac:spMkLst>
            <pc:docMk/>
            <pc:sldMk cId="1342394811" sldId="580"/>
            <ac:spMk id="10" creationId="{0EC7190A-9264-F6A1-A0ED-B463CB3C2086}"/>
          </ac:spMkLst>
        </pc:spChg>
      </pc:sldChg>
      <pc:sldChg chg="addSp delSp modSp add del mod delTag modNotes">
        <pc:chgData name="JanEri14" userId="ea321e6f-a9b4-4544-8ae7-a495220778c5" providerId="ADAL" clId="{F5E438C7-0F25-478D-82E3-E9A3800A5C41}" dt="2023-11-22T07:50:41.138" v="119" actId="47"/>
        <pc:sldMkLst>
          <pc:docMk/>
          <pc:sldMk cId="3989150252" sldId="742"/>
        </pc:sldMkLst>
        <pc:spChg chg="add del mod">
          <ac:chgData name="JanEri14" userId="ea321e6f-a9b4-4544-8ae7-a495220778c5" providerId="ADAL" clId="{F5E438C7-0F25-478D-82E3-E9A3800A5C41}" dt="2023-11-22T07:50:29.983" v="112" actId="478"/>
          <ac:spMkLst>
            <pc:docMk/>
            <pc:sldMk cId="3989150252" sldId="742"/>
            <ac:spMk id="8" creationId="{12CDB7E1-1F35-21A4-477C-64B184BB0DD5}"/>
          </ac:spMkLst>
        </pc:spChg>
        <pc:spChg chg="add mod">
          <ac:chgData name="JanEri14" userId="ea321e6f-a9b4-4544-8ae7-a495220778c5" providerId="ADAL" clId="{F5E438C7-0F25-478D-82E3-E9A3800A5C41}" dt="2023-11-22T07:50:27.448" v="107"/>
          <ac:spMkLst>
            <pc:docMk/>
            <pc:sldMk cId="3989150252" sldId="742"/>
            <ac:spMk id="9" creationId="{FC4DFC33-FE75-78C5-63DC-CE0553771145}"/>
          </ac:spMkLst>
        </pc:spChg>
        <pc:spChg chg="add mod">
          <ac:chgData name="JanEri14" userId="ea321e6f-a9b4-4544-8ae7-a495220778c5" providerId="ADAL" clId="{F5E438C7-0F25-478D-82E3-E9A3800A5C41}" dt="2023-11-22T07:50:27.448" v="107"/>
          <ac:spMkLst>
            <pc:docMk/>
            <pc:sldMk cId="3989150252" sldId="742"/>
            <ac:spMk id="10" creationId="{EBCF8D2F-406A-DB16-3CAF-914D16C7BC7D}"/>
          </ac:spMkLst>
        </pc:spChg>
        <pc:spChg chg="add mod">
          <ac:chgData name="JanEri14" userId="ea321e6f-a9b4-4544-8ae7-a495220778c5" providerId="ADAL" clId="{F5E438C7-0F25-478D-82E3-E9A3800A5C41}" dt="2023-11-22T07:50:27.448" v="107"/>
          <ac:spMkLst>
            <pc:docMk/>
            <pc:sldMk cId="3989150252" sldId="742"/>
            <ac:spMk id="12" creationId="{3B766523-DFA4-2C6E-D1E0-1702B0BD4787}"/>
          </ac:spMkLst>
        </pc:spChg>
        <pc:spChg chg="mod">
          <ac:chgData name="JanEri14" userId="ea321e6f-a9b4-4544-8ae7-a495220778c5" providerId="ADAL" clId="{F5E438C7-0F25-478D-82E3-E9A3800A5C41}" dt="2023-11-22T07:50:27.448" v="107"/>
          <ac:spMkLst>
            <pc:docMk/>
            <pc:sldMk cId="3989150252" sldId="742"/>
            <ac:spMk id="41" creationId="{00000000-0000-0000-0000-000000000000}"/>
          </ac:spMkLst>
        </pc:spChg>
      </pc:sldChg>
      <pc:sldChg chg="addSp delSp modSp add mod delTag modNotes modNotesTx">
        <pc:chgData name="JanEri14" userId="ea321e6f-a9b4-4544-8ae7-a495220778c5" providerId="ADAL" clId="{F5E438C7-0F25-478D-82E3-E9A3800A5C41}" dt="2023-11-22T11:08:32.115" v="1258" actId="1076"/>
        <pc:sldMkLst>
          <pc:docMk/>
          <pc:sldMk cId="3532490573" sldId="753"/>
        </pc:sldMkLst>
        <pc:spChg chg="mod">
          <ac:chgData name="JanEri14" userId="ea321e6f-a9b4-4544-8ae7-a495220778c5" providerId="ADAL" clId="{F5E438C7-0F25-478D-82E3-E9A3800A5C41}" dt="2023-11-22T08:04:24.625" v="496" actId="20577"/>
          <ac:spMkLst>
            <pc:docMk/>
            <pc:sldMk cId="3532490573" sldId="753"/>
            <ac:spMk id="2" creationId="{00000000-0000-0000-0000-000000000000}"/>
          </ac:spMkLst>
        </pc:spChg>
        <pc:spChg chg="mod">
          <ac:chgData name="JanEri14" userId="ea321e6f-a9b4-4544-8ae7-a495220778c5" providerId="ADAL" clId="{F5E438C7-0F25-478D-82E3-E9A3800A5C41}" dt="2023-11-22T10:29:08.839" v="1247" actId="120"/>
          <ac:spMkLst>
            <pc:docMk/>
            <pc:sldMk cId="3532490573" sldId="753"/>
            <ac:spMk id="3" creationId="{00000000-0000-0000-0000-000000000000}"/>
          </ac:spMkLst>
        </pc:spChg>
        <pc:spChg chg="mod">
          <ac:chgData name="JanEri14" userId="ea321e6f-a9b4-4544-8ae7-a495220778c5" providerId="ADAL" clId="{F5E438C7-0F25-478D-82E3-E9A3800A5C41}" dt="2023-11-22T11:08:28.358" v="1257" actId="1076"/>
          <ac:spMkLst>
            <pc:docMk/>
            <pc:sldMk cId="3532490573" sldId="753"/>
            <ac:spMk id="7" creationId="{00000000-0000-0000-0000-000000000000}"/>
          </ac:spMkLst>
        </pc:spChg>
        <pc:spChg chg="mod">
          <ac:chgData name="JanEri14" userId="ea321e6f-a9b4-4544-8ae7-a495220778c5" providerId="ADAL" clId="{F5E438C7-0F25-478D-82E3-E9A3800A5C41}" dt="2023-11-22T11:08:28.358" v="1257" actId="1076"/>
          <ac:spMkLst>
            <pc:docMk/>
            <pc:sldMk cId="3532490573" sldId="753"/>
            <ac:spMk id="8" creationId="{00000000-0000-0000-0000-000000000000}"/>
          </ac:spMkLst>
        </pc:spChg>
        <pc:spChg chg="mod">
          <ac:chgData name="JanEri14" userId="ea321e6f-a9b4-4544-8ae7-a495220778c5" providerId="ADAL" clId="{F5E438C7-0F25-478D-82E3-E9A3800A5C41}" dt="2023-11-22T11:08:28.358" v="1257" actId="1076"/>
          <ac:spMkLst>
            <pc:docMk/>
            <pc:sldMk cId="3532490573" sldId="753"/>
            <ac:spMk id="9" creationId="{00000000-0000-0000-0000-000000000000}"/>
          </ac:spMkLst>
        </pc:spChg>
        <pc:spChg chg="mod">
          <ac:chgData name="JanEri14" userId="ea321e6f-a9b4-4544-8ae7-a495220778c5" providerId="ADAL" clId="{F5E438C7-0F25-478D-82E3-E9A3800A5C41}" dt="2023-11-22T10:29:06.013" v="1246" actId="120"/>
          <ac:spMkLst>
            <pc:docMk/>
            <pc:sldMk cId="3532490573" sldId="753"/>
            <ac:spMk id="11" creationId="{00000000-0000-0000-0000-000000000000}"/>
          </ac:spMkLst>
        </pc:spChg>
        <pc:spChg chg="add del mod">
          <ac:chgData name="JanEri14" userId="ea321e6f-a9b4-4544-8ae7-a495220778c5" providerId="ADAL" clId="{F5E438C7-0F25-478D-82E3-E9A3800A5C41}" dt="2023-11-22T07:50:43.109" v="120" actId="478"/>
          <ac:spMkLst>
            <pc:docMk/>
            <pc:sldMk cId="3532490573" sldId="753"/>
            <ac:spMk id="15" creationId="{BA3342B7-C645-A900-3773-5E1E779E4428}"/>
          </ac:spMkLst>
        </pc:spChg>
        <pc:spChg chg="add mod">
          <ac:chgData name="JanEri14" userId="ea321e6f-a9b4-4544-8ae7-a495220778c5" providerId="ADAL" clId="{F5E438C7-0F25-478D-82E3-E9A3800A5C41}" dt="2023-11-22T08:13:47.695" v="961" actId="20577"/>
          <ac:spMkLst>
            <pc:docMk/>
            <pc:sldMk cId="3532490573" sldId="753"/>
            <ac:spMk id="16" creationId="{9D4A5A01-3B67-4B7C-9850-D608D26E1D4F}"/>
          </ac:spMkLst>
        </pc:spChg>
        <pc:spChg chg="add mod">
          <ac:chgData name="JanEri14" userId="ea321e6f-a9b4-4544-8ae7-a495220778c5" providerId="ADAL" clId="{F5E438C7-0F25-478D-82E3-E9A3800A5C41}" dt="2023-11-22T08:12:58.690" v="895" actId="20577"/>
          <ac:spMkLst>
            <pc:docMk/>
            <pc:sldMk cId="3532490573" sldId="753"/>
            <ac:spMk id="17" creationId="{A1E62F28-1C25-7620-FC0A-119B779C1C75}"/>
          </ac:spMkLst>
        </pc:spChg>
        <pc:spChg chg="add mod">
          <ac:chgData name="JanEri14" userId="ea321e6f-a9b4-4544-8ae7-a495220778c5" providerId="ADAL" clId="{F5E438C7-0F25-478D-82E3-E9A3800A5C41}" dt="2023-11-22T08:13:08.090" v="917" actId="20577"/>
          <ac:spMkLst>
            <pc:docMk/>
            <pc:sldMk cId="3532490573" sldId="753"/>
            <ac:spMk id="18" creationId="{8D9B13FD-2ABA-BAA7-059F-A9324218A49E}"/>
          </ac:spMkLst>
        </pc:spChg>
        <pc:spChg chg="add mod">
          <ac:chgData name="JanEri14" userId="ea321e6f-a9b4-4544-8ae7-a495220778c5" providerId="ADAL" clId="{F5E438C7-0F25-478D-82E3-E9A3800A5C41}" dt="2023-11-22T11:08:32.115" v="1258" actId="1076"/>
          <ac:spMkLst>
            <pc:docMk/>
            <pc:sldMk cId="3532490573" sldId="753"/>
            <ac:spMk id="19" creationId="{4029EBB0-34AC-BC88-E2C3-998E6CD51DFD}"/>
          </ac:spMkLst>
        </pc:spChg>
        <pc:spChg chg="del mod">
          <ac:chgData name="JanEri14" userId="ea321e6f-a9b4-4544-8ae7-a495220778c5" providerId="ADAL" clId="{F5E438C7-0F25-478D-82E3-E9A3800A5C41}" dt="2023-11-22T11:08:02.719" v="1249" actId="478"/>
          <ac:spMkLst>
            <pc:docMk/>
            <pc:sldMk cId="3532490573" sldId="753"/>
            <ac:spMk id="42" creationId="{00000000-0000-0000-0000-000000000000}"/>
          </ac:spMkLst>
        </pc:spChg>
        <pc:spChg chg="del">
          <ac:chgData name="JanEri14" userId="ea321e6f-a9b4-4544-8ae7-a495220778c5" providerId="ADAL" clId="{F5E438C7-0F25-478D-82E3-E9A3800A5C41}" dt="2023-11-22T11:08:03.662" v="1250" actId="478"/>
          <ac:spMkLst>
            <pc:docMk/>
            <pc:sldMk cId="3532490573" sldId="753"/>
            <ac:spMk id="43" creationId="{00000000-0000-0000-0000-000000000000}"/>
          </ac:spMkLst>
        </pc:spChg>
        <pc:spChg chg="del mod">
          <ac:chgData name="JanEri14" userId="ea321e6f-a9b4-4544-8ae7-a495220778c5" providerId="ADAL" clId="{F5E438C7-0F25-478D-82E3-E9A3800A5C41}" dt="2023-11-22T11:08:06.541" v="1254" actId="478"/>
          <ac:spMkLst>
            <pc:docMk/>
            <pc:sldMk cId="3532490573" sldId="753"/>
            <ac:spMk id="44" creationId="{00000000-0000-0000-0000-000000000000}"/>
          </ac:spMkLst>
        </pc:spChg>
        <pc:spChg chg="mod">
          <ac:chgData name="JanEri14" userId="ea321e6f-a9b4-4544-8ae7-a495220778c5" providerId="ADAL" clId="{F5E438C7-0F25-478D-82E3-E9A3800A5C41}" dt="2023-11-22T11:08:28.358" v="1257" actId="1076"/>
          <ac:spMkLst>
            <pc:docMk/>
            <pc:sldMk cId="3532490573" sldId="753"/>
            <ac:spMk id="55" creationId="{00000000-0000-0000-0000-000000000000}"/>
          </ac:spMkLst>
        </pc:spChg>
        <pc:spChg chg="del">
          <ac:chgData name="JanEri14" userId="ea321e6f-a9b4-4544-8ae7-a495220778c5" providerId="ADAL" clId="{F5E438C7-0F25-478D-82E3-E9A3800A5C41}" dt="2023-11-22T11:08:05.325" v="1251" actId="478"/>
          <ac:spMkLst>
            <pc:docMk/>
            <pc:sldMk cId="3532490573" sldId="753"/>
            <ac:spMk id="63" creationId="{C7020CBD-83AC-4A7E-8D27-FC3731117AE9}"/>
          </ac:spMkLst>
        </pc:spChg>
        <pc:grpChg chg="del mod">
          <ac:chgData name="JanEri14" userId="ea321e6f-a9b4-4544-8ae7-a495220778c5" providerId="ADAL" clId="{F5E438C7-0F25-478D-82E3-E9A3800A5C41}" dt="2023-11-22T11:08:05.991" v="1252" actId="478"/>
          <ac:grpSpMkLst>
            <pc:docMk/>
            <pc:sldMk cId="3532490573" sldId="753"/>
            <ac:grpSpMk id="61" creationId="{1B4B675C-9D5D-46A4-951C-2DB395681486}"/>
          </ac:grpSpMkLst>
        </pc:grpChg>
        <pc:cxnChg chg="mod">
          <ac:chgData name="JanEri14" userId="ea321e6f-a9b4-4544-8ae7-a495220778c5" providerId="ADAL" clId="{F5E438C7-0F25-478D-82E3-E9A3800A5C41}" dt="2023-11-22T11:08:28.358" v="1257" actId="1076"/>
          <ac:cxnSpMkLst>
            <pc:docMk/>
            <pc:sldMk cId="3532490573" sldId="753"/>
            <ac:cxnSpMk id="10" creationId="{00000000-0000-0000-0000-000000000000}"/>
          </ac:cxnSpMkLst>
        </pc:cxnChg>
        <pc:cxnChg chg="del mod">
          <ac:chgData name="JanEri14" userId="ea321e6f-a9b4-4544-8ae7-a495220778c5" providerId="ADAL" clId="{F5E438C7-0F25-478D-82E3-E9A3800A5C41}" dt="2023-11-22T11:08:07.333" v="1255" actId="478"/>
          <ac:cxnSpMkLst>
            <pc:docMk/>
            <pc:sldMk cId="3532490573" sldId="753"/>
            <ac:cxnSpMk id="45" creationId="{00000000-0000-0000-0000-000000000000}"/>
          </ac:cxnSpMkLst>
        </pc:cxnChg>
      </pc:sldChg>
      <pc:sldChg chg="modNotesTx">
        <pc:chgData name="JanEri14" userId="ea321e6f-a9b4-4544-8ae7-a495220778c5" providerId="ADAL" clId="{F5E438C7-0F25-478D-82E3-E9A3800A5C41}" dt="2023-11-22T07:47:25.424" v="84" actId="20577"/>
        <pc:sldMkLst>
          <pc:docMk/>
          <pc:sldMk cId="3495691204" sldId="1086"/>
        </pc:sldMkLst>
      </pc:sldChg>
      <pc:sldChg chg="delSp modSp new mod modNotesTx">
        <pc:chgData name="JanEri14" userId="ea321e6f-a9b4-4544-8ae7-a495220778c5" providerId="ADAL" clId="{F5E438C7-0F25-478D-82E3-E9A3800A5C41}" dt="2023-11-22T09:09:44.182" v="1051" actId="478"/>
        <pc:sldMkLst>
          <pc:docMk/>
          <pc:sldMk cId="493410457" sldId="1087"/>
        </pc:sldMkLst>
        <pc:spChg chg="del">
          <ac:chgData name="JanEri14" userId="ea321e6f-a9b4-4544-8ae7-a495220778c5" providerId="ADAL" clId="{F5E438C7-0F25-478D-82E3-E9A3800A5C41}" dt="2023-11-22T09:09:44.182" v="1051" actId="478"/>
          <ac:spMkLst>
            <pc:docMk/>
            <pc:sldMk cId="493410457" sldId="1087"/>
            <ac:spMk id="3" creationId="{189069D4-5191-DF81-53A8-1E7A1ECA2BFB}"/>
          </ac:spMkLst>
        </pc:spChg>
        <pc:spChg chg="mod">
          <ac:chgData name="JanEri14" userId="ea321e6f-a9b4-4544-8ae7-a495220778c5" providerId="ADAL" clId="{F5E438C7-0F25-478D-82E3-E9A3800A5C41}" dt="2023-11-22T08:48:53.340" v="1050" actId="20577"/>
          <ac:spMkLst>
            <pc:docMk/>
            <pc:sldMk cId="493410457" sldId="1087"/>
            <ac:spMk id="5" creationId="{23A71688-6B18-43E2-1359-3CD4D63BA227}"/>
          </ac:spMkLst>
        </pc:spChg>
      </pc:sldChg>
      <pc:sldMasterChg chg="delSldLayout">
        <pc:chgData name="JanEri14" userId="ea321e6f-a9b4-4544-8ae7-a495220778c5" providerId="ADAL" clId="{F5E438C7-0F25-478D-82E3-E9A3800A5C41}" dt="2023-11-22T07:50:35.214" v="115" actId="2696"/>
        <pc:sldMasterMkLst>
          <pc:docMk/>
          <pc:sldMasterMk cId="1070981886" sldId="2147483656"/>
        </pc:sldMasterMkLst>
        <pc:sldLayoutChg chg="del">
          <pc:chgData name="JanEri14" userId="ea321e6f-a9b4-4544-8ae7-a495220778c5" providerId="ADAL" clId="{F5E438C7-0F25-478D-82E3-E9A3800A5C41}" dt="2023-11-22T07:48:29.552" v="87" actId="2696"/>
          <pc:sldLayoutMkLst>
            <pc:docMk/>
            <pc:sldMasterMk cId="1070981886" sldId="2147483656"/>
            <pc:sldLayoutMk cId="309534211" sldId="2147483664"/>
          </pc:sldLayoutMkLst>
        </pc:sldLayoutChg>
        <pc:sldLayoutChg chg="del">
          <pc:chgData name="JanEri14" userId="ea321e6f-a9b4-4544-8ae7-a495220778c5" providerId="ADAL" clId="{F5E438C7-0F25-478D-82E3-E9A3800A5C41}" dt="2023-11-22T07:50:35.214" v="115" actId="2696"/>
          <pc:sldLayoutMkLst>
            <pc:docMk/>
            <pc:sldMasterMk cId="1070981886" sldId="2147483656"/>
            <pc:sldLayoutMk cId="2227692061" sldId="2147483664"/>
          </pc:sldLayoutMkLst>
        </pc:sldLayoutChg>
        <pc:sldLayoutChg chg="del">
          <pc:chgData name="JanEri14" userId="ea321e6f-a9b4-4544-8ae7-a495220778c5" providerId="ADAL" clId="{F5E438C7-0F25-478D-82E3-E9A3800A5C41}" dt="2023-11-22T07:50:27.450" v="108" actId="2696"/>
          <pc:sldLayoutMkLst>
            <pc:docMk/>
            <pc:sldMasterMk cId="1070981886" sldId="2147483656"/>
            <pc:sldLayoutMk cId="3862186909" sldId="2147483664"/>
          </pc:sldLayoutMkLst>
        </pc:sldLayoutChg>
      </pc:sldMasterChg>
    </pc:docChg>
  </pc:docChgLst>
  <pc:docChgLst>
    <pc:chgData name="KevCla12" userId="ef2eb634-4620-450f-93cc-80cc93397e60" providerId="ADAL" clId="{C56873FA-403C-4C88-B358-D08652441E70}"/>
    <pc:docChg chg="undo redo custSel addSld modSld modSection">
      <pc:chgData name="KevCla12" userId="ef2eb634-4620-450f-93cc-80cc93397e60" providerId="ADAL" clId="{C56873FA-403C-4C88-B358-D08652441E70}" dt="2023-11-29T18:14:13.314" v="1368" actId="5793"/>
      <pc:docMkLst>
        <pc:docMk/>
      </pc:docMkLst>
      <pc:sldChg chg="addSp modSp mod">
        <pc:chgData name="KevCla12" userId="ef2eb634-4620-450f-93cc-80cc93397e60" providerId="ADAL" clId="{C56873FA-403C-4C88-B358-D08652441E70}" dt="2023-11-29T17:45:11.550" v="775" actId="20577"/>
        <pc:sldMkLst>
          <pc:docMk/>
          <pc:sldMk cId="1581556713" sldId="776"/>
        </pc:sldMkLst>
        <pc:spChg chg="mod">
          <ac:chgData name="KevCla12" userId="ef2eb634-4620-450f-93cc-80cc93397e60" providerId="ADAL" clId="{C56873FA-403C-4C88-B358-D08652441E70}" dt="2023-11-29T17:36:37.282" v="77" actId="1037"/>
          <ac:spMkLst>
            <pc:docMk/>
            <pc:sldMk cId="1581556713" sldId="776"/>
            <ac:spMk id="8" creationId="{33768A4B-C8A0-96B9-295B-8EFA5B50D52D}"/>
          </ac:spMkLst>
        </pc:spChg>
        <pc:spChg chg="add mod">
          <ac:chgData name="KevCla12" userId="ef2eb634-4620-450f-93cc-80cc93397e60" providerId="ADAL" clId="{C56873FA-403C-4C88-B358-D08652441E70}" dt="2023-11-29T17:40:15.118" v="263" actId="1035"/>
          <ac:spMkLst>
            <pc:docMk/>
            <pc:sldMk cId="1581556713" sldId="776"/>
            <ac:spMk id="21" creationId="{360942A8-DB58-205E-3C91-63F2463F268B}"/>
          </ac:spMkLst>
        </pc:spChg>
        <pc:spChg chg="add mod">
          <ac:chgData name="KevCla12" userId="ef2eb634-4620-450f-93cc-80cc93397e60" providerId="ADAL" clId="{C56873FA-403C-4C88-B358-D08652441E70}" dt="2023-11-29T17:41:54.346" v="270" actId="208"/>
          <ac:spMkLst>
            <pc:docMk/>
            <pc:sldMk cId="1581556713" sldId="776"/>
            <ac:spMk id="24" creationId="{627F3719-7CF7-0F3C-F40F-2B34F9822E55}"/>
          </ac:spMkLst>
        </pc:spChg>
        <pc:spChg chg="add mod">
          <ac:chgData name="KevCla12" userId="ef2eb634-4620-450f-93cc-80cc93397e60" providerId="ADAL" clId="{C56873FA-403C-4C88-B358-D08652441E70}" dt="2023-11-29T17:45:11.550" v="775" actId="20577"/>
          <ac:spMkLst>
            <pc:docMk/>
            <pc:sldMk cId="1581556713" sldId="776"/>
            <ac:spMk id="25" creationId="{518D8A0F-17FE-4F72-D54C-DE77F7D7A9EC}"/>
          </ac:spMkLst>
        </pc:spChg>
        <pc:spChg chg="mod">
          <ac:chgData name="KevCla12" userId="ef2eb634-4620-450f-93cc-80cc93397e60" providerId="ADAL" clId="{C56873FA-403C-4C88-B358-D08652441E70}" dt="2023-11-29T17:39:59.031" v="246" actId="1037"/>
          <ac:spMkLst>
            <pc:docMk/>
            <pc:sldMk cId="1581556713" sldId="776"/>
            <ac:spMk id="40" creationId="{2A1CC1C2-9064-37B7-816B-8E883177097A}"/>
          </ac:spMkLst>
        </pc:spChg>
        <pc:spChg chg="mod">
          <ac:chgData name="KevCla12" userId="ef2eb634-4620-450f-93cc-80cc93397e60" providerId="ADAL" clId="{C56873FA-403C-4C88-B358-D08652441E70}" dt="2023-11-29T17:36:09.760" v="44" actId="1037"/>
          <ac:spMkLst>
            <pc:docMk/>
            <pc:sldMk cId="1581556713" sldId="776"/>
            <ac:spMk id="51" creationId="{92D1DA4D-6851-87E4-2B28-B11021F1CBA7}"/>
          </ac:spMkLst>
        </pc:spChg>
        <pc:spChg chg="mod">
          <ac:chgData name="KevCla12" userId="ef2eb634-4620-450f-93cc-80cc93397e60" providerId="ADAL" clId="{C56873FA-403C-4C88-B358-D08652441E70}" dt="2023-11-29T17:36:45.707" v="103" actId="1037"/>
          <ac:spMkLst>
            <pc:docMk/>
            <pc:sldMk cId="1581556713" sldId="776"/>
            <ac:spMk id="61" creationId="{E7D65EEF-7534-05FD-8C82-22577763020B}"/>
          </ac:spMkLst>
        </pc:spChg>
        <pc:spChg chg="mod">
          <ac:chgData name="KevCla12" userId="ef2eb634-4620-450f-93cc-80cc93397e60" providerId="ADAL" clId="{C56873FA-403C-4C88-B358-D08652441E70}" dt="2023-11-29T17:37:34.408" v="202" actId="1038"/>
          <ac:spMkLst>
            <pc:docMk/>
            <pc:sldMk cId="1581556713" sldId="776"/>
            <ac:spMk id="1024" creationId="{9DE87BDD-AE55-7637-0DE5-1125A4E068E3}"/>
          </ac:spMkLst>
        </pc:spChg>
        <pc:spChg chg="mod">
          <ac:chgData name="KevCla12" userId="ef2eb634-4620-450f-93cc-80cc93397e60" providerId="ADAL" clId="{C56873FA-403C-4C88-B358-D08652441E70}" dt="2023-11-29T17:37:06.308" v="142" actId="1037"/>
          <ac:spMkLst>
            <pc:docMk/>
            <pc:sldMk cId="1581556713" sldId="776"/>
            <ac:spMk id="1025" creationId="{F2173324-E26B-5C1C-4D3C-C70D3D12F54A}"/>
          </ac:spMkLst>
        </pc:spChg>
        <pc:spChg chg="mod">
          <ac:chgData name="KevCla12" userId="ef2eb634-4620-450f-93cc-80cc93397e60" providerId="ADAL" clId="{C56873FA-403C-4C88-B358-D08652441E70}" dt="2023-11-29T17:36:37.282" v="77" actId="1037"/>
          <ac:spMkLst>
            <pc:docMk/>
            <pc:sldMk cId="1581556713" sldId="776"/>
            <ac:spMk id="1027" creationId="{C2C25580-E270-7664-1896-C206DB461E7F}"/>
          </ac:spMkLst>
        </pc:spChg>
        <pc:spChg chg="mod">
          <ac:chgData name="KevCla12" userId="ef2eb634-4620-450f-93cc-80cc93397e60" providerId="ADAL" clId="{C56873FA-403C-4C88-B358-D08652441E70}" dt="2023-11-29T17:36:06.151" v="24" actId="1037"/>
          <ac:spMkLst>
            <pc:docMk/>
            <pc:sldMk cId="1581556713" sldId="776"/>
            <ac:spMk id="1029" creationId="{7E803D9A-EEF9-BE5B-7478-A8DE5903D4BB}"/>
          </ac:spMkLst>
        </pc:spChg>
        <pc:spChg chg="mod">
          <ac:chgData name="KevCla12" userId="ef2eb634-4620-450f-93cc-80cc93397e60" providerId="ADAL" clId="{C56873FA-403C-4C88-B358-D08652441E70}" dt="2023-11-29T17:36:06.151" v="24" actId="1037"/>
          <ac:spMkLst>
            <pc:docMk/>
            <pc:sldMk cId="1581556713" sldId="776"/>
            <ac:spMk id="1031" creationId="{2F9888E7-6B8A-CC59-9C45-FDD499B7E62F}"/>
          </ac:spMkLst>
        </pc:spChg>
        <pc:picChg chg="mod">
          <ac:chgData name="KevCla12" userId="ef2eb634-4620-450f-93cc-80cc93397e60" providerId="ADAL" clId="{C56873FA-403C-4C88-B358-D08652441E70}" dt="2023-11-29T17:36:37.282" v="77" actId="1037"/>
          <ac:picMkLst>
            <pc:docMk/>
            <pc:sldMk cId="1581556713" sldId="776"/>
            <ac:picMk id="3" creationId="{A9289BBE-49A7-0BF5-E029-73BB83CE58C6}"/>
          </ac:picMkLst>
        </pc:picChg>
        <pc:picChg chg="mod">
          <ac:chgData name="KevCla12" userId="ef2eb634-4620-450f-93cc-80cc93397e60" providerId="ADAL" clId="{C56873FA-403C-4C88-B358-D08652441E70}" dt="2023-11-29T17:37:06.308" v="142" actId="1037"/>
          <ac:picMkLst>
            <pc:docMk/>
            <pc:sldMk cId="1581556713" sldId="776"/>
            <ac:picMk id="1026" creationId="{0E522F78-C985-43E5-E8DC-A2911F90F4E3}"/>
          </ac:picMkLst>
        </pc:picChg>
        <pc:picChg chg="mod">
          <ac:chgData name="KevCla12" userId="ef2eb634-4620-450f-93cc-80cc93397e60" providerId="ADAL" clId="{C56873FA-403C-4C88-B358-D08652441E70}" dt="2023-11-29T17:37:34.408" v="202" actId="1038"/>
          <ac:picMkLst>
            <pc:docMk/>
            <pc:sldMk cId="1581556713" sldId="776"/>
            <ac:picMk id="1028" creationId="{30136D97-2794-B0A9-840D-F6F53B683986}"/>
          </ac:picMkLst>
        </pc:picChg>
        <pc:picChg chg="mod">
          <ac:chgData name="KevCla12" userId="ef2eb634-4620-450f-93cc-80cc93397e60" providerId="ADAL" clId="{C56873FA-403C-4C88-B358-D08652441E70}" dt="2023-11-29T17:36:37.282" v="77" actId="1037"/>
          <ac:picMkLst>
            <pc:docMk/>
            <pc:sldMk cId="1581556713" sldId="776"/>
            <ac:picMk id="1030" creationId="{2EFA1D8E-BC8D-B72F-2AFF-BE37021ABBC6}"/>
          </ac:picMkLst>
        </pc:picChg>
        <pc:picChg chg="mod">
          <ac:chgData name="KevCla12" userId="ef2eb634-4620-450f-93cc-80cc93397e60" providerId="ADAL" clId="{C56873FA-403C-4C88-B358-D08652441E70}" dt="2023-11-29T17:36:06.151" v="24" actId="1037"/>
          <ac:picMkLst>
            <pc:docMk/>
            <pc:sldMk cId="1581556713" sldId="776"/>
            <ac:picMk id="1032" creationId="{ECB1E9B0-722E-C0F7-200D-F64E00BB6009}"/>
          </ac:picMkLst>
        </pc:picChg>
        <pc:picChg chg="mod">
          <ac:chgData name="KevCla12" userId="ef2eb634-4620-450f-93cc-80cc93397e60" providerId="ADAL" clId="{C56873FA-403C-4C88-B358-D08652441E70}" dt="2023-11-29T17:36:06.151" v="24" actId="1037"/>
          <ac:picMkLst>
            <pc:docMk/>
            <pc:sldMk cId="1581556713" sldId="776"/>
            <ac:picMk id="1034" creationId="{5B7C1FA7-A7FC-429D-81C4-D9D591AD162C}"/>
          </ac:picMkLst>
        </pc:picChg>
        <pc:cxnChg chg="mod">
          <ac:chgData name="KevCla12" userId="ef2eb634-4620-450f-93cc-80cc93397e60" providerId="ADAL" clId="{C56873FA-403C-4C88-B358-D08652441E70}" dt="2023-11-29T17:36:37.282" v="77" actId="1037"/>
          <ac:cxnSpMkLst>
            <pc:docMk/>
            <pc:sldMk cId="1581556713" sldId="776"/>
            <ac:cxnSpMk id="7" creationId="{8AA7A15B-8553-6B3C-4585-AD1AC89695D8}"/>
          </ac:cxnSpMkLst>
        </pc:cxnChg>
        <pc:cxnChg chg="add mod">
          <ac:chgData name="KevCla12" userId="ef2eb634-4620-450f-93cc-80cc93397e60" providerId="ADAL" clId="{C56873FA-403C-4C88-B358-D08652441E70}" dt="2023-11-29T17:38:06.872" v="219" actId="14100"/>
          <ac:cxnSpMkLst>
            <pc:docMk/>
            <pc:sldMk cId="1581556713" sldId="776"/>
            <ac:cxnSpMk id="14" creationId="{EB2A1A95-3FEB-8CF2-5430-76EADB7FCDF1}"/>
          </ac:cxnSpMkLst>
        </pc:cxnChg>
        <pc:cxnChg chg="mod">
          <ac:chgData name="KevCla12" userId="ef2eb634-4620-450f-93cc-80cc93397e60" providerId="ADAL" clId="{C56873FA-403C-4C88-B358-D08652441E70}" dt="2023-11-29T17:37:21.210" v="179" actId="14100"/>
          <ac:cxnSpMkLst>
            <pc:docMk/>
            <pc:sldMk cId="1581556713" sldId="776"/>
            <ac:cxnSpMk id="38" creationId="{DE2E0245-C1E8-9CA3-40B5-5DAF41C2A648}"/>
          </ac:cxnSpMkLst>
        </pc:cxnChg>
        <pc:cxnChg chg="mod">
          <ac:chgData name="KevCla12" userId="ef2eb634-4620-450f-93cc-80cc93397e60" providerId="ADAL" clId="{C56873FA-403C-4C88-B358-D08652441E70}" dt="2023-11-29T17:38:11.846" v="220" actId="14100"/>
          <ac:cxnSpMkLst>
            <pc:docMk/>
            <pc:sldMk cId="1581556713" sldId="776"/>
            <ac:cxnSpMk id="41" creationId="{2DB98EA4-AB19-3DD4-58B6-6EE16749945D}"/>
          </ac:cxnSpMkLst>
        </pc:cxnChg>
        <pc:cxnChg chg="mod">
          <ac:chgData name="KevCla12" userId="ef2eb634-4620-450f-93cc-80cc93397e60" providerId="ADAL" clId="{C56873FA-403C-4C88-B358-D08652441E70}" dt="2023-11-29T17:37:06.308" v="142" actId="1037"/>
          <ac:cxnSpMkLst>
            <pc:docMk/>
            <pc:sldMk cId="1581556713" sldId="776"/>
            <ac:cxnSpMk id="48" creationId="{39B33CFE-A1E5-9E33-CC03-F45698F9A982}"/>
          </ac:cxnSpMkLst>
        </pc:cxnChg>
        <pc:cxnChg chg="mod">
          <ac:chgData name="KevCla12" userId="ef2eb634-4620-450f-93cc-80cc93397e60" providerId="ADAL" clId="{C56873FA-403C-4C88-B358-D08652441E70}" dt="2023-11-29T17:36:06.151" v="24" actId="1037"/>
          <ac:cxnSpMkLst>
            <pc:docMk/>
            <pc:sldMk cId="1581556713" sldId="776"/>
            <ac:cxnSpMk id="50" creationId="{D6D74C65-BEEB-0E3C-2F42-C886B9FC64CA}"/>
          </ac:cxnSpMkLst>
        </pc:cxnChg>
        <pc:cxnChg chg="mod">
          <ac:chgData name="KevCla12" userId="ef2eb634-4620-450f-93cc-80cc93397e60" providerId="ADAL" clId="{C56873FA-403C-4C88-B358-D08652441E70}" dt="2023-11-29T17:36:06.151" v="24" actId="1037"/>
          <ac:cxnSpMkLst>
            <pc:docMk/>
            <pc:sldMk cId="1581556713" sldId="776"/>
            <ac:cxnSpMk id="52" creationId="{DD7734D4-C885-0E0D-D31D-428D260F8120}"/>
          </ac:cxnSpMkLst>
        </pc:cxnChg>
        <pc:cxnChg chg="mod">
          <ac:chgData name="KevCla12" userId="ef2eb634-4620-450f-93cc-80cc93397e60" providerId="ADAL" clId="{C56873FA-403C-4C88-B358-D08652441E70}" dt="2023-11-29T17:36:06.151" v="24" actId="1037"/>
          <ac:cxnSpMkLst>
            <pc:docMk/>
            <pc:sldMk cId="1581556713" sldId="776"/>
            <ac:cxnSpMk id="53" creationId="{F6AC108B-7E88-1D26-B5AF-33946CA1FC83}"/>
          </ac:cxnSpMkLst>
        </pc:cxnChg>
        <pc:cxnChg chg="mod">
          <ac:chgData name="KevCla12" userId="ef2eb634-4620-450f-93cc-80cc93397e60" providerId="ADAL" clId="{C56873FA-403C-4C88-B358-D08652441E70}" dt="2023-11-29T17:36:37.282" v="77" actId="1037"/>
          <ac:cxnSpMkLst>
            <pc:docMk/>
            <pc:sldMk cId="1581556713" sldId="776"/>
            <ac:cxnSpMk id="60" creationId="{4807B8A7-EF7D-E584-218E-A3CA554BBA81}"/>
          </ac:cxnSpMkLst>
        </pc:cxnChg>
        <pc:cxnChg chg="mod">
          <ac:chgData name="KevCla12" userId="ef2eb634-4620-450f-93cc-80cc93397e60" providerId="ADAL" clId="{C56873FA-403C-4C88-B358-D08652441E70}" dt="2023-11-29T17:36:37.282" v="77" actId="1037"/>
          <ac:cxnSpMkLst>
            <pc:docMk/>
            <pc:sldMk cId="1581556713" sldId="776"/>
            <ac:cxnSpMk id="62" creationId="{4150CDA9-8028-0818-F94C-260D01042F61}"/>
          </ac:cxnSpMkLst>
        </pc:cxnChg>
      </pc:sldChg>
      <pc:sldChg chg="addSp delSp modSp new add mod">
        <pc:chgData name="KevCla12" userId="ef2eb634-4620-450f-93cc-80cc93397e60" providerId="ADAL" clId="{C56873FA-403C-4C88-B358-D08652441E70}" dt="2023-11-29T18:14:13.314" v="1368" actId="5793"/>
        <pc:sldMkLst>
          <pc:docMk/>
          <pc:sldMk cId="3052307479" sldId="1159"/>
        </pc:sldMkLst>
        <pc:spChg chg="add del">
          <ac:chgData name="KevCla12" userId="ef2eb634-4620-450f-93cc-80cc93397e60" providerId="ADAL" clId="{C56873FA-403C-4C88-B358-D08652441E70}" dt="2023-11-29T17:57:27.270" v="791" actId="478"/>
          <ac:spMkLst>
            <pc:docMk/>
            <pc:sldMk cId="3052307479" sldId="1159"/>
            <ac:spMk id="3" creationId="{71BB8C1E-2E87-A2DB-A5D2-34B7DE5D97DC}"/>
          </ac:spMkLst>
        </pc:spChg>
        <pc:spChg chg="add del">
          <ac:chgData name="KevCla12" userId="ef2eb634-4620-450f-93cc-80cc93397e60" providerId="ADAL" clId="{C56873FA-403C-4C88-B358-D08652441E70}" dt="2023-11-29T17:57:39.316" v="793"/>
          <ac:spMkLst>
            <pc:docMk/>
            <pc:sldMk cId="3052307479" sldId="1159"/>
            <ac:spMk id="5" creationId="{51EFA944-5229-1779-783B-01F2AA81288D}"/>
          </ac:spMkLst>
        </pc:spChg>
        <pc:spChg chg="add del mod">
          <ac:chgData name="KevCla12" userId="ef2eb634-4620-450f-93cc-80cc93397e60" providerId="ADAL" clId="{C56873FA-403C-4C88-B358-D08652441E70}" dt="2023-11-29T17:57:26.004" v="789"/>
          <ac:spMkLst>
            <pc:docMk/>
            <pc:sldMk cId="3052307479" sldId="1159"/>
            <ac:spMk id="9" creationId="{B6C910BF-D8FF-3B92-CAD2-0CF128C4073F}"/>
          </ac:spMkLst>
        </pc:spChg>
        <pc:spChg chg="add mod">
          <ac:chgData name="KevCla12" userId="ef2eb634-4620-450f-93cc-80cc93397e60" providerId="ADAL" clId="{C56873FA-403C-4C88-B358-D08652441E70}" dt="2023-11-29T17:57:40.374" v="794" actId="21"/>
          <ac:spMkLst>
            <pc:docMk/>
            <pc:sldMk cId="3052307479" sldId="1159"/>
            <ac:spMk id="12" creationId="{BA8E07C9-AAA6-B12B-F170-2878DABE3741}"/>
          </ac:spMkLst>
        </pc:spChg>
        <pc:graphicFrameChg chg="add del mod ord modGraphic">
          <ac:chgData name="KevCla12" userId="ef2eb634-4620-450f-93cc-80cc93397e60" providerId="ADAL" clId="{C56873FA-403C-4C88-B358-D08652441E70}" dt="2023-11-29T17:57:17.394" v="783" actId="3680"/>
          <ac:graphicFrameMkLst>
            <pc:docMk/>
            <pc:sldMk cId="3052307479" sldId="1159"/>
            <ac:graphicFrameMk id="8" creationId="{AD8B240E-4FEF-30C3-DF1E-7DF5B3D3CDF3}"/>
          </ac:graphicFrameMkLst>
        </pc:graphicFrameChg>
        <pc:graphicFrameChg chg="add del mod ord modGraphic">
          <ac:chgData name="KevCla12" userId="ef2eb634-4620-450f-93cc-80cc93397e60" providerId="ADAL" clId="{C56873FA-403C-4C88-B358-D08652441E70}" dt="2023-11-29T17:57:40.374" v="794" actId="21"/>
          <ac:graphicFrameMkLst>
            <pc:docMk/>
            <pc:sldMk cId="3052307479" sldId="1159"/>
            <ac:graphicFrameMk id="10" creationId="{B01BD8B3-CB54-E133-BE01-8719AA5B9705}"/>
          </ac:graphicFrameMkLst>
        </pc:graphicFrameChg>
        <pc:graphicFrameChg chg="add mod modGraphic">
          <ac:chgData name="KevCla12" userId="ef2eb634-4620-450f-93cc-80cc93397e60" providerId="ADAL" clId="{C56873FA-403C-4C88-B358-D08652441E70}" dt="2023-11-29T18:14:13.314" v="1368" actId="5793"/>
          <ac:graphicFrameMkLst>
            <pc:docMk/>
            <pc:sldMk cId="3052307479" sldId="1159"/>
            <ac:graphicFrameMk id="13" creationId="{DB9F1ABB-609B-E7C1-3D04-959AF7D3E2C0}"/>
          </ac:graphicFrameMkLst>
        </pc:graphicFrameChg>
      </pc:sldChg>
    </pc:docChg>
  </pc:docChgLst>
  <pc:docChgLst>
    <pc:chgData name="JanRud67" userId="S::janrud67@student.fh-westkueste.de::e03750ef-9d6b-41ce-93f4-a0b96c768197" providerId="AD" clId="Web-{CC95FA29-4448-460D-B0A0-5DC059462C09}"/>
    <pc:docChg chg="modSld">
      <pc:chgData name="JanRud67" userId="S::janrud67@student.fh-westkueste.de::e03750ef-9d6b-41ce-93f4-a0b96c768197" providerId="AD" clId="Web-{CC95FA29-4448-460D-B0A0-5DC059462C09}" dt="2023-10-17T10:16:01.300" v="8" actId="20577"/>
      <pc:docMkLst>
        <pc:docMk/>
      </pc:docMkLst>
      <pc:sldChg chg="modSp">
        <pc:chgData name="JanRud67" userId="S::janrud67@student.fh-westkueste.de::e03750ef-9d6b-41ce-93f4-a0b96c768197" providerId="AD" clId="Web-{CC95FA29-4448-460D-B0A0-5DC059462C09}" dt="2023-10-17T10:16:01.300" v="8" actId="20577"/>
        <pc:sldMkLst>
          <pc:docMk/>
          <pc:sldMk cId="3674816059" sldId="339"/>
        </pc:sldMkLst>
        <pc:spChg chg="mod">
          <ac:chgData name="JanRud67" userId="S::janrud67@student.fh-westkueste.de::e03750ef-9d6b-41ce-93f4-a0b96c768197" providerId="AD" clId="Web-{CC95FA29-4448-460D-B0A0-5DC059462C09}" dt="2023-10-17T10:16:01.300" v="8" actId="20577"/>
          <ac:spMkLst>
            <pc:docMk/>
            <pc:sldMk cId="3674816059" sldId="339"/>
            <ac:spMk id="5" creationId="{EC9B9503-3E64-D415-3BBF-3808F774A255}"/>
          </ac:spMkLst>
        </pc:spChg>
      </pc:sldChg>
    </pc:docChg>
  </pc:docChgLst>
  <pc:docChgLst>
    <pc:chgData name="AriTim14" userId="2e1fe710-167b-46c4-8c0e-f163424aa7c9" providerId="ADAL" clId="{CF119B5A-8B88-5545-AAFC-DE961B44B64C}"/>
    <pc:docChg chg="undo custSel addSld delSld modSld modSection">
      <pc:chgData name="AriTim14" userId="2e1fe710-167b-46c4-8c0e-f163424aa7c9" providerId="ADAL" clId="{CF119B5A-8B88-5545-AAFC-DE961B44B64C}" dt="2023-10-16T19:25:47.956" v="198" actId="1076"/>
      <pc:docMkLst>
        <pc:docMk/>
      </pc:docMkLst>
      <pc:sldChg chg="addSp delSp modSp">
        <pc:chgData name="AriTim14" userId="2e1fe710-167b-46c4-8c0e-f163424aa7c9" providerId="ADAL" clId="{CF119B5A-8B88-5545-AAFC-DE961B44B64C}" dt="2023-10-16T19:25:47.956" v="198" actId="1076"/>
        <pc:sldMkLst>
          <pc:docMk/>
          <pc:sldMk cId="2619089612" sldId="319"/>
        </pc:sldMkLst>
        <pc:picChg chg="add mod">
          <ac:chgData name="AriTim14" userId="2e1fe710-167b-46c4-8c0e-f163424aa7c9" providerId="ADAL" clId="{CF119B5A-8B88-5545-AAFC-DE961B44B64C}" dt="2023-10-16T19:25:47.956" v="198" actId="1076"/>
          <ac:picMkLst>
            <pc:docMk/>
            <pc:sldMk cId="2619089612" sldId="319"/>
            <ac:picMk id="12" creationId="{7F31A5B0-0437-207A-14FC-E3FAF77E807B}"/>
          </ac:picMkLst>
        </pc:picChg>
        <pc:picChg chg="add del mod">
          <ac:chgData name="AriTim14" userId="2e1fe710-167b-46c4-8c0e-f163424aa7c9" providerId="ADAL" clId="{CF119B5A-8B88-5545-AAFC-DE961B44B64C}" dt="2023-10-16T19:21:35.313" v="182" actId="478"/>
          <ac:picMkLst>
            <pc:docMk/>
            <pc:sldMk cId="2619089612" sldId="319"/>
            <ac:picMk id="12" creationId="{B2D5A1EC-3CBC-ED4E-5F66-4D90C05AEF04}"/>
          </ac:picMkLst>
        </pc:picChg>
        <pc:picChg chg="add del">
          <ac:chgData name="AriTim14" userId="2e1fe710-167b-46c4-8c0e-f163424aa7c9" providerId="ADAL" clId="{CF119B5A-8B88-5545-AAFC-DE961B44B64C}" dt="2023-10-16T19:25:28.561" v="195" actId="478"/>
          <ac:picMkLst>
            <pc:docMk/>
            <pc:sldMk cId="2619089612" sldId="319"/>
            <ac:picMk id="14" creationId="{0F61D8B2-E06B-17D5-0134-438B200D39DD}"/>
          </ac:picMkLst>
        </pc:picChg>
      </pc:sldChg>
      <pc:sldChg chg="modSp add">
        <pc:chgData name="AriTim14" userId="2e1fe710-167b-46c4-8c0e-f163424aa7c9" providerId="ADAL" clId="{CF119B5A-8B88-5545-AAFC-DE961B44B64C}" dt="2023-10-16T18:56:36.346" v="15" actId="255"/>
        <pc:sldMkLst>
          <pc:docMk/>
          <pc:sldMk cId="3880411909" sldId="1062"/>
        </pc:sldMkLst>
        <pc:spChg chg="mod">
          <ac:chgData name="AriTim14" userId="2e1fe710-167b-46c4-8c0e-f163424aa7c9" providerId="ADAL" clId="{CF119B5A-8B88-5545-AAFC-DE961B44B64C}" dt="2023-10-16T18:56:36.346" v="15" actId="255"/>
          <ac:spMkLst>
            <pc:docMk/>
            <pc:sldMk cId="3880411909" sldId="1062"/>
            <ac:spMk id="3" creationId="{A63E2E33-070B-BAE0-0F3A-38F7E090A641}"/>
          </ac:spMkLst>
        </pc:spChg>
        <pc:spChg chg="mod">
          <ac:chgData name="AriTim14" userId="2e1fe710-167b-46c4-8c0e-f163424aa7c9" providerId="ADAL" clId="{CF119B5A-8B88-5545-AAFC-DE961B44B64C}" dt="2023-10-16T18:55:37.394" v="2" actId="255"/>
          <ac:spMkLst>
            <pc:docMk/>
            <pc:sldMk cId="3880411909" sldId="1062"/>
            <ac:spMk id="5" creationId="{F6D68206-FC39-2E95-69EB-038B105B2139}"/>
          </ac:spMkLst>
        </pc:spChg>
        <pc:spChg chg="mod">
          <ac:chgData name="AriTim14" userId="2e1fe710-167b-46c4-8c0e-f163424aa7c9" providerId="ADAL" clId="{CF119B5A-8B88-5545-AAFC-DE961B44B64C}" dt="2023-10-16T18:55:45.863" v="3" actId="255"/>
          <ac:spMkLst>
            <pc:docMk/>
            <pc:sldMk cId="3880411909" sldId="1062"/>
            <ac:spMk id="8" creationId="{D72EF777-7453-4D56-E37C-470AE7412B8E}"/>
          </ac:spMkLst>
        </pc:spChg>
        <pc:spChg chg="mod">
          <ac:chgData name="AriTim14" userId="2e1fe710-167b-46c4-8c0e-f163424aa7c9" providerId="ADAL" clId="{CF119B5A-8B88-5545-AAFC-DE961B44B64C}" dt="2023-10-16T18:56:29.200" v="13" actId="255"/>
          <ac:spMkLst>
            <pc:docMk/>
            <pc:sldMk cId="3880411909" sldId="1062"/>
            <ac:spMk id="9" creationId="{37FFE0C9-7BB6-4505-F3EF-BB1A2919878B}"/>
          </ac:spMkLst>
        </pc:spChg>
        <pc:spChg chg="mod">
          <ac:chgData name="AriTim14" userId="2e1fe710-167b-46c4-8c0e-f163424aa7c9" providerId="ADAL" clId="{CF119B5A-8B88-5545-AAFC-DE961B44B64C}" dt="2023-10-16T18:56:25.263" v="12" actId="255"/>
          <ac:spMkLst>
            <pc:docMk/>
            <pc:sldMk cId="3880411909" sldId="1062"/>
            <ac:spMk id="17" creationId="{A1518B92-FAE0-5C21-5B66-AABE90CE642F}"/>
          </ac:spMkLst>
        </pc:spChg>
        <pc:spChg chg="mod">
          <ac:chgData name="AriTim14" userId="2e1fe710-167b-46c4-8c0e-f163424aa7c9" providerId="ADAL" clId="{CF119B5A-8B88-5545-AAFC-DE961B44B64C}" dt="2023-10-16T18:56:00.659" v="7" actId="14100"/>
          <ac:spMkLst>
            <pc:docMk/>
            <pc:sldMk cId="3880411909" sldId="1062"/>
            <ac:spMk id="21" creationId="{27957A73-49CB-B59B-CCF9-1B0DA0FF84C5}"/>
          </ac:spMkLst>
        </pc:spChg>
      </pc:sldChg>
      <pc:sldChg chg="modSp add">
        <pc:chgData name="AriTim14" userId="2e1fe710-167b-46c4-8c0e-f163424aa7c9" providerId="ADAL" clId="{CF119B5A-8B88-5545-AAFC-DE961B44B64C}" dt="2023-10-16T19:05:20.304" v="144" actId="20577"/>
        <pc:sldMkLst>
          <pc:docMk/>
          <pc:sldMk cId="2293467756" sldId="1063"/>
        </pc:sldMkLst>
        <pc:spChg chg="mod">
          <ac:chgData name="AriTim14" userId="2e1fe710-167b-46c4-8c0e-f163424aa7c9" providerId="ADAL" clId="{CF119B5A-8B88-5545-AAFC-DE961B44B64C}" dt="2023-10-16T18:57:19.883" v="27" actId="255"/>
          <ac:spMkLst>
            <pc:docMk/>
            <pc:sldMk cId="2293467756" sldId="1063"/>
            <ac:spMk id="3" creationId="{A63E2E33-070B-BAE0-0F3A-38F7E090A641}"/>
          </ac:spMkLst>
        </pc:spChg>
        <pc:spChg chg="mod">
          <ac:chgData name="AriTim14" userId="2e1fe710-167b-46c4-8c0e-f163424aa7c9" providerId="ADAL" clId="{CF119B5A-8B88-5545-AAFC-DE961B44B64C}" dt="2023-10-16T18:56:54.404" v="17" actId="14100"/>
          <ac:spMkLst>
            <pc:docMk/>
            <pc:sldMk cId="2293467756" sldId="1063"/>
            <ac:spMk id="8" creationId="{D72EF777-7453-4D56-E37C-470AE7412B8E}"/>
          </ac:spMkLst>
        </pc:spChg>
        <pc:spChg chg="mod">
          <ac:chgData name="AriTim14" userId="2e1fe710-167b-46c4-8c0e-f163424aa7c9" providerId="ADAL" clId="{CF119B5A-8B88-5545-AAFC-DE961B44B64C}" dt="2023-10-16T18:57:13.823" v="25" actId="255"/>
          <ac:spMkLst>
            <pc:docMk/>
            <pc:sldMk cId="2293467756" sldId="1063"/>
            <ac:spMk id="9" creationId="{37FFE0C9-7BB6-4505-F3EF-BB1A2919878B}"/>
          </ac:spMkLst>
        </pc:spChg>
        <pc:spChg chg="mod">
          <ac:chgData name="AriTim14" userId="2e1fe710-167b-46c4-8c0e-f163424aa7c9" providerId="ADAL" clId="{CF119B5A-8B88-5545-AAFC-DE961B44B64C}" dt="2023-10-16T19:05:20.304" v="144" actId="20577"/>
          <ac:spMkLst>
            <pc:docMk/>
            <pc:sldMk cId="2293467756" sldId="1063"/>
            <ac:spMk id="17" creationId="{A1518B92-FAE0-5C21-5B66-AABE90CE642F}"/>
          </ac:spMkLst>
        </pc:spChg>
        <pc:spChg chg="mod">
          <ac:chgData name="AriTim14" userId="2e1fe710-167b-46c4-8c0e-f163424aa7c9" providerId="ADAL" clId="{CF119B5A-8B88-5545-AAFC-DE961B44B64C}" dt="2023-10-16T18:57:04.664" v="23" actId="14100"/>
          <ac:spMkLst>
            <pc:docMk/>
            <pc:sldMk cId="2293467756" sldId="1063"/>
            <ac:spMk id="21" creationId="{27957A73-49CB-B59B-CCF9-1B0DA0FF84C5}"/>
          </ac:spMkLst>
        </pc:spChg>
      </pc:sldChg>
      <pc:sldChg chg="addSp delSp modSp add">
        <pc:chgData name="AriTim14" userId="2e1fe710-167b-46c4-8c0e-f163424aa7c9" providerId="ADAL" clId="{CF119B5A-8B88-5545-AAFC-DE961B44B64C}" dt="2023-10-16T19:05:45.681" v="150" actId="20577"/>
        <pc:sldMkLst>
          <pc:docMk/>
          <pc:sldMk cId="3066829894" sldId="1064"/>
        </pc:sldMkLst>
        <pc:spChg chg="mod">
          <ac:chgData name="AriTim14" userId="2e1fe710-167b-46c4-8c0e-f163424aa7c9" providerId="ADAL" clId="{CF119B5A-8B88-5545-AAFC-DE961B44B64C}" dt="2023-10-16T18:58:52.558" v="62" actId="255"/>
          <ac:spMkLst>
            <pc:docMk/>
            <pc:sldMk cId="3066829894" sldId="1064"/>
            <ac:spMk id="3" creationId="{A63E2E33-070B-BAE0-0F3A-38F7E090A641}"/>
          </ac:spMkLst>
        </pc:spChg>
        <pc:spChg chg="mod">
          <ac:chgData name="AriTim14" userId="2e1fe710-167b-46c4-8c0e-f163424aa7c9" providerId="ADAL" clId="{CF119B5A-8B88-5545-AAFC-DE961B44B64C}" dt="2023-10-16T18:57:24.801" v="28" actId="255"/>
          <ac:spMkLst>
            <pc:docMk/>
            <pc:sldMk cId="3066829894" sldId="1064"/>
            <ac:spMk id="8" creationId="{D72EF777-7453-4D56-E37C-470AE7412B8E}"/>
          </ac:spMkLst>
        </pc:spChg>
        <pc:spChg chg="mod">
          <ac:chgData name="AriTim14" userId="2e1fe710-167b-46c4-8c0e-f163424aa7c9" providerId="ADAL" clId="{CF119B5A-8B88-5545-AAFC-DE961B44B64C}" dt="2023-10-16T18:58:46.310" v="60" actId="255"/>
          <ac:spMkLst>
            <pc:docMk/>
            <pc:sldMk cId="3066829894" sldId="1064"/>
            <ac:spMk id="9" creationId="{37FFE0C9-7BB6-4505-F3EF-BB1A2919878B}"/>
          </ac:spMkLst>
        </pc:spChg>
        <pc:spChg chg="add">
          <ac:chgData name="AriTim14" userId="2e1fe710-167b-46c4-8c0e-f163424aa7c9" providerId="ADAL" clId="{CF119B5A-8B88-5545-AAFC-DE961B44B64C}" dt="2023-10-16T18:58:35.776" v="58" actId="22"/>
          <ac:spMkLst>
            <pc:docMk/>
            <pc:sldMk cId="3066829894" sldId="1064"/>
            <ac:spMk id="10" creationId="{DF11A58E-E9A1-96D3-E7AB-CC31A05CCDF5}"/>
          </ac:spMkLst>
        </pc:spChg>
        <pc:spChg chg="mod">
          <ac:chgData name="AriTim14" userId="2e1fe710-167b-46c4-8c0e-f163424aa7c9" providerId="ADAL" clId="{CF119B5A-8B88-5545-AAFC-DE961B44B64C}" dt="2023-10-16T19:05:45.681" v="150" actId="20577"/>
          <ac:spMkLst>
            <pc:docMk/>
            <pc:sldMk cId="3066829894" sldId="1064"/>
            <ac:spMk id="17" creationId="{A1518B92-FAE0-5C21-5B66-AABE90CE642F}"/>
          </ac:spMkLst>
        </pc:spChg>
        <pc:spChg chg="del mod">
          <ac:chgData name="AriTim14" userId="2e1fe710-167b-46c4-8c0e-f163424aa7c9" providerId="ADAL" clId="{CF119B5A-8B88-5545-AAFC-DE961B44B64C}" dt="2023-10-16T18:58:33.226" v="57" actId="478"/>
          <ac:spMkLst>
            <pc:docMk/>
            <pc:sldMk cId="3066829894" sldId="1064"/>
            <ac:spMk id="21" creationId="{27957A73-49CB-B59B-CCF9-1B0DA0FF84C5}"/>
          </ac:spMkLst>
        </pc:spChg>
      </pc:sldChg>
      <pc:sldChg chg="addSp delSp modSp add del">
        <pc:chgData name="AriTim14" userId="2e1fe710-167b-46c4-8c0e-f163424aa7c9" providerId="ADAL" clId="{CF119B5A-8B88-5545-AAFC-DE961B44B64C}" dt="2023-10-16T19:00:07.307" v="88" actId="255"/>
        <pc:sldMkLst>
          <pc:docMk/>
          <pc:sldMk cId="3096482214" sldId="1065"/>
        </pc:sldMkLst>
        <pc:spChg chg="mod">
          <ac:chgData name="AriTim14" userId="2e1fe710-167b-46c4-8c0e-f163424aa7c9" providerId="ADAL" clId="{CF119B5A-8B88-5545-AAFC-DE961B44B64C}" dt="2023-10-16T19:00:07.307" v="88" actId="255"/>
          <ac:spMkLst>
            <pc:docMk/>
            <pc:sldMk cId="3096482214" sldId="1065"/>
            <ac:spMk id="3" creationId="{A63E2E33-070B-BAE0-0F3A-38F7E090A641}"/>
          </ac:spMkLst>
        </pc:spChg>
        <pc:spChg chg="mod">
          <ac:chgData name="AriTim14" userId="2e1fe710-167b-46c4-8c0e-f163424aa7c9" providerId="ADAL" clId="{CF119B5A-8B88-5545-AAFC-DE961B44B64C}" dt="2023-10-16T18:59:15.120" v="72" actId="14100"/>
          <ac:spMkLst>
            <pc:docMk/>
            <pc:sldMk cId="3096482214" sldId="1065"/>
            <ac:spMk id="8" creationId="{D72EF777-7453-4D56-E37C-470AE7412B8E}"/>
          </ac:spMkLst>
        </pc:spChg>
        <pc:spChg chg="mod">
          <ac:chgData name="AriTim14" userId="2e1fe710-167b-46c4-8c0e-f163424aa7c9" providerId="ADAL" clId="{CF119B5A-8B88-5545-AAFC-DE961B44B64C}" dt="2023-10-16T19:00:02.257" v="86" actId="255"/>
          <ac:spMkLst>
            <pc:docMk/>
            <pc:sldMk cId="3096482214" sldId="1065"/>
            <ac:spMk id="9" creationId="{37FFE0C9-7BB6-4505-F3EF-BB1A2919878B}"/>
          </ac:spMkLst>
        </pc:spChg>
        <pc:spChg chg="add del">
          <ac:chgData name="AriTim14" userId="2e1fe710-167b-46c4-8c0e-f163424aa7c9" providerId="ADAL" clId="{CF119B5A-8B88-5545-AAFC-DE961B44B64C}" dt="2023-10-16T18:59:34.970" v="79" actId="22"/>
          <ac:spMkLst>
            <pc:docMk/>
            <pc:sldMk cId="3096482214" sldId="1065"/>
            <ac:spMk id="10" creationId="{8A0D2D28-1830-0D51-DBE0-C3A3434C8B4C}"/>
          </ac:spMkLst>
        </pc:spChg>
        <pc:spChg chg="add">
          <ac:chgData name="AriTim14" userId="2e1fe710-167b-46c4-8c0e-f163424aa7c9" providerId="ADAL" clId="{CF119B5A-8B88-5545-AAFC-DE961B44B64C}" dt="2023-10-16T18:59:46.382" v="84" actId="22"/>
          <ac:spMkLst>
            <pc:docMk/>
            <pc:sldMk cId="3096482214" sldId="1065"/>
            <ac:spMk id="10" creationId="{FBC01511-D715-0C6F-2E27-C09AC599B274}"/>
          </ac:spMkLst>
        </pc:spChg>
        <pc:spChg chg="mod">
          <ac:chgData name="AriTim14" userId="2e1fe710-167b-46c4-8c0e-f163424aa7c9" providerId="ADAL" clId="{CF119B5A-8B88-5545-AAFC-DE961B44B64C}" dt="2023-10-16T18:59:50.818" v="85" actId="255"/>
          <ac:spMkLst>
            <pc:docMk/>
            <pc:sldMk cId="3096482214" sldId="1065"/>
            <ac:spMk id="17" creationId="{A1518B92-FAE0-5C21-5B66-AABE90CE642F}"/>
          </ac:spMkLst>
        </pc:spChg>
        <pc:spChg chg="del mod">
          <ac:chgData name="AriTim14" userId="2e1fe710-167b-46c4-8c0e-f163424aa7c9" providerId="ADAL" clId="{CF119B5A-8B88-5545-AAFC-DE961B44B64C}" dt="2023-10-16T18:59:39.957" v="81" actId="478"/>
          <ac:spMkLst>
            <pc:docMk/>
            <pc:sldMk cId="3096482214" sldId="1065"/>
            <ac:spMk id="21" creationId="{27957A73-49CB-B59B-CCF9-1B0DA0FF84C5}"/>
          </ac:spMkLst>
        </pc:spChg>
      </pc:sldChg>
      <pc:sldChg chg="addSp delSp modSp add">
        <pc:chgData name="AriTim14" userId="2e1fe710-167b-46c4-8c0e-f163424aa7c9" providerId="ADAL" clId="{CF119B5A-8B88-5545-AAFC-DE961B44B64C}" dt="2023-10-16T19:00:32.247" v="95" actId="255"/>
        <pc:sldMkLst>
          <pc:docMk/>
          <pc:sldMk cId="1617138573" sldId="1066"/>
        </pc:sldMkLst>
        <pc:spChg chg="mod">
          <ac:chgData name="AriTim14" userId="2e1fe710-167b-46c4-8c0e-f163424aa7c9" providerId="ADAL" clId="{CF119B5A-8B88-5545-AAFC-DE961B44B64C}" dt="2023-10-16T19:00:32.247" v="95" actId="255"/>
          <ac:spMkLst>
            <pc:docMk/>
            <pc:sldMk cId="1617138573" sldId="1066"/>
            <ac:spMk id="3" creationId="{A63E2E33-070B-BAE0-0F3A-38F7E090A641}"/>
          </ac:spMkLst>
        </pc:spChg>
        <pc:spChg chg="mod">
          <ac:chgData name="AriTim14" userId="2e1fe710-167b-46c4-8c0e-f163424aa7c9" providerId="ADAL" clId="{CF119B5A-8B88-5545-AAFC-DE961B44B64C}" dt="2023-10-16T19:00:12.784" v="89" actId="255"/>
          <ac:spMkLst>
            <pc:docMk/>
            <pc:sldMk cId="1617138573" sldId="1066"/>
            <ac:spMk id="8" creationId="{D72EF777-7453-4D56-E37C-470AE7412B8E}"/>
          </ac:spMkLst>
        </pc:spChg>
        <pc:spChg chg="mod">
          <ac:chgData name="AriTim14" userId="2e1fe710-167b-46c4-8c0e-f163424aa7c9" providerId="ADAL" clId="{CF119B5A-8B88-5545-AAFC-DE961B44B64C}" dt="2023-10-16T19:00:26.366" v="93" actId="255"/>
          <ac:spMkLst>
            <pc:docMk/>
            <pc:sldMk cId="1617138573" sldId="1066"/>
            <ac:spMk id="9" creationId="{37FFE0C9-7BB6-4505-F3EF-BB1A2919878B}"/>
          </ac:spMkLst>
        </pc:spChg>
        <pc:spChg chg="add">
          <ac:chgData name="AriTim14" userId="2e1fe710-167b-46c4-8c0e-f163424aa7c9" providerId="ADAL" clId="{CF119B5A-8B88-5545-AAFC-DE961B44B64C}" dt="2023-10-16T19:00:18.506" v="91" actId="22"/>
          <ac:spMkLst>
            <pc:docMk/>
            <pc:sldMk cId="1617138573" sldId="1066"/>
            <ac:spMk id="10" creationId="{9ADC8BF9-6462-A65E-1E0B-D098CD98B3FC}"/>
          </ac:spMkLst>
        </pc:spChg>
        <pc:spChg chg="mod">
          <ac:chgData name="AriTim14" userId="2e1fe710-167b-46c4-8c0e-f163424aa7c9" providerId="ADAL" clId="{CF119B5A-8B88-5545-AAFC-DE961B44B64C}" dt="2023-10-16T19:00:22.326" v="92" actId="255"/>
          <ac:spMkLst>
            <pc:docMk/>
            <pc:sldMk cId="1617138573" sldId="1066"/>
            <ac:spMk id="17" creationId="{A1518B92-FAE0-5C21-5B66-AABE90CE642F}"/>
          </ac:spMkLst>
        </pc:spChg>
        <pc:spChg chg="del">
          <ac:chgData name="AriTim14" userId="2e1fe710-167b-46c4-8c0e-f163424aa7c9" providerId="ADAL" clId="{CF119B5A-8B88-5545-AAFC-DE961B44B64C}" dt="2023-10-16T19:00:16.346" v="90" actId="478"/>
          <ac:spMkLst>
            <pc:docMk/>
            <pc:sldMk cId="1617138573" sldId="1066"/>
            <ac:spMk id="21" creationId="{27957A73-49CB-B59B-CCF9-1B0DA0FF84C5}"/>
          </ac:spMkLst>
        </pc:spChg>
      </pc:sldChg>
      <pc:sldChg chg="addSp delSp modSp add">
        <pc:chgData name="AriTim14" userId="2e1fe710-167b-46c4-8c0e-f163424aa7c9" providerId="ADAL" clId="{CF119B5A-8B88-5545-AAFC-DE961B44B64C}" dt="2023-10-16T19:07:06.199" v="173" actId="20577"/>
        <pc:sldMkLst>
          <pc:docMk/>
          <pc:sldMk cId="3754820474" sldId="1067"/>
        </pc:sldMkLst>
        <pc:spChg chg="mod">
          <ac:chgData name="AriTim14" userId="2e1fe710-167b-46c4-8c0e-f163424aa7c9" providerId="ADAL" clId="{CF119B5A-8B88-5545-AAFC-DE961B44B64C}" dt="2023-10-16T19:01:12.568" v="109" actId="255"/>
          <ac:spMkLst>
            <pc:docMk/>
            <pc:sldMk cId="3754820474" sldId="1067"/>
            <ac:spMk id="3" creationId="{A63E2E33-070B-BAE0-0F3A-38F7E090A641}"/>
          </ac:spMkLst>
        </pc:spChg>
        <pc:spChg chg="mod">
          <ac:chgData name="AriTim14" userId="2e1fe710-167b-46c4-8c0e-f163424aa7c9" providerId="ADAL" clId="{CF119B5A-8B88-5545-AAFC-DE961B44B64C}" dt="2023-10-16T19:00:49.676" v="101" actId="14100"/>
          <ac:spMkLst>
            <pc:docMk/>
            <pc:sldMk cId="3754820474" sldId="1067"/>
            <ac:spMk id="8" creationId="{D72EF777-7453-4D56-E37C-470AE7412B8E}"/>
          </ac:spMkLst>
        </pc:spChg>
        <pc:spChg chg="mod">
          <ac:chgData name="AriTim14" userId="2e1fe710-167b-46c4-8c0e-f163424aa7c9" providerId="ADAL" clId="{CF119B5A-8B88-5545-AAFC-DE961B44B64C}" dt="2023-10-16T19:01:06.271" v="107" actId="255"/>
          <ac:spMkLst>
            <pc:docMk/>
            <pc:sldMk cId="3754820474" sldId="1067"/>
            <ac:spMk id="9" creationId="{37FFE0C9-7BB6-4505-F3EF-BB1A2919878B}"/>
          </ac:spMkLst>
        </pc:spChg>
        <pc:spChg chg="add">
          <ac:chgData name="AriTim14" userId="2e1fe710-167b-46c4-8c0e-f163424aa7c9" providerId="ADAL" clId="{CF119B5A-8B88-5545-AAFC-DE961B44B64C}" dt="2023-10-16T19:00:59.425" v="105" actId="22"/>
          <ac:spMkLst>
            <pc:docMk/>
            <pc:sldMk cId="3754820474" sldId="1067"/>
            <ac:spMk id="10" creationId="{0D78B299-B10F-FCDA-E5C8-64175836E391}"/>
          </ac:spMkLst>
        </pc:spChg>
        <pc:spChg chg="mod">
          <ac:chgData name="AriTim14" userId="2e1fe710-167b-46c4-8c0e-f163424aa7c9" providerId="ADAL" clId="{CF119B5A-8B88-5545-AAFC-DE961B44B64C}" dt="2023-10-16T19:07:06.199" v="173" actId="20577"/>
          <ac:spMkLst>
            <pc:docMk/>
            <pc:sldMk cId="3754820474" sldId="1067"/>
            <ac:spMk id="17" creationId="{A1518B92-FAE0-5C21-5B66-AABE90CE642F}"/>
          </ac:spMkLst>
        </pc:spChg>
        <pc:spChg chg="del mod">
          <ac:chgData name="AriTim14" userId="2e1fe710-167b-46c4-8c0e-f163424aa7c9" providerId="ADAL" clId="{CF119B5A-8B88-5545-AAFC-DE961B44B64C}" dt="2023-10-16T19:00:57.534" v="104" actId="478"/>
          <ac:spMkLst>
            <pc:docMk/>
            <pc:sldMk cId="3754820474" sldId="1067"/>
            <ac:spMk id="21" creationId="{27957A73-49CB-B59B-CCF9-1B0DA0FF84C5}"/>
          </ac:spMkLst>
        </pc:spChg>
      </pc:sldChg>
      <pc:sldChg chg="addSp delSp modSp add">
        <pc:chgData name="AriTim14" userId="2e1fe710-167b-46c4-8c0e-f163424aa7c9" providerId="ADAL" clId="{CF119B5A-8B88-5545-AAFC-DE961B44B64C}" dt="2023-10-16T19:01:41.325" v="116" actId="255"/>
        <pc:sldMkLst>
          <pc:docMk/>
          <pc:sldMk cId="109463790" sldId="1068"/>
        </pc:sldMkLst>
        <pc:spChg chg="mod">
          <ac:chgData name="AriTim14" userId="2e1fe710-167b-46c4-8c0e-f163424aa7c9" providerId="ADAL" clId="{CF119B5A-8B88-5545-AAFC-DE961B44B64C}" dt="2023-10-16T19:01:41.325" v="116" actId="255"/>
          <ac:spMkLst>
            <pc:docMk/>
            <pc:sldMk cId="109463790" sldId="1068"/>
            <ac:spMk id="3" creationId="{A63E2E33-070B-BAE0-0F3A-38F7E090A641}"/>
          </ac:spMkLst>
        </pc:spChg>
        <pc:spChg chg="mod">
          <ac:chgData name="AriTim14" userId="2e1fe710-167b-46c4-8c0e-f163424aa7c9" providerId="ADAL" clId="{CF119B5A-8B88-5545-AAFC-DE961B44B64C}" dt="2023-10-16T19:01:18.834" v="110" actId="255"/>
          <ac:spMkLst>
            <pc:docMk/>
            <pc:sldMk cId="109463790" sldId="1068"/>
            <ac:spMk id="8" creationId="{D72EF777-7453-4D56-E37C-470AE7412B8E}"/>
          </ac:spMkLst>
        </pc:spChg>
        <pc:spChg chg="mod">
          <ac:chgData name="AriTim14" userId="2e1fe710-167b-46c4-8c0e-f163424aa7c9" providerId="ADAL" clId="{CF119B5A-8B88-5545-AAFC-DE961B44B64C}" dt="2023-10-16T19:01:30.003" v="114" actId="255"/>
          <ac:spMkLst>
            <pc:docMk/>
            <pc:sldMk cId="109463790" sldId="1068"/>
            <ac:spMk id="9" creationId="{37FFE0C9-7BB6-4505-F3EF-BB1A2919878B}"/>
          </ac:spMkLst>
        </pc:spChg>
        <pc:spChg chg="add">
          <ac:chgData name="AriTim14" userId="2e1fe710-167b-46c4-8c0e-f163424aa7c9" providerId="ADAL" clId="{CF119B5A-8B88-5545-AAFC-DE961B44B64C}" dt="2023-10-16T19:01:24.287" v="112" actId="22"/>
          <ac:spMkLst>
            <pc:docMk/>
            <pc:sldMk cId="109463790" sldId="1068"/>
            <ac:spMk id="10" creationId="{E656F2E9-3298-3E8D-F54E-8D31D0F49E86}"/>
          </ac:spMkLst>
        </pc:spChg>
        <pc:spChg chg="mod">
          <ac:chgData name="AriTim14" userId="2e1fe710-167b-46c4-8c0e-f163424aa7c9" providerId="ADAL" clId="{CF119B5A-8B88-5545-AAFC-DE961B44B64C}" dt="2023-10-16T19:01:27.252" v="113" actId="255"/>
          <ac:spMkLst>
            <pc:docMk/>
            <pc:sldMk cId="109463790" sldId="1068"/>
            <ac:spMk id="17" creationId="{A1518B92-FAE0-5C21-5B66-AABE90CE642F}"/>
          </ac:spMkLst>
        </pc:spChg>
        <pc:spChg chg="del">
          <ac:chgData name="AriTim14" userId="2e1fe710-167b-46c4-8c0e-f163424aa7c9" providerId="ADAL" clId="{CF119B5A-8B88-5545-AAFC-DE961B44B64C}" dt="2023-10-16T19:01:22.310" v="111" actId="478"/>
          <ac:spMkLst>
            <pc:docMk/>
            <pc:sldMk cId="109463790" sldId="1068"/>
            <ac:spMk id="21" creationId="{27957A73-49CB-B59B-CCF9-1B0DA0FF84C5}"/>
          </ac:spMkLst>
        </pc:spChg>
      </pc:sldChg>
      <pc:sldChg chg="addSp delSp modSp add">
        <pc:chgData name="AriTim14" userId="2e1fe710-167b-46c4-8c0e-f163424aa7c9" providerId="ADAL" clId="{CF119B5A-8B88-5545-AAFC-DE961B44B64C}" dt="2023-10-16T19:02:10.401" v="123" actId="255"/>
        <pc:sldMkLst>
          <pc:docMk/>
          <pc:sldMk cId="708360021" sldId="1069"/>
        </pc:sldMkLst>
        <pc:spChg chg="mod">
          <ac:chgData name="AriTim14" userId="2e1fe710-167b-46c4-8c0e-f163424aa7c9" providerId="ADAL" clId="{CF119B5A-8B88-5545-AAFC-DE961B44B64C}" dt="2023-10-16T19:02:10.401" v="123" actId="255"/>
          <ac:spMkLst>
            <pc:docMk/>
            <pc:sldMk cId="708360021" sldId="1069"/>
            <ac:spMk id="3" creationId="{A63E2E33-070B-BAE0-0F3A-38F7E090A641}"/>
          </ac:spMkLst>
        </pc:spChg>
        <pc:spChg chg="mod">
          <ac:chgData name="AriTim14" userId="2e1fe710-167b-46c4-8c0e-f163424aa7c9" providerId="ADAL" clId="{CF119B5A-8B88-5545-AAFC-DE961B44B64C}" dt="2023-10-16T19:01:54.522" v="117" actId="255"/>
          <ac:spMkLst>
            <pc:docMk/>
            <pc:sldMk cId="708360021" sldId="1069"/>
            <ac:spMk id="8" creationId="{D72EF777-7453-4D56-E37C-470AE7412B8E}"/>
          </ac:spMkLst>
        </pc:spChg>
        <pc:spChg chg="mod">
          <ac:chgData name="AriTim14" userId="2e1fe710-167b-46c4-8c0e-f163424aa7c9" providerId="ADAL" clId="{CF119B5A-8B88-5545-AAFC-DE961B44B64C}" dt="2023-10-16T19:02:05.050" v="121" actId="255"/>
          <ac:spMkLst>
            <pc:docMk/>
            <pc:sldMk cId="708360021" sldId="1069"/>
            <ac:spMk id="9" creationId="{37FFE0C9-7BB6-4505-F3EF-BB1A2919878B}"/>
          </ac:spMkLst>
        </pc:spChg>
        <pc:spChg chg="add">
          <ac:chgData name="AriTim14" userId="2e1fe710-167b-46c4-8c0e-f163424aa7c9" providerId="ADAL" clId="{CF119B5A-8B88-5545-AAFC-DE961B44B64C}" dt="2023-10-16T19:01:59.275" v="119" actId="22"/>
          <ac:spMkLst>
            <pc:docMk/>
            <pc:sldMk cId="708360021" sldId="1069"/>
            <ac:spMk id="10" creationId="{82946177-87D7-6123-DCA0-795939B74F19}"/>
          </ac:spMkLst>
        </pc:spChg>
        <pc:spChg chg="mod">
          <ac:chgData name="AriTim14" userId="2e1fe710-167b-46c4-8c0e-f163424aa7c9" providerId="ADAL" clId="{CF119B5A-8B88-5545-AAFC-DE961B44B64C}" dt="2023-10-16T19:02:02.440" v="120" actId="255"/>
          <ac:spMkLst>
            <pc:docMk/>
            <pc:sldMk cId="708360021" sldId="1069"/>
            <ac:spMk id="17" creationId="{A1518B92-FAE0-5C21-5B66-AABE90CE642F}"/>
          </ac:spMkLst>
        </pc:spChg>
        <pc:spChg chg="del">
          <ac:chgData name="AriTim14" userId="2e1fe710-167b-46c4-8c0e-f163424aa7c9" providerId="ADAL" clId="{CF119B5A-8B88-5545-AAFC-DE961B44B64C}" dt="2023-10-16T19:01:57.449" v="118" actId="478"/>
          <ac:spMkLst>
            <pc:docMk/>
            <pc:sldMk cId="708360021" sldId="1069"/>
            <ac:spMk id="21" creationId="{27957A73-49CB-B59B-CCF9-1B0DA0FF84C5}"/>
          </ac:spMkLst>
        </pc:spChg>
      </pc:sldChg>
      <pc:sldChg chg="addSp delSp modSp add">
        <pc:chgData name="AriTim14" userId="2e1fe710-167b-46c4-8c0e-f163424aa7c9" providerId="ADAL" clId="{CF119B5A-8B88-5545-AAFC-DE961B44B64C}" dt="2023-10-16T19:07:34.493" v="176" actId="20577"/>
        <pc:sldMkLst>
          <pc:docMk/>
          <pc:sldMk cId="2413923312" sldId="1070"/>
        </pc:sldMkLst>
        <pc:spChg chg="mod">
          <ac:chgData name="AriTim14" userId="2e1fe710-167b-46c4-8c0e-f163424aa7c9" providerId="ADAL" clId="{CF119B5A-8B88-5545-AAFC-DE961B44B64C}" dt="2023-10-16T19:02:33.476" v="130" actId="255"/>
          <ac:spMkLst>
            <pc:docMk/>
            <pc:sldMk cId="2413923312" sldId="1070"/>
            <ac:spMk id="3" creationId="{A63E2E33-070B-BAE0-0F3A-38F7E090A641}"/>
          </ac:spMkLst>
        </pc:spChg>
        <pc:spChg chg="mod">
          <ac:chgData name="AriTim14" userId="2e1fe710-167b-46c4-8c0e-f163424aa7c9" providerId="ADAL" clId="{CF119B5A-8B88-5545-AAFC-DE961B44B64C}" dt="2023-10-16T19:02:15.212" v="124" actId="255"/>
          <ac:spMkLst>
            <pc:docMk/>
            <pc:sldMk cId="2413923312" sldId="1070"/>
            <ac:spMk id="8" creationId="{D72EF777-7453-4D56-E37C-470AE7412B8E}"/>
          </ac:spMkLst>
        </pc:spChg>
        <pc:spChg chg="mod">
          <ac:chgData name="AriTim14" userId="2e1fe710-167b-46c4-8c0e-f163424aa7c9" providerId="ADAL" clId="{CF119B5A-8B88-5545-AAFC-DE961B44B64C}" dt="2023-10-16T19:02:27.467" v="128" actId="255"/>
          <ac:spMkLst>
            <pc:docMk/>
            <pc:sldMk cId="2413923312" sldId="1070"/>
            <ac:spMk id="9" creationId="{37FFE0C9-7BB6-4505-F3EF-BB1A2919878B}"/>
          </ac:spMkLst>
        </pc:spChg>
        <pc:spChg chg="add">
          <ac:chgData name="AriTim14" userId="2e1fe710-167b-46c4-8c0e-f163424aa7c9" providerId="ADAL" clId="{CF119B5A-8B88-5545-AAFC-DE961B44B64C}" dt="2023-10-16T19:02:21.670" v="126" actId="22"/>
          <ac:spMkLst>
            <pc:docMk/>
            <pc:sldMk cId="2413923312" sldId="1070"/>
            <ac:spMk id="10" creationId="{46752268-0CBA-3394-F08E-4E6E5AA1816B}"/>
          </ac:spMkLst>
        </pc:spChg>
        <pc:spChg chg="mod">
          <ac:chgData name="AriTim14" userId="2e1fe710-167b-46c4-8c0e-f163424aa7c9" providerId="ADAL" clId="{CF119B5A-8B88-5545-AAFC-DE961B44B64C}" dt="2023-10-16T19:07:34.493" v="176" actId="20577"/>
          <ac:spMkLst>
            <pc:docMk/>
            <pc:sldMk cId="2413923312" sldId="1070"/>
            <ac:spMk id="17" creationId="{A1518B92-FAE0-5C21-5B66-AABE90CE642F}"/>
          </ac:spMkLst>
        </pc:spChg>
        <pc:spChg chg="del">
          <ac:chgData name="AriTim14" userId="2e1fe710-167b-46c4-8c0e-f163424aa7c9" providerId="ADAL" clId="{CF119B5A-8B88-5545-AAFC-DE961B44B64C}" dt="2023-10-16T19:02:17.593" v="125" actId="478"/>
          <ac:spMkLst>
            <pc:docMk/>
            <pc:sldMk cId="2413923312" sldId="1070"/>
            <ac:spMk id="21" creationId="{27957A73-49CB-B59B-CCF9-1B0DA0FF84C5}"/>
          </ac:spMkLst>
        </pc:spChg>
      </pc:sldChg>
    </pc:docChg>
  </pc:docChgLst>
  <pc:docChgLst>
    <pc:chgData name="JanRud67" userId="S::janrud67@student.fh-westkueste.de::e03750ef-9d6b-41ce-93f4-a0b96c768197" providerId="AD" clId="Web-{11ABDE58-5E38-47D2-9CF4-B5AD10B3F58C}"/>
    <pc:docChg chg="sldOrd">
      <pc:chgData name="JanRud67" userId="S::janrud67@student.fh-westkueste.de::e03750ef-9d6b-41ce-93f4-a0b96c768197" providerId="AD" clId="Web-{11ABDE58-5E38-47D2-9CF4-B5AD10B3F58C}" dt="2023-10-19T18:59:40.972" v="0"/>
      <pc:docMkLst>
        <pc:docMk/>
      </pc:docMkLst>
      <pc:sldChg chg="ord">
        <pc:chgData name="JanRud67" userId="S::janrud67@student.fh-westkueste.de::e03750ef-9d6b-41ce-93f4-a0b96c768197" providerId="AD" clId="Web-{11ABDE58-5E38-47D2-9CF4-B5AD10B3F58C}" dt="2023-10-19T18:59:40.972" v="0"/>
        <pc:sldMkLst>
          <pc:docMk/>
          <pc:sldMk cId="3674816059" sldId="339"/>
        </pc:sldMkLst>
      </pc:sldChg>
    </pc:docChg>
  </pc:docChgLst>
  <pc:docChgLst>
    <pc:chgData name="JanEri14" userId="ea321e6f-a9b4-4544-8ae7-a495220778c5" providerId="ADAL" clId="{9436E68F-B3EA-481D-9324-0D54E5A4FE09}"/>
    <pc:docChg chg="addSld delSld modSld modSection">
      <pc:chgData name="JanEri14" userId="ea321e6f-a9b4-4544-8ae7-a495220778c5" providerId="ADAL" clId="{9436E68F-B3EA-481D-9324-0D54E5A4FE09}" dt="2023-11-11T12:27:28.864" v="20" actId="20577"/>
      <pc:docMkLst>
        <pc:docMk/>
      </pc:docMkLst>
      <pc:sldChg chg="modSp mod">
        <pc:chgData name="JanEri14" userId="ea321e6f-a9b4-4544-8ae7-a495220778c5" providerId="ADAL" clId="{9436E68F-B3EA-481D-9324-0D54E5A4FE09}" dt="2023-11-11T12:24:55.937" v="18" actId="20577"/>
        <pc:sldMkLst>
          <pc:docMk/>
          <pc:sldMk cId="2791746834" sldId="263"/>
        </pc:sldMkLst>
        <pc:spChg chg="mod">
          <ac:chgData name="JanEri14" userId="ea321e6f-a9b4-4544-8ae7-a495220778c5" providerId="ADAL" clId="{9436E68F-B3EA-481D-9324-0D54E5A4FE09}" dt="2023-11-11T12:24:52.333" v="15" actId="20577"/>
          <ac:spMkLst>
            <pc:docMk/>
            <pc:sldMk cId="2791746834" sldId="263"/>
            <ac:spMk id="2" creationId="{00000000-0000-0000-0000-000000000000}"/>
          </ac:spMkLst>
        </pc:spChg>
        <pc:spChg chg="mod">
          <ac:chgData name="JanEri14" userId="ea321e6f-a9b4-4544-8ae7-a495220778c5" providerId="ADAL" clId="{9436E68F-B3EA-481D-9324-0D54E5A4FE09}" dt="2023-11-11T12:24:55.937" v="18" actId="20577"/>
          <ac:spMkLst>
            <pc:docMk/>
            <pc:sldMk cId="2791746834" sldId="263"/>
            <ac:spMk id="3" creationId="{00000000-0000-0000-0000-000000000000}"/>
          </ac:spMkLst>
        </pc:spChg>
      </pc:sldChg>
      <pc:sldChg chg="del">
        <pc:chgData name="JanEri14" userId="ea321e6f-a9b4-4544-8ae7-a495220778c5" providerId="ADAL" clId="{9436E68F-B3EA-481D-9324-0D54E5A4FE09}" dt="2023-11-11T12:24:46.995" v="1" actId="47"/>
        <pc:sldMkLst>
          <pc:docMk/>
          <pc:sldMk cId="2230391168" sldId="1085"/>
        </pc:sldMkLst>
      </pc:sldChg>
      <pc:sldChg chg="modSp new mod">
        <pc:chgData name="JanEri14" userId="ea321e6f-a9b4-4544-8ae7-a495220778c5" providerId="ADAL" clId="{9436E68F-B3EA-481D-9324-0D54E5A4FE09}" dt="2023-11-11T12:27:28.864" v="20" actId="20577"/>
        <pc:sldMkLst>
          <pc:docMk/>
          <pc:sldMk cId="3495691204" sldId="1086"/>
        </pc:sldMkLst>
        <pc:spChg chg="mod">
          <ac:chgData name="JanEri14" userId="ea321e6f-a9b4-4544-8ae7-a495220778c5" providerId="ADAL" clId="{9436E68F-B3EA-481D-9324-0D54E5A4FE09}" dt="2023-11-11T12:27:28.864" v="20" actId="20577"/>
          <ac:spMkLst>
            <pc:docMk/>
            <pc:sldMk cId="3495691204" sldId="1086"/>
            <ac:spMk id="2" creationId="{63A9E631-C3CF-C0B6-7312-6A7882EC6615}"/>
          </ac:spMkLst>
        </pc:spChg>
      </pc:sldChg>
    </pc:docChg>
  </pc:docChgLst>
  <pc:docChgLst>
    <pc:chgData name="JanRud67" userId="S::janrud67@student.fh-westkueste.de::e03750ef-9d6b-41ce-93f4-a0b96c768197" providerId="AD" clId="Web-{002D9288-1C1A-4589-8D4B-1428EB6E86C2}"/>
    <pc:docChg chg="modSld">
      <pc:chgData name="JanRud67" userId="S::janrud67@student.fh-westkueste.de::e03750ef-9d6b-41ce-93f4-a0b96c768197" providerId="AD" clId="Web-{002D9288-1C1A-4589-8D4B-1428EB6E86C2}" dt="2023-10-16T19:53:52.784" v="8" actId="1076"/>
      <pc:docMkLst>
        <pc:docMk/>
      </pc:docMkLst>
      <pc:sldChg chg="addSp modSp">
        <pc:chgData name="JanRud67" userId="S::janrud67@student.fh-westkueste.de::e03750ef-9d6b-41ce-93f4-a0b96c768197" providerId="AD" clId="Web-{002D9288-1C1A-4589-8D4B-1428EB6E86C2}" dt="2023-10-16T19:53:52.784" v="8" actId="1076"/>
        <pc:sldMkLst>
          <pc:docMk/>
          <pc:sldMk cId="2619089612" sldId="319"/>
        </pc:sldMkLst>
        <pc:picChg chg="add mod modCrop">
          <ac:chgData name="JanRud67" userId="S::janrud67@student.fh-westkueste.de::e03750ef-9d6b-41ce-93f4-a0b96c768197" providerId="AD" clId="Web-{002D9288-1C1A-4589-8D4B-1428EB6E86C2}" dt="2023-10-16T19:53:52.784" v="8" actId="1076"/>
          <ac:picMkLst>
            <pc:docMk/>
            <pc:sldMk cId="2619089612" sldId="319"/>
            <ac:picMk id="7" creationId="{EC9B819D-31A2-1FE2-2578-F06886094319}"/>
          </ac:picMkLst>
        </pc:picChg>
      </pc:sldChg>
    </pc:docChg>
  </pc:docChgLst>
  <pc:docChgLst>
    <pc:chgData name="HauSie45" userId="0c765841-5756-4f10-b568-76473f539d5e" providerId="ADAL" clId="{846FCDC7-37D5-47BE-AE12-0870FE8BA492}"/>
    <pc:docChg chg="undo custSel addSld delSld modSld sldOrd modSection">
      <pc:chgData name="HauSie45" userId="0c765841-5756-4f10-b568-76473f539d5e" providerId="ADAL" clId="{846FCDC7-37D5-47BE-AE12-0870FE8BA492}" dt="2023-12-03T23:52:23.711" v="919"/>
      <pc:docMkLst>
        <pc:docMk/>
      </pc:docMkLst>
      <pc:sldChg chg="modSp add del mod">
        <pc:chgData name="HauSie45" userId="0c765841-5756-4f10-b568-76473f539d5e" providerId="ADAL" clId="{846FCDC7-37D5-47BE-AE12-0870FE8BA492}" dt="2023-11-26T20:59:50.486" v="691" actId="47"/>
        <pc:sldMkLst>
          <pc:docMk/>
          <pc:sldMk cId="835370228" sldId="370"/>
        </pc:sldMkLst>
        <pc:spChg chg="mod">
          <ac:chgData name="HauSie45" userId="0c765841-5756-4f10-b568-76473f539d5e" providerId="ADAL" clId="{846FCDC7-37D5-47BE-AE12-0870FE8BA492}" dt="2023-11-26T20:59:45.009" v="690" actId="20577"/>
          <ac:spMkLst>
            <pc:docMk/>
            <pc:sldMk cId="835370228" sldId="370"/>
            <ac:spMk id="2" creationId="{1DE20D90-863E-0749-992D-B5E0E6378EF7}"/>
          </ac:spMkLst>
        </pc:spChg>
      </pc:sldChg>
      <pc:sldChg chg="add">
        <pc:chgData name="HauSie45" userId="0c765841-5756-4f10-b568-76473f539d5e" providerId="ADAL" clId="{846FCDC7-37D5-47BE-AE12-0870FE8BA492}" dt="2023-11-26T21:00:06.370" v="693"/>
        <pc:sldMkLst>
          <pc:docMk/>
          <pc:sldMk cId="4005470106" sldId="397"/>
        </pc:sldMkLst>
      </pc:sldChg>
      <pc:sldChg chg="add">
        <pc:chgData name="HauSie45" userId="0c765841-5756-4f10-b568-76473f539d5e" providerId="ADAL" clId="{846FCDC7-37D5-47BE-AE12-0870FE8BA492}" dt="2023-11-26T21:00:06.370" v="693"/>
        <pc:sldMkLst>
          <pc:docMk/>
          <pc:sldMk cId="3908825362" sldId="398"/>
        </pc:sldMkLst>
      </pc:sldChg>
      <pc:sldChg chg="modSp add mod">
        <pc:chgData name="HauSie45" userId="0c765841-5756-4f10-b568-76473f539d5e" providerId="ADAL" clId="{846FCDC7-37D5-47BE-AE12-0870FE8BA492}" dt="2023-12-03T12:16:20.499" v="917" actId="113"/>
        <pc:sldMkLst>
          <pc:docMk/>
          <pc:sldMk cId="799961263" sldId="399"/>
        </pc:sldMkLst>
        <pc:spChg chg="mod">
          <ac:chgData name="HauSie45" userId="0c765841-5756-4f10-b568-76473f539d5e" providerId="ADAL" clId="{846FCDC7-37D5-47BE-AE12-0870FE8BA492}" dt="2023-11-26T20:58:39.622" v="591" actId="20577"/>
          <ac:spMkLst>
            <pc:docMk/>
            <pc:sldMk cId="799961263" sldId="399"/>
            <ac:spMk id="2" creationId="{D6A11C15-BC1A-2C62-817B-8D735C47C851}"/>
          </ac:spMkLst>
        </pc:spChg>
        <pc:spChg chg="mod">
          <ac:chgData name="HauSie45" userId="0c765841-5756-4f10-b568-76473f539d5e" providerId="ADAL" clId="{846FCDC7-37D5-47BE-AE12-0870FE8BA492}" dt="2023-11-26T20:58:07.813" v="487" actId="20577"/>
          <ac:spMkLst>
            <pc:docMk/>
            <pc:sldMk cId="799961263" sldId="399"/>
            <ac:spMk id="5" creationId="{9E2D6739-E388-67FC-3C48-A15972A41E45}"/>
          </ac:spMkLst>
        </pc:spChg>
        <pc:graphicFrameChg chg="modGraphic">
          <ac:chgData name="HauSie45" userId="0c765841-5756-4f10-b568-76473f539d5e" providerId="ADAL" clId="{846FCDC7-37D5-47BE-AE12-0870FE8BA492}" dt="2023-12-03T12:16:20.499" v="917" actId="113"/>
          <ac:graphicFrameMkLst>
            <pc:docMk/>
            <pc:sldMk cId="799961263" sldId="399"/>
            <ac:graphicFrameMk id="11" creationId="{68F9DF56-4A47-3F8B-8E0E-F8BF6BDEBCAF}"/>
          </ac:graphicFrameMkLst>
        </pc:graphicFrameChg>
      </pc:sldChg>
      <pc:sldChg chg="modSp add mod">
        <pc:chgData name="HauSie45" userId="0c765841-5756-4f10-b568-76473f539d5e" providerId="ADAL" clId="{846FCDC7-37D5-47BE-AE12-0870FE8BA492}" dt="2023-11-29T18:34:12.400" v="726" actId="1076"/>
        <pc:sldMkLst>
          <pc:docMk/>
          <pc:sldMk cId="3734341024" sldId="401"/>
        </pc:sldMkLst>
        <pc:spChg chg="mod">
          <ac:chgData name="HauSie45" userId="0c765841-5756-4f10-b568-76473f539d5e" providerId="ADAL" clId="{846FCDC7-37D5-47BE-AE12-0870FE8BA492}" dt="2023-11-29T18:34:12.400" v="726" actId="1076"/>
          <ac:spMkLst>
            <pc:docMk/>
            <pc:sldMk cId="3734341024" sldId="401"/>
            <ac:spMk id="9" creationId="{848143C4-1FFE-C371-A13A-14198E230F93}"/>
          </ac:spMkLst>
        </pc:spChg>
      </pc:sldChg>
      <pc:sldChg chg="modSp add mod">
        <pc:chgData name="HauSie45" userId="0c765841-5756-4f10-b568-76473f539d5e" providerId="ADAL" clId="{846FCDC7-37D5-47BE-AE12-0870FE8BA492}" dt="2023-12-03T11:39:45.933" v="735" actId="1035"/>
        <pc:sldMkLst>
          <pc:docMk/>
          <pc:sldMk cId="2022865067" sldId="402"/>
        </pc:sldMkLst>
        <pc:cxnChg chg="mod">
          <ac:chgData name="HauSie45" userId="0c765841-5756-4f10-b568-76473f539d5e" providerId="ADAL" clId="{846FCDC7-37D5-47BE-AE12-0870FE8BA492}" dt="2023-12-03T11:39:45.933" v="735" actId="1035"/>
          <ac:cxnSpMkLst>
            <pc:docMk/>
            <pc:sldMk cId="2022865067" sldId="402"/>
            <ac:cxnSpMk id="20" creationId="{04E09AE1-49AA-EB33-D7F0-133B99F17260}"/>
          </ac:cxnSpMkLst>
        </pc:cxnChg>
        <pc:cxnChg chg="mod">
          <ac:chgData name="HauSie45" userId="0c765841-5756-4f10-b568-76473f539d5e" providerId="ADAL" clId="{846FCDC7-37D5-47BE-AE12-0870FE8BA492}" dt="2023-12-03T11:39:34.844" v="733" actId="1076"/>
          <ac:cxnSpMkLst>
            <pc:docMk/>
            <pc:sldMk cId="2022865067" sldId="402"/>
            <ac:cxnSpMk id="22" creationId="{0A18B185-3502-D6BC-C2DB-F24D6B0A5629}"/>
          </ac:cxnSpMkLst>
        </pc:cxnChg>
        <pc:cxnChg chg="mod">
          <ac:chgData name="HauSie45" userId="0c765841-5756-4f10-b568-76473f539d5e" providerId="ADAL" clId="{846FCDC7-37D5-47BE-AE12-0870FE8BA492}" dt="2023-12-03T11:39:39.549" v="734" actId="1076"/>
          <ac:cxnSpMkLst>
            <pc:docMk/>
            <pc:sldMk cId="2022865067" sldId="402"/>
            <ac:cxnSpMk id="24" creationId="{FADA5529-E89D-1DA5-FEB8-8C3230E7068D}"/>
          </ac:cxnSpMkLst>
        </pc:cxnChg>
      </pc:sldChg>
      <pc:sldChg chg="add">
        <pc:chgData name="HauSie45" userId="0c765841-5756-4f10-b568-76473f539d5e" providerId="ADAL" clId="{846FCDC7-37D5-47BE-AE12-0870FE8BA492}" dt="2023-12-02T18:59:22.395" v="727"/>
        <pc:sldMkLst>
          <pc:docMk/>
          <pc:sldMk cId="141491088" sldId="403"/>
        </pc:sldMkLst>
      </pc:sldChg>
      <pc:sldChg chg="addSp delSp modSp new mod">
        <pc:chgData name="HauSie45" userId="0c765841-5756-4f10-b568-76473f539d5e" providerId="ADAL" clId="{846FCDC7-37D5-47BE-AE12-0870FE8BA492}" dt="2023-11-26T20:54:42.308" v="458" actId="1076"/>
        <pc:sldMkLst>
          <pc:docMk/>
          <pc:sldMk cId="3554033876" sldId="796"/>
        </pc:sldMkLst>
        <pc:spChg chg="mod">
          <ac:chgData name="HauSie45" userId="0c765841-5756-4f10-b568-76473f539d5e" providerId="ADAL" clId="{846FCDC7-37D5-47BE-AE12-0870FE8BA492}" dt="2023-11-26T19:29:30.334" v="220" actId="20577"/>
          <ac:spMkLst>
            <pc:docMk/>
            <pc:sldMk cId="3554033876" sldId="796"/>
            <ac:spMk id="2" creationId="{11EEA7F3-DD1D-AFD1-89FC-D65D45E23AB5}"/>
          </ac:spMkLst>
        </pc:spChg>
        <pc:spChg chg="del">
          <ac:chgData name="HauSie45" userId="0c765841-5756-4f10-b568-76473f539d5e" providerId="ADAL" clId="{846FCDC7-37D5-47BE-AE12-0870FE8BA492}" dt="2023-11-26T19:26:12.176" v="16" actId="1032"/>
          <ac:spMkLst>
            <pc:docMk/>
            <pc:sldMk cId="3554033876" sldId="796"/>
            <ac:spMk id="3" creationId="{BB9B576F-91D2-C758-30DF-A07C69BFF7AC}"/>
          </ac:spMkLst>
        </pc:spChg>
        <pc:spChg chg="mod">
          <ac:chgData name="HauSie45" userId="0c765841-5756-4f10-b568-76473f539d5e" providerId="ADAL" clId="{846FCDC7-37D5-47BE-AE12-0870FE8BA492}" dt="2023-11-26T19:28:37.902" v="112" actId="20577"/>
          <ac:spMkLst>
            <pc:docMk/>
            <pc:sldMk cId="3554033876" sldId="796"/>
            <ac:spMk id="5" creationId="{906F583E-5DE1-9305-CC6A-56891F29DCCE}"/>
          </ac:spMkLst>
        </pc:spChg>
        <pc:spChg chg="add mod">
          <ac:chgData name="HauSie45" userId="0c765841-5756-4f10-b568-76473f539d5e" providerId="ADAL" clId="{846FCDC7-37D5-47BE-AE12-0870FE8BA492}" dt="2023-11-26T20:54:34.461" v="456" actId="1076"/>
          <ac:spMkLst>
            <pc:docMk/>
            <pc:sldMk cId="3554033876" sldId="796"/>
            <ac:spMk id="9" creationId="{BEBCC43A-9C8B-908E-370E-DDA69E2E312B}"/>
          </ac:spMkLst>
        </pc:spChg>
        <pc:spChg chg="add mod">
          <ac:chgData name="HauSie45" userId="0c765841-5756-4f10-b568-76473f539d5e" providerId="ADAL" clId="{846FCDC7-37D5-47BE-AE12-0870FE8BA492}" dt="2023-11-26T20:54:38.117" v="457" actId="1076"/>
          <ac:spMkLst>
            <pc:docMk/>
            <pc:sldMk cId="3554033876" sldId="796"/>
            <ac:spMk id="10" creationId="{9C00DFAB-E260-CF7D-285C-97EF2EA666F4}"/>
          </ac:spMkLst>
        </pc:spChg>
        <pc:spChg chg="add mod">
          <ac:chgData name="HauSie45" userId="0c765841-5756-4f10-b568-76473f539d5e" providerId="ADAL" clId="{846FCDC7-37D5-47BE-AE12-0870FE8BA492}" dt="2023-11-26T20:54:42.308" v="458" actId="1076"/>
          <ac:spMkLst>
            <pc:docMk/>
            <pc:sldMk cId="3554033876" sldId="796"/>
            <ac:spMk id="11" creationId="{FB33FEE6-33D9-F1C7-3248-AD1AD9A77B06}"/>
          </ac:spMkLst>
        </pc:spChg>
        <pc:graphicFrameChg chg="add mod modGraphic">
          <ac:chgData name="HauSie45" userId="0c765841-5756-4f10-b568-76473f539d5e" providerId="ADAL" clId="{846FCDC7-37D5-47BE-AE12-0870FE8BA492}" dt="2023-11-26T19:34:49.918" v="434" actId="20577"/>
          <ac:graphicFrameMkLst>
            <pc:docMk/>
            <pc:sldMk cId="3554033876" sldId="796"/>
            <ac:graphicFrameMk id="8" creationId="{57BF713D-8740-6842-F8B8-6A4C1A27BA10}"/>
          </ac:graphicFrameMkLst>
        </pc:graphicFrameChg>
      </pc:sldChg>
      <pc:sldChg chg="new del">
        <pc:chgData name="HauSie45" userId="0c765841-5756-4f10-b568-76473f539d5e" providerId="ADAL" clId="{846FCDC7-37D5-47BE-AE12-0870FE8BA492}" dt="2023-11-26T19:23:12.747" v="1" actId="47"/>
        <pc:sldMkLst>
          <pc:docMk/>
          <pc:sldMk cId="3927571332" sldId="796"/>
        </pc:sldMkLst>
      </pc:sldChg>
      <pc:sldChg chg="modSp add del mod modCm">
        <pc:chgData name="HauSie45" userId="0c765841-5756-4f10-b568-76473f539d5e" providerId="ADAL" clId="{846FCDC7-37D5-47BE-AE12-0870FE8BA492}" dt="2023-12-03T12:16:06.959" v="915" actId="47"/>
        <pc:sldMkLst>
          <pc:docMk/>
          <pc:sldMk cId="3310491922" sldId="1154"/>
        </pc:sldMkLst>
        <pc:spChg chg="mod">
          <ac:chgData name="HauSie45" userId="0c765841-5756-4f10-b568-76473f539d5e" providerId="ADAL" clId="{846FCDC7-37D5-47BE-AE12-0870FE8BA492}" dt="2023-11-26T21:01:41.183" v="715" actId="20577"/>
          <ac:spMkLst>
            <pc:docMk/>
            <pc:sldMk cId="3310491922" sldId="1154"/>
            <ac:spMk id="10" creationId="{5ACC1EFE-E771-A193-E05C-DBB70A16DAB1}"/>
          </ac:spMkLst>
        </pc:spChg>
        <pc:spChg chg="mod">
          <ac:chgData name="HauSie45" userId="0c765841-5756-4f10-b568-76473f539d5e" providerId="ADAL" clId="{846FCDC7-37D5-47BE-AE12-0870FE8BA492}" dt="2023-11-26T21:01:45.212" v="723" actId="20577"/>
          <ac:spMkLst>
            <pc:docMk/>
            <pc:sldMk cId="3310491922" sldId="1154"/>
            <ac:spMk id="12" creationId="{216AEE1E-244E-0AF1-0BBA-8DA83EE14D7E}"/>
          </ac:spMkLst>
        </pc:spChg>
        <pc:extLst>
          <p:ext xmlns:p="http://schemas.openxmlformats.org/presentationml/2006/main" uri="{D6D511B9-2390-475A-947B-AFAB55BFBCF1}">
            <pc226:cmChg xmlns:pc226="http://schemas.microsoft.com/office/powerpoint/2022/06/main/command" chg="">
              <pc226:chgData name="HauSie45" userId="0c765841-5756-4f10-b568-76473f539d5e" providerId="ADAL" clId="{846FCDC7-37D5-47BE-AE12-0870FE8BA492}" dt="2023-12-03T12:13:50.442" v="885"/>
              <pc2:cmMkLst xmlns:pc2="http://schemas.microsoft.com/office/powerpoint/2019/9/main/command">
                <pc:docMk/>
                <pc:sldMk cId="3310491922" sldId="1154"/>
                <pc2:cmMk id="{922F15B7-9634-4B76-8200-C825BCD79EA2}"/>
              </pc2:cmMkLst>
              <pc226:cmRplyChg chg="add">
                <pc226:chgData name="HauSie45" userId="0c765841-5756-4f10-b568-76473f539d5e" providerId="ADAL" clId="{846FCDC7-37D5-47BE-AE12-0870FE8BA492}" dt="2023-12-03T12:13:50.442" v="885"/>
                <pc2:cmRplyMkLst xmlns:pc2="http://schemas.microsoft.com/office/powerpoint/2019/9/main/command">
                  <pc:docMk/>
                  <pc:sldMk cId="3310491922" sldId="1154"/>
                  <pc2:cmMk id="{922F15B7-9634-4B76-8200-C825BCD79EA2}"/>
                  <pc2:cmRplyMk id="{65E1064A-A3C5-4757-B5FE-611A8443AFBE}"/>
                </pc2:cmRplyMkLst>
              </pc226:cmRplyChg>
            </pc226:cmChg>
          </p:ext>
        </pc:extLst>
      </pc:sldChg>
      <pc:sldChg chg="modSp add del mod">
        <pc:chgData name="HauSie45" userId="0c765841-5756-4f10-b568-76473f539d5e" providerId="ADAL" clId="{846FCDC7-37D5-47BE-AE12-0870FE8BA492}" dt="2023-12-03T12:16:08.618" v="916" actId="47"/>
        <pc:sldMkLst>
          <pc:docMk/>
          <pc:sldMk cId="458839164" sldId="1155"/>
        </pc:sldMkLst>
        <pc:spChg chg="mod">
          <ac:chgData name="HauSie45" userId="0c765841-5756-4f10-b568-76473f539d5e" providerId="ADAL" clId="{846FCDC7-37D5-47BE-AE12-0870FE8BA492}" dt="2023-11-26T21:01:18.452" v="709"/>
          <ac:spMkLst>
            <pc:docMk/>
            <pc:sldMk cId="458839164" sldId="1155"/>
            <ac:spMk id="3" creationId="{1A5266B4-4AF5-4F4E-3505-56B77C8F25BF}"/>
          </ac:spMkLst>
        </pc:spChg>
        <pc:spChg chg="mod">
          <ac:chgData name="HauSie45" userId="0c765841-5756-4f10-b568-76473f539d5e" providerId="ADAL" clId="{846FCDC7-37D5-47BE-AE12-0870FE8BA492}" dt="2023-11-26T21:01:01.803" v="707" actId="20577"/>
          <ac:spMkLst>
            <pc:docMk/>
            <pc:sldMk cId="458839164" sldId="1155"/>
            <ac:spMk id="5" creationId="{7FE8DAAA-C564-FADF-4C07-28A63D08DF3A}"/>
          </ac:spMkLst>
        </pc:spChg>
        <pc:spChg chg="mod">
          <ac:chgData name="HauSie45" userId="0c765841-5756-4f10-b568-76473f539d5e" providerId="ADAL" clId="{846FCDC7-37D5-47BE-AE12-0870FE8BA492}" dt="2023-11-26T21:01:21.996" v="710"/>
          <ac:spMkLst>
            <pc:docMk/>
            <pc:sldMk cId="458839164" sldId="1155"/>
            <ac:spMk id="8" creationId="{577C39F7-D692-75CF-E4DE-130EF2AB4CA8}"/>
          </ac:spMkLst>
        </pc:spChg>
        <pc:spChg chg="mod">
          <ac:chgData name="HauSie45" userId="0c765841-5756-4f10-b568-76473f539d5e" providerId="ADAL" clId="{846FCDC7-37D5-47BE-AE12-0870FE8BA492}" dt="2023-11-26T21:01:25.067" v="711"/>
          <ac:spMkLst>
            <pc:docMk/>
            <pc:sldMk cId="458839164" sldId="1155"/>
            <ac:spMk id="9" creationId="{63FFA7D8-3B5B-08EC-52F0-E63863E43645}"/>
          </ac:spMkLst>
        </pc:spChg>
      </pc:sldChg>
      <pc:sldChg chg="add">
        <pc:chgData name="HauSie45" userId="0c765841-5756-4f10-b568-76473f539d5e" providerId="ADAL" clId="{846FCDC7-37D5-47BE-AE12-0870FE8BA492}" dt="2023-11-26T19:24:40.976" v="15"/>
        <pc:sldMkLst>
          <pc:docMk/>
          <pc:sldMk cId="330923922" sldId="1156"/>
        </pc:sldMkLst>
      </pc:sldChg>
      <pc:sldChg chg="add ord">
        <pc:chgData name="HauSie45" userId="0c765841-5756-4f10-b568-76473f539d5e" providerId="ADAL" clId="{846FCDC7-37D5-47BE-AE12-0870FE8BA492}" dt="2023-12-02T18:59:26.518" v="730"/>
        <pc:sldMkLst>
          <pc:docMk/>
          <pc:sldMk cId="1573429263" sldId="1157"/>
        </pc:sldMkLst>
      </pc:sldChg>
      <pc:sldChg chg="modSp add mod">
        <pc:chgData name="HauSie45" userId="0c765841-5756-4f10-b568-76473f539d5e" providerId="ADAL" clId="{846FCDC7-37D5-47BE-AE12-0870FE8BA492}" dt="2023-12-02T18:59:32.863" v="732" actId="20577"/>
        <pc:sldMkLst>
          <pc:docMk/>
          <pc:sldMk cId="1403724331" sldId="1158"/>
        </pc:sldMkLst>
        <pc:spChg chg="mod">
          <ac:chgData name="HauSie45" userId="0c765841-5756-4f10-b568-76473f539d5e" providerId="ADAL" clId="{846FCDC7-37D5-47BE-AE12-0870FE8BA492}" dt="2023-12-02T18:59:32.863" v="732" actId="20577"/>
          <ac:spMkLst>
            <pc:docMk/>
            <pc:sldMk cId="1403724331" sldId="1158"/>
            <ac:spMk id="26" creationId="{8155E7F5-FA23-E675-B30D-0338B169224F}"/>
          </ac:spMkLst>
        </pc:spChg>
      </pc:sldChg>
      <pc:sldChg chg="add del">
        <pc:chgData name="HauSie45" userId="0c765841-5756-4f10-b568-76473f539d5e" providerId="ADAL" clId="{846FCDC7-37D5-47BE-AE12-0870FE8BA492}" dt="2023-12-02T18:59:24.520" v="728" actId="47"/>
        <pc:sldMkLst>
          <pc:docMk/>
          <pc:sldMk cId="1207366498" sldId="1176"/>
        </pc:sldMkLst>
      </pc:sldChg>
      <pc:sldChg chg="add">
        <pc:chgData name="HauSie45" userId="0c765841-5756-4f10-b568-76473f539d5e" providerId="ADAL" clId="{846FCDC7-37D5-47BE-AE12-0870FE8BA492}" dt="2023-12-02T18:59:22.395" v="727"/>
        <pc:sldMkLst>
          <pc:docMk/>
          <pc:sldMk cId="4038454778" sldId="1177"/>
        </pc:sldMkLst>
      </pc:sldChg>
      <pc:sldChg chg="addSp delSp modSp new add del mod">
        <pc:chgData name="HauSie45" userId="0c765841-5756-4f10-b568-76473f539d5e" providerId="ADAL" clId="{846FCDC7-37D5-47BE-AE12-0870FE8BA492}" dt="2023-12-03T17:00:16.469" v="918" actId="20577"/>
        <pc:sldMkLst>
          <pc:docMk/>
          <pc:sldMk cId="669661950" sldId="1178"/>
        </pc:sldMkLst>
        <pc:spChg chg="add del">
          <ac:chgData name="HauSie45" userId="0c765841-5756-4f10-b568-76473f539d5e" providerId="ADAL" clId="{846FCDC7-37D5-47BE-AE12-0870FE8BA492}" dt="2023-12-03T11:45:33.398" v="739" actId="3680"/>
          <ac:spMkLst>
            <pc:docMk/>
            <pc:sldMk cId="669661950" sldId="1178"/>
            <ac:spMk id="3" creationId="{0C8677BF-04F5-8ED9-FF4A-CDEA36B0BD37}"/>
          </ac:spMkLst>
        </pc:spChg>
        <pc:graphicFrameChg chg="add del mod ord modGraphic">
          <ac:chgData name="HauSie45" userId="0c765841-5756-4f10-b568-76473f539d5e" providerId="ADAL" clId="{846FCDC7-37D5-47BE-AE12-0870FE8BA492}" dt="2023-12-03T11:45:13.613" v="738" actId="3680"/>
          <ac:graphicFrameMkLst>
            <pc:docMk/>
            <pc:sldMk cId="669661950" sldId="1178"/>
            <ac:graphicFrameMk id="8" creationId="{31A76006-DBA4-01C1-FF53-3A4B9B46C372}"/>
          </ac:graphicFrameMkLst>
        </pc:graphicFrameChg>
        <pc:graphicFrameChg chg="add mod ord modGraphic">
          <ac:chgData name="HauSie45" userId="0c765841-5756-4f10-b568-76473f539d5e" providerId="ADAL" clId="{846FCDC7-37D5-47BE-AE12-0870FE8BA492}" dt="2023-12-03T17:00:16.469" v="918" actId="20577"/>
          <ac:graphicFrameMkLst>
            <pc:docMk/>
            <pc:sldMk cId="669661950" sldId="1178"/>
            <ac:graphicFrameMk id="9" creationId="{B5073B81-838F-9536-BC47-90270E77D859}"/>
          </ac:graphicFrameMkLst>
        </pc:graphicFrameChg>
      </pc:sldChg>
      <pc:sldChg chg="modSp new mod">
        <pc:chgData name="HauSie45" userId="0c765841-5756-4f10-b568-76473f539d5e" providerId="ADAL" clId="{846FCDC7-37D5-47BE-AE12-0870FE8BA492}" dt="2023-12-03T12:14:32.662" v="913" actId="20577"/>
        <pc:sldMkLst>
          <pc:docMk/>
          <pc:sldMk cId="1773730786" sldId="1179"/>
        </pc:sldMkLst>
        <pc:spChg chg="mod">
          <ac:chgData name="HauSie45" userId="0c765841-5756-4f10-b568-76473f539d5e" providerId="ADAL" clId="{846FCDC7-37D5-47BE-AE12-0870FE8BA492}" dt="2023-12-03T12:14:32.662" v="913" actId="20577"/>
          <ac:spMkLst>
            <pc:docMk/>
            <pc:sldMk cId="1773730786" sldId="1179"/>
            <ac:spMk id="2" creationId="{700F74EE-08A0-CE58-51C2-7D3AAF8057FA}"/>
          </ac:spMkLst>
        </pc:spChg>
      </pc:sldChg>
      <pc:sldChg chg="add">
        <pc:chgData name="HauSie45" userId="0c765841-5756-4f10-b568-76473f539d5e" providerId="ADAL" clId="{846FCDC7-37D5-47BE-AE12-0870FE8BA492}" dt="2023-12-03T12:14:40.241" v="914"/>
        <pc:sldMkLst>
          <pc:docMk/>
          <pc:sldMk cId="2363565334" sldId="1180"/>
        </pc:sldMkLst>
      </pc:sldChg>
      <pc:sldChg chg="add">
        <pc:chgData name="HauSie45" userId="0c765841-5756-4f10-b568-76473f539d5e" providerId="ADAL" clId="{846FCDC7-37D5-47BE-AE12-0870FE8BA492}" dt="2023-12-03T12:14:40.241" v="914"/>
        <pc:sldMkLst>
          <pc:docMk/>
          <pc:sldMk cId="530286736" sldId="1181"/>
        </pc:sldMkLst>
      </pc:sldChg>
      <pc:sldChg chg="add">
        <pc:chgData name="HauSie45" userId="0c765841-5756-4f10-b568-76473f539d5e" providerId="ADAL" clId="{846FCDC7-37D5-47BE-AE12-0870FE8BA492}" dt="2023-12-03T23:52:23.711" v="919"/>
        <pc:sldMkLst>
          <pc:docMk/>
          <pc:sldMk cId="2089728391" sldId="1188"/>
        </pc:sldMkLst>
      </pc:sldChg>
    </pc:docChg>
  </pc:docChgLst>
  <pc:docChgLst>
    <pc:chgData name="KevCla12" userId="ef2eb634-4620-450f-93cc-80cc93397e60" providerId="ADAL" clId="{DF6678F8-4F85-488B-B919-FA7E2EC6DABC}"/>
    <pc:docChg chg="undo redo custSel addSld delSld modSld sldOrd modMainMaster addSection modSection">
      <pc:chgData name="KevCla12" userId="ef2eb634-4620-450f-93cc-80cc93397e60" providerId="ADAL" clId="{DF6678F8-4F85-488B-B919-FA7E2EC6DABC}" dt="2023-10-19T18:59:56.898" v="10356" actId="207"/>
      <pc:docMkLst>
        <pc:docMk/>
      </pc:docMkLst>
      <pc:sldChg chg="add ord">
        <pc:chgData name="KevCla12" userId="ef2eb634-4620-450f-93cc-80cc93397e60" providerId="ADAL" clId="{DF6678F8-4F85-488B-B919-FA7E2EC6DABC}" dt="2023-10-17T14:31:32.877" v="10350"/>
        <pc:sldMkLst>
          <pc:docMk/>
          <pc:sldMk cId="885509496" sldId="256"/>
        </pc:sldMkLst>
      </pc:sldChg>
      <pc:sldChg chg="add ord">
        <pc:chgData name="KevCla12" userId="ef2eb634-4620-450f-93cc-80cc93397e60" providerId="ADAL" clId="{DF6678F8-4F85-488B-B919-FA7E2EC6DABC}" dt="2023-10-17T14:31:32.877" v="10350"/>
        <pc:sldMkLst>
          <pc:docMk/>
          <pc:sldMk cId="2120779671" sldId="257"/>
        </pc:sldMkLst>
      </pc:sldChg>
      <pc:sldChg chg="add ord">
        <pc:chgData name="KevCla12" userId="ef2eb634-4620-450f-93cc-80cc93397e60" providerId="ADAL" clId="{DF6678F8-4F85-488B-B919-FA7E2EC6DABC}" dt="2023-10-17T14:31:32.877" v="10350"/>
        <pc:sldMkLst>
          <pc:docMk/>
          <pc:sldMk cId="1122315815" sldId="258"/>
        </pc:sldMkLst>
      </pc:sldChg>
      <pc:sldChg chg="add ord">
        <pc:chgData name="KevCla12" userId="ef2eb634-4620-450f-93cc-80cc93397e60" providerId="ADAL" clId="{DF6678F8-4F85-488B-B919-FA7E2EC6DABC}" dt="2023-10-17T14:31:32.877" v="10350"/>
        <pc:sldMkLst>
          <pc:docMk/>
          <pc:sldMk cId="2522314424" sldId="259"/>
        </pc:sldMkLst>
      </pc:sldChg>
      <pc:sldChg chg="add ord">
        <pc:chgData name="KevCla12" userId="ef2eb634-4620-450f-93cc-80cc93397e60" providerId="ADAL" clId="{DF6678F8-4F85-488B-B919-FA7E2EC6DABC}" dt="2023-10-17T14:31:32.877" v="10350"/>
        <pc:sldMkLst>
          <pc:docMk/>
          <pc:sldMk cId="1055856665" sldId="260"/>
        </pc:sldMkLst>
      </pc:sldChg>
      <pc:sldChg chg="add ord">
        <pc:chgData name="KevCla12" userId="ef2eb634-4620-450f-93cc-80cc93397e60" providerId="ADAL" clId="{DF6678F8-4F85-488B-B919-FA7E2EC6DABC}" dt="2023-10-17T14:31:32.877" v="10350"/>
        <pc:sldMkLst>
          <pc:docMk/>
          <pc:sldMk cId="3001416572" sldId="261"/>
        </pc:sldMkLst>
      </pc:sldChg>
      <pc:sldChg chg="add ord">
        <pc:chgData name="KevCla12" userId="ef2eb634-4620-450f-93cc-80cc93397e60" providerId="ADAL" clId="{DF6678F8-4F85-488B-B919-FA7E2EC6DABC}" dt="2023-10-17T14:31:32.877" v="10350"/>
        <pc:sldMkLst>
          <pc:docMk/>
          <pc:sldMk cId="4247220353" sldId="262"/>
        </pc:sldMkLst>
      </pc:sldChg>
      <pc:sldChg chg="modSp mod">
        <pc:chgData name="KevCla12" userId="ef2eb634-4620-450f-93cc-80cc93397e60" providerId="ADAL" clId="{DF6678F8-4F85-488B-B919-FA7E2EC6DABC}" dt="2023-10-17T14:03:21.772" v="9258" actId="20577"/>
        <pc:sldMkLst>
          <pc:docMk/>
          <pc:sldMk cId="2791746834" sldId="263"/>
        </pc:sldMkLst>
        <pc:spChg chg="mod">
          <ac:chgData name="KevCla12" userId="ef2eb634-4620-450f-93cc-80cc93397e60" providerId="ADAL" clId="{DF6678F8-4F85-488B-B919-FA7E2EC6DABC}" dt="2023-10-17T14:03:21.772" v="9258" actId="20577"/>
          <ac:spMkLst>
            <pc:docMk/>
            <pc:sldMk cId="2791746834" sldId="263"/>
            <ac:spMk id="2" creationId="{00000000-0000-0000-0000-000000000000}"/>
          </ac:spMkLst>
        </pc:spChg>
        <pc:spChg chg="mod">
          <ac:chgData name="KevCla12" userId="ef2eb634-4620-450f-93cc-80cc93397e60" providerId="ADAL" clId="{DF6678F8-4F85-488B-B919-FA7E2EC6DABC}" dt="2023-10-17T14:01:55.135" v="9234" actId="20577"/>
          <ac:spMkLst>
            <pc:docMk/>
            <pc:sldMk cId="2791746834" sldId="263"/>
            <ac:spMk id="3" creationId="{00000000-0000-0000-0000-000000000000}"/>
          </ac:spMkLst>
        </pc:spChg>
      </pc:sldChg>
      <pc:sldChg chg="add ord">
        <pc:chgData name="KevCla12" userId="ef2eb634-4620-450f-93cc-80cc93397e60" providerId="ADAL" clId="{DF6678F8-4F85-488B-B919-FA7E2EC6DABC}" dt="2023-10-17T14:31:32.877" v="10350"/>
        <pc:sldMkLst>
          <pc:docMk/>
          <pc:sldMk cId="371925568" sldId="264"/>
        </pc:sldMkLst>
      </pc:sldChg>
      <pc:sldChg chg="add ord">
        <pc:chgData name="KevCla12" userId="ef2eb634-4620-450f-93cc-80cc93397e60" providerId="ADAL" clId="{DF6678F8-4F85-488B-B919-FA7E2EC6DABC}" dt="2023-10-17T14:31:32.877" v="10350"/>
        <pc:sldMkLst>
          <pc:docMk/>
          <pc:sldMk cId="735284018" sldId="265"/>
        </pc:sldMkLst>
      </pc:sldChg>
      <pc:sldChg chg="add ord">
        <pc:chgData name="KevCla12" userId="ef2eb634-4620-450f-93cc-80cc93397e60" providerId="ADAL" clId="{DF6678F8-4F85-488B-B919-FA7E2EC6DABC}" dt="2023-10-17T14:31:32.877" v="10350"/>
        <pc:sldMkLst>
          <pc:docMk/>
          <pc:sldMk cId="4077785787" sldId="266"/>
        </pc:sldMkLst>
      </pc:sldChg>
      <pc:sldChg chg="modSp mod ord">
        <pc:chgData name="KevCla12" userId="ef2eb634-4620-450f-93cc-80cc93397e60" providerId="ADAL" clId="{DF6678F8-4F85-488B-B919-FA7E2EC6DABC}" dt="2023-10-17T14:04:31.694" v="9367" actId="20577"/>
        <pc:sldMkLst>
          <pc:docMk/>
          <pc:sldMk cId="3148940003" sldId="297"/>
        </pc:sldMkLst>
        <pc:spChg chg="mod">
          <ac:chgData name="KevCla12" userId="ef2eb634-4620-450f-93cc-80cc93397e60" providerId="ADAL" clId="{DF6678F8-4F85-488B-B919-FA7E2EC6DABC}" dt="2023-10-17T14:03:33.772" v="9283" actId="20577"/>
          <ac:spMkLst>
            <pc:docMk/>
            <pc:sldMk cId="3148940003" sldId="297"/>
            <ac:spMk id="16" creationId="{00000000-0000-0000-0000-000000000000}"/>
          </ac:spMkLst>
        </pc:spChg>
        <pc:spChg chg="mod">
          <ac:chgData name="KevCla12" userId="ef2eb634-4620-450f-93cc-80cc93397e60" providerId="ADAL" clId="{DF6678F8-4F85-488B-B919-FA7E2EC6DABC}" dt="2023-10-17T14:04:07.979" v="9327" actId="20577"/>
          <ac:spMkLst>
            <pc:docMk/>
            <pc:sldMk cId="3148940003" sldId="297"/>
            <ac:spMk id="17" creationId="{00000000-0000-0000-0000-000000000000}"/>
          </ac:spMkLst>
        </pc:spChg>
        <pc:spChg chg="mod">
          <ac:chgData name="KevCla12" userId="ef2eb634-4620-450f-93cc-80cc93397e60" providerId="ADAL" clId="{DF6678F8-4F85-488B-B919-FA7E2EC6DABC}" dt="2023-10-17T14:04:31.694" v="9367" actId="20577"/>
          <ac:spMkLst>
            <pc:docMk/>
            <pc:sldMk cId="3148940003" sldId="297"/>
            <ac:spMk id="19" creationId="{00000000-0000-0000-0000-000000000000}"/>
          </ac:spMkLst>
        </pc:spChg>
        <pc:spChg chg="mod">
          <ac:chgData name="KevCla12" userId="ef2eb634-4620-450f-93cc-80cc93397e60" providerId="ADAL" clId="{DF6678F8-4F85-488B-B919-FA7E2EC6DABC}" dt="2023-10-17T14:04:30.043" v="9366" actId="20577"/>
          <ac:spMkLst>
            <pc:docMk/>
            <pc:sldMk cId="3148940003" sldId="297"/>
            <ac:spMk id="22" creationId="{00000000-0000-0000-0000-000000000000}"/>
          </ac:spMkLst>
        </pc:spChg>
      </pc:sldChg>
      <pc:sldChg chg="del">
        <pc:chgData name="KevCla12" userId="ef2eb634-4620-450f-93cc-80cc93397e60" providerId="ADAL" clId="{DF6678F8-4F85-488B-B919-FA7E2EC6DABC}" dt="2023-10-13T17:15:43.945" v="4" actId="47"/>
        <pc:sldMkLst>
          <pc:docMk/>
          <pc:sldMk cId="646489267" sldId="298"/>
        </pc:sldMkLst>
      </pc:sldChg>
      <pc:sldChg chg="del">
        <pc:chgData name="KevCla12" userId="ef2eb634-4620-450f-93cc-80cc93397e60" providerId="ADAL" clId="{DF6678F8-4F85-488B-B919-FA7E2EC6DABC}" dt="2023-10-13T17:15:41.434" v="1" actId="47"/>
        <pc:sldMkLst>
          <pc:docMk/>
          <pc:sldMk cId="778069443" sldId="316"/>
        </pc:sldMkLst>
      </pc:sldChg>
      <pc:sldChg chg="addSp delSp modSp new mod modCm">
        <pc:chgData name="KevCla12" userId="ef2eb634-4620-450f-93cc-80cc93397e60" providerId="ADAL" clId="{DF6678F8-4F85-488B-B919-FA7E2EC6DABC}" dt="2023-10-17T14:28:50.061" v="10277"/>
        <pc:sldMkLst>
          <pc:docMk/>
          <pc:sldMk cId="3927998372" sldId="317"/>
        </pc:sldMkLst>
        <pc:spChg chg="mod">
          <ac:chgData name="KevCla12" userId="ef2eb634-4620-450f-93cc-80cc93397e60" providerId="ADAL" clId="{DF6678F8-4F85-488B-B919-FA7E2EC6DABC}" dt="2023-10-17T14:28:42.943" v="10276" actId="20577"/>
          <ac:spMkLst>
            <pc:docMk/>
            <pc:sldMk cId="3927998372" sldId="317"/>
            <ac:spMk id="2" creationId="{3E9D195C-296B-0F7E-EB54-BF6CC44A9E10}"/>
          </ac:spMkLst>
        </pc:spChg>
        <pc:spChg chg="mod">
          <ac:chgData name="KevCla12" userId="ef2eb634-4620-450f-93cc-80cc93397e60" providerId="ADAL" clId="{DF6678F8-4F85-488B-B919-FA7E2EC6DABC}" dt="2023-10-15T13:55:57.677" v="7260" actId="20577"/>
          <ac:spMkLst>
            <pc:docMk/>
            <pc:sldMk cId="3927998372" sldId="317"/>
            <ac:spMk id="3" creationId="{B87522F2-F44D-F2F3-BF69-173EC36F37AC}"/>
          </ac:spMkLst>
        </pc:spChg>
        <pc:spChg chg="mod">
          <ac:chgData name="KevCla12" userId="ef2eb634-4620-450f-93cc-80cc93397e60" providerId="ADAL" clId="{DF6678F8-4F85-488B-B919-FA7E2EC6DABC}" dt="2023-10-13T17:15:52.733" v="43" actId="20577"/>
          <ac:spMkLst>
            <pc:docMk/>
            <pc:sldMk cId="3927998372" sldId="317"/>
            <ac:spMk id="5" creationId="{60BF62C9-32FB-8607-DD10-B86B42995238}"/>
          </ac:spMkLst>
        </pc:spChg>
        <pc:spChg chg="add del">
          <ac:chgData name="KevCla12" userId="ef2eb634-4620-450f-93cc-80cc93397e60" providerId="ADAL" clId="{DF6678F8-4F85-488B-B919-FA7E2EC6DABC}" dt="2023-10-14T17:23:53.552" v="4562" actId="478"/>
          <ac:spMkLst>
            <pc:docMk/>
            <pc:sldMk cId="3927998372" sldId="317"/>
            <ac:spMk id="8" creationId="{23D67425-4528-1AA7-238F-D82560B9C2C7}"/>
          </ac:spMkLst>
        </pc:spChg>
        <pc:spChg chg="add mod">
          <ac:chgData name="KevCla12" userId="ef2eb634-4620-450f-93cc-80cc93397e60" providerId="ADAL" clId="{DF6678F8-4F85-488B-B919-FA7E2EC6DABC}" dt="2023-10-15T13:56:24.021" v="7286" actId="1038"/>
          <ac:spMkLst>
            <pc:docMk/>
            <pc:sldMk cId="3927998372" sldId="317"/>
            <ac:spMk id="11" creationId="{E12E1ACA-4960-E74F-530A-096B0FFD135A}"/>
          </ac:spMkLst>
        </pc:spChg>
        <pc:picChg chg="add mod">
          <ac:chgData name="KevCla12" userId="ef2eb634-4620-450f-93cc-80cc93397e60" providerId="ADAL" clId="{DF6678F8-4F85-488B-B919-FA7E2EC6DABC}" dt="2023-10-15T13:56:24.021" v="7286" actId="1038"/>
          <ac:picMkLst>
            <pc:docMk/>
            <pc:sldMk cId="3927998372" sldId="317"/>
            <ac:picMk id="10" creationId="{009746DD-7751-789F-2D01-3885DF146D85}"/>
          </ac:picMkLst>
        </pc:picChg>
        <pc:extLst>
          <p:ext xmlns:p="http://schemas.openxmlformats.org/presentationml/2006/main" uri="{D6D511B9-2390-475A-947B-AFAB55BFBCF1}">
            <pc226:cmChg xmlns:pc226="http://schemas.microsoft.com/office/powerpoint/2022/06/main/command" chg="mod">
              <pc226:chgData name="KevCla12" userId="ef2eb634-4620-450f-93cc-80cc93397e60" providerId="ADAL" clId="{DF6678F8-4F85-488B-B919-FA7E2EC6DABC}" dt="2023-10-17T14:28:50.061" v="10277"/>
              <pc2:cmMkLst xmlns:pc2="http://schemas.microsoft.com/office/powerpoint/2019/9/main/command">
                <pc:docMk/>
                <pc:sldMk cId="3927998372" sldId="317"/>
                <pc2:cmMk id="{11C1D657-FA32-4329-8D76-E1CA1CCFF61B}"/>
              </pc2:cmMkLst>
            </pc226:cmChg>
          </p:ext>
        </pc:extLst>
      </pc:sldChg>
      <pc:sldChg chg="addSp delSp modSp new mod ord modCm">
        <pc:chgData name="KevCla12" userId="ef2eb634-4620-450f-93cc-80cc93397e60" providerId="ADAL" clId="{DF6678F8-4F85-488B-B919-FA7E2EC6DABC}" dt="2023-10-17T14:29:10.684" v="10280"/>
        <pc:sldMkLst>
          <pc:docMk/>
          <pc:sldMk cId="1802199850" sldId="318"/>
        </pc:sldMkLst>
        <pc:spChg chg="mod">
          <ac:chgData name="KevCla12" userId="ef2eb634-4620-450f-93cc-80cc93397e60" providerId="ADAL" clId="{DF6678F8-4F85-488B-B919-FA7E2EC6DABC}" dt="2023-10-17T14:12:46.601" v="9520" actId="20577"/>
          <ac:spMkLst>
            <pc:docMk/>
            <pc:sldMk cId="1802199850" sldId="318"/>
            <ac:spMk id="2" creationId="{89A4EEAA-6D96-95E6-86DC-37C1BED3C4F5}"/>
          </ac:spMkLst>
        </pc:spChg>
        <pc:spChg chg="del">
          <ac:chgData name="KevCla12" userId="ef2eb634-4620-450f-93cc-80cc93397e60" providerId="ADAL" clId="{DF6678F8-4F85-488B-B919-FA7E2EC6DABC}" dt="2023-10-14T11:02:42.545" v="633" actId="478"/>
          <ac:spMkLst>
            <pc:docMk/>
            <pc:sldMk cId="1802199850" sldId="318"/>
            <ac:spMk id="3" creationId="{229D90DC-2BA7-37EE-B599-1AFE2534EAD3}"/>
          </ac:spMkLst>
        </pc:spChg>
        <pc:spChg chg="mod">
          <ac:chgData name="KevCla12" userId="ef2eb634-4620-450f-93cc-80cc93397e60" providerId="ADAL" clId="{DF6678F8-4F85-488B-B919-FA7E2EC6DABC}" dt="2023-10-13T17:16:00.990" v="47" actId="20577"/>
          <ac:spMkLst>
            <pc:docMk/>
            <pc:sldMk cId="1802199850" sldId="318"/>
            <ac:spMk id="5" creationId="{BEF244CB-66C2-D195-0641-589C5F9C1CFB}"/>
          </ac:spMkLst>
        </pc:spChg>
        <pc:graphicFrameChg chg="add mod">
          <ac:chgData name="KevCla12" userId="ef2eb634-4620-450f-93cc-80cc93397e60" providerId="ADAL" clId="{DF6678F8-4F85-488B-B919-FA7E2EC6DABC}" dt="2023-10-14T11:02:46.595" v="635"/>
          <ac:graphicFrameMkLst>
            <pc:docMk/>
            <pc:sldMk cId="1802199850" sldId="318"/>
            <ac:graphicFrameMk id="8" creationId="{21668D32-426E-4414-B285-76257533310E}"/>
          </ac:graphicFrameMkLst>
        </pc:graphicFrameChg>
        <pc:picChg chg="add mod modCrop">
          <ac:chgData name="KevCla12" userId="ef2eb634-4620-450f-93cc-80cc93397e60" providerId="ADAL" clId="{DF6678F8-4F85-488B-B919-FA7E2EC6DABC}" dt="2023-10-14T11:11:44.638" v="648" actId="1076"/>
          <ac:picMkLst>
            <pc:docMk/>
            <pc:sldMk cId="1802199850" sldId="318"/>
            <ac:picMk id="10" creationId="{074AC0B5-77DE-D0C9-DE4B-13F24149955F}"/>
          </ac:picMkLst>
        </pc:picChg>
        <pc:extLst>
          <p:ext xmlns:p="http://schemas.openxmlformats.org/presentationml/2006/main" uri="{D6D511B9-2390-475A-947B-AFAB55BFBCF1}">
            <pc226:cmChg xmlns:pc226="http://schemas.microsoft.com/office/powerpoint/2022/06/main/command" chg="mod">
              <pc226:chgData name="KevCla12" userId="ef2eb634-4620-450f-93cc-80cc93397e60" providerId="ADAL" clId="{DF6678F8-4F85-488B-B919-FA7E2EC6DABC}" dt="2023-10-17T14:29:08.586" v="10279"/>
              <pc2:cmMkLst xmlns:pc2="http://schemas.microsoft.com/office/powerpoint/2019/9/main/command">
                <pc:docMk/>
                <pc:sldMk cId="1802199850" sldId="318"/>
                <pc2:cmMk id="{16177390-03E9-4D4D-B223-87AF601309F9}"/>
              </pc2:cmMkLst>
            </pc226:cmChg>
            <pc226:cmChg xmlns:pc226="http://schemas.microsoft.com/office/powerpoint/2022/06/main/command" chg="mod">
              <pc226:chgData name="KevCla12" userId="ef2eb634-4620-450f-93cc-80cc93397e60" providerId="ADAL" clId="{DF6678F8-4F85-488B-B919-FA7E2EC6DABC}" dt="2023-10-17T14:29:10.684" v="10280"/>
              <pc2:cmMkLst xmlns:pc2="http://schemas.microsoft.com/office/powerpoint/2019/9/main/command">
                <pc:docMk/>
                <pc:sldMk cId="1802199850" sldId="318"/>
                <pc2:cmMk id="{59D4FF9A-BBD4-4C67-BB00-C3DC056E3FC6}"/>
              </pc2:cmMkLst>
            </pc226:cmChg>
          </p:ext>
        </pc:extLst>
      </pc:sldChg>
      <pc:sldChg chg="addSp delSp modSp new mod ord">
        <pc:chgData name="KevCla12" userId="ef2eb634-4620-450f-93cc-80cc93397e60" providerId="ADAL" clId="{DF6678F8-4F85-488B-B919-FA7E2EC6DABC}" dt="2023-10-17T14:28:06.401" v="10272" actId="20577"/>
        <pc:sldMkLst>
          <pc:docMk/>
          <pc:sldMk cId="2619089612" sldId="319"/>
        </pc:sldMkLst>
        <pc:spChg chg="mod">
          <ac:chgData name="KevCla12" userId="ef2eb634-4620-450f-93cc-80cc93397e60" providerId="ADAL" clId="{DF6678F8-4F85-488B-B919-FA7E2EC6DABC}" dt="2023-10-17T14:28:06.401" v="10272" actId="20577"/>
          <ac:spMkLst>
            <pc:docMk/>
            <pc:sldMk cId="2619089612" sldId="319"/>
            <ac:spMk id="2" creationId="{3CFE2866-A69F-B61B-AEB8-186B79D6FF27}"/>
          </ac:spMkLst>
        </pc:spChg>
        <pc:spChg chg="del">
          <ac:chgData name="KevCla12" userId="ef2eb634-4620-450f-93cc-80cc93397e60" providerId="ADAL" clId="{DF6678F8-4F85-488B-B919-FA7E2EC6DABC}" dt="2023-10-14T10:52:15.756" v="576" actId="478"/>
          <ac:spMkLst>
            <pc:docMk/>
            <pc:sldMk cId="2619089612" sldId="319"/>
            <ac:spMk id="3" creationId="{0AAE439D-197B-9145-7721-0A38028676DE}"/>
          </ac:spMkLst>
        </pc:spChg>
        <pc:spChg chg="mod">
          <ac:chgData name="KevCla12" userId="ef2eb634-4620-450f-93cc-80cc93397e60" providerId="ADAL" clId="{DF6678F8-4F85-488B-B919-FA7E2EC6DABC}" dt="2023-10-13T17:16:13.518" v="82" actId="20577"/>
          <ac:spMkLst>
            <pc:docMk/>
            <pc:sldMk cId="2619089612" sldId="319"/>
            <ac:spMk id="5" creationId="{2DC1B6EC-5838-ACE8-F8C8-EC78B835E444}"/>
          </ac:spMkLst>
        </pc:spChg>
        <pc:spChg chg="del">
          <ac:chgData name="KevCla12" userId="ef2eb634-4620-450f-93cc-80cc93397e60" providerId="ADAL" clId="{DF6678F8-4F85-488B-B919-FA7E2EC6DABC}" dt="2023-10-14T10:53:24.356" v="577" actId="931"/>
          <ac:spMkLst>
            <pc:docMk/>
            <pc:sldMk cId="2619089612" sldId="319"/>
            <ac:spMk id="6" creationId="{35626E0C-EE9A-61D7-A75E-1F0DD203D883}"/>
          </ac:spMkLst>
        </pc:spChg>
        <pc:spChg chg="add mod">
          <ac:chgData name="KevCla12" userId="ef2eb634-4620-450f-93cc-80cc93397e60" providerId="ADAL" clId="{DF6678F8-4F85-488B-B919-FA7E2EC6DABC}" dt="2023-10-14T10:53:27.391" v="580" actId="21"/>
          <ac:spMkLst>
            <pc:docMk/>
            <pc:sldMk cId="2619089612" sldId="319"/>
            <ac:spMk id="12" creationId="{92569BC5-03ED-4D49-42B6-AB363BC13766}"/>
          </ac:spMkLst>
        </pc:spChg>
        <pc:spChg chg="add mod">
          <ac:chgData name="KevCla12" userId="ef2eb634-4620-450f-93cc-80cc93397e60" providerId="ADAL" clId="{DF6678F8-4F85-488B-B919-FA7E2EC6DABC}" dt="2023-10-14T17:24:47.263" v="4582" actId="113"/>
          <ac:spMkLst>
            <pc:docMk/>
            <pc:sldMk cId="2619089612" sldId="319"/>
            <ac:spMk id="21" creationId="{FE38E497-D9DE-30EF-0C58-9E215E2D29E4}"/>
          </ac:spMkLst>
        </pc:spChg>
        <pc:spChg chg="add mod">
          <ac:chgData name="KevCla12" userId="ef2eb634-4620-450f-93cc-80cc93397e60" providerId="ADAL" clId="{DF6678F8-4F85-488B-B919-FA7E2EC6DABC}" dt="2023-10-14T17:24:44.870" v="4581" actId="113"/>
          <ac:spMkLst>
            <pc:docMk/>
            <pc:sldMk cId="2619089612" sldId="319"/>
            <ac:spMk id="22" creationId="{EF3B6F05-6F72-F407-C76E-BE0D73265D64}"/>
          </ac:spMkLst>
        </pc:spChg>
        <pc:spChg chg="add mod">
          <ac:chgData name="KevCla12" userId="ef2eb634-4620-450f-93cc-80cc93397e60" providerId="ADAL" clId="{DF6678F8-4F85-488B-B919-FA7E2EC6DABC}" dt="2023-10-15T11:55:47.802" v="5241" actId="20577"/>
          <ac:spMkLst>
            <pc:docMk/>
            <pc:sldMk cId="2619089612" sldId="319"/>
            <ac:spMk id="23" creationId="{819A26C9-6FAC-46A8-6849-66DBD47BBC09}"/>
          </ac:spMkLst>
        </pc:spChg>
        <pc:spChg chg="add mod">
          <ac:chgData name="KevCla12" userId="ef2eb634-4620-450f-93cc-80cc93397e60" providerId="ADAL" clId="{DF6678F8-4F85-488B-B919-FA7E2EC6DABC}" dt="2023-10-15T11:55:45.231" v="5240" actId="20577"/>
          <ac:spMkLst>
            <pc:docMk/>
            <pc:sldMk cId="2619089612" sldId="319"/>
            <ac:spMk id="24" creationId="{1B1D8A65-4366-DE66-9BDB-A1B297E0C052}"/>
          </ac:spMkLst>
        </pc:spChg>
        <pc:spChg chg="add mod">
          <ac:chgData name="KevCla12" userId="ef2eb634-4620-450f-93cc-80cc93397e60" providerId="ADAL" clId="{DF6678F8-4F85-488B-B919-FA7E2EC6DABC}" dt="2023-10-15T11:55:39.807" v="5238" actId="20577"/>
          <ac:spMkLst>
            <pc:docMk/>
            <pc:sldMk cId="2619089612" sldId="319"/>
            <ac:spMk id="25" creationId="{4181E815-264B-8F16-BE52-49F10721F9D3}"/>
          </ac:spMkLst>
        </pc:spChg>
        <pc:spChg chg="add del mod">
          <ac:chgData name="KevCla12" userId="ef2eb634-4620-450f-93cc-80cc93397e60" providerId="ADAL" clId="{DF6678F8-4F85-488B-B919-FA7E2EC6DABC}" dt="2023-10-14T17:15:43.826" v="4360" actId="21"/>
          <ac:spMkLst>
            <pc:docMk/>
            <pc:sldMk cId="2619089612" sldId="319"/>
            <ac:spMk id="26" creationId="{D5F6E512-5CCC-FA1B-204F-69B9EF3F1F2F}"/>
          </ac:spMkLst>
        </pc:spChg>
        <pc:spChg chg="add mod">
          <ac:chgData name="KevCla12" userId="ef2eb634-4620-450f-93cc-80cc93397e60" providerId="ADAL" clId="{DF6678F8-4F85-488B-B919-FA7E2EC6DABC}" dt="2023-10-14T17:15:58.474" v="4383" actId="20577"/>
          <ac:spMkLst>
            <pc:docMk/>
            <pc:sldMk cId="2619089612" sldId="319"/>
            <ac:spMk id="27" creationId="{1E6B0EDC-1B5A-116D-5907-E94F5C6AC01B}"/>
          </ac:spMkLst>
        </pc:spChg>
        <pc:spChg chg="add mod">
          <ac:chgData name="KevCla12" userId="ef2eb634-4620-450f-93cc-80cc93397e60" providerId="ADAL" clId="{DF6678F8-4F85-488B-B919-FA7E2EC6DABC}" dt="2023-10-14T17:16:42.444" v="4405" actId="1076"/>
          <ac:spMkLst>
            <pc:docMk/>
            <pc:sldMk cId="2619089612" sldId="319"/>
            <ac:spMk id="28" creationId="{4AF83498-4641-B4B9-38EC-521BB0A8DB20}"/>
          </ac:spMkLst>
        </pc:spChg>
        <pc:spChg chg="add del mod">
          <ac:chgData name="KevCla12" userId="ef2eb634-4620-450f-93cc-80cc93397e60" providerId="ADAL" clId="{DF6678F8-4F85-488B-B919-FA7E2EC6DABC}" dt="2023-10-14T17:19:08.653" v="4414"/>
          <ac:spMkLst>
            <pc:docMk/>
            <pc:sldMk cId="2619089612" sldId="319"/>
            <ac:spMk id="33" creationId="{F9E55965-CEB8-783B-E7E8-07C3481E6C56}"/>
          </ac:spMkLst>
        </pc:spChg>
        <pc:spChg chg="add mod">
          <ac:chgData name="KevCla12" userId="ef2eb634-4620-450f-93cc-80cc93397e60" providerId="ADAL" clId="{DF6678F8-4F85-488B-B919-FA7E2EC6DABC}" dt="2023-10-17T08:27:37.093" v="9017" actId="20577"/>
          <ac:spMkLst>
            <pc:docMk/>
            <pc:sldMk cId="2619089612" sldId="319"/>
            <ac:spMk id="34" creationId="{51BEF8F8-9210-7BE0-827E-11D5DEF4DF5C}"/>
          </ac:spMkLst>
        </pc:spChg>
        <pc:spChg chg="add del mod">
          <ac:chgData name="KevCla12" userId="ef2eb634-4620-450f-93cc-80cc93397e60" providerId="ADAL" clId="{DF6678F8-4F85-488B-B919-FA7E2EC6DABC}" dt="2023-10-14T17:20:09.707" v="4478" actId="21"/>
          <ac:spMkLst>
            <pc:docMk/>
            <pc:sldMk cId="2619089612" sldId="319"/>
            <ac:spMk id="35" creationId="{7AB818F9-536D-2170-8389-3DD8C08FC8E5}"/>
          </ac:spMkLst>
        </pc:spChg>
        <pc:spChg chg="add mod ord">
          <ac:chgData name="KevCla12" userId="ef2eb634-4620-450f-93cc-80cc93397e60" providerId="ADAL" clId="{DF6678F8-4F85-488B-B919-FA7E2EC6DABC}" dt="2023-10-14T17:20:45.029" v="4528" actId="207"/>
          <ac:spMkLst>
            <pc:docMk/>
            <pc:sldMk cId="2619089612" sldId="319"/>
            <ac:spMk id="36" creationId="{0B9B2187-B48B-6A03-8EB5-F37124521AAA}"/>
          </ac:spMkLst>
        </pc:spChg>
        <pc:spChg chg="add del mod">
          <ac:chgData name="KevCla12" userId="ef2eb634-4620-450f-93cc-80cc93397e60" providerId="ADAL" clId="{DF6678F8-4F85-488B-B919-FA7E2EC6DABC}" dt="2023-10-15T13:34:46.460" v="7116" actId="1076"/>
          <ac:spMkLst>
            <pc:docMk/>
            <pc:sldMk cId="2619089612" sldId="319"/>
            <ac:spMk id="37" creationId="{225DA091-0151-B7D3-656B-5F798A263EA7}"/>
          </ac:spMkLst>
        </pc:spChg>
        <pc:spChg chg="add del mod">
          <ac:chgData name="KevCla12" userId="ef2eb634-4620-450f-93cc-80cc93397e60" providerId="ADAL" clId="{DF6678F8-4F85-488B-B919-FA7E2EC6DABC}" dt="2023-10-14T17:20:16.145" v="4483"/>
          <ac:spMkLst>
            <pc:docMk/>
            <pc:sldMk cId="2619089612" sldId="319"/>
            <ac:spMk id="38" creationId="{0097C8EC-D647-6625-65B2-1CB4589685DF}"/>
          </ac:spMkLst>
        </pc:spChg>
        <pc:spChg chg="add mod">
          <ac:chgData name="KevCla12" userId="ef2eb634-4620-450f-93cc-80cc93397e60" providerId="ADAL" clId="{DF6678F8-4F85-488B-B919-FA7E2EC6DABC}" dt="2023-10-14T17:20:57.039" v="4531" actId="1076"/>
          <ac:spMkLst>
            <pc:docMk/>
            <pc:sldMk cId="2619089612" sldId="319"/>
            <ac:spMk id="40" creationId="{7A867578-F7AE-4505-94DB-B420F8F7A74D}"/>
          </ac:spMkLst>
        </pc:spChg>
        <pc:spChg chg="add mod">
          <ac:chgData name="KevCla12" userId="ef2eb634-4620-450f-93cc-80cc93397e60" providerId="ADAL" clId="{DF6678F8-4F85-488B-B919-FA7E2EC6DABC}" dt="2023-10-15T13:34:41.268" v="7115" actId="255"/>
          <ac:spMkLst>
            <pc:docMk/>
            <pc:sldMk cId="2619089612" sldId="319"/>
            <ac:spMk id="41" creationId="{4185CFF3-9863-BD81-C9E2-D9C532EFBB5B}"/>
          </ac:spMkLst>
        </pc:spChg>
        <pc:picChg chg="mod ord modCrop">
          <ac:chgData name="KevCla12" userId="ef2eb634-4620-450f-93cc-80cc93397e60" providerId="ADAL" clId="{DF6678F8-4F85-488B-B919-FA7E2EC6DABC}" dt="2023-10-16T14:53:40.059" v="8513" actId="1076"/>
          <ac:picMkLst>
            <pc:docMk/>
            <pc:sldMk cId="2619089612" sldId="319"/>
            <ac:picMk id="3" creationId="{A3894867-47A7-2BCA-0C31-222E3EA731E3}"/>
          </ac:picMkLst>
        </pc:picChg>
        <pc:picChg chg="mod modCrop">
          <ac:chgData name="KevCla12" userId="ef2eb634-4620-450f-93cc-80cc93397e60" providerId="ADAL" clId="{DF6678F8-4F85-488B-B919-FA7E2EC6DABC}" dt="2023-10-16T14:53:35.225" v="8512" actId="1076"/>
          <ac:picMkLst>
            <pc:docMk/>
            <pc:sldMk cId="2619089612" sldId="319"/>
            <ac:picMk id="8" creationId="{F2CB5083-8C7E-A658-3986-3FEB05F457B4}"/>
          </ac:picMkLst>
        </pc:picChg>
        <pc:picChg chg="mod ord modCrop">
          <ac:chgData name="KevCla12" userId="ef2eb634-4620-450f-93cc-80cc93397e60" providerId="ADAL" clId="{DF6678F8-4F85-488B-B919-FA7E2EC6DABC}" dt="2023-10-16T14:54:26.245" v="8519" actId="1076"/>
          <ac:picMkLst>
            <pc:docMk/>
            <pc:sldMk cId="2619089612" sldId="319"/>
            <ac:picMk id="9" creationId="{9604D277-13E6-7A0F-ABBE-EFF41DE7D84F}"/>
          </ac:picMkLst>
        </pc:picChg>
        <pc:picChg chg="add del mod">
          <ac:chgData name="KevCla12" userId="ef2eb634-4620-450f-93cc-80cc93397e60" providerId="ADAL" clId="{DF6678F8-4F85-488B-B919-FA7E2EC6DABC}" dt="2023-10-14T10:53:27.391" v="580" actId="21"/>
          <ac:picMkLst>
            <pc:docMk/>
            <pc:sldMk cId="2619089612" sldId="319"/>
            <ac:picMk id="9" creationId="{BFF387D1-CAB5-AE99-0D6E-D4E12CC773C3}"/>
          </ac:picMkLst>
        </pc:picChg>
        <pc:picChg chg="add mod">
          <ac:chgData name="KevCla12" userId="ef2eb634-4620-450f-93cc-80cc93397e60" providerId="ADAL" clId="{DF6678F8-4F85-488B-B919-FA7E2EC6DABC}" dt="2023-10-14T10:53:26.588" v="579"/>
          <ac:picMkLst>
            <pc:docMk/>
            <pc:sldMk cId="2619089612" sldId="319"/>
            <ac:picMk id="10" creationId="{7D14F314-236C-CDE3-587F-BB808C2DC589}"/>
          </ac:picMkLst>
        </pc:picChg>
        <pc:picChg chg="add mod">
          <ac:chgData name="KevCla12" userId="ef2eb634-4620-450f-93cc-80cc93397e60" providerId="ADAL" clId="{DF6678F8-4F85-488B-B919-FA7E2EC6DABC}" dt="2023-10-16T14:51:39.924" v="8502" actId="14100"/>
          <ac:picMkLst>
            <pc:docMk/>
            <pc:sldMk cId="2619089612" sldId="319"/>
            <ac:picMk id="11" creationId="{CC6AFEE7-0524-4BAD-C7CA-FC6FCA6B0051}"/>
          </ac:picMkLst>
        </pc:picChg>
        <pc:picChg chg="mod">
          <ac:chgData name="KevCla12" userId="ef2eb634-4620-450f-93cc-80cc93397e60" providerId="ADAL" clId="{DF6678F8-4F85-488B-B919-FA7E2EC6DABC}" dt="2023-10-17T14:02:14.133" v="9235" actId="14100"/>
          <ac:picMkLst>
            <pc:docMk/>
            <pc:sldMk cId="2619089612" sldId="319"/>
            <ac:picMk id="12" creationId="{7F31A5B0-0437-207A-14FC-E3FAF77E807B}"/>
          </ac:picMkLst>
        </pc:picChg>
        <pc:picChg chg="add mod">
          <ac:chgData name="KevCla12" userId="ef2eb634-4620-450f-93cc-80cc93397e60" providerId="ADAL" clId="{DF6678F8-4F85-488B-B919-FA7E2EC6DABC}" dt="2023-10-14T17:13:54.641" v="4263" actId="1037"/>
          <ac:picMkLst>
            <pc:docMk/>
            <pc:sldMk cId="2619089612" sldId="319"/>
            <ac:picMk id="13" creationId="{D3C20E6D-BEA2-DB46-5087-EB253FDFB86E}"/>
          </ac:picMkLst>
        </pc:picChg>
        <pc:picChg chg="add mod">
          <ac:chgData name="KevCla12" userId="ef2eb634-4620-450f-93cc-80cc93397e60" providerId="ADAL" clId="{DF6678F8-4F85-488B-B919-FA7E2EC6DABC}" dt="2023-10-14T17:13:54.641" v="4263" actId="1037"/>
          <ac:picMkLst>
            <pc:docMk/>
            <pc:sldMk cId="2619089612" sldId="319"/>
            <ac:picMk id="14" creationId="{0F61D8B2-E06B-17D5-0134-438B200D39DD}"/>
          </ac:picMkLst>
        </pc:picChg>
        <pc:picChg chg="add mod">
          <ac:chgData name="KevCla12" userId="ef2eb634-4620-450f-93cc-80cc93397e60" providerId="ADAL" clId="{DF6678F8-4F85-488B-B919-FA7E2EC6DABC}" dt="2023-10-14T17:13:54.641" v="4263" actId="1037"/>
          <ac:picMkLst>
            <pc:docMk/>
            <pc:sldMk cId="2619089612" sldId="319"/>
            <ac:picMk id="15" creationId="{D23D214D-803A-243E-6A59-3EF4DB8BA633}"/>
          </ac:picMkLst>
        </pc:picChg>
        <pc:picChg chg="add mod">
          <ac:chgData name="KevCla12" userId="ef2eb634-4620-450f-93cc-80cc93397e60" providerId="ADAL" clId="{DF6678F8-4F85-488B-B919-FA7E2EC6DABC}" dt="2023-10-14T17:13:54.641" v="4263" actId="1037"/>
          <ac:picMkLst>
            <pc:docMk/>
            <pc:sldMk cId="2619089612" sldId="319"/>
            <ac:picMk id="16" creationId="{7D81B843-2CAC-360D-C404-5993D60E2429}"/>
          </ac:picMkLst>
        </pc:picChg>
        <pc:picChg chg="add mod">
          <ac:chgData name="KevCla12" userId="ef2eb634-4620-450f-93cc-80cc93397e60" providerId="ADAL" clId="{DF6678F8-4F85-488B-B919-FA7E2EC6DABC}" dt="2023-10-14T17:13:54.641" v="4263" actId="1037"/>
          <ac:picMkLst>
            <pc:docMk/>
            <pc:sldMk cId="2619089612" sldId="319"/>
            <ac:picMk id="17" creationId="{D6C9B20B-47CB-3E08-5EBE-62960AB90A17}"/>
          </ac:picMkLst>
        </pc:picChg>
        <pc:picChg chg="add mod">
          <ac:chgData name="KevCla12" userId="ef2eb634-4620-450f-93cc-80cc93397e60" providerId="ADAL" clId="{DF6678F8-4F85-488B-B919-FA7E2EC6DABC}" dt="2023-10-14T17:13:54.641" v="4263" actId="1037"/>
          <ac:picMkLst>
            <pc:docMk/>
            <pc:sldMk cId="2619089612" sldId="319"/>
            <ac:picMk id="18" creationId="{9BB65231-2713-9AFB-1AEB-B2FE1E758435}"/>
          </ac:picMkLst>
        </pc:picChg>
        <pc:picChg chg="add mod">
          <ac:chgData name="KevCla12" userId="ef2eb634-4620-450f-93cc-80cc93397e60" providerId="ADAL" clId="{DF6678F8-4F85-488B-B919-FA7E2EC6DABC}" dt="2023-10-14T17:13:54.641" v="4263" actId="1037"/>
          <ac:picMkLst>
            <pc:docMk/>
            <pc:sldMk cId="2619089612" sldId="319"/>
            <ac:picMk id="19" creationId="{CEDA9CE3-210F-C978-9E87-D878432E31EC}"/>
          </ac:picMkLst>
        </pc:picChg>
        <pc:picChg chg="add mod">
          <ac:chgData name="KevCla12" userId="ef2eb634-4620-450f-93cc-80cc93397e60" providerId="ADAL" clId="{DF6678F8-4F85-488B-B919-FA7E2EC6DABC}" dt="2023-10-14T10:55:37.079" v="609" actId="571"/>
          <ac:picMkLst>
            <pc:docMk/>
            <pc:sldMk cId="2619089612" sldId="319"/>
            <ac:picMk id="20" creationId="{0BBE7116-6D30-97B3-0962-97FB77301A73}"/>
          </ac:picMkLst>
        </pc:picChg>
        <pc:picChg chg="add del">
          <ac:chgData name="KevCla12" userId="ef2eb634-4620-450f-93cc-80cc93397e60" providerId="ADAL" clId="{DF6678F8-4F85-488B-B919-FA7E2EC6DABC}" dt="2023-10-14T17:20:17.105" v="4485"/>
          <ac:picMkLst>
            <pc:docMk/>
            <pc:sldMk cId="2619089612" sldId="319"/>
            <ac:picMk id="39" creationId="{D03A5DF3-AB35-1E73-4030-E8D57B2046D2}"/>
          </ac:picMkLst>
        </pc:picChg>
        <pc:cxnChg chg="add mod">
          <ac:chgData name="KevCla12" userId="ef2eb634-4620-450f-93cc-80cc93397e60" providerId="ADAL" clId="{DF6678F8-4F85-488B-B919-FA7E2EC6DABC}" dt="2023-10-14T17:17:18.759" v="4411" actId="13822"/>
          <ac:cxnSpMkLst>
            <pc:docMk/>
            <pc:sldMk cId="2619089612" sldId="319"/>
            <ac:cxnSpMk id="30" creationId="{FE37A04F-BF9D-7A9A-20E2-939B9C5F2A57}"/>
          </ac:cxnSpMkLst>
        </pc:cxnChg>
      </pc:sldChg>
      <pc:sldChg chg="addSp delSp modSp new mod">
        <pc:chgData name="KevCla12" userId="ef2eb634-4620-450f-93cc-80cc93397e60" providerId="ADAL" clId="{DF6678F8-4F85-488B-B919-FA7E2EC6DABC}" dt="2023-10-14T11:14:29.842" v="656" actId="1076"/>
        <pc:sldMkLst>
          <pc:docMk/>
          <pc:sldMk cId="582047224" sldId="320"/>
        </pc:sldMkLst>
        <pc:spChg chg="del">
          <ac:chgData name="KevCla12" userId="ef2eb634-4620-450f-93cc-80cc93397e60" providerId="ADAL" clId="{DF6678F8-4F85-488B-B919-FA7E2EC6DABC}" dt="2023-10-14T11:14:16.359" v="649" actId="478"/>
          <ac:spMkLst>
            <pc:docMk/>
            <pc:sldMk cId="582047224" sldId="320"/>
            <ac:spMk id="3" creationId="{B5DC289E-A488-9A74-CA48-2E11D97276FB}"/>
          </ac:spMkLst>
        </pc:spChg>
        <pc:spChg chg="mod">
          <ac:chgData name="KevCla12" userId="ef2eb634-4620-450f-93cc-80cc93397e60" providerId="ADAL" clId="{DF6678F8-4F85-488B-B919-FA7E2EC6DABC}" dt="2023-10-13T17:16:30.969" v="96" actId="20577"/>
          <ac:spMkLst>
            <pc:docMk/>
            <pc:sldMk cId="582047224" sldId="320"/>
            <ac:spMk id="5" creationId="{4CAF419E-5D87-3023-06FA-2DEE99F0FDDA}"/>
          </ac:spMkLst>
        </pc:spChg>
        <pc:picChg chg="add mod">
          <ac:chgData name="KevCla12" userId="ef2eb634-4620-450f-93cc-80cc93397e60" providerId="ADAL" clId="{DF6678F8-4F85-488B-B919-FA7E2EC6DABC}" dt="2023-10-14T11:14:29.842" v="656" actId="1076"/>
          <ac:picMkLst>
            <pc:docMk/>
            <pc:sldMk cId="582047224" sldId="320"/>
            <ac:picMk id="9" creationId="{24950644-3F17-DEA8-35F2-86570CFF92BD}"/>
          </ac:picMkLst>
        </pc:picChg>
      </pc:sldChg>
      <pc:sldChg chg="addSp delSp modSp new del mod">
        <pc:chgData name="KevCla12" userId="ef2eb634-4620-450f-93cc-80cc93397e60" providerId="ADAL" clId="{DF6678F8-4F85-488B-B919-FA7E2EC6DABC}" dt="2023-10-14T14:00:37.478" v="1419" actId="47"/>
        <pc:sldMkLst>
          <pc:docMk/>
          <pc:sldMk cId="1217309619" sldId="321"/>
        </pc:sldMkLst>
        <pc:spChg chg="del">
          <ac:chgData name="KevCla12" userId="ef2eb634-4620-450f-93cc-80cc93397e60" providerId="ADAL" clId="{DF6678F8-4F85-488B-B919-FA7E2EC6DABC}" dt="2023-10-14T12:03:53.615" v="1385" actId="478"/>
          <ac:spMkLst>
            <pc:docMk/>
            <pc:sldMk cId="1217309619" sldId="321"/>
            <ac:spMk id="3" creationId="{3E8E4F71-5245-E135-C78F-6724B8300A15}"/>
          </ac:spMkLst>
        </pc:spChg>
        <pc:spChg chg="mod">
          <ac:chgData name="KevCla12" userId="ef2eb634-4620-450f-93cc-80cc93397e60" providerId="ADAL" clId="{DF6678F8-4F85-488B-B919-FA7E2EC6DABC}" dt="2023-10-13T17:19:37.466" v="408" actId="20577"/>
          <ac:spMkLst>
            <pc:docMk/>
            <pc:sldMk cId="1217309619" sldId="321"/>
            <ac:spMk id="5" creationId="{11814D79-A3AF-CBCD-9A98-C1AD0B9D444D}"/>
          </ac:spMkLst>
        </pc:spChg>
        <pc:spChg chg="add mod">
          <ac:chgData name="KevCla12" userId="ef2eb634-4620-450f-93cc-80cc93397e60" providerId="ADAL" clId="{DF6678F8-4F85-488B-B919-FA7E2EC6DABC}" dt="2023-10-14T12:03:51.491" v="1384"/>
          <ac:spMkLst>
            <pc:docMk/>
            <pc:sldMk cId="1217309619" sldId="321"/>
            <ac:spMk id="8" creationId="{F4421CDD-FC2A-E9B6-BE6A-6E9BA7427355}"/>
          </ac:spMkLst>
        </pc:spChg>
        <pc:spChg chg="add mod">
          <ac:chgData name="KevCla12" userId="ef2eb634-4620-450f-93cc-80cc93397e60" providerId="ADAL" clId="{DF6678F8-4F85-488B-B919-FA7E2EC6DABC}" dt="2023-10-14T12:03:51.491" v="1384"/>
          <ac:spMkLst>
            <pc:docMk/>
            <pc:sldMk cId="1217309619" sldId="321"/>
            <ac:spMk id="9" creationId="{7CB2A7DA-16D0-ED91-0BBE-13356BD2BA81}"/>
          </ac:spMkLst>
        </pc:spChg>
        <pc:spChg chg="add mod">
          <ac:chgData name="KevCla12" userId="ef2eb634-4620-450f-93cc-80cc93397e60" providerId="ADAL" clId="{DF6678F8-4F85-488B-B919-FA7E2EC6DABC}" dt="2023-10-14T12:03:51.491" v="1384"/>
          <ac:spMkLst>
            <pc:docMk/>
            <pc:sldMk cId="1217309619" sldId="321"/>
            <ac:spMk id="10" creationId="{EB7464DE-CECF-28A0-E5B8-B5931BBAB5E8}"/>
          </ac:spMkLst>
        </pc:spChg>
        <pc:spChg chg="add mod">
          <ac:chgData name="KevCla12" userId="ef2eb634-4620-450f-93cc-80cc93397e60" providerId="ADAL" clId="{DF6678F8-4F85-488B-B919-FA7E2EC6DABC}" dt="2023-10-14T12:03:51.491" v="1384"/>
          <ac:spMkLst>
            <pc:docMk/>
            <pc:sldMk cId="1217309619" sldId="321"/>
            <ac:spMk id="11" creationId="{E19B290C-4ED8-E1B4-95D5-17CAB552E2BE}"/>
          </ac:spMkLst>
        </pc:spChg>
        <pc:spChg chg="add mod">
          <ac:chgData name="KevCla12" userId="ef2eb634-4620-450f-93cc-80cc93397e60" providerId="ADAL" clId="{DF6678F8-4F85-488B-B919-FA7E2EC6DABC}" dt="2023-10-14T12:03:51.491" v="1384"/>
          <ac:spMkLst>
            <pc:docMk/>
            <pc:sldMk cId="1217309619" sldId="321"/>
            <ac:spMk id="12" creationId="{63630B8C-FD48-8F08-438B-498014B495B4}"/>
          </ac:spMkLst>
        </pc:spChg>
        <pc:spChg chg="add mod">
          <ac:chgData name="KevCla12" userId="ef2eb634-4620-450f-93cc-80cc93397e60" providerId="ADAL" clId="{DF6678F8-4F85-488B-B919-FA7E2EC6DABC}" dt="2023-10-14T12:03:51.491" v="1384"/>
          <ac:spMkLst>
            <pc:docMk/>
            <pc:sldMk cId="1217309619" sldId="321"/>
            <ac:spMk id="13" creationId="{41AC0F9B-4B93-6F58-EECB-430AB7B2A66C}"/>
          </ac:spMkLst>
        </pc:spChg>
      </pc:sldChg>
      <pc:sldChg chg="addSp delSp modSp new mod modCm">
        <pc:chgData name="KevCla12" userId="ef2eb634-4620-450f-93cc-80cc93397e60" providerId="ADAL" clId="{DF6678F8-4F85-488B-B919-FA7E2EC6DABC}" dt="2023-10-17T14:29:17.779" v="10281"/>
        <pc:sldMkLst>
          <pc:docMk/>
          <pc:sldMk cId="3097013568" sldId="322"/>
        </pc:sldMkLst>
        <pc:spChg chg="del mod">
          <ac:chgData name="KevCla12" userId="ef2eb634-4620-450f-93cc-80cc93397e60" providerId="ADAL" clId="{DF6678F8-4F85-488B-B919-FA7E2EC6DABC}" dt="2023-10-14T17:02:52.913" v="3862" actId="478"/>
          <ac:spMkLst>
            <pc:docMk/>
            <pc:sldMk cId="3097013568" sldId="322"/>
            <ac:spMk id="2" creationId="{ABC548F8-D027-2CF2-46CA-C513613822CB}"/>
          </ac:spMkLst>
        </pc:spChg>
        <pc:spChg chg="add del mod">
          <ac:chgData name="KevCla12" userId="ef2eb634-4620-450f-93cc-80cc93397e60" providerId="ADAL" clId="{DF6678F8-4F85-488B-B919-FA7E2EC6DABC}" dt="2023-10-15T11:30:31.764" v="4984" actId="478"/>
          <ac:spMkLst>
            <pc:docMk/>
            <pc:sldMk cId="3097013568" sldId="322"/>
            <ac:spMk id="2" creationId="{BDB46EC4-310E-AAE3-6092-2C7AB9AE60C1}"/>
          </ac:spMkLst>
        </pc:spChg>
        <pc:spChg chg="add del mod">
          <ac:chgData name="KevCla12" userId="ef2eb634-4620-450f-93cc-80cc93397e60" providerId="ADAL" clId="{DF6678F8-4F85-488B-B919-FA7E2EC6DABC}" dt="2023-10-15T11:30:30.388" v="4981" actId="478"/>
          <ac:spMkLst>
            <pc:docMk/>
            <pc:sldMk cId="3097013568" sldId="322"/>
            <ac:spMk id="3" creationId="{6CCC5808-F1CD-1389-1883-598BDA7FCAC6}"/>
          </ac:spMkLst>
        </pc:spChg>
        <pc:spChg chg="del">
          <ac:chgData name="KevCla12" userId="ef2eb634-4620-450f-93cc-80cc93397e60" providerId="ADAL" clId="{DF6678F8-4F85-488B-B919-FA7E2EC6DABC}" dt="2023-10-14T16:58:28.611" v="3741" actId="478"/>
          <ac:spMkLst>
            <pc:docMk/>
            <pc:sldMk cId="3097013568" sldId="322"/>
            <ac:spMk id="3" creationId="{EF71B37B-0FAD-1EE7-67A2-0573BA8BBD43}"/>
          </ac:spMkLst>
        </pc:spChg>
        <pc:spChg chg="mod">
          <ac:chgData name="KevCla12" userId="ef2eb634-4620-450f-93cc-80cc93397e60" providerId="ADAL" clId="{DF6678F8-4F85-488B-B919-FA7E2EC6DABC}" dt="2023-10-15T11:19:49.398" v="4891" actId="20577"/>
          <ac:spMkLst>
            <pc:docMk/>
            <pc:sldMk cId="3097013568" sldId="322"/>
            <ac:spMk id="5" creationId="{D6E65293-AF5A-1E1F-AE9D-35E6E33CAA15}"/>
          </ac:spMkLst>
        </pc:spChg>
        <pc:spChg chg="add del mod">
          <ac:chgData name="KevCla12" userId="ef2eb634-4620-450f-93cc-80cc93397e60" providerId="ADAL" clId="{DF6678F8-4F85-488B-B919-FA7E2EC6DABC}" dt="2023-10-15T11:30:30.964" v="4982" actId="478"/>
          <ac:spMkLst>
            <pc:docMk/>
            <pc:sldMk cId="3097013568" sldId="322"/>
            <ac:spMk id="8" creationId="{A42C46E6-BC7F-6569-9A6F-E9B425E166CE}"/>
          </ac:spMkLst>
        </pc:spChg>
        <pc:spChg chg="add del mod">
          <ac:chgData name="KevCla12" userId="ef2eb634-4620-450f-93cc-80cc93397e60" providerId="ADAL" clId="{DF6678F8-4F85-488B-B919-FA7E2EC6DABC}" dt="2023-10-14T16:58:30.010" v="3742" actId="478"/>
          <ac:spMkLst>
            <pc:docMk/>
            <pc:sldMk cId="3097013568" sldId="322"/>
            <ac:spMk id="9" creationId="{1565EEBC-DDA3-6E9C-CE1A-3FD0794B1DFC}"/>
          </ac:spMkLst>
        </pc:spChg>
        <pc:spChg chg="add del mod">
          <ac:chgData name="KevCla12" userId="ef2eb634-4620-450f-93cc-80cc93397e60" providerId="ADAL" clId="{DF6678F8-4F85-488B-B919-FA7E2EC6DABC}" dt="2023-10-15T11:30:31.360" v="4983" actId="478"/>
          <ac:spMkLst>
            <pc:docMk/>
            <pc:sldMk cId="3097013568" sldId="322"/>
            <ac:spMk id="9" creationId="{3A99D39F-836C-A7F0-FC28-3A4E7FCA63AB}"/>
          </ac:spMkLst>
        </pc:spChg>
        <pc:spChg chg="add del mod">
          <ac:chgData name="KevCla12" userId="ef2eb634-4620-450f-93cc-80cc93397e60" providerId="ADAL" clId="{DF6678F8-4F85-488B-B919-FA7E2EC6DABC}" dt="2023-10-15T11:30:33.411" v="4986" actId="478"/>
          <ac:spMkLst>
            <pc:docMk/>
            <pc:sldMk cId="3097013568" sldId="322"/>
            <ac:spMk id="10" creationId="{2D3EE722-C6CE-3220-DE94-74D52725FDF0}"/>
          </ac:spMkLst>
        </pc:spChg>
        <pc:spChg chg="mod">
          <ac:chgData name="KevCla12" userId="ef2eb634-4620-450f-93cc-80cc93397e60" providerId="ADAL" clId="{DF6678F8-4F85-488B-B919-FA7E2EC6DABC}" dt="2023-10-14T16:58:30.785" v="3743"/>
          <ac:spMkLst>
            <pc:docMk/>
            <pc:sldMk cId="3097013568" sldId="322"/>
            <ac:spMk id="12" creationId="{ABA8DB6A-68FB-58B3-954A-A472E2A0BF55}"/>
          </ac:spMkLst>
        </pc:spChg>
        <pc:spChg chg="mod">
          <ac:chgData name="KevCla12" userId="ef2eb634-4620-450f-93cc-80cc93397e60" providerId="ADAL" clId="{DF6678F8-4F85-488B-B919-FA7E2EC6DABC}" dt="2023-10-14T16:58:30.785" v="3743"/>
          <ac:spMkLst>
            <pc:docMk/>
            <pc:sldMk cId="3097013568" sldId="322"/>
            <ac:spMk id="17" creationId="{32EFF0E9-537D-DEC3-20E7-9B086A21571A}"/>
          </ac:spMkLst>
        </pc:spChg>
        <pc:spChg chg="mod">
          <ac:chgData name="KevCla12" userId="ef2eb634-4620-450f-93cc-80cc93397e60" providerId="ADAL" clId="{DF6678F8-4F85-488B-B919-FA7E2EC6DABC}" dt="2023-10-14T16:58:30.785" v="3743"/>
          <ac:spMkLst>
            <pc:docMk/>
            <pc:sldMk cId="3097013568" sldId="322"/>
            <ac:spMk id="18" creationId="{3B226CF1-F186-29D6-46E3-12FF3B7F96CD}"/>
          </ac:spMkLst>
        </pc:spChg>
        <pc:spChg chg="mod">
          <ac:chgData name="KevCla12" userId="ef2eb634-4620-450f-93cc-80cc93397e60" providerId="ADAL" clId="{DF6678F8-4F85-488B-B919-FA7E2EC6DABC}" dt="2023-10-14T16:58:30.785" v="3743"/>
          <ac:spMkLst>
            <pc:docMk/>
            <pc:sldMk cId="3097013568" sldId="322"/>
            <ac:spMk id="19" creationId="{791EC50D-9857-F685-F736-DD34D140C881}"/>
          </ac:spMkLst>
        </pc:spChg>
        <pc:spChg chg="mod">
          <ac:chgData name="KevCla12" userId="ef2eb634-4620-450f-93cc-80cc93397e60" providerId="ADAL" clId="{DF6678F8-4F85-488B-B919-FA7E2EC6DABC}" dt="2023-10-14T16:58:30.785" v="3743"/>
          <ac:spMkLst>
            <pc:docMk/>
            <pc:sldMk cId="3097013568" sldId="322"/>
            <ac:spMk id="20" creationId="{892F4C2F-074A-E02A-338F-8240DDA5ABC4}"/>
          </ac:spMkLst>
        </pc:spChg>
        <pc:spChg chg="mod">
          <ac:chgData name="KevCla12" userId="ef2eb634-4620-450f-93cc-80cc93397e60" providerId="ADAL" clId="{DF6678F8-4F85-488B-B919-FA7E2EC6DABC}" dt="2023-10-14T16:58:30.785" v="3743"/>
          <ac:spMkLst>
            <pc:docMk/>
            <pc:sldMk cId="3097013568" sldId="322"/>
            <ac:spMk id="21" creationId="{B7AEB983-F730-CE36-8C52-93FA14450084}"/>
          </ac:spMkLst>
        </pc:spChg>
        <pc:spChg chg="mod">
          <ac:chgData name="KevCla12" userId="ef2eb634-4620-450f-93cc-80cc93397e60" providerId="ADAL" clId="{DF6678F8-4F85-488B-B919-FA7E2EC6DABC}" dt="2023-10-14T16:58:30.785" v="3743"/>
          <ac:spMkLst>
            <pc:docMk/>
            <pc:sldMk cId="3097013568" sldId="322"/>
            <ac:spMk id="22" creationId="{F62F32AC-7084-B694-96B6-CB33D763E29F}"/>
          </ac:spMkLst>
        </pc:spChg>
        <pc:spChg chg="mod">
          <ac:chgData name="KevCla12" userId="ef2eb634-4620-450f-93cc-80cc93397e60" providerId="ADAL" clId="{DF6678F8-4F85-488B-B919-FA7E2EC6DABC}" dt="2023-10-14T16:58:30.785" v="3743"/>
          <ac:spMkLst>
            <pc:docMk/>
            <pc:sldMk cId="3097013568" sldId="322"/>
            <ac:spMk id="23" creationId="{2C90C6B5-F284-FB05-9AB2-CCA3532F0864}"/>
          </ac:spMkLst>
        </pc:spChg>
        <pc:spChg chg="mod">
          <ac:chgData name="KevCla12" userId="ef2eb634-4620-450f-93cc-80cc93397e60" providerId="ADAL" clId="{DF6678F8-4F85-488B-B919-FA7E2EC6DABC}" dt="2023-10-14T16:58:30.785" v="3743"/>
          <ac:spMkLst>
            <pc:docMk/>
            <pc:sldMk cId="3097013568" sldId="322"/>
            <ac:spMk id="24" creationId="{87E52011-58F5-A69E-83AE-69E4EE41D51E}"/>
          </ac:spMkLst>
        </pc:spChg>
        <pc:spChg chg="mod">
          <ac:chgData name="KevCla12" userId="ef2eb634-4620-450f-93cc-80cc93397e60" providerId="ADAL" clId="{DF6678F8-4F85-488B-B919-FA7E2EC6DABC}" dt="2023-10-14T16:58:30.785" v="3743"/>
          <ac:spMkLst>
            <pc:docMk/>
            <pc:sldMk cId="3097013568" sldId="322"/>
            <ac:spMk id="25" creationId="{5304C2B4-461F-A890-9DFD-A9F6AD652789}"/>
          </ac:spMkLst>
        </pc:spChg>
        <pc:spChg chg="mod">
          <ac:chgData name="KevCla12" userId="ef2eb634-4620-450f-93cc-80cc93397e60" providerId="ADAL" clId="{DF6678F8-4F85-488B-B919-FA7E2EC6DABC}" dt="2023-10-14T16:58:30.785" v="3743"/>
          <ac:spMkLst>
            <pc:docMk/>
            <pc:sldMk cId="3097013568" sldId="322"/>
            <ac:spMk id="26" creationId="{DA367723-6A4C-03D4-EFC3-59A74F62BC0B}"/>
          </ac:spMkLst>
        </pc:spChg>
        <pc:spChg chg="mod">
          <ac:chgData name="KevCla12" userId="ef2eb634-4620-450f-93cc-80cc93397e60" providerId="ADAL" clId="{DF6678F8-4F85-488B-B919-FA7E2EC6DABC}" dt="2023-10-14T16:58:30.785" v="3743"/>
          <ac:spMkLst>
            <pc:docMk/>
            <pc:sldMk cId="3097013568" sldId="322"/>
            <ac:spMk id="27" creationId="{0946B64E-05E7-9948-152F-B4395D70F5C8}"/>
          </ac:spMkLst>
        </pc:spChg>
        <pc:spChg chg="mod">
          <ac:chgData name="KevCla12" userId="ef2eb634-4620-450f-93cc-80cc93397e60" providerId="ADAL" clId="{DF6678F8-4F85-488B-B919-FA7E2EC6DABC}" dt="2023-10-14T16:58:30.785" v="3743"/>
          <ac:spMkLst>
            <pc:docMk/>
            <pc:sldMk cId="3097013568" sldId="322"/>
            <ac:spMk id="28" creationId="{F984A042-CFCE-79E4-2A94-9E2143D8B90A}"/>
          </ac:spMkLst>
        </pc:spChg>
        <pc:spChg chg="mod">
          <ac:chgData name="KevCla12" userId="ef2eb634-4620-450f-93cc-80cc93397e60" providerId="ADAL" clId="{DF6678F8-4F85-488B-B919-FA7E2EC6DABC}" dt="2023-10-14T16:58:30.785" v="3743"/>
          <ac:spMkLst>
            <pc:docMk/>
            <pc:sldMk cId="3097013568" sldId="322"/>
            <ac:spMk id="29" creationId="{9FE30BD1-3ADB-C40F-2514-BF24F874E447}"/>
          </ac:spMkLst>
        </pc:spChg>
        <pc:spChg chg="mod">
          <ac:chgData name="KevCla12" userId="ef2eb634-4620-450f-93cc-80cc93397e60" providerId="ADAL" clId="{DF6678F8-4F85-488B-B919-FA7E2EC6DABC}" dt="2023-10-14T16:58:30.785" v="3743"/>
          <ac:spMkLst>
            <pc:docMk/>
            <pc:sldMk cId="3097013568" sldId="322"/>
            <ac:spMk id="30" creationId="{CD4CA183-77D7-46A6-958B-B654EF924E96}"/>
          </ac:spMkLst>
        </pc:spChg>
        <pc:spChg chg="mod">
          <ac:chgData name="KevCla12" userId="ef2eb634-4620-450f-93cc-80cc93397e60" providerId="ADAL" clId="{DF6678F8-4F85-488B-B919-FA7E2EC6DABC}" dt="2023-10-14T16:58:30.785" v="3743"/>
          <ac:spMkLst>
            <pc:docMk/>
            <pc:sldMk cId="3097013568" sldId="322"/>
            <ac:spMk id="31" creationId="{06C86948-E421-CFBD-910D-A3D7BEA71D62}"/>
          </ac:spMkLst>
        </pc:spChg>
        <pc:spChg chg="mod">
          <ac:chgData name="KevCla12" userId="ef2eb634-4620-450f-93cc-80cc93397e60" providerId="ADAL" clId="{DF6678F8-4F85-488B-B919-FA7E2EC6DABC}" dt="2023-10-14T16:58:30.785" v="3743"/>
          <ac:spMkLst>
            <pc:docMk/>
            <pc:sldMk cId="3097013568" sldId="322"/>
            <ac:spMk id="32" creationId="{6A6AE47B-BF97-8E93-AA74-7E665ECA34F0}"/>
          </ac:spMkLst>
        </pc:spChg>
        <pc:spChg chg="mod">
          <ac:chgData name="KevCla12" userId="ef2eb634-4620-450f-93cc-80cc93397e60" providerId="ADAL" clId="{DF6678F8-4F85-488B-B919-FA7E2EC6DABC}" dt="2023-10-14T16:58:30.785" v="3743"/>
          <ac:spMkLst>
            <pc:docMk/>
            <pc:sldMk cId="3097013568" sldId="322"/>
            <ac:spMk id="33" creationId="{591C7436-F02A-B94C-3593-606420F39EBB}"/>
          </ac:spMkLst>
        </pc:spChg>
        <pc:spChg chg="mod">
          <ac:chgData name="KevCla12" userId="ef2eb634-4620-450f-93cc-80cc93397e60" providerId="ADAL" clId="{DF6678F8-4F85-488B-B919-FA7E2EC6DABC}" dt="2023-10-14T16:58:30.785" v="3743"/>
          <ac:spMkLst>
            <pc:docMk/>
            <pc:sldMk cId="3097013568" sldId="322"/>
            <ac:spMk id="34" creationId="{D72BE1FC-EE19-E69C-D0FC-2BCC18D8F38F}"/>
          </ac:spMkLst>
        </pc:spChg>
        <pc:spChg chg="mod">
          <ac:chgData name="KevCla12" userId="ef2eb634-4620-450f-93cc-80cc93397e60" providerId="ADAL" clId="{DF6678F8-4F85-488B-B919-FA7E2EC6DABC}" dt="2023-10-14T16:58:30.785" v="3743"/>
          <ac:spMkLst>
            <pc:docMk/>
            <pc:sldMk cId="3097013568" sldId="322"/>
            <ac:spMk id="35" creationId="{A38ECE15-F93C-B9F8-2921-87D89E0801F3}"/>
          </ac:spMkLst>
        </pc:spChg>
        <pc:spChg chg="mod">
          <ac:chgData name="KevCla12" userId="ef2eb634-4620-450f-93cc-80cc93397e60" providerId="ADAL" clId="{DF6678F8-4F85-488B-B919-FA7E2EC6DABC}" dt="2023-10-14T16:58:30.785" v="3743"/>
          <ac:spMkLst>
            <pc:docMk/>
            <pc:sldMk cId="3097013568" sldId="322"/>
            <ac:spMk id="36" creationId="{82653169-4FA2-908F-02E0-8DA56C18EB12}"/>
          </ac:spMkLst>
        </pc:spChg>
        <pc:spChg chg="mod">
          <ac:chgData name="KevCla12" userId="ef2eb634-4620-450f-93cc-80cc93397e60" providerId="ADAL" clId="{DF6678F8-4F85-488B-B919-FA7E2EC6DABC}" dt="2023-10-14T16:58:30.785" v="3743"/>
          <ac:spMkLst>
            <pc:docMk/>
            <pc:sldMk cId="3097013568" sldId="322"/>
            <ac:spMk id="37" creationId="{85823CA5-FAC7-17E3-8345-6EF3015BBE99}"/>
          </ac:spMkLst>
        </pc:spChg>
        <pc:spChg chg="mod">
          <ac:chgData name="KevCla12" userId="ef2eb634-4620-450f-93cc-80cc93397e60" providerId="ADAL" clId="{DF6678F8-4F85-488B-B919-FA7E2EC6DABC}" dt="2023-10-14T16:58:30.785" v="3743"/>
          <ac:spMkLst>
            <pc:docMk/>
            <pc:sldMk cId="3097013568" sldId="322"/>
            <ac:spMk id="38" creationId="{D9D8578D-EC07-95F1-EBC2-D0B43BA0AD9C}"/>
          </ac:spMkLst>
        </pc:spChg>
        <pc:spChg chg="mod">
          <ac:chgData name="KevCla12" userId="ef2eb634-4620-450f-93cc-80cc93397e60" providerId="ADAL" clId="{DF6678F8-4F85-488B-B919-FA7E2EC6DABC}" dt="2023-10-14T16:58:30.785" v="3743"/>
          <ac:spMkLst>
            <pc:docMk/>
            <pc:sldMk cId="3097013568" sldId="322"/>
            <ac:spMk id="39" creationId="{0679DEF9-0D8E-7D55-0783-7DC439C3F367}"/>
          </ac:spMkLst>
        </pc:spChg>
        <pc:spChg chg="mod">
          <ac:chgData name="KevCla12" userId="ef2eb634-4620-450f-93cc-80cc93397e60" providerId="ADAL" clId="{DF6678F8-4F85-488B-B919-FA7E2EC6DABC}" dt="2023-10-14T16:58:30.785" v="3743"/>
          <ac:spMkLst>
            <pc:docMk/>
            <pc:sldMk cId="3097013568" sldId="322"/>
            <ac:spMk id="40" creationId="{941B5AAE-86C3-2D8C-C147-146995F31C37}"/>
          </ac:spMkLst>
        </pc:spChg>
        <pc:spChg chg="mod">
          <ac:chgData name="KevCla12" userId="ef2eb634-4620-450f-93cc-80cc93397e60" providerId="ADAL" clId="{DF6678F8-4F85-488B-B919-FA7E2EC6DABC}" dt="2023-10-14T16:58:30.785" v="3743"/>
          <ac:spMkLst>
            <pc:docMk/>
            <pc:sldMk cId="3097013568" sldId="322"/>
            <ac:spMk id="41" creationId="{09A67D50-8DF8-4FF0-738C-6B0216D7EDAD}"/>
          </ac:spMkLst>
        </pc:spChg>
        <pc:spChg chg="mod">
          <ac:chgData name="KevCla12" userId="ef2eb634-4620-450f-93cc-80cc93397e60" providerId="ADAL" clId="{DF6678F8-4F85-488B-B919-FA7E2EC6DABC}" dt="2023-10-14T16:58:30.785" v="3743"/>
          <ac:spMkLst>
            <pc:docMk/>
            <pc:sldMk cId="3097013568" sldId="322"/>
            <ac:spMk id="42" creationId="{1277F702-9A05-EA87-B64F-998E162EADD3}"/>
          </ac:spMkLst>
        </pc:spChg>
        <pc:spChg chg="mod">
          <ac:chgData name="KevCla12" userId="ef2eb634-4620-450f-93cc-80cc93397e60" providerId="ADAL" clId="{DF6678F8-4F85-488B-B919-FA7E2EC6DABC}" dt="2023-10-14T16:58:30.785" v="3743"/>
          <ac:spMkLst>
            <pc:docMk/>
            <pc:sldMk cId="3097013568" sldId="322"/>
            <ac:spMk id="43" creationId="{D061E479-E528-C613-53C1-81329DD171B2}"/>
          </ac:spMkLst>
        </pc:spChg>
        <pc:spChg chg="mod">
          <ac:chgData name="KevCla12" userId="ef2eb634-4620-450f-93cc-80cc93397e60" providerId="ADAL" clId="{DF6678F8-4F85-488B-B919-FA7E2EC6DABC}" dt="2023-10-14T16:58:30.785" v="3743"/>
          <ac:spMkLst>
            <pc:docMk/>
            <pc:sldMk cId="3097013568" sldId="322"/>
            <ac:spMk id="44" creationId="{09153EC8-7197-5BD2-0977-6998918D3D0A}"/>
          </ac:spMkLst>
        </pc:spChg>
        <pc:spChg chg="mod">
          <ac:chgData name="KevCla12" userId="ef2eb634-4620-450f-93cc-80cc93397e60" providerId="ADAL" clId="{DF6678F8-4F85-488B-B919-FA7E2EC6DABC}" dt="2023-10-14T16:58:30.785" v="3743"/>
          <ac:spMkLst>
            <pc:docMk/>
            <pc:sldMk cId="3097013568" sldId="322"/>
            <ac:spMk id="45" creationId="{F0A0609F-6F65-1A81-E34D-BDE6B2D498B8}"/>
          </ac:spMkLst>
        </pc:spChg>
        <pc:spChg chg="mod">
          <ac:chgData name="KevCla12" userId="ef2eb634-4620-450f-93cc-80cc93397e60" providerId="ADAL" clId="{DF6678F8-4F85-488B-B919-FA7E2EC6DABC}" dt="2023-10-14T16:58:30.785" v="3743"/>
          <ac:spMkLst>
            <pc:docMk/>
            <pc:sldMk cId="3097013568" sldId="322"/>
            <ac:spMk id="46" creationId="{91C0B21C-6F52-919A-F599-B8DC491E7DE3}"/>
          </ac:spMkLst>
        </pc:spChg>
        <pc:spChg chg="mod">
          <ac:chgData name="KevCla12" userId="ef2eb634-4620-450f-93cc-80cc93397e60" providerId="ADAL" clId="{DF6678F8-4F85-488B-B919-FA7E2EC6DABC}" dt="2023-10-14T16:58:30.785" v="3743"/>
          <ac:spMkLst>
            <pc:docMk/>
            <pc:sldMk cId="3097013568" sldId="322"/>
            <ac:spMk id="47" creationId="{851ECCCC-69B9-8D86-068E-1DAC68B51D7B}"/>
          </ac:spMkLst>
        </pc:spChg>
        <pc:spChg chg="mod">
          <ac:chgData name="KevCla12" userId="ef2eb634-4620-450f-93cc-80cc93397e60" providerId="ADAL" clId="{DF6678F8-4F85-488B-B919-FA7E2EC6DABC}" dt="2023-10-14T16:58:30.785" v="3743"/>
          <ac:spMkLst>
            <pc:docMk/>
            <pc:sldMk cId="3097013568" sldId="322"/>
            <ac:spMk id="48" creationId="{A3122AB5-8E3C-8D1A-EC1A-C086738E9321}"/>
          </ac:spMkLst>
        </pc:spChg>
        <pc:spChg chg="mod">
          <ac:chgData name="KevCla12" userId="ef2eb634-4620-450f-93cc-80cc93397e60" providerId="ADAL" clId="{DF6678F8-4F85-488B-B919-FA7E2EC6DABC}" dt="2023-10-14T16:58:30.785" v="3743"/>
          <ac:spMkLst>
            <pc:docMk/>
            <pc:sldMk cId="3097013568" sldId="322"/>
            <ac:spMk id="49" creationId="{4451A33C-44DE-066A-B205-C750E2870D1C}"/>
          </ac:spMkLst>
        </pc:spChg>
        <pc:spChg chg="mod">
          <ac:chgData name="KevCla12" userId="ef2eb634-4620-450f-93cc-80cc93397e60" providerId="ADAL" clId="{DF6678F8-4F85-488B-B919-FA7E2EC6DABC}" dt="2023-10-14T16:58:30.785" v="3743"/>
          <ac:spMkLst>
            <pc:docMk/>
            <pc:sldMk cId="3097013568" sldId="322"/>
            <ac:spMk id="50" creationId="{626899CB-01A4-A852-2974-52C87DA00FB6}"/>
          </ac:spMkLst>
        </pc:spChg>
        <pc:spChg chg="mod">
          <ac:chgData name="KevCla12" userId="ef2eb634-4620-450f-93cc-80cc93397e60" providerId="ADAL" clId="{DF6678F8-4F85-488B-B919-FA7E2EC6DABC}" dt="2023-10-14T16:58:30.785" v="3743"/>
          <ac:spMkLst>
            <pc:docMk/>
            <pc:sldMk cId="3097013568" sldId="322"/>
            <ac:spMk id="51" creationId="{FB397EA1-C4BC-772E-B99D-68E31A415FE0}"/>
          </ac:spMkLst>
        </pc:spChg>
        <pc:spChg chg="mod">
          <ac:chgData name="KevCla12" userId="ef2eb634-4620-450f-93cc-80cc93397e60" providerId="ADAL" clId="{DF6678F8-4F85-488B-B919-FA7E2EC6DABC}" dt="2023-10-14T16:58:30.785" v="3743"/>
          <ac:spMkLst>
            <pc:docMk/>
            <pc:sldMk cId="3097013568" sldId="322"/>
            <ac:spMk id="52" creationId="{226B5AD0-B920-1E95-43D2-1CA925480691}"/>
          </ac:spMkLst>
        </pc:spChg>
        <pc:spChg chg="mod">
          <ac:chgData name="KevCla12" userId="ef2eb634-4620-450f-93cc-80cc93397e60" providerId="ADAL" clId="{DF6678F8-4F85-488B-B919-FA7E2EC6DABC}" dt="2023-10-14T16:58:30.785" v="3743"/>
          <ac:spMkLst>
            <pc:docMk/>
            <pc:sldMk cId="3097013568" sldId="322"/>
            <ac:spMk id="53" creationId="{6992DCE4-DC55-7C2F-EC8A-FCE0F3A42A5F}"/>
          </ac:spMkLst>
        </pc:spChg>
        <pc:spChg chg="mod">
          <ac:chgData name="KevCla12" userId="ef2eb634-4620-450f-93cc-80cc93397e60" providerId="ADAL" clId="{DF6678F8-4F85-488B-B919-FA7E2EC6DABC}" dt="2023-10-14T16:58:30.785" v="3743"/>
          <ac:spMkLst>
            <pc:docMk/>
            <pc:sldMk cId="3097013568" sldId="322"/>
            <ac:spMk id="54" creationId="{720D2E1F-326E-7F7B-9BB8-332FEE9434BA}"/>
          </ac:spMkLst>
        </pc:spChg>
        <pc:spChg chg="mod">
          <ac:chgData name="KevCla12" userId="ef2eb634-4620-450f-93cc-80cc93397e60" providerId="ADAL" clId="{DF6678F8-4F85-488B-B919-FA7E2EC6DABC}" dt="2023-10-14T16:58:30.785" v="3743"/>
          <ac:spMkLst>
            <pc:docMk/>
            <pc:sldMk cId="3097013568" sldId="322"/>
            <ac:spMk id="55" creationId="{1CFCB9CA-C770-AA1C-5378-5C2217A1C991}"/>
          </ac:spMkLst>
        </pc:spChg>
        <pc:spChg chg="mod">
          <ac:chgData name="KevCla12" userId="ef2eb634-4620-450f-93cc-80cc93397e60" providerId="ADAL" clId="{DF6678F8-4F85-488B-B919-FA7E2EC6DABC}" dt="2023-10-14T16:58:30.785" v="3743"/>
          <ac:spMkLst>
            <pc:docMk/>
            <pc:sldMk cId="3097013568" sldId="322"/>
            <ac:spMk id="56" creationId="{C93E4E88-2F8A-3D23-CA72-049E231026B4}"/>
          </ac:spMkLst>
        </pc:spChg>
        <pc:spChg chg="mod">
          <ac:chgData name="KevCla12" userId="ef2eb634-4620-450f-93cc-80cc93397e60" providerId="ADAL" clId="{DF6678F8-4F85-488B-B919-FA7E2EC6DABC}" dt="2023-10-14T16:58:30.785" v="3743"/>
          <ac:spMkLst>
            <pc:docMk/>
            <pc:sldMk cId="3097013568" sldId="322"/>
            <ac:spMk id="57" creationId="{B4ABBC3A-4331-E36D-AEA4-4CC893BAE4DF}"/>
          </ac:spMkLst>
        </pc:spChg>
        <pc:spChg chg="mod">
          <ac:chgData name="KevCla12" userId="ef2eb634-4620-450f-93cc-80cc93397e60" providerId="ADAL" clId="{DF6678F8-4F85-488B-B919-FA7E2EC6DABC}" dt="2023-10-14T16:58:30.785" v="3743"/>
          <ac:spMkLst>
            <pc:docMk/>
            <pc:sldMk cId="3097013568" sldId="322"/>
            <ac:spMk id="58" creationId="{47AF4925-43A8-299A-D9A3-AEB9E387E30E}"/>
          </ac:spMkLst>
        </pc:spChg>
        <pc:spChg chg="mod">
          <ac:chgData name="KevCla12" userId="ef2eb634-4620-450f-93cc-80cc93397e60" providerId="ADAL" clId="{DF6678F8-4F85-488B-B919-FA7E2EC6DABC}" dt="2023-10-14T16:58:30.785" v="3743"/>
          <ac:spMkLst>
            <pc:docMk/>
            <pc:sldMk cId="3097013568" sldId="322"/>
            <ac:spMk id="59" creationId="{7384CC4D-F259-364B-630D-EE84F9384246}"/>
          </ac:spMkLst>
        </pc:spChg>
        <pc:spChg chg="mod">
          <ac:chgData name="KevCla12" userId="ef2eb634-4620-450f-93cc-80cc93397e60" providerId="ADAL" clId="{DF6678F8-4F85-488B-B919-FA7E2EC6DABC}" dt="2023-10-14T16:58:30.785" v="3743"/>
          <ac:spMkLst>
            <pc:docMk/>
            <pc:sldMk cId="3097013568" sldId="322"/>
            <ac:spMk id="60" creationId="{79055004-6F73-58B3-E8ED-40C4C66D2445}"/>
          </ac:spMkLst>
        </pc:spChg>
        <pc:spChg chg="add mod">
          <ac:chgData name="KevCla12" userId="ef2eb634-4620-450f-93cc-80cc93397e60" providerId="ADAL" clId="{DF6678F8-4F85-488B-B919-FA7E2EC6DABC}" dt="2023-10-14T17:01:17.549" v="3848" actId="1036"/>
          <ac:spMkLst>
            <pc:docMk/>
            <pc:sldMk cId="3097013568" sldId="322"/>
            <ac:spMk id="67" creationId="{5A671CBE-11C0-5E51-C788-22E78CF76DFD}"/>
          </ac:spMkLst>
        </pc:spChg>
        <pc:spChg chg="add mod">
          <ac:chgData name="KevCla12" userId="ef2eb634-4620-450f-93cc-80cc93397e60" providerId="ADAL" clId="{DF6678F8-4F85-488B-B919-FA7E2EC6DABC}" dt="2023-10-14T17:01:17.549" v="3848" actId="1036"/>
          <ac:spMkLst>
            <pc:docMk/>
            <pc:sldMk cId="3097013568" sldId="322"/>
            <ac:spMk id="68" creationId="{D1B6976E-9D04-A46D-C32F-DFAA36071E55}"/>
          </ac:spMkLst>
        </pc:spChg>
        <pc:spChg chg="add mod">
          <ac:chgData name="KevCla12" userId="ef2eb634-4620-450f-93cc-80cc93397e60" providerId="ADAL" clId="{DF6678F8-4F85-488B-B919-FA7E2EC6DABC}" dt="2023-10-14T17:01:17.549" v="3848" actId="1036"/>
          <ac:spMkLst>
            <pc:docMk/>
            <pc:sldMk cId="3097013568" sldId="322"/>
            <ac:spMk id="69" creationId="{02F40946-436B-121B-4816-C8A9A81252F6}"/>
          </ac:spMkLst>
        </pc:spChg>
        <pc:spChg chg="add mod">
          <ac:chgData name="KevCla12" userId="ef2eb634-4620-450f-93cc-80cc93397e60" providerId="ADAL" clId="{DF6678F8-4F85-488B-B919-FA7E2EC6DABC}" dt="2023-10-14T17:01:17.549" v="3848" actId="1036"/>
          <ac:spMkLst>
            <pc:docMk/>
            <pc:sldMk cId="3097013568" sldId="322"/>
            <ac:spMk id="70" creationId="{52C2A323-D413-35CE-F3C7-C704E0AA2224}"/>
          </ac:spMkLst>
        </pc:spChg>
        <pc:spChg chg="add mod">
          <ac:chgData name="KevCla12" userId="ef2eb634-4620-450f-93cc-80cc93397e60" providerId="ADAL" clId="{DF6678F8-4F85-488B-B919-FA7E2EC6DABC}" dt="2023-10-14T17:01:17.549" v="3848" actId="1036"/>
          <ac:spMkLst>
            <pc:docMk/>
            <pc:sldMk cId="3097013568" sldId="322"/>
            <ac:spMk id="71" creationId="{15215B1C-FF3F-A17D-DB42-5E1EAF436ACC}"/>
          </ac:spMkLst>
        </pc:spChg>
        <pc:spChg chg="add mod">
          <ac:chgData name="KevCla12" userId="ef2eb634-4620-450f-93cc-80cc93397e60" providerId="ADAL" clId="{DF6678F8-4F85-488B-B919-FA7E2EC6DABC}" dt="2023-10-14T17:01:17.549" v="3848" actId="1036"/>
          <ac:spMkLst>
            <pc:docMk/>
            <pc:sldMk cId="3097013568" sldId="322"/>
            <ac:spMk id="72" creationId="{21BE00D0-9CAF-C4ED-BB4F-638BE8E4E336}"/>
          </ac:spMkLst>
        </pc:spChg>
        <pc:spChg chg="add mod">
          <ac:chgData name="KevCla12" userId="ef2eb634-4620-450f-93cc-80cc93397e60" providerId="ADAL" clId="{DF6678F8-4F85-488B-B919-FA7E2EC6DABC}" dt="2023-10-14T17:01:17.549" v="3848" actId="1036"/>
          <ac:spMkLst>
            <pc:docMk/>
            <pc:sldMk cId="3097013568" sldId="322"/>
            <ac:spMk id="73" creationId="{88C248CE-30EC-B076-1482-88F3A58E279C}"/>
          </ac:spMkLst>
        </pc:spChg>
        <pc:spChg chg="add mod">
          <ac:chgData name="KevCla12" userId="ef2eb634-4620-450f-93cc-80cc93397e60" providerId="ADAL" clId="{DF6678F8-4F85-488B-B919-FA7E2EC6DABC}" dt="2023-10-14T17:01:17.549" v="3848" actId="1036"/>
          <ac:spMkLst>
            <pc:docMk/>
            <pc:sldMk cId="3097013568" sldId="322"/>
            <ac:spMk id="74" creationId="{84410ED5-4A2C-6270-D7AD-2839FB62CF0A}"/>
          </ac:spMkLst>
        </pc:spChg>
        <pc:spChg chg="add mod">
          <ac:chgData name="KevCla12" userId="ef2eb634-4620-450f-93cc-80cc93397e60" providerId="ADAL" clId="{DF6678F8-4F85-488B-B919-FA7E2EC6DABC}" dt="2023-10-14T17:01:17.549" v="3848" actId="1036"/>
          <ac:spMkLst>
            <pc:docMk/>
            <pc:sldMk cId="3097013568" sldId="322"/>
            <ac:spMk id="75" creationId="{F4551977-EF16-8552-DE40-DFC5BB3ED12D}"/>
          </ac:spMkLst>
        </pc:spChg>
        <pc:spChg chg="add mod">
          <ac:chgData name="KevCla12" userId="ef2eb634-4620-450f-93cc-80cc93397e60" providerId="ADAL" clId="{DF6678F8-4F85-488B-B919-FA7E2EC6DABC}" dt="2023-10-14T17:01:17.549" v="3848" actId="1036"/>
          <ac:spMkLst>
            <pc:docMk/>
            <pc:sldMk cId="3097013568" sldId="322"/>
            <ac:spMk id="76" creationId="{F584DF66-6A00-C2ED-6BA9-5F37B66735FC}"/>
          </ac:spMkLst>
        </pc:spChg>
        <pc:spChg chg="add mod">
          <ac:chgData name="KevCla12" userId="ef2eb634-4620-450f-93cc-80cc93397e60" providerId="ADAL" clId="{DF6678F8-4F85-488B-B919-FA7E2EC6DABC}" dt="2023-10-14T17:01:17.549" v="3848" actId="1036"/>
          <ac:spMkLst>
            <pc:docMk/>
            <pc:sldMk cId="3097013568" sldId="322"/>
            <ac:spMk id="77" creationId="{323B2CDB-A117-829C-0528-B0BCF845E3FC}"/>
          </ac:spMkLst>
        </pc:spChg>
        <pc:spChg chg="add mod">
          <ac:chgData name="KevCla12" userId="ef2eb634-4620-450f-93cc-80cc93397e60" providerId="ADAL" clId="{DF6678F8-4F85-488B-B919-FA7E2EC6DABC}" dt="2023-10-14T17:01:17.549" v="3848" actId="1036"/>
          <ac:spMkLst>
            <pc:docMk/>
            <pc:sldMk cId="3097013568" sldId="322"/>
            <ac:spMk id="78" creationId="{58A8257A-848E-6C91-707B-1BECB6CBF5BE}"/>
          </ac:spMkLst>
        </pc:spChg>
        <pc:spChg chg="add mod">
          <ac:chgData name="KevCla12" userId="ef2eb634-4620-450f-93cc-80cc93397e60" providerId="ADAL" clId="{DF6678F8-4F85-488B-B919-FA7E2EC6DABC}" dt="2023-10-14T17:01:17.549" v="3848" actId="1036"/>
          <ac:spMkLst>
            <pc:docMk/>
            <pc:sldMk cId="3097013568" sldId="322"/>
            <ac:spMk id="79" creationId="{27042DB6-FB94-29A4-47C3-2A7B630BE88F}"/>
          </ac:spMkLst>
        </pc:spChg>
        <pc:spChg chg="add mod">
          <ac:chgData name="KevCla12" userId="ef2eb634-4620-450f-93cc-80cc93397e60" providerId="ADAL" clId="{DF6678F8-4F85-488B-B919-FA7E2EC6DABC}" dt="2023-10-14T17:01:17.549" v="3848" actId="1036"/>
          <ac:spMkLst>
            <pc:docMk/>
            <pc:sldMk cId="3097013568" sldId="322"/>
            <ac:spMk id="80" creationId="{2A1B54EE-7E70-2FCB-B44C-F30FAF72CFEB}"/>
          </ac:spMkLst>
        </pc:spChg>
        <pc:spChg chg="add mod">
          <ac:chgData name="KevCla12" userId="ef2eb634-4620-450f-93cc-80cc93397e60" providerId="ADAL" clId="{DF6678F8-4F85-488B-B919-FA7E2EC6DABC}" dt="2023-10-14T17:01:17.549" v="3848" actId="1036"/>
          <ac:spMkLst>
            <pc:docMk/>
            <pc:sldMk cId="3097013568" sldId="322"/>
            <ac:spMk id="81" creationId="{7C4A997B-7479-9CD6-08A7-1F50ED467BC1}"/>
          </ac:spMkLst>
        </pc:spChg>
        <pc:spChg chg="add mod">
          <ac:chgData name="KevCla12" userId="ef2eb634-4620-450f-93cc-80cc93397e60" providerId="ADAL" clId="{DF6678F8-4F85-488B-B919-FA7E2EC6DABC}" dt="2023-10-14T17:01:17.549" v="3848" actId="1036"/>
          <ac:spMkLst>
            <pc:docMk/>
            <pc:sldMk cId="3097013568" sldId="322"/>
            <ac:spMk id="82" creationId="{42DB8718-EF17-1B0B-1B05-2BCE7CD1A8C8}"/>
          </ac:spMkLst>
        </pc:spChg>
        <pc:spChg chg="add mod">
          <ac:chgData name="KevCla12" userId="ef2eb634-4620-450f-93cc-80cc93397e60" providerId="ADAL" clId="{DF6678F8-4F85-488B-B919-FA7E2EC6DABC}" dt="2023-10-14T17:01:17.549" v="3848" actId="1036"/>
          <ac:spMkLst>
            <pc:docMk/>
            <pc:sldMk cId="3097013568" sldId="322"/>
            <ac:spMk id="83" creationId="{ED84F11E-9265-32F1-89FA-E2859E63A81E}"/>
          </ac:spMkLst>
        </pc:spChg>
        <pc:spChg chg="add mod">
          <ac:chgData name="KevCla12" userId="ef2eb634-4620-450f-93cc-80cc93397e60" providerId="ADAL" clId="{DF6678F8-4F85-488B-B919-FA7E2EC6DABC}" dt="2023-10-14T17:01:17.549" v="3848" actId="1036"/>
          <ac:spMkLst>
            <pc:docMk/>
            <pc:sldMk cId="3097013568" sldId="322"/>
            <ac:spMk id="84" creationId="{E5EB201A-6605-974F-EE5A-35AB9609E2AC}"/>
          </ac:spMkLst>
        </pc:spChg>
        <pc:spChg chg="add mod">
          <ac:chgData name="KevCla12" userId="ef2eb634-4620-450f-93cc-80cc93397e60" providerId="ADAL" clId="{DF6678F8-4F85-488B-B919-FA7E2EC6DABC}" dt="2023-10-14T17:01:17.549" v="3848" actId="1036"/>
          <ac:spMkLst>
            <pc:docMk/>
            <pc:sldMk cId="3097013568" sldId="322"/>
            <ac:spMk id="85" creationId="{6C50DD3A-AFEA-3CC2-C7E5-77C1C7A62B79}"/>
          </ac:spMkLst>
        </pc:spChg>
        <pc:spChg chg="add mod">
          <ac:chgData name="KevCla12" userId="ef2eb634-4620-450f-93cc-80cc93397e60" providerId="ADAL" clId="{DF6678F8-4F85-488B-B919-FA7E2EC6DABC}" dt="2023-10-14T17:01:17.549" v="3848" actId="1036"/>
          <ac:spMkLst>
            <pc:docMk/>
            <pc:sldMk cId="3097013568" sldId="322"/>
            <ac:spMk id="86" creationId="{2B861D5B-A5C6-3D09-4AFE-DFC10631AB1A}"/>
          </ac:spMkLst>
        </pc:spChg>
        <pc:spChg chg="add mod">
          <ac:chgData name="KevCla12" userId="ef2eb634-4620-450f-93cc-80cc93397e60" providerId="ADAL" clId="{DF6678F8-4F85-488B-B919-FA7E2EC6DABC}" dt="2023-10-14T17:01:17.549" v="3848" actId="1036"/>
          <ac:spMkLst>
            <pc:docMk/>
            <pc:sldMk cId="3097013568" sldId="322"/>
            <ac:spMk id="87" creationId="{3425B0CA-D780-6027-3DD5-960E1F4DC4B2}"/>
          </ac:spMkLst>
        </pc:spChg>
        <pc:spChg chg="add mod">
          <ac:chgData name="KevCla12" userId="ef2eb634-4620-450f-93cc-80cc93397e60" providerId="ADAL" clId="{DF6678F8-4F85-488B-B919-FA7E2EC6DABC}" dt="2023-10-14T17:01:17.549" v="3848" actId="1036"/>
          <ac:spMkLst>
            <pc:docMk/>
            <pc:sldMk cId="3097013568" sldId="322"/>
            <ac:spMk id="88" creationId="{9F9B5746-AAAA-B0B1-8488-88A6C58DE53D}"/>
          </ac:spMkLst>
        </pc:spChg>
        <pc:spChg chg="add mod">
          <ac:chgData name="KevCla12" userId="ef2eb634-4620-450f-93cc-80cc93397e60" providerId="ADAL" clId="{DF6678F8-4F85-488B-B919-FA7E2EC6DABC}" dt="2023-10-14T17:01:17.549" v="3848" actId="1036"/>
          <ac:spMkLst>
            <pc:docMk/>
            <pc:sldMk cId="3097013568" sldId="322"/>
            <ac:spMk id="89" creationId="{2CCC2FA2-3E37-52C4-4422-012A8F9C9499}"/>
          </ac:spMkLst>
        </pc:spChg>
        <pc:spChg chg="add mod">
          <ac:chgData name="KevCla12" userId="ef2eb634-4620-450f-93cc-80cc93397e60" providerId="ADAL" clId="{DF6678F8-4F85-488B-B919-FA7E2EC6DABC}" dt="2023-10-14T17:01:17.549" v="3848" actId="1036"/>
          <ac:spMkLst>
            <pc:docMk/>
            <pc:sldMk cId="3097013568" sldId="322"/>
            <ac:spMk id="90" creationId="{C82205D0-7A26-695D-DC17-D40BCB49BD0D}"/>
          </ac:spMkLst>
        </pc:spChg>
        <pc:spChg chg="add mod">
          <ac:chgData name="KevCla12" userId="ef2eb634-4620-450f-93cc-80cc93397e60" providerId="ADAL" clId="{DF6678F8-4F85-488B-B919-FA7E2EC6DABC}" dt="2023-10-14T17:01:17.549" v="3848" actId="1036"/>
          <ac:spMkLst>
            <pc:docMk/>
            <pc:sldMk cId="3097013568" sldId="322"/>
            <ac:spMk id="91" creationId="{2CAE5AD3-66AD-6894-7F63-A0F09ED6E2F9}"/>
          </ac:spMkLst>
        </pc:spChg>
        <pc:spChg chg="add mod">
          <ac:chgData name="KevCla12" userId="ef2eb634-4620-450f-93cc-80cc93397e60" providerId="ADAL" clId="{DF6678F8-4F85-488B-B919-FA7E2EC6DABC}" dt="2023-10-14T17:01:17.549" v="3848" actId="1036"/>
          <ac:spMkLst>
            <pc:docMk/>
            <pc:sldMk cId="3097013568" sldId="322"/>
            <ac:spMk id="92" creationId="{BE306D43-78F5-4099-684A-BCD2567D581A}"/>
          </ac:spMkLst>
        </pc:spChg>
        <pc:spChg chg="add mod">
          <ac:chgData name="KevCla12" userId="ef2eb634-4620-450f-93cc-80cc93397e60" providerId="ADAL" clId="{DF6678F8-4F85-488B-B919-FA7E2EC6DABC}" dt="2023-10-14T17:01:17.549" v="3848" actId="1036"/>
          <ac:spMkLst>
            <pc:docMk/>
            <pc:sldMk cId="3097013568" sldId="322"/>
            <ac:spMk id="93" creationId="{75007CDD-1719-65F7-50CE-87A90BEAA6B2}"/>
          </ac:spMkLst>
        </pc:spChg>
        <pc:spChg chg="add mod">
          <ac:chgData name="KevCla12" userId="ef2eb634-4620-450f-93cc-80cc93397e60" providerId="ADAL" clId="{DF6678F8-4F85-488B-B919-FA7E2EC6DABC}" dt="2023-10-14T17:01:17.549" v="3848" actId="1036"/>
          <ac:spMkLst>
            <pc:docMk/>
            <pc:sldMk cId="3097013568" sldId="322"/>
            <ac:spMk id="94" creationId="{98788691-4FB5-AE99-F26F-3A311F971691}"/>
          </ac:spMkLst>
        </pc:spChg>
        <pc:spChg chg="add mod">
          <ac:chgData name="KevCla12" userId="ef2eb634-4620-450f-93cc-80cc93397e60" providerId="ADAL" clId="{DF6678F8-4F85-488B-B919-FA7E2EC6DABC}" dt="2023-10-14T17:01:17.549" v="3848" actId="1036"/>
          <ac:spMkLst>
            <pc:docMk/>
            <pc:sldMk cId="3097013568" sldId="322"/>
            <ac:spMk id="95" creationId="{6FE7112F-5FC2-8C68-4C3B-E0FA7830D9B9}"/>
          </ac:spMkLst>
        </pc:spChg>
        <pc:spChg chg="add mod">
          <ac:chgData name="KevCla12" userId="ef2eb634-4620-450f-93cc-80cc93397e60" providerId="ADAL" clId="{DF6678F8-4F85-488B-B919-FA7E2EC6DABC}" dt="2023-10-14T17:01:17.549" v="3848" actId="1036"/>
          <ac:spMkLst>
            <pc:docMk/>
            <pc:sldMk cId="3097013568" sldId="322"/>
            <ac:spMk id="96" creationId="{B012F578-D990-95DB-505E-E48878A90044}"/>
          </ac:spMkLst>
        </pc:spChg>
        <pc:spChg chg="add mod">
          <ac:chgData name="KevCla12" userId="ef2eb634-4620-450f-93cc-80cc93397e60" providerId="ADAL" clId="{DF6678F8-4F85-488B-B919-FA7E2EC6DABC}" dt="2023-10-14T17:01:17.549" v="3848" actId="1036"/>
          <ac:spMkLst>
            <pc:docMk/>
            <pc:sldMk cId="3097013568" sldId="322"/>
            <ac:spMk id="97" creationId="{5EC4E413-9340-66A4-9491-7E66D04EE717}"/>
          </ac:spMkLst>
        </pc:spChg>
        <pc:spChg chg="add mod">
          <ac:chgData name="KevCla12" userId="ef2eb634-4620-450f-93cc-80cc93397e60" providerId="ADAL" clId="{DF6678F8-4F85-488B-B919-FA7E2EC6DABC}" dt="2023-10-14T17:01:17.549" v="3848" actId="1036"/>
          <ac:spMkLst>
            <pc:docMk/>
            <pc:sldMk cId="3097013568" sldId="322"/>
            <ac:spMk id="98" creationId="{565A1EE4-6DD2-6A9A-1285-6B7F2D10840E}"/>
          </ac:spMkLst>
        </pc:spChg>
        <pc:spChg chg="add mod">
          <ac:chgData name="KevCla12" userId="ef2eb634-4620-450f-93cc-80cc93397e60" providerId="ADAL" clId="{DF6678F8-4F85-488B-B919-FA7E2EC6DABC}" dt="2023-10-14T17:01:17.549" v="3848" actId="1036"/>
          <ac:spMkLst>
            <pc:docMk/>
            <pc:sldMk cId="3097013568" sldId="322"/>
            <ac:spMk id="99" creationId="{28D2CFC3-A81A-EF67-38B0-A6C0BFF87898}"/>
          </ac:spMkLst>
        </pc:spChg>
        <pc:spChg chg="add mod">
          <ac:chgData name="KevCla12" userId="ef2eb634-4620-450f-93cc-80cc93397e60" providerId="ADAL" clId="{DF6678F8-4F85-488B-B919-FA7E2EC6DABC}" dt="2023-10-14T17:01:17.549" v="3848" actId="1036"/>
          <ac:spMkLst>
            <pc:docMk/>
            <pc:sldMk cId="3097013568" sldId="322"/>
            <ac:spMk id="100" creationId="{8E13DD72-D031-AAD1-ED01-6C0508668DA8}"/>
          </ac:spMkLst>
        </pc:spChg>
        <pc:spChg chg="add mod">
          <ac:chgData name="KevCla12" userId="ef2eb634-4620-450f-93cc-80cc93397e60" providerId="ADAL" clId="{DF6678F8-4F85-488B-B919-FA7E2EC6DABC}" dt="2023-10-14T17:01:17.549" v="3848" actId="1036"/>
          <ac:spMkLst>
            <pc:docMk/>
            <pc:sldMk cId="3097013568" sldId="322"/>
            <ac:spMk id="101" creationId="{EAFD42C2-ECD5-66D2-E777-ABC6D472386E}"/>
          </ac:spMkLst>
        </pc:spChg>
        <pc:spChg chg="add mod">
          <ac:chgData name="KevCla12" userId="ef2eb634-4620-450f-93cc-80cc93397e60" providerId="ADAL" clId="{DF6678F8-4F85-488B-B919-FA7E2EC6DABC}" dt="2023-10-14T17:01:17.549" v="3848" actId="1036"/>
          <ac:spMkLst>
            <pc:docMk/>
            <pc:sldMk cId="3097013568" sldId="322"/>
            <ac:spMk id="102" creationId="{D243C908-B5BF-A5C6-E480-95F2FB74CE29}"/>
          </ac:spMkLst>
        </pc:spChg>
        <pc:spChg chg="add mod">
          <ac:chgData name="KevCla12" userId="ef2eb634-4620-450f-93cc-80cc93397e60" providerId="ADAL" clId="{DF6678F8-4F85-488B-B919-FA7E2EC6DABC}" dt="2023-10-14T17:01:17.549" v="3848" actId="1036"/>
          <ac:spMkLst>
            <pc:docMk/>
            <pc:sldMk cId="3097013568" sldId="322"/>
            <ac:spMk id="103" creationId="{484F6291-775A-D8E5-41DB-7AD05389987D}"/>
          </ac:spMkLst>
        </pc:spChg>
        <pc:spChg chg="add mod">
          <ac:chgData name="KevCla12" userId="ef2eb634-4620-450f-93cc-80cc93397e60" providerId="ADAL" clId="{DF6678F8-4F85-488B-B919-FA7E2EC6DABC}" dt="2023-10-14T17:01:17.549" v="3848" actId="1036"/>
          <ac:spMkLst>
            <pc:docMk/>
            <pc:sldMk cId="3097013568" sldId="322"/>
            <ac:spMk id="104" creationId="{7EE8FBFE-74D5-93B6-731D-4FF5C8D1A34E}"/>
          </ac:spMkLst>
        </pc:spChg>
        <pc:spChg chg="add mod">
          <ac:chgData name="KevCla12" userId="ef2eb634-4620-450f-93cc-80cc93397e60" providerId="ADAL" clId="{DF6678F8-4F85-488B-B919-FA7E2EC6DABC}" dt="2023-10-14T17:01:17.549" v="3848" actId="1036"/>
          <ac:spMkLst>
            <pc:docMk/>
            <pc:sldMk cId="3097013568" sldId="322"/>
            <ac:spMk id="105" creationId="{B6D23759-AF6D-8D87-6AF0-8036BCB75E44}"/>
          </ac:spMkLst>
        </pc:spChg>
        <pc:spChg chg="add mod">
          <ac:chgData name="KevCla12" userId="ef2eb634-4620-450f-93cc-80cc93397e60" providerId="ADAL" clId="{DF6678F8-4F85-488B-B919-FA7E2EC6DABC}" dt="2023-10-14T17:01:17.549" v="3848" actId="1036"/>
          <ac:spMkLst>
            <pc:docMk/>
            <pc:sldMk cId="3097013568" sldId="322"/>
            <ac:spMk id="106" creationId="{241E839F-E0A7-8527-BFE0-D1165F286F2C}"/>
          </ac:spMkLst>
        </pc:spChg>
        <pc:spChg chg="add mod">
          <ac:chgData name="KevCla12" userId="ef2eb634-4620-450f-93cc-80cc93397e60" providerId="ADAL" clId="{DF6678F8-4F85-488B-B919-FA7E2EC6DABC}" dt="2023-10-14T17:01:17.549" v="3848" actId="1036"/>
          <ac:spMkLst>
            <pc:docMk/>
            <pc:sldMk cId="3097013568" sldId="322"/>
            <ac:spMk id="107" creationId="{1CA260EB-1317-9778-826F-5EFAA6A5A608}"/>
          </ac:spMkLst>
        </pc:spChg>
        <pc:spChg chg="add mod">
          <ac:chgData name="KevCla12" userId="ef2eb634-4620-450f-93cc-80cc93397e60" providerId="ADAL" clId="{DF6678F8-4F85-488B-B919-FA7E2EC6DABC}" dt="2023-10-14T17:01:17.549" v="3848" actId="1036"/>
          <ac:spMkLst>
            <pc:docMk/>
            <pc:sldMk cId="3097013568" sldId="322"/>
            <ac:spMk id="108" creationId="{A5105D1C-B7BF-4669-0FA8-2F966542143A}"/>
          </ac:spMkLst>
        </pc:spChg>
        <pc:spChg chg="add mod">
          <ac:chgData name="KevCla12" userId="ef2eb634-4620-450f-93cc-80cc93397e60" providerId="ADAL" clId="{DF6678F8-4F85-488B-B919-FA7E2EC6DABC}" dt="2023-10-14T17:08:45.575" v="4096" actId="1076"/>
          <ac:spMkLst>
            <pc:docMk/>
            <pc:sldMk cId="3097013568" sldId="322"/>
            <ac:spMk id="116" creationId="{7116FF80-7C87-DEA9-9A1C-843586DAED28}"/>
          </ac:spMkLst>
        </pc:spChg>
        <pc:spChg chg="add del mod">
          <ac:chgData name="KevCla12" userId="ef2eb634-4620-450f-93cc-80cc93397e60" providerId="ADAL" clId="{DF6678F8-4F85-488B-B919-FA7E2EC6DABC}" dt="2023-10-14T17:02:54.167" v="3863" actId="478"/>
          <ac:spMkLst>
            <pc:docMk/>
            <pc:sldMk cId="3097013568" sldId="322"/>
            <ac:spMk id="118" creationId="{30FA21B1-4313-DA6B-9324-0C37DFC9B5F3}"/>
          </ac:spMkLst>
        </pc:spChg>
        <pc:spChg chg="add mod ord">
          <ac:chgData name="KevCla12" userId="ef2eb634-4620-450f-93cc-80cc93397e60" providerId="ADAL" clId="{DF6678F8-4F85-488B-B919-FA7E2EC6DABC}" dt="2023-10-14T17:08:45.575" v="4096" actId="1076"/>
          <ac:spMkLst>
            <pc:docMk/>
            <pc:sldMk cId="3097013568" sldId="322"/>
            <ac:spMk id="119" creationId="{32B61532-3A61-06FC-9DA3-ABA75537C203}"/>
          </ac:spMkLst>
        </pc:spChg>
        <pc:spChg chg="add mod ord">
          <ac:chgData name="KevCla12" userId="ef2eb634-4620-450f-93cc-80cc93397e60" providerId="ADAL" clId="{DF6678F8-4F85-488B-B919-FA7E2EC6DABC}" dt="2023-10-14T17:08:45.575" v="4096" actId="1076"/>
          <ac:spMkLst>
            <pc:docMk/>
            <pc:sldMk cId="3097013568" sldId="322"/>
            <ac:spMk id="120" creationId="{32798D9B-960A-85A7-04DA-89A29874A199}"/>
          </ac:spMkLst>
        </pc:spChg>
        <pc:spChg chg="add mod ord">
          <ac:chgData name="KevCla12" userId="ef2eb634-4620-450f-93cc-80cc93397e60" providerId="ADAL" clId="{DF6678F8-4F85-488B-B919-FA7E2EC6DABC}" dt="2023-10-15T11:29:27.112" v="4973" actId="404"/>
          <ac:spMkLst>
            <pc:docMk/>
            <pc:sldMk cId="3097013568" sldId="322"/>
            <ac:spMk id="121" creationId="{A730F460-7A18-9CA5-1720-FFFFD26F1693}"/>
          </ac:spMkLst>
        </pc:spChg>
        <pc:spChg chg="add mod">
          <ac:chgData name="KevCla12" userId="ef2eb634-4620-450f-93cc-80cc93397e60" providerId="ADAL" clId="{DF6678F8-4F85-488B-B919-FA7E2EC6DABC}" dt="2023-10-14T17:08:45.575" v="4096" actId="1076"/>
          <ac:spMkLst>
            <pc:docMk/>
            <pc:sldMk cId="3097013568" sldId="322"/>
            <ac:spMk id="126" creationId="{F0443306-1CB4-9BE8-C008-FB0EAC83B983}"/>
          </ac:spMkLst>
        </pc:spChg>
        <pc:spChg chg="add del mod">
          <ac:chgData name="KevCla12" userId="ef2eb634-4620-450f-93cc-80cc93397e60" providerId="ADAL" clId="{DF6678F8-4F85-488B-B919-FA7E2EC6DABC}" dt="2023-10-14T17:05:15.303" v="3898" actId="478"/>
          <ac:spMkLst>
            <pc:docMk/>
            <pc:sldMk cId="3097013568" sldId="322"/>
            <ac:spMk id="127" creationId="{444BD91A-E562-2474-BFC4-369B8669C64F}"/>
          </ac:spMkLst>
        </pc:spChg>
        <pc:spChg chg="add del mod">
          <ac:chgData name="KevCla12" userId="ef2eb634-4620-450f-93cc-80cc93397e60" providerId="ADAL" clId="{DF6678F8-4F85-488B-B919-FA7E2EC6DABC}" dt="2023-10-14T17:05:14.573" v="3897" actId="478"/>
          <ac:spMkLst>
            <pc:docMk/>
            <pc:sldMk cId="3097013568" sldId="322"/>
            <ac:spMk id="128" creationId="{E4412E48-9CDA-BD94-8800-05C9C05E6ACA}"/>
          </ac:spMkLst>
        </pc:spChg>
        <pc:spChg chg="add mod ord">
          <ac:chgData name="KevCla12" userId="ef2eb634-4620-450f-93cc-80cc93397e60" providerId="ADAL" clId="{DF6678F8-4F85-488B-B919-FA7E2EC6DABC}" dt="2023-10-14T17:08:45.575" v="4096" actId="1076"/>
          <ac:spMkLst>
            <pc:docMk/>
            <pc:sldMk cId="3097013568" sldId="322"/>
            <ac:spMk id="129" creationId="{4E757BAD-FCD9-CF0B-F0A0-2D1E2CB22AF3}"/>
          </ac:spMkLst>
        </pc:spChg>
        <pc:spChg chg="add mod">
          <ac:chgData name="KevCla12" userId="ef2eb634-4620-450f-93cc-80cc93397e60" providerId="ADAL" clId="{DF6678F8-4F85-488B-B919-FA7E2EC6DABC}" dt="2023-10-14T17:08:45.575" v="4096" actId="1076"/>
          <ac:spMkLst>
            <pc:docMk/>
            <pc:sldMk cId="3097013568" sldId="322"/>
            <ac:spMk id="130" creationId="{F2525240-E69F-FB12-44FE-9266C41EA46A}"/>
          </ac:spMkLst>
        </pc:spChg>
        <pc:spChg chg="add mod">
          <ac:chgData name="KevCla12" userId="ef2eb634-4620-450f-93cc-80cc93397e60" providerId="ADAL" clId="{DF6678F8-4F85-488B-B919-FA7E2EC6DABC}" dt="2023-10-14T17:08:45.575" v="4096" actId="1076"/>
          <ac:spMkLst>
            <pc:docMk/>
            <pc:sldMk cId="3097013568" sldId="322"/>
            <ac:spMk id="131" creationId="{901763F0-AA2A-4FEB-3C15-68DBBE4DE259}"/>
          </ac:spMkLst>
        </pc:spChg>
        <pc:spChg chg="add mod">
          <ac:chgData name="KevCla12" userId="ef2eb634-4620-450f-93cc-80cc93397e60" providerId="ADAL" clId="{DF6678F8-4F85-488B-B919-FA7E2EC6DABC}" dt="2023-10-14T17:08:45.575" v="4096" actId="1076"/>
          <ac:spMkLst>
            <pc:docMk/>
            <pc:sldMk cId="3097013568" sldId="322"/>
            <ac:spMk id="132" creationId="{0884B72F-43E2-483F-0B42-F1255C0D2162}"/>
          </ac:spMkLst>
        </pc:spChg>
        <pc:spChg chg="add mod">
          <ac:chgData name="KevCla12" userId="ef2eb634-4620-450f-93cc-80cc93397e60" providerId="ADAL" clId="{DF6678F8-4F85-488B-B919-FA7E2EC6DABC}" dt="2023-10-14T17:09:39.381" v="4101"/>
          <ac:spMkLst>
            <pc:docMk/>
            <pc:sldMk cId="3097013568" sldId="322"/>
            <ac:spMk id="139" creationId="{15FE8DF1-7A00-D908-66AD-207A0159BB76}"/>
          </ac:spMkLst>
        </pc:spChg>
        <pc:spChg chg="add mod">
          <ac:chgData name="KevCla12" userId="ef2eb634-4620-450f-93cc-80cc93397e60" providerId="ADAL" clId="{DF6678F8-4F85-488B-B919-FA7E2EC6DABC}" dt="2023-10-14T17:09:39.381" v="4101"/>
          <ac:spMkLst>
            <pc:docMk/>
            <pc:sldMk cId="3097013568" sldId="322"/>
            <ac:spMk id="141" creationId="{538887AA-C3BC-2833-5EF2-D6EEFDC0A95A}"/>
          </ac:spMkLst>
        </pc:spChg>
        <pc:spChg chg="add mod">
          <ac:chgData name="KevCla12" userId="ef2eb634-4620-450f-93cc-80cc93397e60" providerId="ADAL" clId="{DF6678F8-4F85-488B-B919-FA7E2EC6DABC}" dt="2023-10-14T17:09:39.381" v="4101"/>
          <ac:spMkLst>
            <pc:docMk/>
            <pc:sldMk cId="3097013568" sldId="322"/>
            <ac:spMk id="142" creationId="{73B12654-5E07-A59F-AAB1-85C5C459A4D6}"/>
          </ac:spMkLst>
        </pc:spChg>
        <pc:spChg chg="add mod">
          <ac:chgData name="KevCla12" userId="ef2eb634-4620-450f-93cc-80cc93397e60" providerId="ADAL" clId="{DF6678F8-4F85-488B-B919-FA7E2EC6DABC}" dt="2023-10-14T17:09:39.381" v="4101"/>
          <ac:spMkLst>
            <pc:docMk/>
            <pc:sldMk cId="3097013568" sldId="322"/>
            <ac:spMk id="143" creationId="{DC4C1B26-C32A-19B5-D6E2-01D4473E3BA2}"/>
          </ac:spMkLst>
        </pc:spChg>
        <pc:spChg chg="add mod">
          <ac:chgData name="KevCla12" userId="ef2eb634-4620-450f-93cc-80cc93397e60" providerId="ADAL" clId="{DF6678F8-4F85-488B-B919-FA7E2EC6DABC}" dt="2023-10-14T17:09:39.381" v="4101"/>
          <ac:spMkLst>
            <pc:docMk/>
            <pc:sldMk cId="3097013568" sldId="322"/>
            <ac:spMk id="144" creationId="{2F411540-940B-685F-4874-A625646356DA}"/>
          </ac:spMkLst>
        </pc:spChg>
        <pc:spChg chg="add mod">
          <ac:chgData name="KevCla12" userId="ef2eb634-4620-450f-93cc-80cc93397e60" providerId="ADAL" clId="{DF6678F8-4F85-488B-B919-FA7E2EC6DABC}" dt="2023-10-14T17:09:39.381" v="4101"/>
          <ac:spMkLst>
            <pc:docMk/>
            <pc:sldMk cId="3097013568" sldId="322"/>
            <ac:spMk id="145" creationId="{EE8BE600-4304-BAA0-CF60-ACCD0044B904}"/>
          </ac:spMkLst>
        </pc:spChg>
        <pc:spChg chg="add mod">
          <ac:chgData name="KevCla12" userId="ef2eb634-4620-450f-93cc-80cc93397e60" providerId="ADAL" clId="{DF6678F8-4F85-488B-B919-FA7E2EC6DABC}" dt="2023-10-14T17:09:39.381" v="4101"/>
          <ac:spMkLst>
            <pc:docMk/>
            <pc:sldMk cId="3097013568" sldId="322"/>
            <ac:spMk id="146" creationId="{21CD4C1A-82FF-17CB-C090-96866C69BBC4}"/>
          </ac:spMkLst>
        </pc:spChg>
        <pc:spChg chg="add mod">
          <ac:chgData name="KevCla12" userId="ef2eb634-4620-450f-93cc-80cc93397e60" providerId="ADAL" clId="{DF6678F8-4F85-488B-B919-FA7E2EC6DABC}" dt="2023-10-14T17:09:39.381" v="4101"/>
          <ac:spMkLst>
            <pc:docMk/>
            <pc:sldMk cId="3097013568" sldId="322"/>
            <ac:spMk id="147" creationId="{6539B22F-27D9-3885-5206-1F99D70AB9F5}"/>
          </ac:spMkLst>
        </pc:spChg>
        <pc:spChg chg="add mod">
          <ac:chgData name="KevCla12" userId="ef2eb634-4620-450f-93cc-80cc93397e60" providerId="ADAL" clId="{DF6678F8-4F85-488B-B919-FA7E2EC6DABC}" dt="2023-10-14T17:09:39.381" v="4101"/>
          <ac:spMkLst>
            <pc:docMk/>
            <pc:sldMk cId="3097013568" sldId="322"/>
            <ac:spMk id="148" creationId="{FD67017C-E22A-D90D-2089-176D257E3307}"/>
          </ac:spMkLst>
        </pc:spChg>
        <pc:spChg chg="add mod">
          <ac:chgData name="KevCla12" userId="ef2eb634-4620-450f-93cc-80cc93397e60" providerId="ADAL" clId="{DF6678F8-4F85-488B-B919-FA7E2EC6DABC}" dt="2023-10-15T11:25:37.502" v="4920" actId="20577"/>
          <ac:spMkLst>
            <pc:docMk/>
            <pc:sldMk cId="3097013568" sldId="322"/>
            <ac:spMk id="153" creationId="{873E77A6-C7B1-5158-3AC3-890F2E80AF79}"/>
          </ac:spMkLst>
        </pc:spChg>
        <pc:spChg chg="add mod">
          <ac:chgData name="KevCla12" userId="ef2eb634-4620-450f-93cc-80cc93397e60" providerId="ADAL" clId="{DF6678F8-4F85-488B-B919-FA7E2EC6DABC}" dt="2023-10-14T17:10:48.143" v="4110" actId="1076"/>
          <ac:spMkLst>
            <pc:docMk/>
            <pc:sldMk cId="3097013568" sldId="322"/>
            <ac:spMk id="154" creationId="{74171EC5-9069-2434-A26D-026D21AC9C85}"/>
          </ac:spMkLst>
        </pc:spChg>
        <pc:spChg chg="add mod">
          <ac:chgData name="KevCla12" userId="ef2eb634-4620-450f-93cc-80cc93397e60" providerId="ADAL" clId="{DF6678F8-4F85-488B-B919-FA7E2EC6DABC}" dt="2023-10-15T11:28:53.872" v="4948" actId="20577"/>
          <ac:spMkLst>
            <pc:docMk/>
            <pc:sldMk cId="3097013568" sldId="322"/>
            <ac:spMk id="155" creationId="{E4C21F80-4FC7-04C7-907C-24A373113B2B}"/>
          </ac:spMkLst>
        </pc:spChg>
        <pc:spChg chg="add mod">
          <ac:chgData name="KevCla12" userId="ef2eb634-4620-450f-93cc-80cc93397e60" providerId="ADAL" clId="{DF6678F8-4F85-488B-B919-FA7E2EC6DABC}" dt="2023-10-15T11:25:53.601" v="4928" actId="20577"/>
          <ac:spMkLst>
            <pc:docMk/>
            <pc:sldMk cId="3097013568" sldId="322"/>
            <ac:spMk id="156" creationId="{8F9D74CD-8344-D5E7-D718-E17180CB7B41}"/>
          </ac:spMkLst>
        </pc:spChg>
        <pc:spChg chg="add mod">
          <ac:chgData name="KevCla12" userId="ef2eb634-4620-450f-93cc-80cc93397e60" providerId="ADAL" clId="{DF6678F8-4F85-488B-B919-FA7E2EC6DABC}" dt="2023-10-15T11:29:41.936" v="4974" actId="14100"/>
          <ac:spMkLst>
            <pc:docMk/>
            <pc:sldMk cId="3097013568" sldId="322"/>
            <ac:spMk id="157" creationId="{A69B7FFE-9CFA-EE4A-F6E1-C7EE45D465CC}"/>
          </ac:spMkLst>
        </pc:spChg>
        <pc:spChg chg="add mod">
          <ac:chgData name="KevCla12" userId="ef2eb634-4620-450f-93cc-80cc93397e60" providerId="ADAL" clId="{DF6678F8-4F85-488B-B919-FA7E2EC6DABC}" dt="2023-10-14T17:10:18.019" v="4106" actId="571"/>
          <ac:spMkLst>
            <pc:docMk/>
            <pc:sldMk cId="3097013568" sldId="322"/>
            <ac:spMk id="158" creationId="{1024A8C0-D225-D8D8-E15C-DA6C8338FED3}"/>
          </ac:spMkLst>
        </pc:spChg>
        <pc:grpChg chg="add del mod">
          <ac:chgData name="KevCla12" userId="ef2eb634-4620-450f-93cc-80cc93397e60" providerId="ADAL" clId="{DF6678F8-4F85-488B-B919-FA7E2EC6DABC}" dt="2023-10-14T16:58:51.086" v="3752"/>
          <ac:grpSpMkLst>
            <pc:docMk/>
            <pc:sldMk cId="3097013568" sldId="322"/>
            <ac:grpSpMk id="10" creationId="{36DEFB7C-A357-DC18-5C63-CB229025D0C4}"/>
          </ac:grpSpMkLst>
        </pc:grpChg>
        <pc:picChg chg="add del mod modCrop">
          <ac:chgData name="KevCla12" userId="ef2eb634-4620-450f-93cc-80cc93397e60" providerId="ADAL" clId="{DF6678F8-4F85-488B-B919-FA7E2EC6DABC}" dt="2023-10-14T16:59:52.309" v="3763" actId="478"/>
          <ac:picMkLst>
            <pc:docMk/>
            <pc:sldMk cId="3097013568" sldId="322"/>
            <ac:picMk id="62" creationId="{B5496B03-A881-533C-A72F-91FB9EE920EB}"/>
          </ac:picMkLst>
        </pc:picChg>
        <pc:picChg chg="add mod">
          <ac:chgData name="KevCla12" userId="ef2eb634-4620-450f-93cc-80cc93397e60" providerId="ADAL" clId="{DF6678F8-4F85-488B-B919-FA7E2EC6DABC}" dt="2023-10-14T17:08:45.575" v="4096" actId="1076"/>
          <ac:picMkLst>
            <pc:docMk/>
            <pc:sldMk cId="3097013568" sldId="322"/>
            <ac:picMk id="133" creationId="{A36BBA21-D82E-478A-1F01-2EFFCF77262C}"/>
          </ac:picMkLst>
        </pc:picChg>
        <pc:picChg chg="add mod">
          <ac:chgData name="KevCla12" userId="ef2eb634-4620-450f-93cc-80cc93397e60" providerId="ADAL" clId="{DF6678F8-4F85-488B-B919-FA7E2EC6DABC}" dt="2023-10-14T17:08:45.575" v="4096" actId="1076"/>
          <ac:picMkLst>
            <pc:docMk/>
            <pc:sldMk cId="3097013568" sldId="322"/>
            <ac:picMk id="134" creationId="{07E23B7C-65F5-615B-4E6B-60339FE38210}"/>
          </ac:picMkLst>
        </pc:picChg>
        <pc:picChg chg="add mod">
          <ac:chgData name="KevCla12" userId="ef2eb634-4620-450f-93cc-80cc93397e60" providerId="ADAL" clId="{DF6678F8-4F85-488B-B919-FA7E2EC6DABC}" dt="2023-10-14T17:08:45.575" v="4096" actId="1076"/>
          <ac:picMkLst>
            <pc:docMk/>
            <pc:sldMk cId="3097013568" sldId="322"/>
            <ac:picMk id="135" creationId="{B2934CE2-6BB8-9963-C061-86B0823290CD}"/>
          </ac:picMkLst>
        </pc:picChg>
        <pc:picChg chg="add mod">
          <ac:chgData name="KevCla12" userId="ef2eb634-4620-450f-93cc-80cc93397e60" providerId="ADAL" clId="{DF6678F8-4F85-488B-B919-FA7E2EC6DABC}" dt="2023-10-14T17:08:45.575" v="4096" actId="1076"/>
          <ac:picMkLst>
            <pc:docMk/>
            <pc:sldMk cId="3097013568" sldId="322"/>
            <ac:picMk id="136" creationId="{3D92FFCF-5EE9-C48F-B1C4-DC43513920F6}"/>
          </ac:picMkLst>
        </pc:picChg>
        <pc:picChg chg="add mod">
          <ac:chgData name="KevCla12" userId="ef2eb634-4620-450f-93cc-80cc93397e60" providerId="ADAL" clId="{DF6678F8-4F85-488B-B919-FA7E2EC6DABC}" dt="2023-10-14T17:09:39.381" v="4101"/>
          <ac:picMkLst>
            <pc:docMk/>
            <pc:sldMk cId="3097013568" sldId="322"/>
            <ac:picMk id="149" creationId="{32C82480-56C1-2258-51C3-FCB89A90113E}"/>
          </ac:picMkLst>
        </pc:picChg>
        <pc:picChg chg="add mod">
          <ac:chgData name="KevCla12" userId="ef2eb634-4620-450f-93cc-80cc93397e60" providerId="ADAL" clId="{DF6678F8-4F85-488B-B919-FA7E2EC6DABC}" dt="2023-10-14T17:09:39.381" v="4101"/>
          <ac:picMkLst>
            <pc:docMk/>
            <pc:sldMk cId="3097013568" sldId="322"/>
            <ac:picMk id="150" creationId="{C98191F8-A993-272E-8DA0-DD7FD26AC98D}"/>
          </ac:picMkLst>
        </pc:picChg>
        <pc:picChg chg="add mod">
          <ac:chgData name="KevCla12" userId="ef2eb634-4620-450f-93cc-80cc93397e60" providerId="ADAL" clId="{DF6678F8-4F85-488B-B919-FA7E2EC6DABC}" dt="2023-10-14T17:09:39.381" v="4101"/>
          <ac:picMkLst>
            <pc:docMk/>
            <pc:sldMk cId="3097013568" sldId="322"/>
            <ac:picMk id="151" creationId="{397CE03E-7E39-8C3C-70FA-63042E762EBA}"/>
          </ac:picMkLst>
        </pc:picChg>
        <pc:picChg chg="add mod">
          <ac:chgData name="KevCla12" userId="ef2eb634-4620-450f-93cc-80cc93397e60" providerId="ADAL" clId="{DF6678F8-4F85-488B-B919-FA7E2EC6DABC}" dt="2023-10-14T17:09:39.381" v="4101"/>
          <ac:picMkLst>
            <pc:docMk/>
            <pc:sldMk cId="3097013568" sldId="322"/>
            <ac:picMk id="152" creationId="{7EBE498C-0B32-A9C2-956D-8D2B20A85791}"/>
          </ac:picMkLst>
        </pc:picChg>
        <pc:cxnChg chg="mod">
          <ac:chgData name="KevCla12" userId="ef2eb634-4620-450f-93cc-80cc93397e60" providerId="ADAL" clId="{DF6678F8-4F85-488B-B919-FA7E2EC6DABC}" dt="2023-10-14T16:58:30.785" v="3743"/>
          <ac:cxnSpMkLst>
            <pc:docMk/>
            <pc:sldMk cId="3097013568" sldId="322"/>
            <ac:cxnSpMk id="11" creationId="{1A9145B9-D5AE-4539-1752-3C1FCCDA0AAA}"/>
          </ac:cxnSpMkLst>
        </pc:cxnChg>
        <pc:cxnChg chg="add del mod">
          <ac:chgData name="KevCla12" userId="ef2eb634-4620-450f-93cc-80cc93397e60" providerId="ADAL" clId="{DF6678F8-4F85-488B-B919-FA7E2EC6DABC}" dt="2023-10-15T11:30:34.049" v="4987" actId="478"/>
          <ac:cxnSpMkLst>
            <pc:docMk/>
            <pc:sldMk cId="3097013568" sldId="322"/>
            <ac:cxnSpMk id="11" creationId="{D919FF3E-A422-AD1E-6A1C-3125E85A9A6F}"/>
          </ac:cxnSpMkLst>
        </pc:cxnChg>
        <pc:cxnChg chg="mod">
          <ac:chgData name="KevCla12" userId="ef2eb634-4620-450f-93cc-80cc93397e60" providerId="ADAL" clId="{DF6678F8-4F85-488B-B919-FA7E2EC6DABC}" dt="2023-10-14T16:58:30.785" v="3743"/>
          <ac:cxnSpMkLst>
            <pc:docMk/>
            <pc:sldMk cId="3097013568" sldId="322"/>
            <ac:cxnSpMk id="13" creationId="{E291C393-F58B-BEB9-11DA-B89965732C53}"/>
          </ac:cxnSpMkLst>
        </pc:cxnChg>
        <pc:cxnChg chg="mod">
          <ac:chgData name="KevCla12" userId="ef2eb634-4620-450f-93cc-80cc93397e60" providerId="ADAL" clId="{DF6678F8-4F85-488B-B919-FA7E2EC6DABC}" dt="2023-10-14T16:58:30.785" v="3743"/>
          <ac:cxnSpMkLst>
            <pc:docMk/>
            <pc:sldMk cId="3097013568" sldId="322"/>
            <ac:cxnSpMk id="14" creationId="{FF636575-EA03-3454-EF20-78F7D4D08C16}"/>
          </ac:cxnSpMkLst>
        </pc:cxnChg>
        <pc:cxnChg chg="mod">
          <ac:chgData name="KevCla12" userId="ef2eb634-4620-450f-93cc-80cc93397e60" providerId="ADAL" clId="{DF6678F8-4F85-488B-B919-FA7E2EC6DABC}" dt="2023-10-14T16:58:30.785" v="3743"/>
          <ac:cxnSpMkLst>
            <pc:docMk/>
            <pc:sldMk cId="3097013568" sldId="322"/>
            <ac:cxnSpMk id="15" creationId="{9572E336-4A4C-0839-6043-1C281A736624}"/>
          </ac:cxnSpMkLst>
        </pc:cxnChg>
        <pc:cxnChg chg="mod">
          <ac:chgData name="KevCla12" userId="ef2eb634-4620-450f-93cc-80cc93397e60" providerId="ADAL" clId="{DF6678F8-4F85-488B-B919-FA7E2EC6DABC}" dt="2023-10-14T16:58:30.785" v="3743"/>
          <ac:cxnSpMkLst>
            <pc:docMk/>
            <pc:sldMk cId="3097013568" sldId="322"/>
            <ac:cxnSpMk id="16" creationId="{6420F3AA-5EEF-20D2-F3E0-18769F8CF46E}"/>
          </ac:cxnSpMkLst>
        </pc:cxnChg>
        <pc:cxnChg chg="add mod">
          <ac:chgData name="KevCla12" userId="ef2eb634-4620-450f-93cc-80cc93397e60" providerId="ADAL" clId="{DF6678F8-4F85-488B-B919-FA7E2EC6DABC}" dt="2023-10-14T17:01:17.549" v="3848" actId="1036"/>
          <ac:cxnSpMkLst>
            <pc:docMk/>
            <pc:sldMk cId="3097013568" sldId="322"/>
            <ac:cxnSpMk id="63" creationId="{84A0F3AE-61C7-AE63-9643-24798DAE8B81}"/>
          </ac:cxnSpMkLst>
        </pc:cxnChg>
        <pc:cxnChg chg="add mod">
          <ac:chgData name="KevCla12" userId="ef2eb634-4620-450f-93cc-80cc93397e60" providerId="ADAL" clId="{DF6678F8-4F85-488B-B919-FA7E2EC6DABC}" dt="2023-10-14T17:01:17.549" v="3848" actId="1036"/>
          <ac:cxnSpMkLst>
            <pc:docMk/>
            <pc:sldMk cId="3097013568" sldId="322"/>
            <ac:cxnSpMk id="64" creationId="{A894857E-C050-11D1-5948-C71D0C3B947A}"/>
          </ac:cxnSpMkLst>
        </pc:cxnChg>
        <pc:cxnChg chg="add mod">
          <ac:chgData name="KevCla12" userId="ef2eb634-4620-450f-93cc-80cc93397e60" providerId="ADAL" clId="{DF6678F8-4F85-488B-B919-FA7E2EC6DABC}" dt="2023-10-14T17:01:17.549" v="3848" actId="1036"/>
          <ac:cxnSpMkLst>
            <pc:docMk/>
            <pc:sldMk cId="3097013568" sldId="322"/>
            <ac:cxnSpMk id="65" creationId="{B0439868-35D4-6579-87D9-222A3B826B8B}"/>
          </ac:cxnSpMkLst>
        </pc:cxnChg>
        <pc:cxnChg chg="add mod">
          <ac:chgData name="KevCla12" userId="ef2eb634-4620-450f-93cc-80cc93397e60" providerId="ADAL" clId="{DF6678F8-4F85-488B-B919-FA7E2EC6DABC}" dt="2023-10-14T17:01:17.549" v="3848" actId="1036"/>
          <ac:cxnSpMkLst>
            <pc:docMk/>
            <pc:sldMk cId="3097013568" sldId="322"/>
            <ac:cxnSpMk id="66" creationId="{A65B02A2-A081-9B23-2D80-F3B6F8DE1624}"/>
          </ac:cxnSpMkLst>
        </pc:cxnChg>
        <pc:cxnChg chg="add mod">
          <ac:chgData name="KevCla12" userId="ef2eb634-4620-450f-93cc-80cc93397e60" providerId="ADAL" clId="{DF6678F8-4F85-488B-B919-FA7E2EC6DABC}" dt="2023-10-14T17:08:52.254" v="4097" actId="14100"/>
          <ac:cxnSpMkLst>
            <pc:docMk/>
            <pc:sldMk cId="3097013568" sldId="322"/>
            <ac:cxnSpMk id="110" creationId="{EE6B7E79-024A-1F09-870F-4F1586BEBE19}"/>
          </ac:cxnSpMkLst>
        </pc:cxnChg>
        <pc:cxnChg chg="add mod">
          <ac:chgData name="KevCla12" userId="ef2eb634-4620-450f-93cc-80cc93397e60" providerId="ADAL" clId="{DF6678F8-4F85-488B-B919-FA7E2EC6DABC}" dt="2023-10-14T17:09:39.381" v="4101"/>
          <ac:cxnSpMkLst>
            <pc:docMk/>
            <pc:sldMk cId="3097013568" sldId="322"/>
            <ac:cxnSpMk id="140" creationId="{E0ADA380-B166-78D7-3BC4-BB3F379061CC}"/>
          </ac:cxnSpMkLst>
        </pc:cxnChg>
        <pc:cxnChg chg="add mod">
          <ac:chgData name="KevCla12" userId="ef2eb634-4620-450f-93cc-80cc93397e60" providerId="ADAL" clId="{DF6678F8-4F85-488B-B919-FA7E2EC6DABC}" dt="2023-10-14T17:12:40.566" v="4130" actId="693"/>
          <ac:cxnSpMkLst>
            <pc:docMk/>
            <pc:sldMk cId="3097013568" sldId="322"/>
            <ac:cxnSpMk id="159" creationId="{9E711482-09EF-86DF-FD45-0AB8FB7BB177}"/>
          </ac:cxnSpMkLst>
        </pc:cxnChg>
        <pc:extLst>
          <p:ext xmlns:p="http://schemas.openxmlformats.org/presentationml/2006/main" uri="{D6D511B9-2390-475A-947B-AFAB55BFBCF1}">
            <pc226:cmChg xmlns:pc226="http://schemas.microsoft.com/office/powerpoint/2022/06/main/command" chg="mod">
              <pc226:chgData name="KevCla12" userId="ef2eb634-4620-450f-93cc-80cc93397e60" providerId="ADAL" clId="{DF6678F8-4F85-488B-B919-FA7E2EC6DABC}" dt="2023-10-17T14:29:17.779" v="10281"/>
              <pc2:cmMkLst xmlns:pc2="http://schemas.microsoft.com/office/powerpoint/2019/9/main/command">
                <pc:docMk/>
                <pc:sldMk cId="3097013568" sldId="322"/>
                <pc2:cmMk id="{DF21C249-E5A7-4DB7-8431-4FD2E07A298A}"/>
              </pc2:cmMkLst>
            </pc226:cmChg>
          </p:ext>
        </pc:extLst>
      </pc:sldChg>
      <pc:sldChg chg="modSp new del mod ord">
        <pc:chgData name="KevCla12" userId="ef2eb634-4620-450f-93cc-80cc93397e60" providerId="ADAL" clId="{DF6678F8-4F85-488B-B919-FA7E2EC6DABC}" dt="2023-10-15T12:02:08.455" v="5242" actId="47"/>
        <pc:sldMkLst>
          <pc:docMk/>
          <pc:sldMk cId="1402220539" sldId="323"/>
        </pc:sldMkLst>
        <pc:spChg chg="mod">
          <ac:chgData name="KevCla12" userId="ef2eb634-4620-450f-93cc-80cc93397e60" providerId="ADAL" clId="{DF6678F8-4F85-488B-B919-FA7E2EC6DABC}" dt="2023-10-13T17:18:06.256" v="281" actId="20577"/>
          <ac:spMkLst>
            <pc:docMk/>
            <pc:sldMk cId="1402220539" sldId="323"/>
            <ac:spMk id="5" creationId="{90E876A5-3286-BD67-3DCB-709DE51F05DD}"/>
          </ac:spMkLst>
        </pc:spChg>
      </pc:sldChg>
      <pc:sldChg chg="addSp delSp modSp new mod modCm">
        <pc:chgData name="KevCla12" userId="ef2eb634-4620-450f-93cc-80cc93397e60" providerId="ADAL" clId="{DF6678F8-4F85-488B-B919-FA7E2EC6DABC}" dt="2023-10-17T14:29:25.514" v="10282"/>
        <pc:sldMkLst>
          <pc:docMk/>
          <pc:sldMk cId="3524675133" sldId="324"/>
        </pc:sldMkLst>
        <pc:spChg chg="mod">
          <ac:chgData name="KevCla12" userId="ef2eb634-4620-450f-93cc-80cc93397e60" providerId="ADAL" clId="{DF6678F8-4F85-488B-B919-FA7E2EC6DABC}" dt="2023-10-17T14:16:59.869" v="9533"/>
          <ac:spMkLst>
            <pc:docMk/>
            <pc:sldMk cId="3524675133" sldId="324"/>
            <ac:spMk id="2" creationId="{5906ABD2-70D0-FD9C-E4C7-81A1E91EAD70}"/>
          </ac:spMkLst>
        </pc:spChg>
        <pc:spChg chg="del mod">
          <ac:chgData name="KevCla12" userId="ef2eb634-4620-450f-93cc-80cc93397e60" providerId="ADAL" clId="{DF6678F8-4F85-488B-B919-FA7E2EC6DABC}" dt="2023-10-14T15:41:58.989" v="2244" actId="478"/>
          <ac:spMkLst>
            <pc:docMk/>
            <pc:sldMk cId="3524675133" sldId="324"/>
            <ac:spMk id="3" creationId="{A00C7A72-B8D8-D4B9-6A38-0FA20A1EE383}"/>
          </ac:spMkLst>
        </pc:spChg>
        <pc:spChg chg="mod">
          <ac:chgData name="KevCla12" userId="ef2eb634-4620-450f-93cc-80cc93397e60" providerId="ADAL" clId="{DF6678F8-4F85-488B-B919-FA7E2EC6DABC}" dt="2023-10-14T16:03:55.962" v="2718" actId="20577"/>
          <ac:spMkLst>
            <pc:docMk/>
            <pc:sldMk cId="3524675133" sldId="324"/>
            <ac:spMk id="5" creationId="{F9F9AED1-AC1A-DA47-7AC0-B87D77ED626A}"/>
          </ac:spMkLst>
        </pc:spChg>
        <pc:spChg chg="add mod">
          <ac:chgData name="KevCla12" userId="ef2eb634-4620-450f-93cc-80cc93397e60" providerId="ADAL" clId="{DF6678F8-4F85-488B-B919-FA7E2EC6DABC}" dt="2023-10-14T15:28:47.840" v="1909"/>
          <ac:spMkLst>
            <pc:docMk/>
            <pc:sldMk cId="3524675133" sldId="324"/>
            <ac:spMk id="9" creationId="{533064AA-C889-832C-35E0-570E48C1650C}"/>
          </ac:spMkLst>
        </pc:spChg>
        <pc:spChg chg="add mod">
          <ac:chgData name="KevCla12" userId="ef2eb634-4620-450f-93cc-80cc93397e60" providerId="ADAL" clId="{DF6678F8-4F85-488B-B919-FA7E2EC6DABC}" dt="2023-10-14T15:28:47.840" v="1909"/>
          <ac:spMkLst>
            <pc:docMk/>
            <pc:sldMk cId="3524675133" sldId="324"/>
            <ac:spMk id="10" creationId="{E7C94101-8FC2-CDC6-CDD0-B332EDA9111F}"/>
          </ac:spMkLst>
        </pc:spChg>
        <pc:spChg chg="add mod">
          <ac:chgData name="KevCla12" userId="ef2eb634-4620-450f-93cc-80cc93397e60" providerId="ADAL" clId="{DF6678F8-4F85-488B-B919-FA7E2EC6DABC}" dt="2023-10-14T15:28:47.840" v="1909"/>
          <ac:spMkLst>
            <pc:docMk/>
            <pc:sldMk cId="3524675133" sldId="324"/>
            <ac:spMk id="11" creationId="{F68F6DF6-C446-BA88-E207-14B2CD24C10C}"/>
          </ac:spMkLst>
        </pc:spChg>
        <pc:spChg chg="add mod">
          <ac:chgData name="KevCla12" userId="ef2eb634-4620-450f-93cc-80cc93397e60" providerId="ADAL" clId="{DF6678F8-4F85-488B-B919-FA7E2EC6DABC}" dt="2023-10-14T15:28:47.840" v="1909"/>
          <ac:spMkLst>
            <pc:docMk/>
            <pc:sldMk cId="3524675133" sldId="324"/>
            <ac:spMk id="12" creationId="{D17AE7F0-72C4-EAC7-3F52-21A13E20BF4C}"/>
          </ac:spMkLst>
        </pc:spChg>
        <pc:spChg chg="add mod">
          <ac:chgData name="KevCla12" userId="ef2eb634-4620-450f-93cc-80cc93397e60" providerId="ADAL" clId="{DF6678F8-4F85-488B-B919-FA7E2EC6DABC}" dt="2023-10-14T15:28:47.840" v="1909"/>
          <ac:spMkLst>
            <pc:docMk/>
            <pc:sldMk cId="3524675133" sldId="324"/>
            <ac:spMk id="13" creationId="{44E6AB90-8695-C904-F02C-58FB230D8A38}"/>
          </ac:spMkLst>
        </pc:spChg>
        <pc:spChg chg="add mod">
          <ac:chgData name="KevCla12" userId="ef2eb634-4620-450f-93cc-80cc93397e60" providerId="ADAL" clId="{DF6678F8-4F85-488B-B919-FA7E2EC6DABC}" dt="2023-10-14T15:28:47.840" v="1909"/>
          <ac:spMkLst>
            <pc:docMk/>
            <pc:sldMk cId="3524675133" sldId="324"/>
            <ac:spMk id="14" creationId="{351C211C-72CA-B944-8EB6-0EFEA073807C}"/>
          </ac:spMkLst>
        </pc:spChg>
        <pc:spChg chg="add mod">
          <ac:chgData name="KevCla12" userId="ef2eb634-4620-450f-93cc-80cc93397e60" providerId="ADAL" clId="{DF6678F8-4F85-488B-B919-FA7E2EC6DABC}" dt="2023-10-14T15:28:47.840" v="1909"/>
          <ac:spMkLst>
            <pc:docMk/>
            <pc:sldMk cId="3524675133" sldId="324"/>
            <ac:spMk id="15" creationId="{8F510D36-56EA-5CDE-D254-3B5ABBF897A7}"/>
          </ac:spMkLst>
        </pc:spChg>
        <pc:spChg chg="add mod">
          <ac:chgData name="KevCla12" userId="ef2eb634-4620-450f-93cc-80cc93397e60" providerId="ADAL" clId="{DF6678F8-4F85-488B-B919-FA7E2EC6DABC}" dt="2023-10-14T15:28:47.840" v="1909"/>
          <ac:spMkLst>
            <pc:docMk/>
            <pc:sldMk cId="3524675133" sldId="324"/>
            <ac:spMk id="16" creationId="{19D5089B-24C8-67E2-9B1C-430B1251B638}"/>
          </ac:spMkLst>
        </pc:spChg>
        <pc:spChg chg="add mod">
          <ac:chgData name="KevCla12" userId="ef2eb634-4620-450f-93cc-80cc93397e60" providerId="ADAL" clId="{DF6678F8-4F85-488B-B919-FA7E2EC6DABC}" dt="2023-10-14T15:28:47.840" v="1909"/>
          <ac:spMkLst>
            <pc:docMk/>
            <pc:sldMk cId="3524675133" sldId="324"/>
            <ac:spMk id="17" creationId="{A4BF93F3-CBC8-FBEB-9370-DE48768B0096}"/>
          </ac:spMkLst>
        </pc:spChg>
        <pc:spChg chg="add mod">
          <ac:chgData name="KevCla12" userId="ef2eb634-4620-450f-93cc-80cc93397e60" providerId="ADAL" clId="{DF6678F8-4F85-488B-B919-FA7E2EC6DABC}" dt="2023-10-14T15:28:47.840" v="1909"/>
          <ac:spMkLst>
            <pc:docMk/>
            <pc:sldMk cId="3524675133" sldId="324"/>
            <ac:spMk id="18" creationId="{18EE299E-6516-DF71-170A-826EA935B025}"/>
          </ac:spMkLst>
        </pc:spChg>
        <pc:spChg chg="add mod">
          <ac:chgData name="KevCla12" userId="ef2eb634-4620-450f-93cc-80cc93397e60" providerId="ADAL" clId="{DF6678F8-4F85-488B-B919-FA7E2EC6DABC}" dt="2023-10-14T15:28:47.840" v="1909"/>
          <ac:spMkLst>
            <pc:docMk/>
            <pc:sldMk cId="3524675133" sldId="324"/>
            <ac:spMk id="19" creationId="{358822C5-FF9A-F787-082C-1C316CBB0A22}"/>
          </ac:spMkLst>
        </pc:spChg>
        <pc:spChg chg="add mod">
          <ac:chgData name="KevCla12" userId="ef2eb634-4620-450f-93cc-80cc93397e60" providerId="ADAL" clId="{DF6678F8-4F85-488B-B919-FA7E2EC6DABC}" dt="2023-10-14T15:28:47.840" v="1909"/>
          <ac:spMkLst>
            <pc:docMk/>
            <pc:sldMk cId="3524675133" sldId="324"/>
            <ac:spMk id="20" creationId="{ECDD8EB4-9662-5E0D-4523-4D27EFDB5045}"/>
          </ac:spMkLst>
        </pc:spChg>
        <pc:spChg chg="add mod">
          <ac:chgData name="KevCla12" userId="ef2eb634-4620-450f-93cc-80cc93397e60" providerId="ADAL" clId="{DF6678F8-4F85-488B-B919-FA7E2EC6DABC}" dt="2023-10-14T15:28:47.840" v="1909"/>
          <ac:spMkLst>
            <pc:docMk/>
            <pc:sldMk cId="3524675133" sldId="324"/>
            <ac:spMk id="21" creationId="{F1D43F72-DFCE-010A-C2A1-EC25AA92AC0A}"/>
          </ac:spMkLst>
        </pc:spChg>
        <pc:spChg chg="add mod">
          <ac:chgData name="KevCla12" userId="ef2eb634-4620-450f-93cc-80cc93397e60" providerId="ADAL" clId="{DF6678F8-4F85-488B-B919-FA7E2EC6DABC}" dt="2023-10-14T15:58:25.455" v="2285" actId="1076"/>
          <ac:spMkLst>
            <pc:docMk/>
            <pc:sldMk cId="3524675133" sldId="324"/>
            <ac:spMk id="22" creationId="{8288A74D-A55B-69B3-F228-BA4FE47D978F}"/>
          </ac:spMkLst>
        </pc:spChg>
        <pc:spChg chg="add mod">
          <ac:chgData name="KevCla12" userId="ef2eb634-4620-450f-93cc-80cc93397e60" providerId="ADAL" clId="{DF6678F8-4F85-488B-B919-FA7E2EC6DABC}" dt="2023-10-14T15:28:47.840" v="1909"/>
          <ac:spMkLst>
            <pc:docMk/>
            <pc:sldMk cId="3524675133" sldId="324"/>
            <ac:spMk id="23" creationId="{B8675639-3DF3-1F1B-05A1-F3B1AD35C81A}"/>
          </ac:spMkLst>
        </pc:spChg>
        <pc:spChg chg="add mod">
          <ac:chgData name="KevCla12" userId="ef2eb634-4620-450f-93cc-80cc93397e60" providerId="ADAL" clId="{DF6678F8-4F85-488B-B919-FA7E2EC6DABC}" dt="2023-10-14T15:28:47.840" v="1909"/>
          <ac:spMkLst>
            <pc:docMk/>
            <pc:sldMk cId="3524675133" sldId="324"/>
            <ac:spMk id="24" creationId="{4C1755CF-CD88-D10B-E579-760E27E69BFC}"/>
          </ac:spMkLst>
        </pc:spChg>
        <pc:spChg chg="add mod">
          <ac:chgData name="KevCla12" userId="ef2eb634-4620-450f-93cc-80cc93397e60" providerId="ADAL" clId="{DF6678F8-4F85-488B-B919-FA7E2EC6DABC}" dt="2023-10-14T15:28:47.840" v="1909"/>
          <ac:spMkLst>
            <pc:docMk/>
            <pc:sldMk cId="3524675133" sldId="324"/>
            <ac:spMk id="26" creationId="{05017580-DA45-923E-D75D-540C745A52D2}"/>
          </ac:spMkLst>
        </pc:spChg>
        <pc:spChg chg="add del mod">
          <ac:chgData name="KevCla12" userId="ef2eb634-4620-450f-93cc-80cc93397e60" providerId="ADAL" clId="{DF6678F8-4F85-488B-B919-FA7E2EC6DABC}" dt="2023-10-14T15:41:26.123" v="2233" actId="478"/>
          <ac:spMkLst>
            <pc:docMk/>
            <pc:sldMk cId="3524675133" sldId="324"/>
            <ac:spMk id="27" creationId="{24BC5837-DC7F-00D9-0908-969D9F7D9600}"/>
          </ac:spMkLst>
        </pc:spChg>
        <pc:spChg chg="add del mod">
          <ac:chgData name="KevCla12" userId="ef2eb634-4620-450f-93cc-80cc93397e60" providerId="ADAL" clId="{DF6678F8-4F85-488B-B919-FA7E2EC6DABC}" dt="2023-10-14T15:39:54.323" v="2125" actId="478"/>
          <ac:spMkLst>
            <pc:docMk/>
            <pc:sldMk cId="3524675133" sldId="324"/>
            <ac:spMk id="28" creationId="{7D2139E1-2536-CE37-1C52-8E41B8CA8A5C}"/>
          </ac:spMkLst>
        </pc:spChg>
        <pc:spChg chg="add del mod">
          <ac:chgData name="KevCla12" userId="ef2eb634-4620-450f-93cc-80cc93397e60" providerId="ADAL" clId="{DF6678F8-4F85-488B-B919-FA7E2EC6DABC}" dt="2023-10-14T15:41:13.968" v="2213" actId="478"/>
          <ac:spMkLst>
            <pc:docMk/>
            <pc:sldMk cId="3524675133" sldId="324"/>
            <ac:spMk id="29" creationId="{9F293928-5F01-A3BB-28FA-1B9CCFA9CFDD}"/>
          </ac:spMkLst>
        </pc:spChg>
        <pc:spChg chg="add del mod ord">
          <ac:chgData name="KevCla12" userId="ef2eb634-4620-450f-93cc-80cc93397e60" providerId="ADAL" clId="{DF6678F8-4F85-488B-B919-FA7E2EC6DABC}" dt="2023-10-14T15:41:14.134" v="2214" actId="478"/>
          <ac:spMkLst>
            <pc:docMk/>
            <pc:sldMk cId="3524675133" sldId="324"/>
            <ac:spMk id="30" creationId="{308ABBDB-CB8B-6CC3-A2EA-AB7C88A0B3A1}"/>
          </ac:spMkLst>
        </pc:spChg>
        <pc:spChg chg="add del mod">
          <ac:chgData name="KevCla12" userId="ef2eb634-4620-450f-93cc-80cc93397e60" providerId="ADAL" clId="{DF6678F8-4F85-488B-B919-FA7E2EC6DABC}" dt="2023-10-14T15:42:23.444" v="2255" actId="478"/>
          <ac:spMkLst>
            <pc:docMk/>
            <pc:sldMk cId="3524675133" sldId="324"/>
            <ac:spMk id="31" creationId="{B67CA805-8BD6-71A8-DC40-59FB3276C616}"/>
          </ac:spMkLst>
        </pc:spChg>
        <pc:spChg chg="add del mod">
          <ac:chgData name="KevCla12" userId="ef2eb634-4620-450f-93cc-80cc93397e60" providerId="ADAL" clId="{DF6678F8-4F85-488B-B919-FA7E2EC6DABC}" dt="2023-10-14T15:42:39.225" v="2259" actId="478"/>
          <ac:spMkLst>
            <pc:docMk/>
            <pc:sldMk cId="3524675133" sldId="324"/>
            <ac:spMk id="32" creationId="{75C01D60-7039-E3F4-AA91-9D4BF340D9E7}"/>
          </ac:spMkLst>
        </pc:spChg>
        <pc:spChg chg="add mod">
          <ac:chgData name="KevCla12" userId="ef2eb634-4620-450f-93cc-80cc93397e60" providerId="ADAL" clId="{DF6678F8-4F85-488B-B919-FA7E2EC6DABC}" dt="2023-10-15T14:12:00.598" v="7619" actId="404"/>
          <ac:spMkLst>
            <pc:docMk/>
            <pc:sldMk cId="3524675133" sldId="324"/>
            <ac:spMk id="33" creationId="{06F2DB87-9A26-4AD5-BCCD-A917FAB6DB84}"/>
          </ac:spMkLst>
        </pc:spChg>
        <pc:spChg chg="add del mod">
          <ac:chgData name="KevCla12" userId="ef2eb634-4620-450f-93cc-80cc93397e60" providerId="ADAL" clId="{DF6678F8-4F85-488B-B919-FA7E2EC6DABC}" dt="2023-10-14T15:41:31.816" v="2236" actId="21"/>
          <ac:spMkLst>
            <pc:docMk/>
            <pc:sldMk cId="3524675133" sldId="324"/>
            <ac:spMk id="34" creationId="{55C02E59-F8E0-EFA8-2BCE-83AB69324E71}"/>
          </ac:spMkLst>
        </pc:spChg>
        <pc:spChg chg="add mod">
          <ac:chgData name="KevCla12" userId="ef2eb634-4620-450f-93cc-80cc93397e60" providerId="ADAL" clId="{DF6678F8-4F85-488B-B919-FA7E2EC6DABC}" dt="2023-10-14T15:41:40.375" v="2239"/>
          <ac:spMkLst>
            <pc:docMk/>
            <pc:sldMk cId="3524675133" sldId="324"/>
            <ac:spMk id="35" creationId="{95520E2E-B07A-4898-BE2D-5AB552ECE82B}"/>
          </ac:spMkLst>
        </pc:spChg>
        <pc:spChg chg="add mod">
          <ac:chgData name="KevCla12" userId="ef2eb634-4620-450f-93cc-80cc93397e60" providerId="ADAL" clId="{DF6678F8-4F85-488B-B919-FA7E2EC6DABC}" dt="2023-10-15T14:12:00.598" v="7619" actId="404"/>
          <ac:spMkLst>
            <pc:docMk/>
            <pc:sldMk cId="3524675133" sldId="324"/>
            <ac:spMk id="36" creationId="{947F2902-7CE5-E1D6-FA82-23239351B562}"/>
          </ac:spMkLst>
        </pc:spChg>
        <pc:spChg chg="add mod">
          <ac:chgData name="KevCla12" userId="ef2eb634-4620-450f-93cc-80cc93397e60" providerId="ADAL" clId="{DF6678F8-4F85-488B-B919-FA7E2EC6DABC}" dt="2023-10-15T14:12:00.598" v="7619" actId="404"/>
          <ac:spMkLst>
            <pc:docMk/>
            <pc:sldMk cId="3524675133" sldId="324"/>
            <ac:spMk id="37" creationId="{77A5ADBD-01E5-9F9F-BF21-03059B498CB2}"/>
          </ac:spMkLst>
        </pc:spChg>
        <pc:spChg chg="add mod">
          <ac:chgData name="KevCla12" userId="ef2eb634-4620-450f-93cc-80cc93397e60" providerId="ADAL" clId="{DF6678F8-4F85-488B-B919-FA7E2EC6DABC}" dt="2023-10-14T15:55:01.347" v="2282"/>
          <ac:spMkLst>
            <pc:docMk/>
            <pc:sldMk cId="3524675133" sldId="324"/>
            <ac:spMk id="38" creationId="{4BE88CC7-D40D-6D73-0064-443F32D315C5}"/>
          </ac:spMkLst>
        </pc:spChg>
        <pc:spChg chg="add del mod">
          <ac:chgData name="KevCla12" userId="ef2eb634-4620-450f-93cc-80cc93397e60" providerId="ADAL" clId="{DF6678F8-4F85-488B-B919-FA7E2EC6DABC}" dt="2023-10-14T15:58:41.499" v="2292" actId="478"/>
          <ac:spMkLst>
            <pc:docMk/>
            <pc:sldMk cId="3524675133" sldId="324"/>
            <ac:spMk id="41" creationId="{E3DA37FC-2776-2650-E228-9702E1DDFAEE}"/>
          </ac:spMkLst>
        </pc:spChg>
        <pc:spChg chg="add mod">
          <ac:chgData name="KevCla12" userId="ef2eb634-4620-450f-93cc-80cc93397e60" providerId="ADAL" clId="{DF6678F8-4F85-488B-B919-FA7E2EC6DABC}" dt="2023-10-15T14:12:00.598" v="7619" actId="404"/>
          <ac:spMkLst>
            <pc:docMk/>
            <pc:sldMk cId="3524675133" sldId="324"/>
            <ac:spMk id="42" creationId="{12377E71-9DEC-B8FA-3C08-0C4F77DB46F8}"/>
          </ac:spMkLst>
        </pc:spChg>
        <pc:spChg chg="add mod">
          <ac:chgData name="KevCla12" userId="ef2eb634-4620-450f-93cc-80cc93397e60" providerId="ADAL" clId="{DF6678F8-4F85-488B-B919-FA7E2EC6DABC}" dt="2023-10-15T14:12:00.598" v="7619" actId="404"/>
          <ac:spMkLst>
            <pc:docMk/>
            <pc:sldMk cId="3524675133" sldId="324"/>
            <ac:spMk id="43" creationId="{044D71FE-EABA-4E44-7523-1AAA9F261E5E}"/>
          </ac:spMkLst>
        </pc:spChg>
        <pc:spChg chg="add mod">
          <ac:chgData name="KevCla12" userId="ef2eb634-4620-450f-93cc-80cc93397e60" providerId="ADAL" clId="{DF6678F8-4F85-488B-B919-FA7E2EC6DABC}" dt="2023-10-15T14:12:00.598" v="7619" actId="404"/>
          <ac:spMkLst>
            <pc:docMk/>
            <pc:sldMk cId="3524675133" sldId="324"/>
            <ac:spMk id="44" creationId="{DFA5439F-E549-9F82-1C10-5B8BA7A499FD}"/>
          </ac:spMkLst>
        </pc:spChg>
        <pc:spChg chg="add mod ord">
          <ac:chgData name="KevCla12" userId="ef2eb634-4620-450f-93cc-80cc93397e60" providerId="ADAL" clId="{DF6678F8-4F85-488B-B919-FA7E2EC6DABC}" dt="2023-10-14T16:01:38.889" v="2671" actId="167"/>
          <ac:spMkLst>
            <pc:docMk/>
            <pc:sldMk cId="3524675133" sldId="324"/>
            <ac:spMk id="45" creationId="{C837E93F-7FCA-E927-E4F2-6E05F8C70843}"/>
          </ac:spMkLst>
        </pc:spChg>
        <pc:spChg chg="add mod ord">
          <ac:chgData name="KevCla12" userId="ef2eb634-4620-450f-93cc-80cc93397e60" providerId="ADAL" clId="{DF6678F8-4F85-488B-B919-FA7E2EC6DABC}" dt="2023-10-14T16:03:32.881" v="2699" actId="167"/>
          <ac:spMkLst>
            <pc:docMk/>
            <pc:sldMk cId="3524675133" sldId="324"/>
            <ac:spMk id="49" creationId="{9F3E4115-1AB1-BFDC-AD73-57587DD19E4A}"/>
          </ac:spMkLst>
        </pc:spChg>
        <pc:picChg chg="add mod">
          <ac:chgData name="KevCla12" userId="ef2eb634-4620-450f-93cc-80cc93397e60" providerId="ADAL" clId="{DF6678F8-4F85-488B-B919-FA7E2EC6DABC}" dt="2023-10-14T15:28:47.840" v="1909"/>
          <ac:picMkLst>
            <pc:docMk/>
            <pc:sldMk cId="3524675133" sldId="324"/>
            <ac:picMk id="25" creationId="{E0923BB1-2941-3483-A866-053156483573}"/>
          </ac:picMkLst>
        </pc:picChg>
        <pc:picChg chg="add mod">
          <ac:chgData name="KevCla12" userId="ef2eb634-4620-450f-93cc-80cc93397e60" providerId="ADAL" clId="{DF6678F8-4F85-488B-B919-FA7E2EC6DABC}" dt="2023-10-14T15:55:01.347" v="2282"/>
          <ac:picMkLst>
            <pc:docMk/>
            <pc:sldMk cId="3524675133" sldId="324"/>
            <ac:picMk id="39" creationId="{EC4BBB6E-0DA6-20F5-6B75-88439DFBC534}"/>
          </ac:picMkLst>
        </pc:picChg>
        <pc:cxnChg chg="add mod">
          <ac:chgData name="KevCla12" userId="ef2eb634-4620-450f-93cc-80cc93397e60" providerId="ADAL" clId="{DF6678F8-4F85-488B-B919-FA7E2EC6DABC}" dt="2023-10-14T15:28:47.840" v="1909"/>
          <ac:cxnSpMkLst>
            <pc:docMk/>
            <pc:sldMk cId="3524675133" sldId="324"/>
            <ac:cxnSpMk id="8" creationId="{A09FF135-0C96-A152-CA81-A72FA81A50F4}"/>
          </ac:cxnSpMkLst>
        </pc:cxnChg>
        <pc:cxnChg chg="add mod">
          <ac:chgData name="KevCla12" userId="ef2eb634-4620-450f-93cc-80cc93397e60" providerId="ADAL" clId="{DF6678F8-4F85-488B-B919-FA7E2EC6DABC}" dt="2023-10-14T16:02:03.261" v="2687" actId="1035"/>
          <ac:cxnSpMkLst>
            <pc:docMk/>
            <pc:sldMk cId="3524675133" sldId="324"/>
            <ac:cxnSpMk id="46" creationId="{804B6D7B-5C09-F27D-2CD8-9A3C1BD65A86}"/>
          </ac:cxnSpMkLst>
        </pc:cxnChg>
        <pc:cxnChg chg="add mod">
          <ac:chgData name="KevCla12" userId="ef2eb634-4620-450f-93cc-80cc93397e60" providerId="ADAL" clId="{DF6678F8-4F85-488B-B919-FA7E2EC6DABC}" dt="2023-10-14T16:02:15.516" v="2696" actId="1037"/>
          <ac:cxnSpMkLst>
            <pc:docMk/>
            <pc:sldMk cId="3524675133" sldId="324"/>
            <ac:cxnSpMk id="47" creationId="{E29322D7-318F-B96A-1FF3-37DE5FC7905E}"/>
          </ac:cxnSpMkLst>
        </pc:cxnChg>
        <pc:cxnChg chg="add mod">
          <ac:chgData name="KevCla12" userId="ef2eb634-4620-450f-93cc-80cc93397e60" providerId="ADAL" clId="{DF6678F8-4F85-488B-B919-FA7E2EC6DABC}" dt="2023-10-14T16:02:26.070" v="2697"/>
          <ac:cxnSpMkLst>
            <pc:docMk/>
            <pc:sldMk cId="3524675133" sldId="324"/>
            <ac:cxnSpMk id="48" creationId="{6C54567A-9AC8-423F-E0FA-E799A3AD332D}"/>
          </ac:cxnSpMkLst>
        </pc:cxnChg>
        <pc:extLst>
          <p:ext xmlns:p="http://schemas.openxmlformats.org/presentationml/2006/main" uri="{D6D511B9-2390-475A-947B-AFAB55BFBCF1}">
            <pc226:cmChg xmlns:pc226="http://schemas.microsoft.com/office/powerpoint/2022/06/main/command" chg="mod">
              <pc226:chgData name="KevCla12" userId="ef2eb634-4620-450f-93cc-80cc93397e60" providerId="ADAL" clId="{DF6678F8-4F85-488B-B919-FA7E2EC6DABC}" dt="2023-10-17T14:29:25.514" v="10282"/>
              <pc2:cmMkLst xmlns:pc2="http://schemas.microsoft.com/office/powerpoint/2019/9/main/command">
                <pc:docMk/>
                <pc:sldMk cId="3524675133" sldId="324"/>
                <pc2:cmMk id="{76791C9C-9BE5-4DE9-B281-21121CF2302F}"/>
              </pc2:cmMkLst>
            </pc226:cmChg>
          </p:ext>
        </pc:extLst>
      </pc:sldChg>
      <pc:sldChg chg="modSp new del mod ord">
        <pc:chgData name="KevCla12" userId="ef2eb634-4620-450f-93cc-80cc93397e60" providerId="ADAL" clId="{DF6678F8-4F85-488B-B919-FA7E2EC6DABC}" dt="2023-10-15T10:52:10.001" v="4814" actId="47"/>
        <pc:sldMkLst>
          <pc:docMk/>
          <pc:sldMk cId="3639002349" sldId="325"/>
        </pc:sldMkLst>
        <pc:spChg chg="mod">
          <ac:chgData name="KevCla12" userId="ef2eb634-4620-450f-93cc-80cc93397e60" providerId="ADAL" clId="{DF6678F8-4F85-488B-B919-FA7E2EC6DABC}" dt="2023-10-13T17:19:55.437" v="425" actId="20577"/>
          <ac:spMkLst>
            <pc:docMk/>
            <pc:sldMk cId="3639002349" sldId="325"/>
            <ac:spMk id="5" creationId="{B41C4992-A141-F8B4-6935-E5EF70B65171}"/>
          </ac:spMkLst>
        </pc:spChg>
      </pc:sldChg>
      <pc:sldChg chg="modSp new del mod ord">
        <pc:chgData name="KevCla12" userId="ef2eb634-4620-450f-93cc-80cc93397e60" providerId="ADAL" clId="{DF6678F8-4F85-488B-B919-FA7E2EC6DABC}" dt="2023-10-15T10:52:09.115" v="4813" actId="47"/>
        <pc:sldMkLst>
          <pc:docMk/>
          <pc:sldMk cId="2839609046" sldId="326"/>
        </pc:sldMkLst>
        <pc:spChg chg="mod">
          <ac:chgData name="KevCla12" userId="ef2eb634-4620-450f-93cc-80cc93397e60" providerId="ADAL" clId="{DF6678F8-4F85-488B-B919-FA7E2EC6DABC}" dt="2023-10-13T17:33:45.088" v="575" actId="20577"/>
          <ac:spMkLst>
            <pc:docMk/>
            <pc:sldMk cId="2839609046" sldId="326"/>
            <ac:spMk id="3" creationId="{9A37A77D-C272-8987-BDD6-60F1CFD88A11}"/>
          </ac:spMkLst>
        </pc:spChg>
        <pc:spChg chg="mod">
          <ac:chgData name="KevCla12" userId="ef2eb634-4620-450f-93cc-80cc93397e60" providerId="ADAL" clId="{DF6678F8-4F85-488B-B919-FA7E2EC6DABC}" dt="2023-10-13T17:21:10.315" v="494" actId="20577"/>
          <ac:spMkLst>
            <pc:docMk/>
            <pc:sldMk cId="2839609046" sldId="326"/>
            <ac:spMk id="5" creationId="{F18B2C9E-98CD-BD2F-2CF3-3500C7C128C1}"/>
          </ac:spMkLst>
        </pc:spChg>
      </pc:sldChg>
      <pc:sldChg chg="addSp delSp modSp new mod ord">
        <pc:chgData name="KevCla12" userId="ef2eb634-4620-450f-93cc-80cc93397e60" providerId="ADAL" clId="{DF6678F8-4F85-488B-B919-FA7E2EC6DABC}" dt="2023-10-17T14:27:07.418" v="10259" actId="20577"/>
        <pc:sldMkLst>
          <pc:docMk/>
          <pc:sldMk cId="2669051759" sldId="327"/>
        </pc:sldMkLst>
        <pc:spChg chg="mod">
          <ac:chgData name="KevCla12" userId="ef2eb634-4620-450f-93cc-80cc93397e60" providerId="ADAL" clId="{DF6678F8-4F85-488B-B919-FA7E2EC6DABC}" dt="2023-10-17T14:27:07.418" v="10259" actId="20577"/>
          <ac:spMkLst>
            <pc:docMk/>
            <pc:sldMk cId="2669051759" sldId="327"/>
            <ac:spMk id="2" creationId="{829E3DBC-EECC-A778-4556-B15C2B0A5D09}"/>
          </ac:spMkLst>
        </pc:spChg>
        <pc:spChg chg="add del mod">
          <ac:chgData name="KevCla12" userId="ef2eb634-4620-450f-93cc-80cc93397e60" providerId="ADAL" clId="{DF6678F8-4F85-488B-B919-FA7E2EC6DABC}" dt="2023-10-15T11:18:29.282" v="4846" actId="11529"/>
          <ac:spMkLst>
            <pc:docMk/>
            <pc:sldMk cId="2669051759" sldId="327"/>
            <ac:spMk id="3" creationId="{30CFEF4B-D8AB-565C-78CE-7D6CFAC9B478}"/>
          </ac:spMkLst>
        </pc:spChg>
        <pc:spChg chg="del">
          <ac:chgData name="KevCla12" userId="ef2eb634-4620-450f-93cc-80cc93397e60" providerId="ADAL" clId="{DF6678F8-4F85-488B-B919-FA7E2EC6DABC}" dt="2023-10-14T11:15:18.476" v="657" actId="478"/>
          <ac:spMkLst>
            <pc:docMk/>
            <pc:sldMk cId="2669051759" sldId="327"/>
            <ac:spMk id="3" creationId="{51F61006-C234-F080-4932-90234558EBC4}"/>
          </ac:spMkLst>
        </pc:spChg>
        <pc:spChg chg="mod">
          <ac:chgData name="KevCla12" userId="ef2eb634-4620-450f-93cc-80cc93397e60" providerId="ADAL" clId="{DF6678F8-4F85-488B-B919-FA7E2EC6DABC}" dt="2023-10-13T17:20:30.076" v="464" actId="20577"/>
          <ac:spMkLst>
            <pc:docMk/>
            <pc:sldMk cId="2669051759" sldId="327"/>
            <ac:spMk id="5" creationId="{C374FB08-729E-1847-6AB0-2A1CD84AAD72}"/>
          </ac:spMkLst>
        </pc:spChg>
        <pc:spChg chg="add mod">
          <ac:chgData name="KevCla12" userId="ef2eb634-4620-450f-93cc-80cc93397e60" providerId="ADAL" clId="{DF6678F8-4F85-488B-B919-FA7E2EC6DABC}" dt="2023-10-15T11:18:48.119" v="4870" actId="1076"/>
          <ac:spMkLst>
            <pc:docMk/>
            <pc:sldMk cId="2669051759" sldId="327"/>
            <ac:spMk id="8" creationId="{E32FCB6B-1DB1-2BD5-8AF7-6EF1E3658E92}"/>
          </ac:spMkLst>
        </pc:spChg>
        <pc:spChg chg="add mod ord">
          <ac:chgData name="KevCla12" userId="ef2eb634-4620-450f-93cc-80cc93397e60" providerId="ADAL" clId="{DF6678F8-4F85-488B-B919-FA7E2EC6DABC}" dt="2023-10-14T11:57:34.989" v="1321" actId="164"/>
          <ac:spMkLst>
            <pc:docMk/>
            <pc:sldMk cId="2669051759" sldId="327"/>
            <ac:spMk id="10" creationId="{A02F4057-7F4B-9DF3-4788-E3D05C9A9BD6}"/>
          </ac:spMkLst>
        </pc:spChg>
        <pc:spChg chg="add mod">
          <ac:chgData name="KevCla12" userId="ef2eb634-4620-450f-93cc-80cc93397e60" providerId="ADAL" clId="{DF6678F8-4F85-488B-B919-FA7E2EC6DABC}" dt="2023-10-14T11:57:34.989" v="1321" actId="164"/>
          <ac:spMkLst>
            <pc:docMk/>
            <pc:sldMk cId="2669051759" sldId="327"/>
            <ac:spMk id="11" creationId="{9F35601D-10D7-78E4-72F0-4E554C0ACB80}"/>
          </ac:spMkLst>
        </pc:spChg>
        <pc:spChg chg="add mod">
          <ac:chgData name="KevCla12" userId="ef2eb634-4620-450f-93cc-80cc93397e60" providerId="ADAL" clId="{DF6678F8-4F85-488B-B919-FA7E2EC6DABC}" dt="2023-10-14T11:57:34.989" v="1321" actId="164"/>
          <ac:spMkLst>
            <pc:docMk/>
            <pc:sldMk cId="2669051759" sldId="327"/>
            <ac:spMk id="12" creationId="{B0D7DDF2-43E7-7455-D436-909A5ED387EB}"/>
          </ac:spMkLst>
        </pc:spChg>
        <pc:spChg chg="add mod ord">
          <ac:chgData name="KevCla12" userId="ef2eb634-4620-450f-93cc-80cc93397e60" providerId="ADAL" clId="{DF6678F8-4F85-488B-B919-FA7E2EC6DABC}" dt="2023-10-14T11:57:34.989" v="1321" actId="164"/>
          <ac:spMkLst>
            <pc:docMk/>
            <pc:sldMk cId="2669051759" sldId="327"/>
            <ac:spMk id="13" creationId="{EA08078C-2BA1-0B67-3502-19C8B22CB21F}"/>
          </ac:spMkLst>
        </pc:spChg>
        <pc:spChg chg="add mod ord">
          <ac:chgData name="KevCla12" userId="ef2eb634-4620-450f-93cc-80cc93397e60" providerId="ADAL" clId="{DF6678F8-4F85-488B-B919-FA7E2EC6DABC}" dt="2023-10-14T11:57:34.989" v="1321" actId="164"/>
          <ac:spMkLst>
            <pc:docMk/>
            <pc:sldMk cId="2669051759" sldId="327"/>
            <ac:spMk id="14" creationId="{0ACAB2BC-ACE9-55AE-0C08-57AC93B1C134}"/>
          </ac:spMkLst>
        </pc:spChg>
        <pc:spChg chg="add mod ord">
          <ac:chgData name="KevCla12" userId="ef2eb634-4620-450f-93cc-80cc93397e60" providerId="ADAL" clId="{DF6678F8-4F85-488B-B919-FA7E2EC6DABC}" dt="2023-10-14T11:57:34.989" v="1321" actId="164"/>
          <ac:spMkLst>
            <pc:docMk/>
            <pc:sldMk cId="2669051759" sldId="327"/>
            <ac:spMk id="15" creationId="{C24285A0-FC73-3907-6DEF-7A67A5A5E0D4}"/>
          </ac:spMkLst>
        </pc:spChg>
        <pc:spChg chg="add mod ord">
          <ac:chgData name="KevCla12" userId="ef2eb634-4620-450f-93cc-80cc93397e60" providerId="ADAL" clId="{DF6678F8-4F85-488B-B919-FA7E2EC6DABC}" dt="2023-10-14T11:57:34.989" v="1321" actId="164"/>
          <ac:spMkLst>
            <pc:docMk/>
            <pc:sldMk cId="2669051759" sldId="327"/>
            <ac:spMk id="16" creationId="{186D3223-0DC8-C2CB-742E-F9F67DB6E428}"/>
          </ac:spMkLst>
        </pc:spChg>
        <pc:spChg chg="add mod ord">
          <ac:chgData name="KevCla12" userId="ef2eb634-4620-450f-93cc-80cc93397e60" providerId="ADAL" clId="{DF6678F8-4F85-488B-B919-FA7E2EC6DABC}" dt="2023-10-14T11:57:34.989" v="1321" actId="164"/>
          <ac:spMkLst>
            <pc:docMk/>
            <pc:sldMk cId="2669051759" sldId="327"/>
            <ac:spMk id="17" creationId="{97836776-0C37-BE6B-EF60-EEABC6487398}"/>
          </ac:spMkLst>
        </pc:spChg>
        <pc:spChg chg="add mod ord">
          <ac:chgData name="KevCla12" userId="ef2eb634-4620-450f-93cc-80cc93397e60" providerId="ADAL" clId="{DF6678F8-4F85-488B-B919-FA7E2EC6DABC}" dt="2023-10-14T11:57:34.989" v="1321" actId="164"/>
          <ac:spMkLst>
            <pc:docMk/>
            <pc:sldMk cId="2669051759" sldId="327"/>
            <ac:spMk id="18" creationId="{DDFE1A6E-9696-CADA-D242-BD47E024D78A}"/>
          </ac:spMkLst>
        </pc:spChg>
        <pc:spChg chg="add mod ord">
          <ac:chgData name="KevCla12" userId="ef2eb634-4620-450f-93cc-80cc93397e60" providerId="ADAL" clId="{DF6678F8-4F85-488B-B919-FA7E2EC6DABC}" dt="2023-10-14T11:57:34.989" v="1321" actId="164"/>
          <ac:spMkLst>
            <pc:docMk/>
            <pc:sldMk cId="2669051759" sldId="327"/>
            <ac:spMk id="19" creationId="{D4CE27C4-76B1-9D43-830D-0E5BCEAE45F5}"/>
          </ac:spMkLst>
        </pc:spChg>
        <pc:spChg chg="add mod ord">
          <ac:chgData name="KevCla12" userId="ef2eb634-4620-450f-93cc-80cc93397e60" providerId="ADAL" clId="{DF6678F8-4F85-488B-B919-FA7E2EC6DABC}" dt="2023-10-14T11:57:34.989" v="1321" actId="164"/>
          <ac:spMkLst>
            <pc:docMk/>
            <pc:sldMk cId="2669051759" sldId="327"/>
            <ac:spMk id="20" creationId="{B221B923-8229-8C33-B46A-7F4C74237A7E}"/>
          </ac:spMkLst>
        </pc:spChg>
        <pc:spChg chg="add mod">
          <ac:chgData name="KevCla12" userId="ef2eb634-4620-450f-93cc-80cc93397e60" providerId="ADAL" clId="{DF6678F8-4F85-488B-B919-FA7E2EC6DABC}" dt="2023-10-14T11:25:13.589" v="743"/>
          <ac:spMkLst>
            <pc:docMk/>
            <pc:sldMk cId="2669051759" sldId="327"/>
            <ac:spMk id="21" creationId="{F20FDC80-78C6-0FA7-2C17-1F10D52757B4}"/>
          </ac:spMkLst>
        </pc:spChg>
        <pc:spChg chg="add mod ord">
          <ac:chgData name="KevCla12" userId="ef2eb634-4620-450f-93cc-80cc93397e60" providerId="ADAL" clId="{DF6678F8-4F85-488B-B919-FA7E2EC6DABC}" dt="2023-10-14T11:57:34.989" v="1321" actId="164"/>
          <ac:spMkLst>
            <pc:docMk/>
            <pc:sldMk cId="2669051759" sldId="327"/>
            <ac:spMk id="22" creationId="{607AEC98-40A6-3867-2508-F376AF7EE55C}"/>
          </ac:spMkLst>
        </pc:spChg>
        <pc:spChg chg="add mod ord">
          <ac:chgData name="KevCla12" userId="ef2eb634-4620-450f-93cc-80cc93397e60" providerId="ADAL" clId="{DF6678F8-4F85-488B-B919-FA7E2EC6DABC}" dt="2023-10-14T11:57:34.989" v="1321" actId="164"/>
          <ac:spMkLst>
            <pc:docMk/>
            <pc:sldMk cId="2669051759" sldId="327"/>
            <ac:spMk id="23" creationId="{EF6E6B8F-8250-3CE6-83F6-B4E8D5FB866F}"/>
          </ac:spMkLst>
        </pc:spChg>
        <pc:spChg chg="add mod ord">
          <ac:chgData name="KevCla12" userId="ef2eb634-4620-450f-93cc-80cc93397e60" providerId="ADAL" clId="{DF6678F8-4F85-488B-B919-FA7E2EC6DABC}" dt="2023-10-14T11:57:34.989" v="1321" actId="164"/>
          <ac:spMkLst>
            <pc:docMk/>
            <pc:sldMk cId="2669051759" sldId="327"/>
            <ac:spMk id="24" creationId="{34EFA14D-F1DC-4EE9-8714-79555D940A2A}"/>
          </ac:spMkLst>
        </pc:spChg>
        <pc:spChg chg="add mod">
          <ac:chgData name="KevCla12" userId="ef2eb634-4620-450f-93cc-80cc93397e60" providerId="ADAL" clId="{DF6678F8-4F85-488B-B919-FA7E2EC6DABC}" dt="2023-10-14T11:25:49.942" v="753"/>
          <ac:spMkLst>
            <pc:docMk/>
            <pc:sldMk cId="2669051759" sldId="327"/>
            <ac:spMk id="25" creationId="{867F7133-92C2-5ADD-4A68-F11FC709E431}"/>
          </ac:spMkLst>
        </pc:spChg>
        <pc:spChg chg="add mod ord">
          <ac:chgData name="KevCla12" userId="ef2eb634-4620-450f-93cc-80cc93397e60" providerId="ADAL" clId="{DF6678F8-4F85-488B-B919-FA7E2EC6DABC}" dt="2023-10-14T11:57:34.989" v="1321" actId="164"/>
          <ac:spMkLst>
            <pc:docMk/>
            <pc:sldMk cId="2669051759" sldId="327"/>
            <ac:spMk id="26" creationId="{50C1840C-C5D5-1715-7DF5-C0FD911EB80E}"/>
          </ac:spMkLst>
        </pc:spChg>
        <pc:spChg chg="add mod">
          <ac:chgData name="KevCla12" userId="ef2eb634-4620-450f-93cc-80cc93397e60" providerId="ADAL" clId="{DF6678F8-4F85-488B-B919-FA7E2EC6DABC}" dt="2023-10-14T11:57:34.989" v="1321" actId="164"/>
          <ac:spMkLst>
            <pc:docMk/>
            <pc:sldMk cId="2669051759" sldId="327"/>
            <ac:spMk id="27" creationId="{3D378CBB-86F2-1EE7-B300-CE31F205E268}"/>
          </ac:spMkLst>
        </pc:spChg>
        <pc:spChg chg="add del mod">
          <ac:chgData name="KevCla12" userId="ef2eb634-4620-450f-93cc-80cc93397e60" providerId="ADAL" clId="{DF6678F8-4F85-488B-B919-FA7E2EC6DABC}" dt="2023-10-14T11:28:38.510" v="775" actId="478"/>
          <ac:spMkLst>
            <pc:docMk/>
            <pc:sldMk cId="2669051759" sldId="327"/>
            <ac:spMk id="33" creationId="{DE6BA8E1-75E9-3E82-385B-E694F3481D0C}"/>
          </ac:spMkLst>
        </pc:spChg>
        <pc:spChg chg="add mod">
          <ac:chgData name="KevCla12" userId="ef2eb634-4620-450f-93cc-80cc93397e60" providerId="ADAL" clId="{DF6678F8-4F85-488B-B919-FA7E2EC6DABC}" dt="2023-10-14T11:57:34.989" v="1321" actId="164"/>
          <ac:spMkLst>
            <pc:docMk/>
            <pc:sldMk cId="2669051759" sldId="327"/>
            <ac:spMk id="34" creationId="{57579F76-1DCC-745C-4DDA-7196AB028D9F}"/>
          </ac:spMkLst>
        </pc:spChg>
        <pc:spChg chg="add mod">
          <ac:chgData name="KevCla12" userId="ef2eb634-4620-450f-93cc-80cc93397e60" providerId="ADAL" clId="{DF6678F8-4F85-488B-B919-FA7E2EC6DABC}" dt="2023-10-14T11:57:34.989" v="1321" actId="164"/>
          <ac:spMkLst>
            <pc:docMk/>
            <pc:sldMk cId="2669051759" sldId="327"/>
            <ac:spMk id="35" creationId="{03C9221C-7C14-09C0-568A-B28ABF651CF9}"/>
          </ac:spMkLst>
        </pc:spChg>
        <pc:spChg chg="add mod">
          <ac:chgData name="KevCla12" userId="ef2eb634-4620-450f-93cc-80cc93397e60" providerId="ADAL" clId="{DF6678F8-4F85-488B-B919-FA7E2EC6DABC}" dt="2023-10-14T11:57:34.989" v="1321" actId="164"/>
          <ac:spMkLst>
            <pc:docMk/>
            <pc:sldMk cId="2669051759" sldId="327"/>
            <ac:spMk id="36" creationId="{7B6E759C-CFB3-D9D3-88E4-ED796CB2C295}"/>
          </ac:spMkLst>
        </pc:spChg>
        <pc:spChg chg="add mod ord">
          <ac:chgData name="KevCla12" userId="ef2eb634-4620-450f-93cc-80cc93397e60" providerId="ADAL" clId="{DF6678F8-4F85-488B-B919-FA7E2EC6DABC}" dt="2023-10-14T11:57:34.989" v="1321" actId="164"/>
          <ac:spMkLst>
            <pc:docMk/>
            <pc:sldMk cId="2669051759" sldId="327"/>
            <ac:spMk id="37" creationId="{175D8A2C-4958-6258-BFD8-1416B5D2D136}"/>
          </ac:spMkLst>
        </pc:spChg>
        <pc:spChg chg="add mod ord">
          <ac:chgData name="KevCla12" userId="ef2eb634-4620-450f-93cc-80cc93397e60" providerId="ADAL" clId="{DF6678F8-4F85-488B-B919-FA7E2EC6DABC}" dt="2023-10-14T11:57:34.989" v="1321" actId="164"/>
          <ac:spMkLst>
            <pc:docMk/>
            <pc:sldMk cId="2669051759" sldId="327"/>
            <ac:spMk id="38" creationId="{730CBDD6-830C-83B9-9717-100AE48EDB75}"/>
          </ac:spMkLst>
        </pc:spChg>
        <pc:spChg chg="add mod ord">
          <ac:chgData name="KevCla12" userId="ef2eb634-4620-450f-93cc-80cc93397e60" providerId="ADAL" clId="{DF6678F8-4F85-488B-B919-FA7E2EC6DABC}" dt="2023-10-14T11:57:34.989" v="1321" actId="164"/>
          <ac:spMkLst>
            <pc:docMk/>
            <pc:sldMk cId="2669051759" sldId="327"/>
            <ac:spMk id="39" creationId="{57A50462-32BC-DAF8-E702-7F432BF07296}"/>
          </ac:spMkLst>
        </pc:spChg>
        <pc:spChg chg="add mod ord">
          <ac:chgData name="KevCla12" userId="ef2eb634-4620-450f-93cc-80cc93397e60" providerId="ADAL" clId="{DF6678F8-4F85-488B-B919-FA7E2EC6DABC}" dt="2023-10-14T11:57:34.989" v="1321" actId="164"/>
          <ac:spMkLst>
            <pc:docMk/>
            <pc:sldMk cId="2669051759" sldId="327"/>
            <ac:spMk id="40" creationId="{191DFE09-FAEE-3229-0AC4-6F46267ED11F}"/>
          </ac:spMkLst>
        </pc:spChg>
        <pc:spChg chg="add del mod ord">
          <ac:chgData name="KevCla12" userId="ef2eb634-4620-450f-93cc-80cc93397e60" providerId="ADAL" clId="{DF6678F8-4F85-488B-B919-FA7E2EC6DABC}" dt="2023-10-14T11:57:34.989" v="1321" actId="164"/>
          <ac:spMkLst>
            <pc:docMk/>
            <pc:sldMk cId="2669051759" sldId="327"/>
            <ac:spMk id="41" creationId="{E9B15B3F-B2FE-C8A9-3A96-D7949A5A27FA}"/>
          </ac:spMkLst>
        </pc:spChg>
        <pc:spChg chg="add mod">
          <ac:chgData name="KevCla12" userId="ef2eb634-4620-450f-93cc-80cc93397e60" providerId="ADAL" clId="{DF6678F8-4F85-488B-B919-FA7E2EC6DABC}" dt="2023-10-14T11:38:54.232" v="881"/>
          <ac:spMkLst>
            <pc:docMk/>
            <pc:sldMk cId="2669051759" sldId="327"/>
            <ac:spMk id="42" creationId="{A42F6559-C6AA-5ED9-1B03-117AFDDF0E19}"/>
          </ac:spMkLst>
        </pc:spChg>
        <pc:spChg chg="add del mod">
          <ac:chgData name="KevCla12" userId="ef2eb634-4620-450f-93cc-80cc93397e60" providerId="ADAL" clId="{DF6678F8-4F85-488B-B919-FA7E2EC6DABC}" dt="2023-10-14T11:38:57.243" v="883"/>
          <ac:spMkLst>
            <pc:docMk/>
            <pc:sldMk cId="2669051759" sldId="327"/>
            <ac:spMk id="43" creationId="{C8A2A8C8-FF50-93DA-7898-3A5F19670D23}"/>
          </ac:spMkLst>
        </pc:spChg>
        <pc:spChg chg="add mod ord">
          <ac:chgData name="KevCla12" userId="ef2eb634-4620-450f-93cc-80cc93397e60" providerId="ADAL" clId="{DF6678F8-4F85-488B-B919-FA7E2EC6DABC}" dt="2023-10-14T11:57:34.989" v="1321" actId="164"/>
          <ac:spMkLst>
            <pc:docMk/>
            <pc:sldMk cId="2669051759" sldId="327"/>
            <ac:spMk id="44" creationId="{A777D768-D7A3-7DEC-F670-ED8F2C8EA9A6}"/>
          </ac:spMkLst>
        </pc:spChg>
        <pc:spChg chg="add del mod">
          <ac:chgData name="KevCla12" userId="ef2eb634-4620-450f-93cc-80cc93397e60" providerId="ADAL" clId="{DF6678F8-4F85-488B-B919-FA7E2EC6DABC}" dt="2023-10-14T11:41:19.359" v="913" actId="767"/>
          <ac:spMkLst>
            <pc:docMk/>
            <pc:sldMk cId="2669051759" sldId="327"/>
            <ac:spMk id="45" creationId="{F030F1BD-8236-1CD9-6146-2103332DF78A}"/>
          </ac:spMkLst>
        </pc:spChg>
        <pc:spChg chg="add del mod">
          <ac:chgData name="KevCla12" userId="ef2eb634-4620-450f-93cc-80cc93397e60" providerId="ADAL" clId="{DF6678F8-4F85-488B-B919-FA7E2EC6DABC}" dt="2023-10-14T11:41:18.901" v="912" actId="767"/>
          <ac:spMkLst>
            <pc:docMk/>
            <pc:sldMk cId="2669051759" sldId="327"/>
            <ac:spMk id="46" creationId="{8036C384-CAB5-B871-5679-3C47D4028148}"/>
          </ac:spMkLst>
        </pc:spChg>
        <pc:spChg chg="add mod">
          <ac:chgData name="KevCla12" userId="ef2eb634-4620-450f-93cc-80cc93397e60" providerId="ADAL" clId="{DF6678F8-4F85-488B-B919-FA7E2EC6DABC}" dt="2023-10-14T11:57:34.989" v="1321" actId="164"/>
          <ac:spMkLst>
            <pc:docMk/>
            <pc:sldMk cId="2669051759" sldId="327"/>
            <ac:spMk id="47" creationId="{BB1782A1-75DB-0F43-E72E-874C2CF75B65}"/>
          </ac:spMkLst>
        </pc:spChg>
        <pc:spChg chg="add mod">
          <ac:chgData name="KevCla12" userId="ef2eb634-4620-450f-93cc-80cc93397e60" providerId="ADAL" clId="{DF6678F8-4F85-488B-B919-FA7E2EC6DABC}" dt="2023-10-14T11:57:34.989" v="1321" actId="164"/>
          <ac:spMkLst>
            <pc:docMk/>
            <pc:sldMk cId="2669051759" sldId="327"/>
            <ac:spMk id="48" creationId="{29DE5F48-9902-B89B-F28E-AD160C2E25A2}"/>
          </ac:spMkLst>
        </pc:spChg>
        <pc:spChg chg="add mod">
          <ac:chgData name="KevCla12" userId="ef2eb634-4620-450f-93cc-80cc93397e60" providerId="ADAL" clId="{DF6678F8-4F85-488B-B919-FA7E2EC6DABC}" dt="2023-10-14T11:57:34.989" v="1321" actId="164"/>
          <ac:spMkLst>
            <pc:docMk/>
            <pc:sldMk cId="2669051759" sldId="327"/>
            <ac:spMk id="49" creationId="{31EC4DC2-1548-750C-65F9-5DCAC34E1D86}"/>
          </ac:spMkLst>
        </pc:spChg>
        <pc:spChg chg="add mod">
          <ac:chgData name="KevCla12" userId="ef2eb634-4620-450f-93cc-80cc93397e60" providerId="ADAL" clId="{DF6678F8-4F85-488B-B919-FA7E2EC6DABC}" dt="2023-10-14T11:57:34.989" v="1321" actId="164"/>
          <ac:spMkLst>
            <pc:docMk/>
            <pc:sldMk cId="2669051759" sldId="327"/>
            <ac:spMk id="50" creationId="{C5DCD14A-EDB2-3FAA-735E-17DD80CCD541}"/>
          </ac:spMkLst>
        </pc:spChg>
        <pc:spChg chg="add mod">
          <ac:chgData name="KevCla12" userId="ef2eb634-4620-450f-93cc-80cc93397e60" providerId="ADAL" clId="{DF6678F8-4F85-488B-B919-FA7E2EC6DABC}" dt="2023-10-14T11:57:34.989" v="1321" actId="164"/>
          <ac:spMkLst>
            <pc:docMk/>
            <pc:sldMk cId="2669051759" sldId="327"/>
            <ac:spMk id="51" creationId="{0690DAF0-941A-5135-76FE-A088008460D5}"/>
          </ac:spMkLst>
        </pc:spChg>
        <pc:spChg chg="add mod">
          <ac:chgData name="KevCla12" userId="ef2eb634-4620-450f-93cc-80cc93397e60" providerId="ADAL" clId="{DF6678F8-4F85-488B-B919-FA7E2EC6DABC}" dt="2023-10-14T11:57:34.989" v="1321" actId="164"/>
          <ac:spMkLst>
            <pc:docMk/>
            <pc:sldMk cId="2669051759" sldId="327"/>
            <ac:spMk id="52" creationId="{DA92F917-7DE3-5CC0-4A4D-762F078B179C}"/>
          </ac:spMkLst>
        </pc:spChg>
        <pc:spChg chg="add mod">
          <ac:chgData name="KevCla12" userId="ef2eb634-4620-450f-93cc-80cc93397e60" providerId="ADAL" clId="{DF6678F8-4F85-488B-B919-FA7E2EC6DABC}" dt="2023-10-14T11:57:34.989" v="1321" actId="164"/>
          <ac:spMkLst>
            <pc:docMk/>
            <pc:sldMk cId="2669051759" sldId="327"/>
            <ac:spMk id="53" creationId="{22833082-1E63-E85D-20FF-3BDB25E6978B}"/>
          </ac:spMkLst>
        </pc:spChg>
        <pc:spChg chg="add mod">
          <ac:chgData name="KevCla12" userId="ef2eb634-4620-450f-93cc-80cc93397e60" providerId="ADAL" clId="{DF6678F8-4F85-488B-B919-FA7E2EC6DABC}" dt="2023-10-14T11:57:34.989" v="1321" actId="164"/>
          <ac:spMkLst>
            <pc:docMk/>
            <pc:sldMk cId="2669051759" sldId="327"/>
            <ac:spMk id="54" creationId="{F0B092EB-BB6E-E3F1-69F5-C76A603625AB}"/>
          </ac:spMkLst>
        </pc:spChg>
        <pc:spChg chg="add mod">
          <ac:chgData name="KevCla12" userId="ef2eb634-4620-450f-93cc-80cc93397e60" providerId="ADAL" clId="{DF6678F8-4F85-488B-B919-FA7E2EC6DABC}" dt="2023-10-14T11:57:34.989" v="1321" actId="164"/>
          <ac:spMkLst>
            <pc:docMk/>
            <pc:sldMk cId="2669051759" sldId="327"/>
            <ac:spMk id="55" creationId="{E7FCE792-982A-E60E-F456-4D5B90132448}"/>
          </ac:spMkLst>
        </pc:spChg>
        <pc:spChg chg="add mod">
          <ac:chgData name="KevCla12" userId="ef2eb634-4620-450f-93cc-80cc93397e60" providerId="ADAL" clId="{DF6678F8-4F85-488B-B919-FA7E2EC6DABC}" dt="2023-10-14T11:57:34.989" v="1321" actId="164"/>
          <ac:spMkLst>
            <pc:docMk/>
            <pc:sldMk cId="2669051759" sldId="327"/>
            <ac:spMk id="56" creationId="{31558B1C-4D9B-7BD6-4002-3CB8BAB24B78}"/>
          </ac:spMkLst>
        </pc:spChg>
        <pc:spChg chg="add mod">
          <ac:chgData name="KevCla12" userId="ef2eb634-4620-450f-93cc-80cc93397e60" providerId="ADAL" clId="{DF6678F8-4F85-488B-B919-FA7E2EC6DABC}" dt="2023-10-14T11:57:34.989" v="1321" actId="164"/>
          <ac:spMkLst>
            <pc:docMk/>
            <pc:sldMk cId="2669051759" sldId="327"/>
            <ac:spMk id="57" creationId="{035AAA9C-9F94-00E8-CEEC-53DE2CCFD884}"/>
          </ac:spMkLst>
        </pc:spChg>
        <pc:spChg chg="add mod">
          <ac:chgData name="KevCla12" userId="ef2eb634-4620-450f-93cc-80cc93397e60" providerId="ADAL" clId="{DF6678F8-4F85-488B-B919-FA7E2EC6DABC}" dt="2023-10-14T11:57:34.989" v="1321" actId="164"/>
          <ac:spMkLst>
            <pc:docMk/>
            <pc:sldMk cId="2669051759" sldId="327"/>
            <ac:spMk id="58" creationId="{B4EAF15D-53D4-9CBA-BE78-241E186B374A}"/>
          </ac:spMkLst>
        </pc:spChg>
        <pc:spChg chg="add mod">
          <ac:chgData name="KevCla12" userId="ef2eb634-4620-450f-93cc-80cc93397e60" providerId="ADAL" clId="{DF6678F8-4F85-488B-B919-FA7E2EC6DABC}" dt="2023-10-14T11:57:34.989" v="1321" actId="164"/>
          <ac:spMkLst>
            <pc:docMk/>
            <pc:sldMk cId="2669051759" sldId="327"/>
            <ac:spMk id="59" creationId="{D683C5C5-4E5D-8651-3D17-8CFCD5B114A1}"/>
          </ac:spMkLst>
        </pc:spChg>
        <pc:spChg chg="add mod">
          <ac:chgData name="KevCla12" userId="ef2eb634-4620-450f-93cc-80cc93397e60" providerId="ADAL" clId="{DF6678F8-4F85-488B-B919-FA7E2EC6DABC}" dt="2023-10-14T11:57:34.989" v="1321" actId="164"/>
          <ac:spMkLst>
            <pc:docMk/>
            <pc:sldMk cId="2669051759" sldId="327"/>
            <ac:spMk id="60" creationId="{AC0ACCE2-6FBE-F8C7-9D93-6CA2CF4DCF75}"/>
          </ac:spMkLst>
        </pc:spChg>
        <pc:spChg chg="add mod">
          <ac:chgData name="KevCla12" userId="ef2eb634-4620-450f-93cc-80cc93397e60" providerId="ADAL" clId="{DF6678F8-4F85-488B-B919-FA7E2EC6DABC}" dt="2023-10-14T11:57:34.989" v="1321" actId="164"/>
          <ac:spMkLst>
            <pc:docMk/>
            <pc:sldMk cId="2669051759" sldId="327"/>
            <ac:spMk id="61" creationId="{81B407AA-EBEA-152B-98F4-B18E32D9A8D9}"/>
          </ac:spMkLst>
        </pc:spChg>
        <pc:spChg chg="add mod">
          <ac:chgData name="KevCla12" userId="ef2eb634-4620-450f-93cc-80cc93397e60" providerId="ADAL" clId="{DF6678F8-4F85-488B-B919-FA7E2EC6DABC}" dt="2023-10-14T11:57:34.989" v="1321" actId="164"/>
          <ac:spMkLst>
            <pc:docMk/>
            <pc:sldMk cId="2669051759" sldId="327"/>
            <ac:spMk id="62" creationId="{505E274C-19C5-8076-F7A5-28DD1D811319}"/>
          </ac:spMkLst>
        </pc:spChg>
        <pc:spChg chg="add mod">
          <ac:chgData name="KevCla12" userId="ef2eb634-4620-450f-93cc-80cc93397e60" providerId="ADAL" clId="{DF6678F8-4F85-488B-B919-FA7E2EC6DABC}" dt="2023-10-14T11:57:34.989" v="1321" actId="164"/>
          <ac:spMkLst>
            <pc:docMk/>
            <pc:sldMk cId="2669051759" sldId="327"/>
            <ac:spMk id="63" creationId="{CADA0DA4-A285-802E-6E55-DF498F5F64FE}"/>
          </ac:spMkLst>
        </pc:spChg>
        <pc:spChg chg="add mod">
          <ac:chgData name="KevCla12" userId="ef2eb634-4620-450f-93cc-80cc93397e60" providerId="ADAL" clId="{DF6678F8-4F85-488B-B919-FA7E2EC6DABC}" dt="2023-10-14T11:57:34.989" v="1321" actId="164"/>
          <ac:spMkLst>
            <pc:docMk/>
            <pc:sldMk cId="2669051759" sldId="327"/>
            <ac:spMk id="64" creationId="{D45CCFDB-F49A-01EF-C042-3D9CFC06EA5E}"/>
          </ac:spMkLst>
        </pc:spChg>
        <pc:spChg chg="add mod">
          <ac:chgData name="KevCla12" userId="ef2eb634-4620-450f-93cc-80cc93397e60" providerId="ADAL" clId="{DF6678F8-4F85-488B-B919-FA7E2EC6DABC}" dt="2023-10-14T11:57:34.989" v="1321" actId="164"/>
          <ac:spMkLst>
            <pc:docMk/>
            <pc:sldMk cId="2669051759" sldId="327"/>
            <ac:spMk id="65" creationId="{E797C36D-79FC-FAA3-BC2F-C99D26F7BDDC}"/>
          </ac:spMkLst>
        </pc:spChg>
        <pc:spChg chg="add mod">
          <ac:chgData name="KevCla12" userId="ef2eb634-4620-450f-93cc-80cc93397e60" providerId="ADAL" clId="{DF6678F8-4F85-488B-B919-FA7E2EC6DABC}" dt="2023-10-14T11:57:34.989" v="1321" actId="164"/>
          <ac:spMkLst>
            <pc:docMk/>
            <pc:sldMk cId="2669051759" sldId="327"/>
            <ac:spMk id="66" creationId="{461AB0D7-981F-B03D-895C-78F95DA341B2}"/>
          </ac:spMkLst>
        </pc:spChg>
        <pc:spChg chg="add del mod">
          <ac:chgData name="KevCla12" userId="ef2eb634-4620-450f-93cc-80cc93397e60" providerId="ADAL" clId="{DF6678F8-4F85-488B-B919-FA7E2EC6DABC}" dt="2023-10-14T13:44:31.091" v="1391" actId="478"/>
          <ac:spMkLst>
            <pc:docMk/>
            <pc:sldMk cId="2669051759" sldId="327"/>
            <ac:spMk id="78" creationId="{ACD9FF55-AAE9-22E3-3899-AE0D06A7D2A8}"/>
          </ac:spMkLst>
        </pc:spChg>
        <pc:spChg chg="add del">
          <ac:chgData name="KevCla12" userId="ef2eb634-4620-450f-93cc-80cc93397e60" providerId="ADAL" clId="{DF6678F8-4F85-488B-B919-FA7E2EC6DABC}" dt="2023-10-14T16:36:54.492" v="3238" actId="11529"/>
          <ac:spMkLst>
            <pc:docMk/>
            <pc:sldMk cId="2669051759" sldId="327"/>
            <ac:spMk id="79" creationId="{D3B9F0D3-2683-AB65-8DCD-025A46635E80}"/>
          </ac:spMkLst>
        </pc:spChg>
        <pc:spChg chg="add del mod">
          <ac:chgData name="KevCla12" userId="ef2eb634-4620-450f-93cc-80cc93397e60" providerId="ADAL" clId="{DF6678F8-4F85-488B-B919-FA7E2EC6DABC}" dt="2023-10-14T16:36:53.601" v="3236"/>
          <ac:spMkLst>
            <pc:docMk/>
            <pc:sldMk cId="2669051759" sldId="327"/>
            <ac:spMk id="80" creationId="{2F8F2C86-87D9-E564-580C-C42E83EEF015}"/>
          </ac:spMkLst>
        </pc:spChg>
        <pc:spChg chg="add mod">
          <ac:chgData name="KevCla12" userId="ef2eb634-4620-450f-93cc-80cc93397e60" providerId="ADAL" clId="{DF6678F8-4F85-488B-B919-FA7E2EC6DABC}" dt="2023-10-14T16:36:52.872" v="3234"/>
          <ac:spMkLst>
            <pc:docMk/>
            <pc:sldMk cId="2669051759" sldId="327"/>
            <ac:spMk id="81" creationId="{8134A006-CDB5-CC24-8314-B23C10B0FDA3}"/>
          </ac:spMkLst>
        </pc:spChg>
        <pc:grpChg chg="add mod">
          <ac:chgData name="KevCla12" userId="ef2eb634-4620-450f-93cc-80cc93397e60" providerId="ADAL" clId="{DF6678F8-4F85-488B-B919-FA7E2EC6DABC}" dt="2023-10-14T11:57:10.151" v="1320" actId="164"/>
          <ac:grpSpMkLst>
            <pc:docMk/>
            <pc:sldMk cId="2669051759" sldId="327"/>
            <ac:grpSpMk id="76" creationId="{CEC074D8-892B-447E-0EFD-09F829BA1F2C}"/>
          </ac:grpSpMkLst>
        </pc:grpChg>
        <pc:grpChg chg="add mod">
          <ac:chgData name="KevCla12" userId="ef2eb634-4620-450f-93cc-80cc93397e60" providerId="ADAL" clId="{DF6678F8-4F85-488B-B919-FA7E2EC6DABC}" dt="2023-10-14T16:36:57.270" v="3246" actId="1036"/>
          <ac:grpSpMkLst>
            <pc:docMk/>
            <pc:sldMk cId="2669051759" sldId="327"/>
            <ac:grpSpMk id="77" creationId="{C5924631-47D9-563D-C7E0-4104690B4FBE}"/>
          </ac:grpSpMkLst>
        </pc:grpChg>
        <pc:picChg chg="add del mod ord">
          <ac:chgData name="KevCla12" userId="ef2eb634-4620-450f-93cc-80cc93397e60" providerId="ADAL" clId="{DF6678F8-4F85-488B-B919-FA7E2EC6DABC}" dt="2023-10-14T11:55:18.546" v="1310" actId="478"/>
          <ac:picMkLst>
            <pc:docMk/>
            <pc:sldMk cId="2669051759" sldId="327"/>
            <ac:picMk id="9" creationId="{75A9E479-9A27-40A9-4A1D-1D5F16A5FF28}"/>
          </ac:picMkLst>
        </pc:picChg>
        <pc:cxnChg chg="add del mod">
          <ac:chgData name="KevCla12" userId="ef2eb634-4620-450f-93cc-80cc93397e60" providerId="ADAL" clId="{DF6678F8-4F85-488B-B919-FA7E2EC6DABC}" dt="2023-10-14T11:27:15.004" v="768" actId="478"/>
          <ac:cxnSpMkLst>
            <pc:docMk/>
            <pc:sldMk cId="2669051759" sldId="327"/>
            <ac:cxnSpMk id="29" creationId="{3DD171F4-6506-9C39-3F44-F4352FAD24E2}"/>
          </ac:cxnSpMkLst>
        </pc:cxnChg>
        <pc:cxnChg chg="add mod ord">
          <ac:chgData name="KevCla12" userId="ef2eb634-4620-450f-93cc-80cc93397e60" providerId="ADAL" clId="{DF6678F8-4F85-488B-B919-FA7E2EC6DABC}" dt="2023-10-14T11:57:34.989" v="1321" actId="164"/>
          <ac:cxnSpMkLst>
            <pc:docMk/>
            <pc:sldMk cId="2669051759" sldId="327"/>
            <ac:cxnSpMk id="68" creationId="{59910D15-BC55-54D1-C1FE-0EE0B5C919A8}"/>
          </ac:cxnSpMkLst>
        </pc:cxnChg>
        <pc:cxnChg chg="add mod ord">
          <ac:chgData name="KevCla12" userId="ef2eb634-4620-450f-93cc-80cc93397e60" providerId="ADAL" clId="{DF6678F8-4F85-488B-B919-FA7E2EC6DABC}" dt="2023-10-14T11:57:34.989" v="1321" actId="164"/>
          <ac:cxnSpMkLst>
            <pc:docMk/>
            <pc:sldMk cId="2669051759" sldId="327"/>
            <ac:cxnSpMk id="70" creationId="{FF22C80D-7C75-BE72-8681-50AF5FCEA5C0}"/>
          </ac:cxnSpMkLst>
        </pc:cxnChg>
        <pc:cxnChg chg="add mod ord">
          <ac:chgData name="KevCla12" userId="ef2eb634-4620-450f-93cc-80cc93397e60" providerId="ADAL" clId="{DF6678F8-4F85-488B-B919-FA7E2EC6DABC}" dt="2023-10-14T11:57:34.989" v="1321" actId="164"/>
          <ac:cxnSpMkLst>
            <pc:docMk/>
            <pc:sldMk cId="2669051759" sldId="327"/>
            <ac:cxnSpMk id="71" creationId="{2F7A7AD7-528C-E6F0-AB07-25A9116B4E1E}"/>
          </ac:cxnSpMkLst>
        </pc:cxnChg>
        <pc:cxnChg chg="add mod ord">
          <ac:chgData name="KevCla12" userId="ef2eb634-4620-450f-93cc-80cc93397e60" providerId="ADAL" clId="{DF6678F8-4F85-488B-B919-FA7E2EC6DABC}" dt="2023-10-14T11:57:34.989" v="1321" actId="164"/>
          <ac:cxnSpMkLst>
            <pc:docMk/>
            <pc:sldMk cId="2669051759" sldId="327"/>
            <ac:cxnSpMk id="74" creationId="{FB8F85BC-3BE1-59C2-EF68-70798113F4B9}"/>
          </ac:cxnSpMkLst>
        </pc:cxnChg>
        <pc:cxnChg chg="add mod ord">
          <ac:chgData name="KevCla12" userId="ef2eb634-4620-450f-93cc-80cc93397e60" providerId="ADAL" clId="{DF6678F8-4F85-488B-B919-FA7E2EC6DABC}" dt="2023-10-14T11:57:34.989" v="1321" actId="164"/>
          <ac:cxnSpMkLst>
            <pc:docMk/>
            <pc:sldMk cId="2669051759" sldId="327"/>
            <ac:cxnSpMk id="75" creationId="{B77544D2-62DD-EB6A-8AA0-04BA3C15FE29}"/>
          </ac:cxnSpMkLst>
        </pc:cxnChg>
        <pc:cxnChg chg="add del mod">
          <ac:chgData name="KevCla12" userId="ef2eb634-4620-450f-93cc-80cc93397e60" providerId="ADAL" clId="{DF6678F8-4F85-488B-B919-FA7E2EC6DABC}" dt="2023-10-14T16:36:51.896" v="3232" actId="11529"/>
          <ac:cxnSpMkLst>
            <pc:docMk/>
            <pc:sldMk cId="2669051759" sldId="327"/>
            <ac:cxnSpMk id="83" creationId="{CCFF58E2-5CA9-6180-546D-0018912E9433}"/>
          </ac:cxnSpMkLst>
        </pc:cxnChg>
      </pc:sldChg>
      <pc:sldChg chg="new del">
        <pc:chgData name="KevCla12" userId="ef2eb634-4620-450f-93cc-80cc93397e60" providerId="ADAL" clId="{DF6678F8-4F85-488B-B919-FA7E2EC6DABC}" dt="2023-10-13T17:20:11.598" v="427" actId="2696"/>
        <pc:sldMkLst>
          <pc:docMk/>
          <pc:sldMk cId="3406687581" sldId="327"/>
        </pc:sldMkLst>
      </pc:sldChg>
      <pc:sldChg chg="addSp delSp modSp new mod">
        <pc:chgData name="KevCla12" userId="ef2eb634-4620-450f-93cc-80cc93397e60" providerId="ADAL" clId="{DF6678F8-4F85-488B-B919-FA7E2EC6DABC}" dt="2023-10-17T14:26:05.554" v="10256" actId="20577"/>
        <pc:sldMkLst>
          <pc:docMk/>
          <pc:sldMk cId="2226441360" sldId="328"/>
        </pc:sldMkLst>
        <pc:spChg chg="mod">
          <ac:chgData name="KevCla12" userId="ef2eb634-4620-450f-93cc-80cc93397e60" providerId="ADAL" clId="{DF6678F8-4F85-488B-B919-FA7E2EC6DABC}" dt="2023-10-17T14:26:05.554" v="10256" actId="20577"/>
          <ac:spMkLst>
            <pc:docMk/>
            <pc:sldMk cId="2226441360" sldId="328"/>
            <ac:spMk id="2" creationId="{76411BE9-62AF-0884-AED8-8B0AF62CBBD6}"/>
          </ac:spMkLst>
        </pc:spChg>
        <pc:spChg chg="del">
          <ac:chgData name="KevCla12" userId="ef2eb634-4620-450f-93cc-80cc93397e60" providerId="ADAL" clId="{DF6678F8-4F85-488B-B919-FA7E2EC6DABC}" dt="2023-10-14T16:40:15.466" v="3261" actId="478"/>
          <ac:spMkLst>
            <pc:docMk/>
            <pc:sldMk cId="2226441360" sldId="328"/>
            <ac:spMk id="3" creationId="{58DD1B6C-D1C0-20D5-D446-F365E4ABDF37}"/>
          </ac:spMkLst>
        </pc:spChg>
        <pc:spChg chg="mod">
          <ac:chgData name="KevCla12" userId="ef2eb634-4620-450f-93cc-80cc93397e60" providerId="ADAL" clId="{DF6678F8-4F85-488B-B919-FA7E2EC6DABC}" dt="2023-10-13T17:21:17.516" v="520" actId="20577"/>
          <ac:spMkLst>
            <pc:docMk/>
            <pc:sldMk cId="2226441360" sldId="328"/>
            <ac:spMk id="5" creationId="{D4F6C334-41DB-FF95-9E55-2D3818023453}"/>
          </ac:spMkLst>
        </pc:spChg>
        <pc:spChg chg="add mod">
          <ac:chgData name="KevCla12" userId="ef2eb634-4620-450f-93cc-80cc93397e60" providerId="ADAL" clId="{DF6678F8-4F85-488B-B919-FA7E2EC6DABC}" dt="2023-10-17T14:25:18.816" v="10249" actId="208"/>
          <ac:spMkLst>
            <pc:docMk/>
            <pc:sldMk cId="2226441360" sldId="328"/>
            <ac:spMk id="8" creationId="{0E9436C3-0D95-D895-7B7A-F3D8739EE148}"/>
          </ac:spMkLst>
        </pc:spChg>
        <pc:spChg chg="add mod">
          <ac:chgData name="KevCla12" userId="ef2eb634-4620-450f-93cc-80cc93397e60" providerId="ADAL" clId="{DF6678F8-4F85-488B-B919-FA7E2EC6DABC}" dt="2023-10-17T14:25:42.683" v="10250"/>
          <ac:spMkLst>
            <pc:docMk/>
            <pc:sldMk cId="2226441360" sldId="328"/>
            <ac:spMk id="9" creationId="{F41D8103-566A-E737-7D6A-DD9649FC9144}"/>
          </ac:spMkLst>
        </pc:spChg>
        <pc:graphicFrameChg chg="mod">
          <ac:chgData name="KevCla12" userId="ef2eb634-4620-450f-93cc-80cc93397e60" providerId="ADAL" clId="{DF6678F8-4F85-488B-B919-FA7E2EC6DABC}" dt="2023-10-17T14:23:35.534" v="10092" actId="1038"/>
          <ac:graphicFrameMkLst>
            <pc:docMk/>
            <pc:sldMk cId="2226441360" sldId="328"/>
            <ac:graphicFrameMk id="3" creationId="{679800F2-B944-B80B-FB54-ED245D6A876E}"/>
          </ac:graphicFrameMkLst>
        </pc:graphicFrameChg>
        <pc:graphicFrameChg chg="add mod">
          <ac:chgData name="KevCla12" userId="ef2eb634-4620-450f-93cc-80cc93397e60" providerId="ADAL" clId="{DF6678F8-4F85-488B-B919-FA7E2EC6DABC}" dt="2023-10-14T16:41:16.524" v="3273" actId="1957"/>
          <ac:graphicFrameMkLst>
            <pc:docMk/>
            <pc:sldMk cId="2226441360" sldId="328"/>
            <ac:graphicFrameMk id="8" creationId="{25335F04-AF2D-225D-091B-90A2E5E6BD14}"/>
          </ac:graphicFrameMkLst>
        </pc:graphicFrameChg>
      </pc:sldChg>
      <pc:sldChg chg="modSp new del mod">
        <pc:chgData name="KevCla12" userId="ef2eb634-4620-450f-93cc-80cc93397e60" providerId="ADAL" clId="{DF6678F8-4F85-488B-B919-FA7E2EC6DABC}" dt="2023-10-15T13:53:58.485" v="7259" actId="47"/>
        <pc:sldMkLst>
          <pc:docMk/>
          <pc:sldMk cId="1491930415" sldId="329"/>
        </pc:sldMkLst>
        <pc:spChg chg="mod">
          <ac:chgData name="KevCla12" userId="ef2eb634-4620-450f-93cc-80cc93397e60" providerId="ADAL" clId="{DF6678F8-4F85-488B-B919-FA7E2EC6DABC}" dt="2023-10-15T11:52:34.103" v="5234" actId="20577"/>
          <ac:spMkLst>
            <pc:docMk/>
            <pc:sldMk cId="1491930415" sldId="329"/>
            <ac:spMk id="3" creationId="{B52793D0-E7B3-2D1F-56C8-DD15BEDC5060}"/>
          </ac:spMkLst>
        </pc:spChg>
        <pc:spChg chg="mod">
          <ac:chgData name="KevCla12" userId="ef2eb634-4620-450f-93cc-80cc93397e60" providerId="ADAL" clId="{DF6678F8-4F85-488B-B919-FA7E2EC6DABC}" dt="2023-10-13T17:22:40.104" v="547" actId="20577"/>
          <ac:spMkLst>
            <pc:docMk/>
            <pc:sldMk cId="1491930415" sldId="329"/>
            <ac:spMk id="5" creationId="{405BA600-996B-7460-8BEB-854866A2FA49}"/>
          </ac:spMkLst>
        </pc:spChg>
      </pc:sldChg>
      <pc:sldChg chg="modSp new mod">
        <pc:chgData name="KevCla12" userId="ef2eb634-4620-450f-93cc-80cc93397e60" providerId="ADAL" clId="{DF6678F8-4F85-488B-B919-FA7E2EC6DABC}" dt="2023-10-17T14:27:37.736" v="10267" actId="20577"/>
        <pc:sldMkLst>
          <pc:docMk/>
          <pc:sldMk cId="1176767983" sldId="330"/>
        </pc:sldMkLst>
        <pc:spChg chg="mod">
          <ac:chgData name="KevCla12" userId="ef2eb634-4620-450f-93cc-80cc93397e60" providerId="ADAL" clId="{DF6678F8-4F85-488B-B919-FA7E2EC6DABC}" dt="2023-10-17T14:27:37.736" v="10267" actId="20577"/>
          <ac:spMkLst>
            <pc:docMk/>
            <pc:sldMk cId="1176767983" sldId="330"/>
            <ac:spMk id="2" creationId="{B4FE2196-54B6-F3E2-6686-A0FC90353A7E}"/>
          </ac:spMkLst>
        </pc:spChg>
        <pc:spChg chg="mod">
          <ac:chgData name="KevCla12" userId="ef2eb634-4620-450f-93cc-80cc93397e60" providerId="ADAL" clId="{DF6678F8-4F85-488B-B919-FA7E2EC6DABC}" dt="2023-10-15T11:52:30.915" v="5233"/>
          <ac:spMkLst>
            <pc:docMk/>
            <pc:sldMk cId="1176767983" sldId="330"/>
            <ac:spMk id="3" creationId="{3159F075-8B03-E62F-32A7-8154B21D852C}"/>
          </ac:spMkLst>
        </pc:spChg>
        <pc:spChg chg="mod">
          <ac:chgData name="KevCla12" userId="ef2eb634-4620-450f-93cc-80cc93397e60" providerId="ADAL" clId="{DF6678F8-4F85-488B-B919-FA7E2EC6DABC}" dt="2023-10-17T14:27:28.482" v="10264" actId="20577"/>
          <ac:spMkLst>
            <pc:docMk/>
            <pc:sldMk cId="1176767983" sldId="330"/>
            <ac:spMk id="5" creationId="{72FA202A-5B55-FEEA-250B-66B94EE13BFC}"/>
          </ac:spMkLst>
        </pc:spChg>
      </pc:sldChg>
      <pc:sldChg chg="add del">
        <pc:chgData name="KevCla12" userId="ef2eb634-4620-450f-93cc-80cc93397e60" providerId="ADAL" clId="{DF6678F8-4F85-488B-B919-FA7E2EC6DABC}" dt="2023-10-14T12:00:31.602" v="1324" actId="47"/>
        <pc:sldMkLst>
          <pc:docMk/>
          <pc:sldMk cId="1395369655" sldId="331"/>
        </pc:sldMkLst>
      </pc:sldChg>
      <pc:sldChg chg="addSp delSp modSp new del mod">
        <pc:chgData name="KevCla12" userId="ef2eb634-4620-450f-93cc-80cc93397e60" providerId="ADAL" clId="{DF6678F8-4F85-488B-B919-FA7E2EC6DABC}" dt="2023-10-14T12:03:56.345" v="1386" actId="47"/>
        <pc:sldMkLst>
          <pc:docMk/>
          <pc:sldMk cId="2164482548" sldId="331"/>
        </pc:sldMkLst>
        <pc:spChg chg="del">
          <ac:chgData name="KevCla12" userId="ef2eb634-4620-450f-93cc-80cc93397e60" providerId="ADAL" clId="{DF6678F8-4F85-488B-B919-FA7E2EC6DABC}" dt="2023-10-14T12:01:28.883" v="1327" actId="478"/>
          <ac:spMkLst>
            <pc:docMk/>
            <pc:sldMk cId="2164482548" sldId="331"/>
            <ac:spMk id="3" creationId="{9CB742FB-F4F4-9F46-CE1D-C45147ADE72F}"/>
          </ac:spMkLst>
        </pc:spChg>
        <pc:spChg chg="mod">
          <ac:chgData name="KevCla12" userId="ef2eb634-4620-450f-93cc-80cc93397e60" providerId="ADAL" clId="{DF6678F8-4F85-488B-B919-FA7E2EC6DABC}" dt="2023-10-14T12:01:27.332" v="1326"/>
          <ac:spMkLst>
            <pc:docMk/>
            <pc:sldMk cId="2164482548" sldId="331"/>
            <ac:spMk id="10" creationId="{BFF6DEC5-4CFC-97EA-F83B-A4195A698DCF}"/>
          </ac:spMkLst>
        </pc:spChg>
        <pc:spChg chg="mod">
          <ac:chgData name="KevCla12" userId="ef2eb634-4620-450f-93cc-80cc93397e60" providerId="ADAL" clId="{DF6678F8-4F85-488B-B919-FA7E2EC6DABC}" dt="2023-10-14T12:01:27.332" v="1326"/>
          <ac:spMkLst>
            <pc:docMk/>
            <pc:sldMk cId="2164482548" sldId="331"/>
            <ac:spMk id="15" creationId="{5743E955-5924-21D0-1F9F-EF5D961FFDCB}"/>
          </ac:spMkLst>
        </pc:spChg>
        <pc:spChg chg="mod">
          <ac:chgData name="KevCla12" userId="ef2eb634-4620-450f-93cc-80cc93397e60" providerId="ADAL" clId="{DF6678F8-4F85-488B-B919-FA7E2EC6DABC}" dt="2023-10-14T12:01:27.332" v="1326"/>
          <ac:spMkLst>
            <pc:docMk/>
            <pc:sldMk cId="2164482548" sldId="331"/>
            <ac:spMk id="16" creationId="{E9A6FCC9-2D45-C3EE-AF0B-B026580538AA}"/>
          </ac:spMkLst>
        </pc:spChg>
        <pc:spChg chg="mod">
          <ac:chgData name="KevCla12" userId="ef2eb634-4620-450f-93cc-80cc93397e60" providerId="ADAL" clId="{DF6678F8-4F85-488B-B919-FA7E2EC6DABC}" dt="2023-10-14T12:01:27.332" v="1326"/>
          <ac:spMkLst>
            <pc:docMk/>
            <pc:sldMk cId="2164482548" sldId="331"/>
            <ac:spMk id="17" creationId="{60149343-86F0-723A-AB3D-2404732B2623}"/>
          </ac:spMkLst>
        </pc:spChg>
        <pc:spChg chg="mod">
          <ac:chgData name="KevCla12" userId="ef2eb634-4620-450f-93cc-80cc93397e60" providerId="ADAL" clId="{DF6678F8-4F85-488B-B919-FA7E2EC6DABC}" dt="2023-10-14T12:01:27.332" v="1326"/>
          <ac:spMkLst>
            <pc:docMk/>
            <pc:sldMk cId="2164482548" sldId="331"/>
            <ac:spMk id="18" creationId="{8C3BC67A-F2FA-0F72-1C33-E81C103F3565}"/>
          </ac:spMkLst>
        </pc:spChg>
        <pc:spChg chg="mod">
          <ac:chgData name="KevCla12" userId="ef2eb634-4620-450f-93cc-80cc93397e60" providerId="ADAL" clId="{DF6678F8-4F85-488B-B919-FA7E2EC6DABC}" dt="2023-10-14T12:01:27.332" v="1326"/>
          <ac:spMkLst>
            <pc:docMk/>
            <pc:sldMk cId="2164482548" sldId="331"/>
            <ac:spMk id="19" creationId="{C01CB37B-F076-0064-D6CF-671109197608}"/>
          </ac:spMkLst>
        </pc:spChg>
        <pc:spChg chg="mod">
          <ac:chgData name="KevCla12" userId="ef2eb634-4620-450f-93cc-80cc93397e60" providerId="ADAL" clId="{DF6678F8-4F85-488B-B919-FA7E2EC6DABC}" dt="2023-10-14T12:01:27.332" v="1326"/>
          <ac:spMkLst>
            <pc:docMk/>
            <pc:sldMk cId="2164482548" sldId="331"/>
            <ac:spMk id="20" creationId="{2119BE05-EFDE-A257-F102-27EB959F68A0}"/>
          </ac:spMkLst>
        </pc:spChg>
        <pc:spChg chg="mod">
          <ac:chgData name="KevCla12" userId="ef2eb634-4620-450f-93cc-80cc93397e60" providerId="ADAL" clId="{DF6678F8-4F85-488B-B919-FA7E2EC6DABC}" dt="2023-10-14T12:01:27.332" v="1326"/>
          <ac:spMkLst>
            <pc:docMk/>
            <pc:sldMk cId="2164482548" sldId="331"/>
            <ac:spMk id="21" creationId="{16D395F4-9D70-19D9-040E-F16BC56260B9}"/>
          </ac:spMkLst>
        </pc:spChg>
        <pc:spChg chg="mod">
          <ac:chgData name="KevCla12" userId="ef2eb634-4620-450f-93cc-80cc93397e60" providerId="ADAL" clId="{DF6678F8-4F85-488B-B919-FA7E2EC6DABC}" dt="2023-10-14T12:01:27.332" v="1326"/>
          <ac:spMkLst>
            <pc:docMk/>
            <pc:sldMk cId="2164482548" sldId="331"/>
            <ac:spMk id="22" creationId="{DF2FD2E0-8A62-8A15-9EFC-EDC287B66BCE}"/>
          </ac:spMkLst>
        </pc:spChg>
        <pc:spChg chg="mod">
          <ac:chgData name="KevCla12" userId="ef2eb634-4620-450f-93cc-80cc93397e60" providerId="ADAL" clId="{DF6678F8-4F85-488B-B919-FA7E2EC6DABC}" dt="2023-10-14T12:01:27.332" v="1326"/>
          <ac:spMkLst>
            <pc:docMk/>
            <pc:sldMk cId="2164482548" sldId="331"/>
            <ac:spMk id="23" creationId="{6E15D914-A2CC-5C89-13D2-D31B051840A8}"/>
          </ac:spMkLst>
        </pc:spChg>
        <pc:spChg chg="mod">
          <ac:chgData name="KevCla12" userId="ef2eb634-4620-450f-93cc-80cc93397e60" providerId="ADAL" clId="{DF6678F8-4F85-488B-B919-FA7E2EC6DABC}" dt="2023-10-14T12:01:27.332" v="1326"/>
          <ac:spMkLst>
            <pc:docMk/>
            <pc:sldMk cId="2164482548" sldId="331"/>
            <ac:spMk id="24" creationId="{A5F066E7-2E36-7491-CBF6-C33FB25C991F}"/>
          </ac:spMkLst>
        </pc:spChg>
        <pc:spChg chg="mod">
          <ac:chgData name="KevCla12" userId="ef2eb634-4620-450f-93cc-80cc93397e60" providerId="ADAL" clId="{DF6678F8-4F85-488B-B919-FA7E2EC6DABC}" dt="2023-10-14T12:01:27.332" v="1326"/>
          <ac:spMkLst>
            <pc:docMk/>
            <pc:sldMk cId="2164482548" sldId="331"/>
            <ac:spMk id="25" creationId="{C4605BD9-F4E5-282F-2F9D-4903506EE2AE}"/>
          </ac:spMkLst>
        </pc:spChg>
        <pc:spChg chg="mod">
          <ac:chgData name="KevCla12" userId="ef2eb634-4620-450f-93cc-80cc93397e60" providerId="ADAL" clId="{DF6678F8-4F85-488B-B919-FA7E2EC6DABC}" dt="2023-10-14T12:01:27.332" v="1326"/>
          <ac:spMkLst>
            <pc:docMk/>
            <pc:sldMk cId="2164482548" sldId="331"/>
            <ac:spMk id="26" creationId="{AC3698C8-6329-37F5-6DCB-2DFD87095E63}"/>
          </ac:spMkLst>
        </pc:spChg>
        <pc:spChg chg="mod">
          <ac:chgData name="KevCla12" userId="ef2eb634-4620-450f-93cc-80cc93397e60" providerId="ADAL" clId="{DF6678F8-4F85-488B-B919-FA7E2EC6DABC}" dt="2023-10-14T12:01:27.332" v="1326"/>
          <ac:spMkLst>
            <pc:docMk/>
            <pc:sldMk cId="2164482548" sldId="331"/>
            <ac:spMk id="27" creationId="{14F09C7B-41F6-2DA4-F33B-5DC91CFD9C0A}"/>
          </ac:spMkLst>
        </pc:spChg>
        <pc:spChg chg="mod">
          <ac:chgData name="KevCla12" userId="ef2eb634-4620-450f-93cc-80cc93397e60" providerId="ADAL" clId="{DF6678F8-4F85-488B-B919-FA7E2EC6DABC}" dt="2023-10-14T12:01:27.332" v="1326"/>
          <ac:spMkLst>
            <pc:docMk/>
            <pc:sldMk cId="2164482548" sldId="331"/>
            <ac:spMk id="28" creationId="{B14ED488-6D93-AFD5-19DD-06F6182531CA}"/>
          </ac:spMkLst>
        </pc:spChg>
        <pc:spChg chg="mod">
          <ac:chgData name="KevCla12" userId="ef2eb634-4620-450f-93cc-80cc93397e60" providerId="ADAL" clId="{DF6678F8-4F85-488B-B919-FA7E2EC6DABC}" dt="2023-10-14T12:01:27.332" v="1326"/>
          <ac:spMkLst>
            <pc:docMk/>
            <pc:sldMk cId="2164482548" sldId="331"/>
            <ac:spMk id="29" creationId="{D528A6C8-233B-A58F-5450-D8327062AEAF}"/>
          </ac:spMkLst>
        </pc:spChg>
        <pc:spChg chg="mod">
          <ac:chgData name="KevCla12" userId="ef2eb634-4620-450f-93cc-80cc93397e60" providerId="ADAL" clId="{DF6678F8-4F85-488B-B919-FA7E2EC6DABC}" dt="2023-10-14T12:01:27.332" v="1326"/>
          <ac:spMkLst>
            <pc:docMk/>
            <pc:sldMk cId="2164482548" sldId="331"/>
            <ac:spMk id="30" creationId="{8348425B-7CD7-270F-C2F2-FF6C2B483520}"/>
          </ac:spMkLst>
        </pc:spChg>
        <pc:spChg chg="mod">
          <ac:chgData name="KevCla12" userId="ef2eb634-4620-450f-93cc-80cc93397e60" providerId="ADAL" clId="{DF6678F8-4F85-488B-B919-FA7E2EC6DABC}" dt="2023-10-14T12:01:27.332" v="1326"/>
          <ac:spMkLst>
            <pc:docMk/>
            <pc:sldMk cId="2164482548" sldId="331"/>
            <ac:spMk id="31" creationId="{91AE1838-EFED-6E49-9A59-D7155D14C6EF}"/>
          </ac:spMkLst>
        </pc:spChg>
        <pc:spChg chg="mod">
          <ac:chgData name="KevCla12" userId="ef2eb634-4620-450f-93cc-80cc93397e60" providerId="ADAL" clId="{DF6678F8-4F85-488B-B919-FA7E2EC6DABC}" dt="2023-10-14T12:01:27.332" v="1326"/>
          <ac:spMkLst>
            <pc:docMk/>
            <pc:sldMk cId="2164482548" sldId="331"/>
            <ac:spMk id="32" creationId="{D41AE49C-DCC2-17F7-2939-41391227137C}"/>
          </ac:spMkLst>
        </pc:spChg>
        <pc:spChg chg="mod">
          <ac:chgData name="KevCla12" userId="ef2eb634-4620-450f-93cc-80cc93397e60" providerId="ADAL" clId="{DF6678F8-4F85-488B-B919-FA7E2EC6DABC}" dt="2023-10-14T12:01:27.332" v="1326"/>
          <ac:spMkLst>
            <pc:docMk/>
            <pc:sldMk cId="2164482548" sldId="331"/>
            <ac:spMk id="33" creationId="{22BA49ED-E3E6-2ED5-20A8-090688B5B292}"/>
          </ac:spMkLst>
        </pc:spChg>
        <pc:spChg chg="mod">
          <ac:chgData name="KevCla12" userId="ef2eb634-4620-450f-93cc-80cc93397e60" providerId="ADAL" clId="{DF6678F8-4F85-488B-B919-FA7E2EC6DABC}" dt="2023-10-14T12:01:27.332" v="1326"/>
          <ac:spMkLst>
            <pc:docMk/>
            <pc:sldMk cId="2164482548" sldId="331"/>
            <ac:spMk id="34" creationId="{E50CA871-AF33-64D1-CB58-D8E0086D751C}"/>
          </ac:spMkLst>
        </pc:spChg>
        <pc:spChg chg="mod">
          <ac:chgData name="KevCla12" userId="ef2eb634-4620-450f-93cc-80cc93397e60" providerId="ADAL" clId="{DF6678F8-4F85-488B-B919-FA7E2EC6DABC}" dt="2023-10-14T12:01:27.332" v="1326"/>
          <ac:spMkLst>
            <pc:docMk/>
            <pc:sldMk cId="2164482548" sldId="331"/>
            <ac:spMk id="35" creationId="{2FDFAAA3-67A9-4347-39F5-CB36F6F0F7B5}"/>
          </ac:spMkLst>
        </pc:spChg>
        <pc:spChg chg="mod">
          <ac:chgData name="KevCla12" userId="ef2eb634-4620-450f-93cc-80cc93397e60" providerId="ADAL" clId="{DF6678F8-4F85-488B-B919-FA7E2EC6DABC}" dt="2023-10-14T12:01:27.332" v="1326"/>
          <ac:spMkLst>
            <pc:docMk/>
            <pc:sldMk cId="2164482548" sldId="331"/>
            <ac:spMk id="36" creationId="{1D891941-A55A-EC45-4341-8C69437BD3EE}"/>
          </ac:spMkLst>
        </pc:spChg>
        <pc:spChg chg="mod">
          <ac:chgData name="KevCla12" userId="ef2eb634-4620-450f-93cc-80cc93397e60" providerId="ADAL" clId="{DF6678F8-4F85-488B-B919-FA7E2EC6DABC}" dt="2023-10-14T12:01:27.332" v="1326"/>
          <ac:spMkLst>
            <pc:docMk/>
            <pc:sldMk cId="2164482548" sldId="331"/>
            <ac:spMk id="37" creationId="{A207CFDC-E85E-9C5F-CBBE-563F05151EB2}"/>
          </ac:spMkLst>
        </pc:spChg>
        <pc:spChg chg="mod">
          <ac:chgData name="KevCla12" userId="ef2eb634-4620-450f-93cc-80cc93397e60" providerId="ADAL" clId="{DF6678F8-4F85-488B-B919-FA7E2EC6DABC}" dt="2023-10-14T12:01:27.332" v="1326"/>
          <ac:spMkLst>
            <pc:docMk/>
            <pc:sldMk cId="2164482548" sldId="331"/>
            <ac:spMk id="38" creationId="{79245DD2-C029-E3A7-CF81-84D047277AA6}"/>
          </ac:spMkLst>
        </pc:spChg>
        <pc:spChg chg="mod">
          <ac:chgData name="KevCla12" userId="ef2eb634-4620-450f-93cc-80cc93397e60" providerId="ADAL" clId="{DF6678F8-4F85-488B-B919-FA7E2EC6DABC}" dt="2023-10-14T12:01:27.332" v="1326"/>
          <ac:spMkLst>
            <pc:docMk/>
            <pc:sldMk cId="2164482548" sldId="331"/>
            <ac:spMk id="39" creationId="{96C32455-C380-42F9-4694-FE031F4977EF}"/>
          </ac:spMkLst>
        </pc:spChg>
        <pc:spChg chg="mod">
          <ac:chgData name="KevCla12" userId="ef2eb634-4620-450f-93cc-80cc93397e60" providerId="ADAL" clId="{DF6678F8-4F85-488B-B919-FA7E2EC6DABC}" dt="2023-10-14T12:01:27.332" v="1326"/>
          <ac:spMkLst>
            <pc:docMk/>
            <pc:sldMk cId="2164482548" sldId="331"/>
            <ac:spMk id="40" creationId="{CCFDE76E-FCB0-E88A-1AF8-0C36DEC5B03C}"/>
          </ac:spMkLst>
        </pc:spChg>
        <pc:spChg chg="mod">
          <ac:chgData name="KevCla12" userId="ef2eb634-4620-450f-93cc-80cc93397e60" providerId="ADAL" clId="{DF6678F8-4F85-488B-B919-FA7E2EC6DABC}" dt="2023-10-14T12:01:27.332" v="1326"/>
          <ac:spMkLst>
            <pc:docMk/>
            <pc:sldMk cId="2164482548" sldId="331"/>
            <ac:spMk id="41" creationId="{18E5F043-1351-0796-9909-86DB884B20C6}"/>
          </ac:spMkLst>
        </pc:spChg>
        <pc:spChg chg="mod">
          <ac:chgData name="KevCla12" userId="ef2eb634-4620-450f-93cc-80cc93397e60" providerId="ADAL" clId="{DF6678F8-4F85-488B-B919-FA7E2EC6DABC}" dt="2023-10-14T12:01:27.332" v="1326"/>
          <ac:spMkLst>
            <pc:docMk/>
            <pc:sldMk cId="2164482548" sldId="331"/>
            <ac:spMk id="42" creationId="{8D782CE0-985B-FC25-2691-26822741F648}"/>
          </ac:spMkLst>
        </pc:spChg>
        <pc:spChg chg="mod">
          <ac:chgData name="KevCla12" userId="ef2eb634-4620-450f-93cc-80cc93397e60" providerId="ADAL" clId="{DF6678F8-4F85-488B-B919-FA7E2EC6DABC}" dt="2023-10-14T12:01:27.332" v="1326"/>
          <ac:spMkLst>
            <pc:docMk/>
            <pc:sldMk cId="2164482548" sldId="331"/>
            <ac:spMk id="43" creationId="{8586D568-12F8-0AA8-101A-DC3F7A075EC9}"/>
          </ac:spMkLst>
        </pc:spChg>
        <pc:spChg chg="mod">
          <ac:chgData name="KevCla12" userId="ef2eb634-4620-450f-93cc-80cc93397e60" providerId="ADAL" clId="{DF6678F8-4F85-488B-B919-FA7E2EC6DABC}" dt="2023-10-14T12:01:27.332" v="1326"/>
          <ac:spMkLst>
            <pc:docMk/>
            <pc:sldMk cId="2164482548" sldId="331"/>
            <ac:spMk id="44" creationId="{319E3D09-FF9E-6342-4940-9943B2733A17}"/>
          </ac:spMkLst>
        </pc:spChg>
        <pc:spChg chg="mod">
          <ac:chgData name="KevCla12" userId="ef2eb634-4620-450f-93cc-80cc93397e60" providerId="ADAL" clId="{DF6678F8-4F85-488B-B919-FA7E2EC6DABC}" dt="2023-10-14T12:01:27.332" v="1326"/>
          <ac:spMkLst>
            <pc:docMk/>
            <pc:sldMk cId="2164482548" sldId="331"/>
            <ac:spMk id="45" creationId="{FF660E67-C0F8-45E5-9CEF-03A738A9F30B}"/>
          </ac:spMkLst>
        </pc:spChg>
        <pc:spChg chg="mod">
          <ac:chgData name="KevCla12" userId="ef2eb634-4620-450f-93cc-80cc93397e60" providerId="ADAL" clId="{DF6678F8-4F85-488B-B919-FA7E2EC6DABC}" dt="2023-10-14T12:01:27.332" v="1326"/>
          <ac:spMkLst>
            <pc:docMk/>
            <pc:sldMk cId="2164482548" sldId="331"/>
            <ac:spMk id="46" creationId="{996125F1-8D1F-9E74-AD33-B875AD6B3F60}"/>
          </ac:spMkLst>
        </pc:spChg>
        <pc:spChg chg="mod">
          <ac:chgData name="KevCla12" userId="ef2eb634-4620-450f-93cc-80cc93397e60" providerId="ADAL" clId="{DF6678F8-4F85-488B-B919-FA7E2EC6DABC}" dt="2023-10-14T12:01:27.332" v="1326"/>
          <ac:spMkLst>
            <pc:docMk/>
            <pc:sldMk cId="2164482548" sldId="331"/>
            <ac:spMk id="47" creationId="{36445AA0-84D6-2FE5-55C9-6EE355725D85}"/>
          </ac:spMkLst>
        </pc:spChg>
        <pc:spChg chg="mod">
          <ac:chgData name="KevCla12" userId="ef2eb634-4620-450f-93cc-80cc93397e60" providerId="ADAL" clId="{DF6678F8-4F85-488B-B919-FA7E2EC6DABC}" dt="2023-10-14T12:01:27.332" v="1326"/>
          <ac:spMkLst>
            <pc:docMk/>
            <pc:sldMk cId="2164482548" sldId="331"/>
            <ac:spMk id="48" creationId="{176E6283-37CB-4FFB-071B-376F183E4BED}"/>
          </ac:spMkLst>
        </pc:spChg>
        <pc:spChg chg="mod">
          <ac:chgData name="KevCla12" userId="ef2eb634-4620-450f-93cc-80cc93397e60" providerId="ADAL" clId="{DF6678F8-4F85-488B-B919-FA7E2EC6DABC}" dt="2023-10-14T12:01:27.332" v="1326"/>
          <ac:spMkLst>
            <pc:docMk/>
            <pc:sldMk cId="2164482548" sldId="331"/>
            <ac:spMk id="49" creationId="{F8EEB154-279C-BD66-E6F6-663AB86BAA79}"/>
          </ac:spMkLst>
        </pc:spChg>
        <pc:spChg chg="mod">
          <ac:chgData name="KevCla12" userId="ef2eb634-4620-450f-93cc-80cc93397e60" providerId="ADAL" clId="{DF6678F8-4F85-488B-B919-FA7E2EC6DABC}" dt="2023-10-14T12:01:27.332" v="1326"/>
          <ac:spMkLst>
            <pc:docMk/>
            <pc:sldMk cId="2164482548" sldId="331"/>
            <ac:spMk id="50" creationId="{849265E2-18D6-7EA4-D01E-893667C60E2F}"/>
          </ac:spMkLst>
        </pc:spChg>
        <pc:spChg chg="mod">
          <ac:chgData name="KevCla12" userId="ef2eb634-4620-450f-93cc-80cc93397e60" providerId="ADAL" clId="{DF6678F8-4F85-488B-B919-FA7E2EC6DABC}" dt="2023-10-14T12:01:27.332" v="1326"/>
          <ac:spMkLst>
            <pc:docMk/>
            <pc:sldMk cId="2164482548" sldId="331"/>
            <ac:spMk id="51" creationId="{DD399426-08F1-0BCF-9821-059EF5375E3C}"/>
          </ac:spMkLst>
        </pc:spChg>
        <pc:spChg chg="mod">
          <ac:chgData name="KevCla12" userId="ef2eb634-4620-450f-93cc-80cc93397e60" providerId="ADAL" clId="{DF6678F8-4F85-488B-B919-FA7E2EC6DABC}" dt="2023-10-14T12:01:27.332" v="1326"/>
          <ac:spMkLst>
            <pc:docMk/>
            <pc:sldMk cId="2164482548" sldId="331"/>
            <ac:spMk id="52" creationId="{BEFDC217-55C8-3918-03BE-02C0F818E25C}"/>
          </ac:spMkLst>
        </pc:spChg>
        <pc:spChg chg="mod">
          <ac:chgData name="KevCla12" userId="ef2eb634-4620-450f-93cc-80cc93397e60" providerId="ADAL" clId="{DF6678F8-4F85-488B-B919-FA7E2EC6DABC}" dt="2023-10-14T12:01:27.332" v="1326"/>
          <ac:spMkLst>
            <pc:docMk/>
            <pc:sldMk cId="2164482548" sldId="331"/>
            <ac:spMk id="53" creationId="{3152D194-EEC6-28CC-19A9-D538AEB44796}"/>
          </ac:spMkLst>
        </pc:spChg>
        <pc:spChg chg="mod">
          <ac:chgData name="KevCla12" userId="ef2eb634-4620-450f-93cc-80cc93397e60" providerId="ADAL" clId="{DF6678F8-4F85-488B-B919-FA7E2EC6DABC}" dt="2023-10-14T12:01:27.332" v="1326"/>
          <ac:spMkLst>
            <pc:docMk/>
            <pc:sldMk cId="2164482548" sldId="331"/>
            <ac:spMk id="54" creationId="{0888EE7C-FDBA-EE3E-4306-1DFFEBA3FCD8}"/>
          </ac:spMkLst>
        </pc:spChg>
        <pc:spChg chg="mod">
          <ac:chgData name="KevCla12" userId="ef2eb634-4620-450f-93cc-80cc93397e60" providerId="ADAL" clId="{DF6678F8-4F85-488B-B919-FA7E2EC6DABC}" dt="2023-10-14T12:01:27.332" v="1326"/>
          <ac:spMkLst>
            <pc:docMk/>
            <pc:sldMk cId="2164482548" sldId="331"/>
            <ac:spMk id="55" creationId="{86B0DAFA-2A47-DACA-4390-8A9A5993AE66}"/>
          </ac:spMkLst>
        </pc:spChg>
        <pc:spChg chg="mod">
          <ac:chgData name="KevCla12" userId="ef2eb634-4620-450f-93cc-80cc93397e60" providerId="ADAL" clId="{DF6678F8-4F85-488B-B919-FA7E2EC6DABC}" dt="2023-10-14T12:01:27.332" v="1326"/>
          <ac:spMkLst>
            <pc:docMk/>
            <pc:sldMk cId="2164482548" sldId="331"/>
            <ac:spMk id="56" creationId="{3F005E2E-2749-C674-27F7-31C49AE0EBE3}"/>
          </ac:spMkLst>
        </pc:spChg>
        <pc:spChg chg="mod">
          <ac:chgData name="KevCla12" userId="ef2eb634-4620-450f-93cc-80cc93397e60" providerId="ADAL" clId="{DF6678F8-4F85-488B-B919-FA7E2EC6DABC}" dt="2023-10-14T12:01:27.332" v="1326"/>
          <ac:spMkLst>
            <pc:docMk/>
            <pc:sldMk cId="2164482548" sldId="331"/>
            <ac:spMk id="57" creationId="{FD2E3469-399E-0B68-826B-7C4AA909D335}"/>
          </ac:spMkLst>
        </pc:spChg>
        <pc:spChg chg="mod">
          <ac:chgData name="KevCla12" userId="ef2eb634-4620-450f-93cc-80cc93397e60" providerId="ADAL" clId="{DF6678F8-4F85-488B-B919-FA7E2EC6DABC}" dt="2023-10-14T12:01:27.332" v="1326"/>
          <ac:spMkLst>
            <pc:docMk/>
            <pc:sldMk cId="2164482548" sldId="331"/>
            <ac:spMk id="58" creationId="{2017AACD-D32D-4D4D-E0C0-8D1FF1D4B9BB}"/>
          </ac:spMkLst>
        </pc:spChg>
        <pc:spChg chg="add mod">
          <ac:chgData name="KevCla12" userId="ef2eb634-4620-450f-93cc-80cc93397e60" providerId="ADAL" clId="{DF6678F8-4F85-488B-B919-FA7E2EC6DABC}" dt="2023-10-14T12:02:19.502" v="1340" actId="13822"/>
          <ac:spMkLst>
            <pc:docMk/>
            <pc:sldMk cId="2164482548" sldId="331"/>
            <ac:spMk id="59" creationId="{9B09F13D-4A40-1A7F-59D0-E9D10974C277}"/>
          </ac:spMkLst>
        </pc:spChg>
        <pc:spChg chg="add mod">
          <ac:chgData name="KevCla12" userId="ef2eb634-4620-450f-93cc-80cc93397e60" providerId="ADAL" clId="{DF6678F8-4F85-488B-B919-FA7E2EC6DABC}" dt="2023-10-14T12:03:30.520" v="1381" actId="1076"/>
          <ac:spMkLst>
            <pc:docMk/>
            <pc:sldMk cId="2164482548" sldId="331"/>
            <ac:spMk id="60" creationId="{37398A35-6820-D6D9-25C4-6B58E9A7B631}"/>
          </ac:spMkLst>
        </pc:spChg>
        <pc:spChg chg="add mod">
          <ac:chgData name="KevCla12" userId="ef2eb634-4620-450f-93cc-80cc93397e60" providerId="ADAL" clId="{DF6678F8-4F85-488B-B919-FA7E2EC6DABC}" dt="2023-10-14T12:02:29.937" v="1343"/>
          <ac:spMkLst>
            <pc:docMk/>
            <pc:sldMk cId="2164482548" sldId="331"/>
            <ac:spMk id="61" creationId="{9D076A69-52C2-62B2-899B-110B02E55DB5}"/>
          </ac:spMkLst>
        </pc:spChg>
        <pc:spChg chg="add mod">
          <ac:chgData name="KevCla12" userId="ef2eb634-4620-450f-93cc-80cc93397e60" providerId="ADAL" clId="{DF6678F8-4F85-488B-B919-FA7E2EC6DABC}" dt="2023-10-14T12:03:27.695" v="1379" actId="122"/>
          <ac:spMkLst>
            <pc:docMk/>
            <pc:sldMk cId="2164482548" sldId="331"/>
            <ac:spMk id="62" creationId="{9EEBB82A-BC96-FE58-F22A-F87C209A1226}"/>
          </ac:spMkLst>
        </pc:spChg>
        <pc:spChg chg="add mod">
          <ac:chgData name="KevCla12" userId="ef2eb634-4620-450f-93cc-80cc93397e60" providerId="ADAL" clId="{DF6678F8-4F85-488B-B919-FA7E2EC6DABC}" dt="2023-10-14T12:03:37.018" v="1382" actId="1076"/>
          <ac:spMkLst>
            <pc:docMk/>
            <pc:sldMk cId="2164482548" sldId="331"/>
            <ac:spMk id="63" creationId="{F2DDE9F4-D516-1E47-EC19-69E733DC6C90}"/>
          </ac:spMkLst>
        </pc:spChg>
        <pc:spChg chg="add mod">
          <ac:chgData name="KevCla12" userId="ef2eb634-4620-450f-93cc-80cc93397e60" providerId="ADAL" clId="{DF6678F8-4F85-488B-B919-FA7E2EC6DABC}" dt="2023-10-14T12:03:40.994" v="1383" actId="1076"/>
          <ac:spMkLst>
            <pc:docMk/>
            <pc:sldMk cId="2164482548" sldId="331"/>
            <ac:spMk id="64" creationId="{E0359CB2-FB40-05BB-38D1-AA4E5E7BA9F8}"/>
          </ac:spMkLst>
        </pc:spChg>
        <pc:grpChg chg="add mod">
          <ac:chgData name="KevCla12" userId="ef2eb634-4620-450f-93cc-80cc93397e60" providerId="ADAL" clId="{DF6678F8-4F85-488B-B919-FA7E2EC6DABC}" dt="2023-10-14T12:01:27.332" v="1326"/>
          <ac:grpSpMkLst>
            <pc:docMk/>
            <pc:sldMk cId="2164482548" sldId="331"/>
            <ac:grpSpMk id="8" creationId="{E9C4EE24-84C9-D322-C9D6-E5829852B78E}"/>
          </ac:grpSpMkLst>
        </pc:grpChg>
        <pc:cxnChg chg="mod">
          <ac:chgData name="KevCla12" userId="ef2eb634-4620-450f-93cc-80cc93397e60" providerId="ADAL" clId="{DF6678F8-4F85-488B-B919-FA7E2EC6DABC}" dt="2023-10-14T12:01:27.332" v="1326"/>
          <ac:cxnSpMkLst>
            <pc:docMk/>
            <pc:sldMk cId="2164482548" sldId="331"/>
            <ac:cxnSpMk id="9" creationId="{A9CBF297-128B-ADB0-234E-87C9340D78F1}"/>
          </ac:cxnSpMkLst>
        </pc:cxnChg>
        <pc:cxnChg chg="mod">
          <ac:chgData name="KevCla12" userId="ef2eb634-4620-450f-93cc-80cc93397e60" providerId="ADAL" clId="{DF6678F8-4F85-488B-B919-FA7E2EC6DABC}" dt="2023-10-14T12:01:27.332" v="1326"/>
          <ac:cxnSpMkLst>
            <pc:docMk/>
            <pc:sldMk cId="2164482548" sldId="331"/>
            <ac:cxnSpMk id="11" creationId="{A81422B2-A10F-E890-F33C-397038504421}"/>
          </ac:cxnSpMkLst>
        </pc:cxnChg>
        <pc:cxnChg chg="mod">
          <ac:chgData name="KevCla12" userId="ef2eb634-4620-450f-93cc-80cc93397e60" providerId="ADAL" clId="{DF6678F8-4F85-488B-B919-FA7E2EC6DABC}" dt="2023-10-14T12:01:27.332" v="1326"/>
          <ac:cxnSpMkLst>
            <pc:docMk/>
            <pc:sldMk cId="2164482548" sldId="331"/>
            <ac:cxnSpMk id="12" creationId="{2DA99454-0A4C-6B3D-2C64-AD156FDC3276}"/>
          </ac:cxnSpMkLst>
        </pc:cxnChg>
        <pc:cxnChg chg="mod">
          <ac:chgData name="KevCla12" userId="ef2eb634-4620-450f-93cc-80cc93397e60" providerId="ADAL" clId="{DF6678F8-4F85-488B-B919-FA7E2EC6DABC}" dt="2023-10-14T12:01:27.332" v="1326"/>
          <ac:cxnSpMkLst>
            <pc:docMk/>
            <pc:sldMk cId="2164482548" sldId="331"/>
            <ac:cxnSpMk id="13" creationId="{0C12F2BE-E8FA-ABA0-69B9-4BF2B8C60FB0}"/>
          </ac:cxnSpMkLst>
        </pc:cxnChg>
        <pc:cxnChg chg="mod">
          <ac:chgData name="KevCla12" userId="ef2eb634-4620-450f-93cc-80cc93397e60" providerId="ADAL" clId="{DF6678F8-4F85-488B-B919-FA7E2EC6DABC}" dt="2023-10-14T12:01:27.332" v="1326"/>
          <ac:cxnSpMkLst>
            <pc:docMk/>
            <pc:sldMk cId="2164482548" sldId="331"/>
            <ac:cxnSpMk id="14" creationId="{F0E416C2-E53A-C5A6-B1C0-F99A53EA2418}"/>
          </ac:cxnSpMkLst>
        </pc:cxnChg>
      </pc:sldChg>
      <pc:sldChg chg="addSp delSp modSp new mod">
        <pc:chgData name="KevCla12" userId="ef2eb634-4620-450f-93cc-80cc93397e60" providerId="ADAL" clId="{DF6678F8-4F85-488B-B919-FA7E2EC6DABC}" dt="2023-10-19T18:59:56.898" v="10356" actId="207"/>
        <pc:sldMkLst>
          <pc:docMk/>
          <pc:sldMk cId="2355576244" sldId="331"/>
        </pc:sldMkLst>
        <pc:spChg chg="mod">
          <ac:chgData name="KevCla12" userId="ef2eb634-4620-450f-93cc-80cc93397e60" providerId="ADAL" clId="{DF6678F8-4F85-488B-B919-FA7E2EC6DABC}" dt="2023-10-17T14:16:47.408" v="9532" actId="20577"/>
          <ac:spMkLst>
            <pc:docMk/>
            <pc:sldMk cId="2355576244" sldId="331"/>
            <ac:spMk id="2" creationId="{2521373C-32EE-25D6-257F-12143A4CB3F7}"/>
          </ac:spMkLst>
        </pc:spChg>
        <pc:spChg chg="del">
          <ac:chgData name="KevCla12" userId="ef2eb634-4620-450f-93cc-80cc93397e60" providerId="ADAL" clId="{DF6678F8-4F85-488B-B919-FA7E2EC6DABC}" dt="2023-10-14T13:48:54.992" v="1393" actId="478"/>
          <ac:spMkLst>
            <pc:docMk/>
            <pc:sldMk cId="2355576244" sldId="331"/>
            <ac:spMk id="3" creationId="{07FF6E21-1668-3F50-739B-65823EE9770D}"/>
          </ac:spMkLst>
        </pc:spChg>
        <pc:spChg chg="del">
          <ac:chgData name="KevCla12" userId="ef2eb634-4620-450f-93cc-80cc93397e60" providerId="ADAL" clId="{DF6678F8-4F85-488B-B919-FA7E2EC6DABC}" dt="2023-10-14T13:58:51.869" v="1412"/>
          <ac:spMkLst>
            <pc:docMk/>
            <pc:sldMk cId="2355576244" sldId="331"/>
            <ac:spMk id="5" creationId="{4EBFC870-E2F5-E4BD-2B30-5CFA4FE609AF}"/>
          </ac:spMkLst>
        </pc:spChg>
        <pc:spChg chg="del">
          <ac:chgData name="KevCla12" userId="ef2eb634-4620-450f-93cc-80cc93397e60" providerId="ADAL" clId="{DF6678F8-4F85-488B-B919-FA7E2EC6DABC}" dt="2023-10-14T15:29:43.442" v="1910" actId="931"/>
          <ac:spMkLst>
            <pc:docMk/>
            <pc:sldMk cId="2355576244" sldId="331"/>
            <ac:spMk id="6" creationId="{D16997CE-E481-7620-29F4-76EC4BE3E0CA}"/>
          </ac:spMkLst>
        </pc:spChg>
        <pc:spChg chg="add mod">
          <ac:chgData name="KevCla12" userId="ef2eb634-4620-450f-93cc-80cc93397e60" providerId="ADAL" clId="{DF6678F8-4F85-488B-B919-FA7E2EC6DABC}" dt="2023-10-14T13:57:48.889" v="1398" actId="14100"/>
          <ac:spMkLst>
            <pc:docMk/>
            <pc:sldMk cId="2355576244" sldId="331"/>
            <ac:spMk id="9" creationId="{E3B3E7DC-51CE-D57C-5D2E-6A37523C2180}"/>
          </ac:spMkLst>
        </pc:spChg>
        <pc:spChg chg="add mod">
          <ac:chgData name="KevCla12" userId="ef2eb634-4620-450f-93cc-80cc93397e60" providerId="ADAL" clId="{DF6678F8-4F85-488B-B919-FA7E2EC6DABC}" dt="2023-10-14T13:57:44.174" v="1397" actId="14100"/>
          <ac:spMkLst>
            <pc:docMk/>
            <pc:sldMk cId="2355576244" sldId="331"/>
            <ac:spMk id="10" creationId="{25005838-CA71-31D7-711C-324526DD6095}"/>
          </ac:spMkLst>
        </pc:spChg>
        <pc:spChg chg="add mod">
          <ac:chgData name="KevCla12" userId="ef2eb634-4620-450f-93cc-80cc93397e60" providerId="ADAL" clId="{DF6678F8-4F85-488B-B919-FA7E2EC6DABC}" dt="2023-10-14T13:48:55.942" v="1394"/>
          <ac:spMkLst>
            <pc:docMk/>
            <pc:sldMk cId="2355576244" sldId="331"/>
            <ac:spMk id="11" creationId="{4B23AEF8-ADA8-784F-57C1-613F8D6E3007}"/>
          </ac:spMkLst>
        </pc:spChg>
        <pc:spChg chg="add mod">
          <ac:chgData name="KevCla12" userId="ef2eb634-4620-450f-93cc-80cc93397e60" providerId="ADAL" clId="{DF6678F8-4F85-488B-B919-FA7E2EC6DABC}" dt="2023-10-14T13:48:55.942" v="1394"/>
          <ac:spMkLst>
            <pc:docMk/>
            <pc:sldMk cId="2355576244" sldId="331"/>
            <ac:spMk id="12" creationId="{3DAB94F3-7D4D-FA40-A5BE-099D061F399F}"/>
          </ac:spMkLst>
        </pc:spChg>
        <pc:spChg chg="add mod">
          <ac:chgData name="KevCla12" userId="ef2eb634-4620-450f-93cc-80cc93397e60" providerId="ADAL" clId="{DF6678F8-4F85-488B-B919-FA7E2EC6DABC}" dt="2023-10-14T13:48:55.942" v="1394"/>
          <ac:spMkLst>
            <pc:docMk/>
            <pc:sldMk cId="2355576244" sldId="331"/>
            <ac:spMk id="13" creationId="{DE10B19F-604A-84CB-0BE9-806187E0E7EA}"/>
          </ac:spMkLst>
        </pc:spChg>
        <pc:spChg chg="add mod">
          <ac:chgData name="KevCla12" userId="ef2eb634-4620-450f-93cc-80cc93397e60" providerId="ADAL" clId="{DF6678F8-4F85-488B-B919-FA7E2EC6DABC}" dt="2023-10-14T13:48:55.942" v="1394"/>
          <ac:spMkLst>
            <pc:docMk/>
            <pc:sldMk cId="2355576244" sldId="331"/>
            <ac:spMk id="14" creationId="{9C703833-D11D-EE4D-1E2A-1EBAA0EB7C18}"/>
          </ac:spMkLst>
        </pc:spChg>
        <pc:spChg chg="add mod">
          <ac:chgData name="KevCla12" userId="ef2eb634-4620-450f-93cc-80cc93397e60" providerId="ADAL" clId="{DF6678F8-4F85-488B-B919-FA7E2EC6DABC}" dt="2023-10-14T13:48:55.942" v="1394"/>
          <ac:spMkLst>
            <pc:docMk/>
            <pc:sldMk cId="2355576244" sldId="331"/>
            <ac:spMk id="15" creationId="{35DEE373-03BB-042A-4B98-B479C7E592EB}"/>
          </ac:spMkLst>
        </pc:spChg>
        <pc:spChg chg="add mod">
          <ac:chgData name="KevCla12" userId="ef2eb634-4620-450f-93cc-80cc93397e60" providerId="ADAL" clId="{DF6678F8-4F85-488B-B919-FA7E2EC6DABC}" dt="2023-10-14T13:48:55.942" v="1394"/>
          <ac:spMkLst>
            <pc:docMk/>
            <pc:sldMk cId="2355576244" sldId="331"/>
            <ac:spMk id="16" creationId="{E0A88C25-9DC0-B417-4B58-6917B872FCB0}"/>
          </ac:spMkLst>
        </pc:spChg>
        <pc:spChg chg="add mod">
          <ac:chgData name="KevCla12" userId="ef2eb634-4620-450f-93cc-80cc93397e60" providerId="ADAL" clId="{DF6678F8-4F85-488B-B919-FA7E2EC6DABC}" dt="2023-10-14T13:48:55.942" v="1394"/>
          <ac:spMkLst>
            <pc:docMk/>
            <pc:sldMk cId="2355576244" sldId="331"/>
            <ac:spMk id="17" creationId="{4ABECAFA-55AA-27B9-A4AD-1320D684A098}"/>
          </ac:spMkLst>
        </pc:spChg>
        <pc:spChg chg="add mod">
          <ac:chgData name="KevCla12" userId="ef2eb634-4620-450f-93cc-80cc93397e60" providerId="ADAL" clId="{DF6678F8-4F85-488B-B919-FA7E2EC6DABC}" dt="2023-10-14T13:48:55.942" v="1394"/>
          <ac:spMkLst>
            <pc:docMk/>
            <pc:sldMk cId="2355576244" sldId="331"/>
            <ac:spMk id="18" creationId="{11C7ED2A-191B-BF09-833C-A12A21FB2057}"/>
          </ac:spMkLst>
        </pc:spChg>
        <pc:spChg chg="add mod">
          <ac:chgData name="KevCla12" userId="ef2eb634-4620-450f-93cc-80cc93397e60" providerId="ADAL" clId="{DF6678F8-4F85-488B-B919-FA7E2EC6DABC}" dt="2023-10-14T13:48:55.942" v="1394"/>
          <ac:spMkLst>
            <pc:docMk/>
            <pc:sldMk cId="2355576244" sldId="331"/>
            <ac:spMk id="19" creationId="{C4946DFC-0C92-6018-EEE1-351AAD1F3BFF}"/>
          </ac:spMkLst>
        </pc:spChg>
        <pc:spChg chg="add mod">
          <ac:chgData name="KevCla12" userId="ef2eb634-4620-450f-93cc-80cc93397e60" providerId="ADAL" clId="{DF6678F8-4F85-488B-B919-FA7E2EC6DABC}" dt="2023-10-14T13:48:55.942" v="1394"/>
          <ac:spMkLst>
            <pc:docMk/>
            <pc:sldMk cId="2355576244" sldId="331"/>
            <ac:spMk id="20" creationId="{E6C9DF30-CB4F-846B-5339-C1E8244496AB}"/>
          </ac:spMkLst>
        </pc:spChg>
        <pc:spChg chg="add mod">
          <ac:chgData name="KevCla12" userId="ef2eb634-4620-450f-93cc-80cc93397e60" providerId="ADAL" clId="{DF6678F8-4F85-488B-B919-FA7E2EC6DABC}" dt="2023-10-14T13:48:55.942" v="1394"/>
          <ac:spMkLst>
            <pc:docMk/>
            <pc:sldMk cId="2355576244" sldId="331"/>
            <ac:spMk id="21" creationId="{0F84D51E-6FD3-E1C2-B823-E761455F771E}"/>
          </ac:spMkLst>
        </pc:spChg>
        <pc:spChg chg="add mod">
          <ac:chgData name="KevCla12" userId="ef2eb634-4620-450f-93cc-80cc93397e60" providerId="ADAL" clId="{DF6678F8-4F85-488B-B919-FA7E2EC6DABC}" dt="2023-10-14T13:48:55.942" v="1394"/>
          <ac:spMkLst>
            <pc:docMk/>
            <pc:sldMk cId="2355576244" sldId="331"/>
            <ac:spMk id="22" creationId="{2DCB8E63-F270-C687-1C31-CCCE64BB464B}"/>
          </ac:spMkLst>
        </pc:spChg>
        <pc:spChg chg="add mod">
          <ac:chgData name="KevCla12" userId="ef2eb634-4620-450f-93cc-80cc93397e60" providerId="ADAL" clId="{DF6678F8-4F85-488B-B919-FA7E2EC6DABC}" dt="2023-10-14T13:48:55.942" v="1394"/>
          <ac:spMkLst>
            <pc:docMk/>
            <pc:sldMk cId="2355576244" sldId="331"/>
            <ac:spMk id="23" creationId="{AA3A596C-68C6-7A49-1B9B-F53BD08B4FEF}"/>
          </ac:spMkLst>
        </pc:spChg>
        <pc:spChg chg="add mod">
          <ac:chgData name="KevCla12" userId="ef2eb634-4620-450f-93cc-80cc93397e60" providerId="ADAL" clId="{DF6678F8-4F85-488B-B919-FA7E2EC6DABC}" dt="2023-10-14T15:30:30.888" v="1929" actId="1037"/>
          <ac:spMkLst>
            <pc:docMk/>
            <pc:sldMk cId="2355576244" sldId="331"/>
            <ac:spMk id="24" creationId="{59CE73F5-446E-5D0C-AB8F-2C037D59792A}"/>
          </ac:spMkLst>
        </pc:spChg>
        <pc:spChg chg="add mod">
          <ac:chgData name="KevCla12" userId="ef2eb634-4620-450f-93cc-80cc93397e60" providerId="ADAL" clId="{DF6678F8-4F85-488B-B919-FA7E2EC6DABC}" dt="2023-10-15T10:41:54.465" v="4585" actId="21"/>
          <ac:spMkLst>
            <pc:docMk/>
            <pc:sldMk cId="2355576244" sldId="331"/>
            <ac:spMk id="25" creationId="{187FCC43-8404-A81C-3B89-350AF125E5F6}"/>
          </ac:spMkLst>
        </pc:spChg>
        <pc:spChg chg="add del mod">
          <ac:chgData name="KevCla12" userId="ef2eb634-4620-450f-93cc-80cc93397e60" providerId="ADAL" clId="{DF6678F8-4F85-488B-B919-FA7E2EC6DABC}" dt="2023-10-14T15:13:18.773" v="1687" actId="931"/>
          <ac:spMkLst>
            <pc:docMk/>
            <pc:sldMk cId="2355576244" sldId="331"/>
            <ac:spMk id="28" creationId="{A85013E4-17C5-18B7-B3F1-7457F3416583}"/>
          </ac:spMkLst>
        </pc:spChg>
        <pc:spChg chg="add mod">
          <ac:chgData name="KevCla12" userId="ef2eb634-4620-450f-93cc-80cc93397e60" providerId="ADAL" clId="{DF6678F8-4F85-488B-B919-FA7E2EC6DABC}" dt="2023-10-14T15:27:59.761" v="1888" actId="208"/>
          <ac:spMkLst>
            <pc:docMk/>
            <pc:sldMk cId="2355576244" sldId="331"/>
            <ac:spMk id="30" creationId="{469495C7-D390-0D10-CDE9-23415333005E}"/>
          </ac:spMkLst>
        </pc:spChg>
        <pc:spChg chg="add mod">
          <ac:chgData name="KevCla12" userId="ef2eb634-4620-450f-93cc-80cc93397e60" providerId="ADAL" clId="{DF6678F8-4F85-488B-B919-FA7E2EC6DABC}" dt="2023-10-14T14:15:08.301" v="1466" actId="14100"/>
          <ac:spMkLst>
            <pc:docMk/>
            <pc:sldMk cId="2355576244" sldId="331"/>
            <ac:spMk id="31" creationId="{35621A03-6F0F-D3BB-4007-AB5CCC7979BD}"/>
          </ac:spMkLst>
        </pc:spChg>
        <pc:spChg chg="add mod">
          <ac:chgData name="KevCla12" userId="ef2eb634-4620-450f-93cc-80cc93397e60" providerId="ADAL" clId="{DF6678F8-4F85-488B-B919-FA7E2EC6DABC}" dt="2023-10-14T14:15:33.297" v="1484" actId="1076"/>
          <ac:spMkLst>
            <pc:docMk/>
            <pc:sldMk cId="2355576244" sldId="331"/>
            <ac:spMk id="32" creationId="{A273A841-BBD0-F4EE-CC1B-8DD20DF5E763}"/>
          </ac:spMkLst>
        </pc:spChg>
        <pc:spChg chg="add mod">
          <ac:chgData name="KevCla12" userId="ef2eb634-4620-450f-93cc-80cc93397e60" providerId="ADAL" clId="{DF6678F8-4F85-488B-B919-FA7E2EC6DABC}" dt="2023-10-14T15:05:53.017" v="1574" actId="790"/>
          <ac:spMkLst>
            <pc:docMk/>
            <pc:sldMk cId="2355576244" sldId="331"/>
            <ac:spMk id="33" creationId="{4F3E486F-1E51-F30D-2BB8-636F1F67D09F}"/>
          </ac:spMkLst>
        </pc:spChg>
        <pc:spChg chg="add mod ord">
          <ac:chgData name="KevCla12" userId="ef2eb634-4620-450f-93cc-80cc93397e60" providerId="ADAL" clId="{DF6678F8-4F85-488B-B919-FA7E2EC6DABC}" dt="2023-10-14T14:17:18.784" v="1500" actId="167"/>
          <ac:spMkLst>
            <pc:docMk/>
            <pc:sldMk cId="2355576244" sldId="331"/>
            <ac:spMk id="34" creationId="{15BE910F-F646-FF93-F516-87BEA8FF3C56}"/>
          </ac:spMkLst>
        </pc:spChg>
        <pc:spChg chg="add mod">
          <ac:chgData name="KevCla12" userId="ef2eb634-4620-450f-93cc-80cc93397e60" providerId="ADAL" clId="{DF6678F8-4F85-488B-B919-FA7E2EC6DABC}" dt="2023-10-14T15:07:44.416" v="1599" actId="207"/>
          <ac:spMkLst>
            <pc:docMk/>
            <pc:sldMk cId="2355576244" sldId="331"/>
            <ac:spMk id="35" creationId="{D31CE3E8-2DD8-C99B-3F9F-E1BD000B42D2}"/>
          </ac:spMkLst>
        </pc:spChg>
        <pc:spChg chg="add mod">
          <ac:chgData name="KevCla12" userId="ef2eb634-4620-450f-93cc-80cc93397e60" providerId="ADAL" clId="{DF6678F8-4F85-488B-B919-FA7E2EC6DABC}" dt="2023-10-19T18:59:44.941" v="10352" actId="207"/>
          <ac:spMkLst>
            <pc:docMk/>
            <pc:sldMk cId="2355576244" sldId="331"/>
            <ac:spMk id="37" creationId="{8437044D-7D71-4A31-8398-3304A08D0D9B}"/>
          </ac:spMkLst>
        </pc:spChg>
        <pc:spChg chg="add mod">
          <ac:chgData name="KevCla12" userId="ef2eb634-4620-450f-93cc-80cc93397e60" providerId="ADAL" clId="{DF6678F8-4F85-488B-B919-FA7E2EC6DABC}" dt="2023-10-14T15:10:45.809" v="1654" actId="20577"/>
          <ac:spMkLst>
            <pc:docMk/>
            <pc:sldMk cId="2355576244" sldId="331"/>
            <ac:spMk id="45" creationId="{9D6F0A1D-4E55-C8D1-87FE-FBE45C7EE499}"/>
          </ac:spMkLst>
        </pc:spChg>
        <pc:spChg chg="add mod">
          <ac:chgData name="KevCla12" userId="ef2eb634-4620-450f-93cc-80cc93397e60" providerId="ADAL" clId="{DF6678F8-4F85-488B-B919-FA7E2EC6DABC}" dt="2023-10-19T18:59:42.377" v="10351" actId="207"/>
          <ac:spMkLst>
            <pc:docMk/>
            <pc:sldMk cId="2355576244" sldId="331"/>
            <ac:spMk id="46" creationId="{E8DEE176-E47B-87E1-70A6-E3C8FE8F9A4F}"/>
          </ac:spMkLst>
        </pc:spChg>
        <pc:spChg chg="add mod">
          <ac:chgData name="KevCla12" userId="ef2eb634-4620-450f-93cc-80cc93397e60" providerId="ADAL" clId="{DF6678F8-4F85-488B-B919-FA7E2EC6DABC}" dt="2023-10-14T16:01:51.382" v="2673" actId="1076"/>
          <ac:spMkLst>
            <pc:docMk/>
            <pc:sldMk cId="2355576244" sldId="331"/>
            <ac:spMk id="47" creationId="{4B4675A9-72DA-0305-B1C2-7AB49A7B6669}"/>
          </ac:spMkLst>
        </pc:spChg>
        <pc:spChg chg="add mod">
          <ac:chgData name="KevCla12" userId="ef2eb634-4620-450f-93cc-80cc93397e60" providerId="ADAL" clId="{DF6678F8-4F85-488B-B919-FA7E2EC6DABC}" dt="2023-10-14T15:28:28.025" v="1908" actId="20577"/>
          <ac:spMkLst>
            <pc:docMk/>
            <pc:sldMk cId="2355576244" sldId="331"/>
            <ac:spMk id="51" creationId="{E3C03D9D-4A11-A6EA-502A-8232F9A9FEE0}"/>
          </ac:spMkLst>
        </pc:spChg>
        <pc:spChg chg="mod">
          <ac:chgData name="KevCla12" userId="ef2eb634-4620-450f-93cc-80cc93397e60" providerId="ADAL" clId="{DF6678F8-4F85-488B-B919-FA7E2EC6DABC}" dt="2023-10-14T15:19:34.780" v="1695" actId="207"/>
          <ac:spMkLst>
            <pc:docMk/>
            <pc:sldMk cId="2355576244" sldId="331"/>
            <ac:spMk id="54" creationId="{65F0DBE5-464F-9F2A-9475-7D8196D3647B}"/>
          </ac:spMkLst>
        </pc:spChg>
        <pc:spChg chg="mod">
          <ac:chgData name="KevCla12" userId="ef2eb634-4620-450f-93cc-80cc93397e60" providerId="ADAL" clId="{DF6678F8-4F85-488B-B919-FA7E2EC6DABC}" dt="2023-10-14T15:19:34.780" v="1695" actId="207"/>
          <ac:spMkLst>
            <pc:docMk/>
            <pc:sldMk cId="2355576244" sldId="331"/>
            <ac:spMk id="55" creationId="{AB4C3C4D-E844-FCEF-C182-1BBE8EF095E3}"/>
          </ac:spMkLst>
        </pc:spChg>
        <pc:spChg chg="add mod">
          <ac:chgData name="KevCla12" userId="ef2eb634-4620-450f-93cc-80cc93397e60" providerId="ADAL" clId="{DF6678F8-4F85-488B-B919-FA7E2EC6DABC}" dt="2023-10-19T18:59:54.210" v="10355" actId="207"/>
          <ac:spMkLst>
            <pc:docMk/>
            <pc:sldMk cId="2355576244" sldId="331"/>
            <ac:spMk id="56" creationId="{444D3EBC-DB03-79B1-DF0D-BBB19C08EFB1}"/>
          </ac:spMkLst>
        </pc:spChg>
        <pc:spChg chg="add mod">
          <ac:chgData name="KevCla12" userId="ef2eb634-4620-450f-93cc-80cc93397e60" providerId="ADAL" clId="{DF6678F8-4F85-488B-B919-FA7E2EC6DABC}" dt="2023-10-19T18:59:56.898" v="10356" actId="207"/>
          <ac:spMkLst>
            <pc:docMk/>
            <pc:sldMk cId="2355576244" sldId="331"/>
            <ac:spMk id="57" creationId="{8E6D3E26-5C35-B154-AD58-F2AB91ECA77E}"/>
          </ac:spMkLst>
        </pc:spChg>
        <pc:spChg chg="add mod">
          <ac:chgData name="KevCla12" userId="ef2eb634-4620-450f-93cc-80cc93397e60" providerId="ADAL" clId="{DF6678F8-4F85-488B-B919-FA7E2EC6DABC}" dt="2023-10-15T10:42:14.509" v="4592" actId="1076"/>
          <ac:spMkLst>
            <pc:docMk/>
            <pc:sldMk cId="2355576244" sldId="331"/>
            <ac:spMk id="58" creationId="{F6528FB7-B061-28DD-BA3B-46DAFB881388}"/>
          </ac:spMkLst>
        </pc:spChg>
        <pc:spChg chg="add mod">
          <ac:chgData name="KevCla12" userId="ef2eb634-4620-450f-93cc-80cc93397e60" providerId="ADAL" clId="{DF6678F8-4F85-488B-B919-FA7E2EC6DABC}" dt="2023-10-14T15:21:13.895" v="1766"/>
          <ac:spMkLst>
            <pc:docMk/>
            <pc:sldMk cId="2355576244" sldId="331"/>
            <ac:spMk id="59" creationId="{D5C4932B-07C5-A37B-641F-62DF044C33CB}"/>
          </ac:spMkLst>
        </pc:spChg>
        <pc:spChg chg="add mod">
          <ac:chgData name="KevCla12" userId="ef2eb634-4620-450f-93cc-80cc93397e60" providerId="ADAL" clId="{DF6678F8-4F85-488B-B919-FA7E2EC6DABC}" dt="2023-10-14T15:21:27.497" v="1784" actId="20577"/>
          <ac:spMkLst>
            <pc:docMk/>
            <pc:sldMk cId="2355576244" sldId="331"/>
            <ac:spMk id="60" creationId="{77EF168B-D0B1-6C79-3651-4DCE20BBA820}"/>
          </ac:spMkLst>
        </pc:spChg>
        <pc:spChg chg="add mod">
          <ac:chgData name="KevCla12" userId="ef2eb634-4620-450f-93cc-80cc93397e60" providerId="ADAL" clId="{DF6678F8-4F85-488B-B919-FA7E2EC6DABC}" dt="2023-10-14T15:21:46.975" v="1811" actId="1076"/>
          <ac:spMkLst>
            <pc:docMk/>
            <pc:sldMk cId="2355576244" sldId="331"/>
            <ac:spMk id="61" creationId="{76B1E995-B10A-BABE-9728-4EF0C78124AE}"/>
          </ac:spMkLst>
        </pc:spChg>
        <pc:spChg chg="add mod">
          <ac:chgData name="KevCla12" userId="ef2eb634-4620-450f-93cc-80cc93397e60" providerId="ADAL" clId="{DF6678F8-4F85-488B-B919-FA7E2EC6DABC}" dt="2023-10-19T18:59:47.423" v="10353" actId="207"/>
          <ac:spMkLst>
            <pc:docMk/>
            <pc:sldMk cId="2355576244" sldId="331"/>
            <ac:spMk id="62" creationId="{AF8D7FA9-4CFD-C429-E1DC-5A2661BC63AA}"/>
          </ac:spMkLst>
        </pc:spChg>
        <pc:spChg chg="add mod">
          <ac:chgData name="KevCla12" userId="ef2eb634-4620-450f-93cc-80cc93397e60" providerId="ADAL" clId="{DF6678F8-4F85-488B-B919-FA7E2EC6DABC}" dt="2023-10-19T18:59:50.670" v="10354" actId="207"/>
          <ac:spMkLst>
            <pc:docMk/>
            <pc:sldMk cId="2355576244" sldId="331"/>
            <ac:spMk id="63" creationId="{203E4B6B-D637-FB6A-3A5F-8317A87A4AF4}"/>
          </ac:spMkLst>
        </pc:spChg>
        <pc:spChg chg="add del">
          <ac:chgData name="KevCla12" userId="ef2eb634-4620-450f-93cc-80cc93397e60" providerId="ADAL" clId="{DF6678F8-4F85-488B-B919-FA7E2EC6DABC}" dt="2023-10-14T15:25:37.509" v="1868"/>
          <ac:spMkLst>
            <pc:docMk/>
            <pc:sldMk cId="2355576244" sldId="331"/>
            <ac:spMk id="64" creationId="{7088799B-300D-C8E8-8005-D1AD6DC3A9CA}"/>
          </ac:spMkLst>
        </pc:spChg>
        <pc:spChg chg="add del">
          <ac:chgData name="KevCla12" userId="ef2eb634-4620-450f-93cc-80cc93397e60" providerId="ADAL" clId="{DF6678F8-4F85-488B-B919-FA7E2EC6DABC}" dt="2023-10-14T15:25:47.165" v="1871"/>
          <ac:spMkLst>
            <pc:docMk/>
            <pc:sldMk cId="2355576244" sldId="331"/>
            <ac:spMk id="65" creationId="{FED38842-38F8-5A58-014A-BA82A8F9F499}"/>
          </ac:spMkLst>
        </pc:spChg>
        <pc:spChg chg="add del">
          <ac:chgData name="KevCla12" userId="ef2eb634-4620-450f-93cc-80cc93397e60" providerId="ADAL" clId="{DF6678F8-4F85-488B-B919-FA7E2EC6DABC}" dt="2023-10-14T15:25:49.835" v="1873"/>
          <ac:spMkLst>
            <pc:docMk/>
            <pc:sldMk cId="2355576244" sldId="331"/>
            <ac:spMk id="66" creationId="{242D77D7-34BF-F9F7-1E05-2BD97042735F}"/>
          </ac:spMkLst>
        </pc:spChg>
        <pc:spChg chg="add del mod">
          <ac:chgData name="KevCla12" userId="ef2eb634-4620-450f-93cc-80cc93397e60" providerId="ADAL" clId="{DF6678F8-4F85-488B-B919-FA7E2EC6DABC}" dt="2023-10-15T10:41:53.424" v="4584"/>
          <ac:spMkLst>
            <pc:docMk/>
            <pc:sldMk cId="2355576244" sldId="331"/>
            <ac:spMk id="74" creationId="{0E3DC7AC-AACB-8F6D-EDE5-48779CF9F02C}"/>
          </ac:spMkLst>
        </pc:spChg>
        <pc:spChg chg="add del mod">
          <ac:chgData name="KevCla12" userId="ef2eb634-4620-450f-93cc-80cc93397e60" providerId="ADAL" clId="{DF6678F8-4F85-488B-B919-FA7E2EC6DABC}" dt="2023-10-14T15:41:42.450" v="2240" actId="478"/>
          <ac:spMkLst>
            <pc:docMk/>
            <pc:sldMk cId="2355576244" sldId="331"/>
            <ac:spMk id="76" creationId="{1686A723-3CC2-4D5F-B658-47129F435CFB}"/>
          </ac:spMkLst>
        </pc:spChg>
        <pc:spChg chg="add mod">
          <ac:chgData name="KevCla12" userId="ef2eb634-4620-450f-93cc-80cc93397e60" providerId="ADAL" clId="{DF6678F8-4F85-488B-B919-FA7E2EC6DABC}" dt="2023-10-14T15:54:46.168" v="2278" actId="1076"/>
          <ac:spMkLst>
            <pc:docMk/>
            <pc:sldMk cId="2355576244" sldId="331"/>
            <ac:spMk id="77" creationId="{135F565A-A7B0-FFC5-8B10-96A31340A945}"/>
          </ac:spMkLst>
        </pc:spChg>
        <pc:grpChg chg="mod">
          <ac:chgData name="KevCla12" userId="ef2eb634-4620-450f-93cc-80cc93397e60" providerId="ADAL" clId="{DF6678F8-4F85-488B-B919-FA7E2EC6DABC}" dt="2023-10-14T15:19:44.633" v="1696" actId="1076"/>
          <ac:grpSpMkLst>
            <pc:docMk/>
            <pc:sldMk cId="2355576244" sldId="331"/>
            <ac:grpSpMk id="53" creationId="{40012CC4-505B-CC64-411E-F4D33E066EB6}"/>
          </ac:grpSpMkLst>
        </pc:grpChg>
        <pc:picChg chg="add del mod">
          <ac:chgData name="KevCla12" userId="ef2eb634-4620-450f-93cc-80cc93397e60" providerId="ADAL" clId="{DF6678F8-4F85-488B-B919-FA7E2EC6DABC}" dt="2023-10-15T10:41:54.465" v="4585" actId="21"/>
          <ac:picMkLst>
            <pc:docMk/>
            <pc:sldMk cId="2355576244" sldId="331"/>
            <ac:picMk id="5" creationId="{E2F61288-2515-089B-B5D0-1B952F48A7C5}"/>
          </ac:picMkLst>
        </pc:picChg>
        <pc:picChg chg="add del mod">
          <ac:chgData name="KevCla12" userId="ef2eb634-4620-450f-93cc-80cc93397e60" providerId="ADAL" clId="{DF6678F8-4F85-488B-B919-FA7E2EC6DABC}" dt="2023-10-14T13:58:53.415" v="1413" actId="21"/>
          <ac:picMkLst>
            <pc:docMk/>
            <pc:sldMk cId="2355576244" sldId="331"/>
            <ac:picMk id="26" creationId="{8814CA67-14A3-EAE5-ACA1-288D2246DAA5}"/>
          </ac:picMkLst>
        </pc:picChg>
        <pc:picChg chg="add mod">
          <ac:chgData name="KevCla12" userId="ef2eb634-4620-450f-93cc-80cc93397e60" providerId="ADAL" clId="{DF6678F8-4F85-488B-B919-FA7E2EC6DABC}" dt="2023-10-15T10:42:09.024" v="4591" actId="1076"/>
          <ac:picMkLst>
            <pc:docMk/>
            <pc:sldMk cId="2355576244" sldId="331"/>
            <ac:picMk id="26" creationId="{E4FB209D-EC5A-4CFF-288A-22CA95A8AF7D}"/>
          </ac:picMkLst>
        </pc:picChg>
        <pc:picChg chg="add del mod">
          <ac:chgData name="KevCla12" userId="ef2eb634-4620-450f-93cc-80cc93397e60" providerId="ADAL" clId="{DF6678F8-4F85-488B-B919-FA7E2EC6DABC}" dt="2023-10-14T15:30:35.306" v="1931" actId="21"/>
          <ac:picMkLst>
            <pc:docMk/>
            <pc:sldMk cId="2355576244" sldId="331"/>
            <ac:picMk id="29" creationId="{309ACF58-A43E-FDCC-947D-56E362D9C446}"/>
          </ac:picMkLst>
        </pc:picChg>
        <pc:picChg chg="add del mod">
          <ac:chgData name="KevCla12" userId="ef2eb634-4620-450f-93cc-80cc93397e60" providerId="ADAL" clId="{DF6678F8-4F85-488B-B919-FA7E2EC6DABC}" dt="2023-10-14T15:13:20.229" v="1688" actId="21"/>
          <ac:picMkLst>
            <pc:docMk/>
            <pc:sldMk cId="2355576244" sldId="331"/>
            <ac:picMk id="49" creationId="{DD015EA1-1342-698C-A410-3F5CDC37523F}"/>
          </ac:picMkLst>
        </pc:picChg>
        <pc:picChg chg="add del mod">
          <ac:chgData name="KevCla12" userId="ef2eb634-4620-450f-93cc-80cc93397e60" providerId="ADAL" clId="{DF6678F8-4F85-488B-B919-FA7E2EC6DABC}" dt="2023-10-14T15:19:26.997" v="1694" actId="27803"/>
          <ac:picMkLst>
            <pc:docMk/>
            <pc:sldMk cId="2355576244" sldId="331"/>
            <ac:picMk id="52" creationId="{3759CA50-0A5C-7DD8-E119-CA020D24B4CC}"/>
          </ac:picMkLst>
        </pc:picChg>
        <pc:picChg chg="add del mod">
          <ac:chgData name="KevCla12" userId="ef2eb634-4620-450f-93cc-80cc93397e60" providerId="ADAL" clId="{DF6678F8-4F85-488B-B919-FA7E2EC6DABC}" dt="2023-10-14T15:29:44.331" v="1911" actId="21"/>
          <ac:picMkLst>
            <pc:docMk/>
            <pc:sldMk cId="2355576244" sldId="331"/>
            <ac:picMk id="72" creationId="{1350F27A-BE64-7841-0403-03E49CC0635C}"/>
          </ac:picMkLst>
        </pc:picChg>
        <pc:picChg chg="add mod">
          <ac:chgData name="KevCla12" userId="ef2eb634-4620-450f-93cc-80cc93397e60" providerId="ADAL" clId="{DF6678F8-4F85-488B-B919-FA7E2EC6DABC}" dt="2023-10-14T15:30:32.751" v="1930" actId="1038"/>
          <ac:picMkLst>
            <pc:docMk/>
            <pc:sldMk cId="2355576244" sldId="331"/>
            <ac:picMk id="75" creationId="{D73C327B-7F24-2D9D-E05C-5DDA3E8FEB1C}"/>
          </ac:picMkLst>
        </pc:picChg>
        <pc:picChg chg="add mod">
          <ac:chgData name="KevCla12" userId="ef2eb634-4620-450f-93cc-80cc93397e60" providerId="ADAL" clId="{DF6678F8-4F85-488B-B919-FA7E2EC6DABC}" dt="2023-10-14T15:54:52.464" v="2281" actId="1076"/>
          <ac:picMkLst>
            <pc:docMk/>
            <pc:sldMk cId="2355576244" sldId="331"/>
            <ac:picMk id="1029" creationId="{55D94D8E-58EF-FA62-C85A-F0F2F1FB86D3}"/>
          </ac:picMkLst>
        </pc:picChg>
        <pc:cxnChg chg="add mod">
          <ac:chgData name="KevCla12" userId="ef2eb634-4620-450f-93cc-80cc93397e60" providerId="ADAL" clId="{DF6678F8-4F85-488B-B919-FA7E2EC6DABC}" dt="2023-10-14T13:48:55.942" v="1394"/>
          <ac:cxnSpMkLst>
            <pc:docMk/>
            <pc:sldMk cId="2355576244" sldId="331"/>
            <ac:cxnSpMk id="8" creationId="{6EC20577-0FEC-71D1-2A91-F46AF2A431AB}"/>
          </ac:cxnSpMkLst>
        </pc:cxnChg>
        <pc:cxnChg chg="add mod">
          <ac:chgData name="KevCla12" userId="ef2eb634-4620-450f-93cc-80cc93397e60" providerId="ADAL" clId="{DF6678F8-4F85-488B-B919-FA7E2EC6DABC}" dt="2023-10-14T15:08:12.821" v="1620" actId="692"/>
          <ac:cxnSpMkLst>
            <pc:docMk/>
            <pc:sldMk cId="2355576244" sldId="331"/>
            <ac:cxnSpMk id="39" creationId="{2BF3D286-31D8-C495-BE49-80E8AB9078FA}"/>
          </ac:cxnSpMkLst>
        </pc:cxnChg>
        <pc:cxnChg chg="add mod">
          <ac:chgData name="KevCla12" userId="ef2eb634-4620-450f-93cc-80cc93397e60" providerId="ADAL" clId="{DF6678F8-4F85-488B-B919-FA7E2EC6DABC}" dt="2023-10-14T15:10:12.467" v="1622" actId="13822"/>
          <ac:cxnSpMkLst>
            <pc:docMk/>
            <pc:sldMk cId="2355576244" sldId="331"/>
            <ac:cxnSpMk id="41" creationId="{D06DF9D3-8963-2DC2-79E7-0E33AB19A3E0}"/>
          </ac:cxnSpMkLst>
        </pc:cxnChg>
        <pc:cxnChg chg="add mod">
          <ac:chgData name="KevCla12" userId="ef2eb634-4620-450f-93cc-80cc93397e60" providerId="ADAL" clId="{DF6678F8-4F85-488B-B919-FA7E2EC6DABC}" dt="2023-10-14T15:10:28.685" v="1628" actId="1076"/>
          <ac:cxnSpMkLst>
            <pc:docMk/>
            <pc:sldMk cId="2355576244" sldId="331"/>
            <ac:cxnSpMk id="42" creationId="{F5068424-0711-B86D-C235-653BEFBBD5BC}"/>
          </ac:cxnSpMkLst>
        </pc:cxnChg>
        <pc:cxnChg chg="add mod">
          <ac:chgData name="KevCla12" userId="ef2eb634-4620-450f-93cc-80cc93397e60" providerId="ADAL" clId="{DF6678F8-4F85-488B-B919-FA7E2EC6DABC}" dt="2023-10-14T15:43:53.723" v="2264" actId="1076"/>
          <ac:cxnSpMkLst>
            <pc:docMk/>
            <pc:sldMk cId="2355576244" sldId="331"/>
            <ac:cxnSpMk id="68" creationId="{9C863A44-5907-9A33-5428-244A058122A4}"/>
          </ac:cxnSpMkLst>
        </pc:cxnChg>
      </pc:sldChg>
      <pc:sldChg chg="addSp delSp modSp new del mod modClrScheme chgLayout">
        <pc:chgData name="KevCla12" userId="ef2eb634-4620-450f-93cc-80cc93397e60" providerId="ADAL" clId="{DF6678F8-4F85-488B-B919-FA7E2EC6DABC}" dt="2023-10-14T16:39:40.598" v="3259" actId="47"/>
        <pc:sldMkLst>
          <pc:docMk/>
          <pc:sldMk cId="2778582182" sldId="332"/>
        </pc:sldMkLst>
        <pc:spChg chg="del mod ord">
          <ac:chgData name="KevCla12" userId="ef2eb634-4620-450f-93cc-80cc93397e60" providerId="ADAL" clId="{DF6678F8-4F85-488B-B919-FA7E2EC6DABC}" dt="2023-10-14T15:07:02.217" v="1594" actId="700"/>
          <ac:spMkLst>
            <pc:docMk/>
            <pc:sldMk cId="2778582182" sldId="332"/>
            <ac:spMk id="2" creationId="{5C4E7420-E5F6-A5E7-E45C-6EB786454684}"/>
          </ac:spMkLst>
        </pc:spChg>
        <pc:spChg chg="del mod ord">
          <ac:chgData name="KevCla12" userId="ef2eb634-4620-450f-93cc-80cc93397e60" providerId="ADAL" clId="{DF6678F8-4F85-488B-B919-FA7E2EC6DABC}" dt="2023-10-14T15:07:02.217" v="1594" actId="700"/>
          <ac:spMkLst>
            <pc:docMk/>
            <pc:sldMk cId="2778582182" sldId="332"/>
            <ac:spMk id="3" creationId="{DDF4A4A3-78EA-6642-6D94-18DF241A1C8E}"/>
          </ac:spMkLst>
        </pc:spChg>
        <pc:spChg chg="mod ord">
          <ac:chgData name="KevCla12" userId="ef2eb634-4620-450f-93cc-80cc93397e60" providerId="ADAL" clId="{DF6678F8-4F85-488B-B919-FA7E2EC6DABC}" dt="2023-10-14T15:07:02.217" v="1594" actId="700"/>
          <ac:spMkLst>
            <pc:docMk/>
            <pc:sldMk cId="2778582182" sldId="332"/>
            <ac:spMk id="4" creationId="{8EB1612E-B08B-F167-39EE-EE8F93DEBAFC}"/>
          </ac:spMkLst>
        </pc:spChg>
        <pc:spChg chg="del mod ord">
          <ac:chgData name="KevCla12" userId="ef2eb634-4620-450f-93cc-80cc93397e60" providerId="ADAL" clId="{DF6678F8-4F85-488B-B919-FA7E2EC6DABC}" dt="2023-10-14T15:07:02.217" v="1594" actId="700"/>
          <ac:spMkLst>
            <pc:docMk/>
            <pc:sldMk cId="2778582182" sldId="332"/>
            <ac:spMk id="5" creationId="{10CDDA76-A1C7-00C8-FD09-B4D19E265FA5}"/>
          </ac:spMkLst>
        </pc:spChg>
        <pc:spChg chg="del mod ord">
          <ac:chgData name="KevCla12" userId="ef2eb634-4620-450f-93cc-80cc93397e60" providerId="ADAL" clId="{DF6678F8-4F85-488B-B919-FA7E2EC6DABC}" dt="2023-10-14T15:07:02.217" v="1594" actId="700"/>
          <ac:spMkLst>
            <pc:docMk/>
            <pc:sldMk cId="2778582182" sldId="332"/>
            <ac:spMk id="6" creationId="{0B37C147-1A36-617D-73DF-50678F0F2F05}"/>
          </ac:spMkLst>
        </pc:spChg>
        <pc:spChg chg="del mod ord">
          <ac:chgData name="KevCla12" userId="ef2eb634-4620-450f-93cc-80cc93397e60" providerId="ADAL" clId="{DF6678F8-4F85-488B-B919-FA7E2EC6DABC}" dt="2023-10-14T15:07:02.217" v="1594" actId="700"/>
          <ac:spMkLst>
            <pc:docMk/>
            <pc:sldMk cId="2778582182" sldId="332"/>
            <ac:spMk id="7" creationId="{62E38635-6304-0D82-41EB-4168268B6B99}"/>
          </ac:spMkLst>
        </pc:spChg>
        <pc:spChg chg="add mod ord">
          <ac:chgData name="KevCla12" userId="ef2eb634-4620-450f-93cc-80cc93397e60" providerId="ADAL" clId="{DF6678F8-4F85-488B-B919-FA7E2EC6DABC}" dt="2023-10-14T15:07:02.217" v="1594" actId="700"/>
          <ac:spMkLst>
            <pc:docMk/>
            <pc:sldMk cId="2778582182" sldId="332"/>
            <ac:spMk id="8" creationId="{1AECA886-9F6D-93D8-6BF3-EEC4C4788D9C}"/>
          </ac:spMkLst>
        </pc:spChg>
        <pc:spChg chg="add mod ord">
          <ac:chgData name="KevCla12" userId="ef2eb634-4620-450f-93cc-80cc93397e60" providerId="ADAL" clId="{DF6678F8-4F85-488B-B919-FA7E2EC6DABC}" dt="2023-10-14T15:07:02.217" v="1594" actId="700"/>
          <ac:spMkLst>
            <pc:docMk/>
            <pc:sldMk cId="2778582182" sldId="332"/>
            <ac:spMk id="9" creationId="{3F19A6F4-944B-C36C-EC9C-6ECC1252C203}"/>
          </ac:spMkLst>
        </pc:spChg>
        <pc:spChg chg="add mod ord">
          <ac:chgData name="KevCla12" userId="ef2eb634-4620-450f-93cc-80cc93397e60" providerId="ADAL" clId="{DF6678F8-4F85-488B-B919-FA7E2EC6DABC}" dt="2023-10-14T15:07:02.217" v="1594" actId="700"/>
          <ac:spMkLst>
            <pc:docMk/>
            <pc:sldMk cId="2778582182" sldId="332"/>
            <ac:spMk id="10" creationId="{71E39473-B0F2-E55E-4178-3DE8AD5D111D}"/>
          </ac:spMkLst>
        </pc:spChg>
        <pc:spChg chg="add mod ord">
          <ac:chgData name="KevCla12" userId="ef2eb634-4620-450f-93cc-80cc93397e60" providerId="ADAL" clId="{DF6678F8-4F85-488B-B919-FA7E2EC6DABC}" dt="2023-10-14T15:07:02.217" v="1594" actId="700"/>
          <ac:spMkLst>
            <pc:docMk/>
            <pc:sldMk cId="2778582182" sldId="332"/>
            <ac:spMk id="11" creationId="{B58B5443-484A-5439-353C-87C0C82F2B86}"/>
          </ac:spMkLst>
        </pc:spChg>
        <pc:spChg chg="add mod ord">
          <ac:chgData name="KevCla12" userId="ef2eb634-4620-450f-93cc-80cc93397e60" providerId="ADAL" clId="{DF6678F8-4F85-488B-B919-FA7E2EC6DABC}" dt="2023-10-14T15:07:02.217" v="1594" actId="700"/>
          <ac:spMkLst>
            <pc:docMk/>
            <pc:sldMk cId="2778582182" sldId="332"/>
            <ac:spMk id="12" creationId="{37452930-7B30-39F2-4C4B-E63B8374CFBF}"/>
          </ac:spMkLst>
        </pc:spChg>
      </pc:sldChg>
      <pc:sldChg chg="addSp delSp modSp new del mod modClrScheme chgLayout">
        <pc:chgData name="KevCla12" userId="ef2eb634-4620-450f-93cc-80cc93397e60" providerId="ADAL" clId="{DF6678F8-4F85-488B-B919-FA7E2EC6DABC}" dt="2023-10-14T16:39:41.453" v="3260" actId="47"/>
        <pc:sldMkLst>
          <pc:docMk/>
          <pc:sldMk cId="2304086749" sldId="333"/>
        </pc:sldMkLst>
        <pc:spChg chg="del mod ord">
          <ac:chgData name="KevCla12" userId="ef2eb634-4620-450f-93cc-80cc93397e60" providerId="ADAL" clId="{DF6678F8-4F85-488B-B919-FA7E2EC6DABC}" dt="2023-10-14T15:48:02.226" v="2266" actId="700"/>
          <ac:spMkLst>
            <pc:docMk/>
            <pc:sldMk cId="2304086749" sldId="333"/>
            <ac:spMk id="2" creationId="{85A7E8ED-4D9D-B97A-FE51-0C033482D12E}"/>
          </ac:spMkLst>
        </pc:spChg>
        <pc:spChg chg="del mod ord">
          <ac:chgData name="KevCla12" userId="ef2eb634-4620-450f-93cc-80cc93397e60" providerId="ADAL" clId="{DF6678F8-4F85-488B-B919-FA7E2EC6DABC}" dt="2023-10-14T15:48:02.226" v="2266" actId="700"/>
          <ac:spMkLst>
            <pc:docMk/>
            <pc:sldMk cId="2304086749" sldId="333"/>
            <ac:spMk id="3" creationId="{752DD3E1-6EAB-86D4-CD8C-E12C01FE5812}"/>
          </ac:spMkLst>
        </pc:spChg>
        <pc:spChg chg="mod ord">
          <ac:chgData name="KevCla12" userId="ef2eb634-4620-450f-93cc-80cc93397e60" providerId="ADAL" clId="{DF6678F8-4F85-488B-B919-FA7E2EC6DABC}" dt="2023-10-14T15:48:02.226" v="2266" actId="700"/>
          <ac:spMkLst>
            <pc:docMk/>
            <pc:sldMk cId="2304086749" sldId="333"/>
            <ac:spMk id="4" creationId="{04EC187E-F580-5E1E-4679-C97DD785E65F}"/>
          </ac:spMkLst>
        </pc:spChg>
        <pc:spChg chg="del mod ord">
          <ac:chgData name="KevCla12" userId="ef2eb634-4620-450f-93cc-80cc93397e60" providerId="ADAL" clId="{DF6678F8-4F85-488B-B919-FA7E2EC6DABC}" dt="2023-10-14T15:48:02.226" v="2266" actId="700"/>
          <ac:spMkLst>
            <pc:docMk/>
            <pc:sldMk cId="2304086749" sldId="333"/>
            <ac:spMk id="5" creationId="{F9D97260-F96A-C464-B763-43F1EC7546B5}"/>
          </ac:spMkLst>
        </pc:spChg>
        <pc:spChg chg="del mod ord">
          <ac:chgData name="KevCla12" userId="ef2eb634-4620-450f-93cc-80cc93397e60" providerId="ADAL" clId="{DF6678F8-4F85-488B-B919-FA7E2EC6DABC}" dt="2023-10-14T15:48:02.226" v="2266" actId="700"/>
          <ac:spMkLst>
            <pc:docMk/>
            <pc:sldMk cId="2304086749" sldId="333"/>
            <ac:spMk id="6" creationId="{0D74FE56-4335-BD3F-5B87-E412339251A5}"/>
          </ac:spMkLst>
        </pc:spChg>
        <pc:spChg chg="del mod ord">
          <ac:chgData name="KevCla12" userId="ef2eb634-4620-450f-93cc-80cc93397e60" providerId="ADAL" clId="{DF6678F8-4F85-488B-B919-FA7E2EC6DABC}" dt="2023-10-14T15:48:02.226" v="2266" actId="700"/>
          <ac:spMkLst>
            <pc:docMk/>
            <pc:sldMk cId="2304086749" sldId="333"/>
            <ac:spMk id="7" creationId="{598DD5E3-8668-3E08-4D1E-27882F82E9A9}"/>
          </ac:spMkLst>
        </pc:spChg>
        <pc:spChg chg="add mod ord">
          <ac:chgData name="KevCla12" userId="ef2eb634-4620-450f-93cc-80cc93397e60" providerId="ADAL" clId="{DF6678F8-4F85-488B-B919-FA7E2EC6DABC}" dt="2023-10-14T15:48:30.802" v="2267" actId="20577"/>
          <ac:spMkLst>
            <pc:docMk/>
            <pc:sldMk cId="2304086749" sldId="333"/>
            <ac:spMk id="8" creationId="{FA33DFDF-985C-EA06-9A2C-A564F2C55426}"/>
          </ac:spMkLst>
        </pc:spChg>
        <pc:spChg chg="add mod ord">
          <ac:chgData name="KevCla12" userId="ef2eb634-4620-450f-93cc-80cc93397e60" providerId="ADAL" clId="{DF6678F8-4F85-488B-B919-FA7E2EC6DABC}" dt="2023-10-14T15:48:02.226" v="2266" actId="700"/>
          <ac:spMkLst>
            <pc:docMk/>
            <pc:sldMk cId="2304086749" sldId="333"/>
            <ac:spMk id="9" creationId="{B2B680E6-3B8C-EDDB-117C-40A4CC95DBDF}"/>
          </ac:spMkLst>
        </pc:spChg>
        <pc:spChg chg="add mod ord">
          <ac:chgData name="KevCla12" userId="ef2eb634-4620-450f-93cc-80cc93397e60" providerId="ADAL" clId="{DF6678F8-4F85-488B-B919-FA7E2EC6DABC}" dt="2023-10-14T15:48:02.226" v="2266" actId="700"/>
          <ac:spMkLst>
            <pc:docMk/>
            <pc:sldMk cId="2304086749" sldId="333"/>
            <ac:spMk id="10" creationId="{113E4E4E-BE0E-318F-DFB9-91CE2358B96A}"/>
          </ac:spMkLst>
        </pc:spChg>
        <pc:spChg chg="add mod ord">
          <ac:chgData name="KevCla12" userId="ef2eb634-4620-450f-93cc-80cc93397e60" providerId="ADAL" clId="{DF6678F8-4F85-488B-B919-FA7E2EC6DABC}" dt="2023-10-14T15:48:02.226" v="2266" actId="700"/>
          <ac:spMkLst>
            <pc:docMk/>
            <pc:sldMk cId="2304086749" sldId="333"/>
            <ac:spMk id="11" creationId="{50CA90A5-CEE5-E33B-7620-4AB2BEC4349A}"/>
          </ac:spMkLst>
        </pc:spChg>
        <pc:spChg chg="add mod ord">
          <ac:chgData name="KevCla12" userId="ef2eb634-4620-450f-93cc-80cc93397e60" providerId="ADAL" clId="{DF6678F8-4F85-488B-B919-FA7E2EC6DABC}" dt="2023-10-14T15:48:02.226" v="2266" actId="700"/>
          <ac:spMkLst>
            <pc:docMk/>
            <pc:sldMk cId="2304086749" sldId="333"/>
            <ac:spMk id="12" creationId="{CABC371D-43E3-DCDE-1CD4-956C58A2AA66}"/>
          </ac:spMkLst>
        </pc:spChg>
        <pc:spChg chg="add mod ord">
          <ac:chgData name="KevCla12" userId="ef2eb634-4620-450f-93cc-80cc93397e60" providerId="ADAL" clId="{DF6678F8-4F85-488B-B919-FA7E2EC6DABC}" dt="2023-10-14T15:48:02.226" v="2266" actId="700"/>
          <ac:spMkLst>
            <pc:docMk/>
            <pc:sldMk cId="2304086749" sldId="333"/>
            <ac:spMk id="13" creationId="{50FC5C5F-EDDE-A2C8-8A47-82767D2CF627}"/>
          </ac:spMkLst>
        </pc:spChg>
        <pc:spChg chg="add mod ord">
          <ac:chgData name="KevCla12" userId="ef2eb634-4620-450f-93cc-80cc93397e60" providerId="ADAL" clId="{DF6678F8-4F85-488B-B919-FA7E2EC6DABC}" dt="2023-10-14T15:48:02.226" v="2266" actId="700"/>
          <ac:spMkLst>
            <pc:docMk/>
            <pc:sldMk cId="2304086749" sldId="333"/>
            <ac:spMk id="14" creationId="{A508FCB9-3E81-AAAA-4842-B59368362211}"/>
          </ac:spMkLst>
        </pc:spChg>
        <pc:spChg chg="add mod ord">
          <ac:chgData name="KevCla12" userId="ef2eb634-4620-450f-93cc-80cc93397e60" providerId="ADAL" clId="{DF6678F8-4F85-488B-B919-FA7E2EC6DABC}" dt="2023-10-14T15:48:02.226" v="2266" actId="700"/>
          <ac:spMkLst>
            <pc:docMk/>
            <pc:sldMk cId="2304086749" sldId="333"/>
            <ac:spMk id="15" creationId="{6B2E2B02-4194-E057-DAD2-60B0B4BB4AA0}"/>
          </ac:spMkLst>
        </pc:spChg>
        <pc:spChg chg="add mod ord">
          <ac:chgData name="KevCla12" userId="ef2eb634-4620-450f-93cc-80cc93397e60" providerId="ADAL" clId="{DF6678F8-4F85-488B-B919-FA7E2EC6DABC}" dt="2023-10-14T15:48:02.226" v="2266" actId="700"/>
          <ac:spMkLst>
            <pc:docMk/>
            <pc:sldMk cId="2304086749" sldId="333"/>
            <ac:spMk id="16" creationId="{551632FA-F40C-D0D3-6975-0243616AB5E6}"/>
          </ac:spMkLst>
        </pc:spChg>
        <pc:spChg chg="add mod ord">
          <ac:chgData name="KevCla12" userId="ef2eb634-4620-450f-93cc-80cc93397e60" providerId="ADAL" clId="{DF6678F8-4F85-488B-B919-FA7E2EC6DABC}" dt="2023-10-14T15:48:02.226" v="2266" actId="700"/>
          <ac:spMkLst>
            <pc:docMk/>
            <pc:sldMk cId="2304086749" sldId="333"/>
            <ac:spMk id="17" creationId="{3E10484B-544B-7475-F29E-589A34F3D77A}"/>
          </ac:spMkLst>
        </pc:spChg>
        <pc:spChg chg="add mod ord">
          <ac:chgData name="KevCla12" userId="ef2eb634-4620-450f-93cc-80cc93397e60" providerId="ADAL" clId="{DF6678F8-4F85-488B-B919-FA7E2EC6DABC}" dt="2023-10-14T15:48:02.226" v="2266" actId="700"/>
          <ac:spMkLst>
            <pc:docMk/>
            <pc:sldMk cId="2304086749" sldId="333"/>
            <ac:spMk id="18" creationId="{29FF241E-B32D-0F6D-AD0C-B483C623F397}"/>
          </ac:spMkLst>
        </pc:spChg>
        <pc:spChg chg="add mod ord">
          <ac:chgData name="KevCla12" userId="ef2eb634-4620-450f-93cc-80cc93397e60" providerId="ADAL" clId="{DF6678F8-4F85-488B-B919-FA7E2EC6DABC}" dt="2023-10-14T15:48:02.226" v="2266" actId="700"/>
          <ac:spMkLst>
            <pc:docMk/>
            <pc:sldMk cId="2304086749" sldId="333"/>
            <ac:spMk id="19" creationId="{92EF26B0-9645-1C4B-449B-9909ADE1E9AF}"/>
          </ac:spMkLst>
        </pc:spChg>
      </pc:sldChg>
      <pc:sldChg chg="addSp delSp modSp add mod">
        <pc:chgData name="KevCla12" userId="ef2eb634-4620-450f-93cc-80cc93397e60" providerId="ADAL" clId="{DF6678F8-4F85-488B-B919-FA7E2EC6DABC}" dt="2023-10-17T14:17:14.634" v="9534"/>
        <pc:sldMkLst>
          <pc:docMk/>
          <pc:sldMk cId="3624439011" sldId="334"/>
        </pc:sldMkLst>
        <pc:spChg chg="mod">
          <ac:chgData name="KevCla12" userId="ef2eb634-4620-450f-93cc-80cc93397e60" providerId="ADAL" clId="{DF6678F8-4F85-488B-B919-FA7E2EC6DABC}" dt="2023-10-17T14:17:14.634" v="9534"/>
          <ac:spMkLst>
            <pc:docMk/>
            <pc:sldMk cId="3624439011" sldId="334"/>
            <ac:spMk id="2" creationId="{5906ABD2-70D0-FD9C-E4C7-81A1E91EAD70}"/>
          </ac:spMkLst>
        </pc:spChg>
        <pc:spChg chg="add mod">
          <ac:chgData name="KevCla12" userId="ef2eb634-4620-450f-93cc-80cc93397e60" providerId="ADAL" clId="{DF6678F8-4F85-488B-B919-FA7E2EC6DABC}" dt="2023-10-15T14:00:34.063" v="7572" actId="404"/>
          <ac:spMkLst>
            <pc:docMk/>
            <pc:sldMk cId="3624439011" sldId="334"/>
            <ac:spMk id="3" creationId="{6A3B19D0-843D-63C4-982E-BCBAD6E49A4D}"/>
          </ac:spMkLst>
        </pc:spChg>
        <pc:spChg chg="mod">
          <ac:chgData name="KevCla12" userId="ef2eb634-4620-450f-93cc-80cc93397e60" providerId="ADAL" clId="{DF6678F8-4F85-488B-B919-FA7E2EC6DABC}" dt="2023-10-14T16:09:25.648" v="2796" actId="20577"/>
          <ac:spMkLst>
            <pc:docMk/>
            <pc:sldMk cId="3624439011" sldId="334"/>
            <ac:spMk id="5" creationId="{F9F9AED1-AC1A-DA47-7AC0-B87D77ED626A}"/>
          </ac:spMkLst>
        </pc:spChg>
        <pc:spChg chg="del">
          <ac:chgData name="KevCla12" userId="ef2eb634-4620-450f-93cc-80cc93397e60" providerId="ADAL" clId="{DF6678F8-4F85-488B-B919-FA7E2EC6DABC}" dt="2023-10-14T16:16:13.853" v="3026" actId="931"/>
          <ac:spMkLst>
            <pc:docMk/>
            <pc:sldMk cId="3624439011" sldId="334"/>
            <ac:spMk id="6" creationId="{27B649CA-CC02-EF9C-EF71-3A92DC411126}"/>
          </ac:spMkLst>
        </pc:spChg>
        <pc:spChg chg="add del ord">
          <ac:chgData name="KevCla12" userId="ef2eb634-4620-450f-93cc-80cc93397e60" providerId="ADAL" clId="{DF6678F8-4F85-488B-B919-FA7E2EC6DABC}" dt="2023-10-14T16:16:40.981" v="3037" actId="478"/>
          <ac:spMkLst>
            <pc:docMk/>
            <pc:sldMk cId="3624439011" sldId="334"/>
            <ac:spMk id="24" creationId="{4C1755CF-CD88-D10B-E579-760E27E69BFC}"/>
          </ac:spMkLst>
        </pc:spChg>
        <pc:spChg chg="mod">
          <ac:chgData name="KevCla12" userId="ef2eb634-4620-450f-93cc-80cc93397e60" providerId="ADAL" clId="{DF6678F8-4F85-488B-B919-FA7E2EC6DABC}" dt="2023-10-14T16:06:27.246" v="2736" actId="1076"/>
          <ac:spMkLst>
            <pc:docMk/>
            <pc:sldMk cId="3624439011" sldId="334"/>
            <ac:spMk id="26" creationId="{05017580-DA45-923E-D75D-540C745A52D2}"/>
          </ac:spMkLst>
        </pc:spChg>
        <pc:spChg chg="add del mod">
          <ac:chgData name="KevCla12" userId="ef2eb634-4620-450f-93cc-80cc93397e60" providerId="ADAL" clId="{DF6678F8-4F85-488B-B919-FA7E2EC6DABC}" dt="2023-10-14T16:16:23.805" v="3030" actId="21"/>
          <ac:spMkLst>
            <pc:docMk/>
            <pc:sldMk cId="3624439011" sldId="334"/>
            <ac:spMk id="30" creationId="{5DF9FB02-4C5F-2277-E35A-E5634D5CA438}"/>
          </ac:spMkLst>
        </pc:spChg>
        <pc:spChg chg="mod">
          <ac:chgData name="KevCla12" userId="ef2eb634-4620-450f-93cc-80cc93397e60" providerId="ADAL" clId="{DF6678F8-4F85-488B-B919-FA7E2EC6DABC}" dt="2023-10-15T14:00:34.063" v="7572" actId="404"/>
          <ac:spMkLst>
            <pc:docMk/>
            <pc:sldMk cId="3624439011" sldId="334"/>
            <ac:spMk id="33" creationId="{06F2DB87-9A26-4AD5-BCCD-A917FAB6DB84}"/>
          </ac:spMkLst>
        </pc:spChg>
        <pc:spChg chg="add mod">
          <ac:chgData name="KevCla12" userId="ef2eb634-4620-450f-93cc-80cc93397e60" providerId="ADAL" clId="{DF6678F8-4F85-488B-B919-FA7E2EC6DABC}" dt="2023-10-14T16:16:26.343" v="3031" actId="21"/>
          <ac:spMkLst>
            <pc:docMk/>
            <pc:sldMk cId="3624439011" sldId="334"/>
            <ac:spMk id="34" creationId="{9633B51B-BD1E-ABAA-497D-681D0BCD9AB4}"/>
          </ac:spMkLst>
        </pc:spChg>
        <pc:spChg chg="mod">
          <ac:chgData name="KevCla12" userId="ef2eb634-4620-450f-93cc-80cc93397e60" providerId="ADAL" clId="{DF6678F8-4F85-488B-B919-FA7E2EC6DABC}" dt="2023-10-14T16:09:21.919" v="2782" actId="20577"/>
          <ac:spMkLst>
            <pc:docMk/>
            <pc:sldMk cId="3624439011" sldId="334"/>
            <ac:spMk id="35" creationId="{95520E2E-B07A-4898-BE2D-5AB552ECE82B}"/>
          </ac:spMkLst>
        </pc:spChg>
        <pc:spChg chg="mod">
          <ac:chgData name="KevCla12" userId="ef2eb634-4620-450f-93cc-80cc93397e60" providerId="ADAL" clId="{DF6678F8-4F85-488B-B919-FA7E2EC6DABC}" dt="2023-10-15T14:00:34.063" v="7572" actId="404"/>
          <ac:spMkLst>
            <pc:docMk/>
            <pc:sldMk cId="3624439011" sldId="334"/>
            <ac:spMk id="36" creationId="{947F2902-7CE5-E1D6-FA82-23239351B562}"/>
          </ac:spMkLst>
        </pc:spChg>
        <pc:spChg chg="del mod">
          <ac:chgData name="KevCla12" userId="ef2eb634-4620-450f-93cc-80cc93397e60" providerId="ADAL" clId="{DF6678F8-4F85-488B-B919-FA7E2EC6DABC}" dt="2023-10-14T16:10:48.046" v="2954" actId="478"/>
          <ac:spMkLst>
            <pc:docMk/>
            <pc:sldMk cId="3624439011" sldId="334"/>
            <ac:spMk id="37" creationId="{77A5ADBD-01E5-9F9F-BF21-03059B498CB2}"/>
          </ac:spMkLst>
        </pc:spChg>
        <pc:spChg chg="del mod">
          <ac:chgData name="KevCla12" userId="ef2eb634-4620-450f-93cc-80cc93397e60" providerId="ADAL" clId="{DF6678F8-4F85-488B-B919-FA7E2EC6DABC}" dt="2023-10-14T16:12:48.373" v="2984"/>
          <ac:spMkLst>
            <pc:docMk/>
            <pc:sldMk cId="3624439011" sldId="334"/>
            <ac:spMk id="42" creationId="{12377E71-9DEC-B8FA-3C08-0C4F77DB46F8}"/>
          </ac:spMkLst>
        </pc:spChg>
        <pc:spChg chg="add del mod">
          <ac:chgData name="KevCla12" userId="ef2eb634-4620-450f-93cc-80cc93397e60" providerId="ADAL" clId="{DF6678F8-4F85-488B-B919-FA7E2EC6DABC}" dt="2023-10-15T14:11:43.628" v="7618" actId="20577"/>
          <ac:spMkLst>
            <pc:docMk/>
            <pc:sldMk cId="3624439011" sldId="334"/>
            <ac:spMk id="43" creationId="{044D71FE-EABA-4E44-7523-1AAA9F261E5E}"/>
          </ac:spMkLst>
        </pc:spChg>
        <pc:spChg chg="del">
          <ac:chgData name="KevCla12" userId="ef2eb634-4620-450f-93cc-80cc93397e60" providerId="ADAL" clId="{DF6678F8-4F85-488B-B919-FA7E2EC6DABC}" dt="2023-10-14T16:10:49.152" v="2955" actId="478"/>
          <ac:spMkLst>
            <pc:docMk/>
            <pc:sldMk cId="3624439011" sldId="334"/>
            <ac:spMk id="44" creationId="{DFA5439F-E549-9F82-1C10-5B8BA7A499FD}"/>
          </ac:spMkLst>
        </pc:spChg>
        <pc:picChg chg="del ord">
          <ac:chgData name="KevCla12" userId="ef2eb634-4620-450f-93cc-80cc93397e60" providerId="ADAL" clId="{DF6678F8-4F85-488B-B919-FA7E2EC6DABC}" dt="2023-10-14T16:16:42.137" v="3038" actId="478"/>
          <ac:picMkLst>
            <pc:docMk/>
            <pc:sldMk cId="3624439011" sldId="334"/>
            <ac:picMk id="25" creationId="{E0923BB1-2941-3483-A866-053156483573}"/>
          </ac:picMkLst>
        </pc:picChg>
        <pc:picChg chg="add del mod">
          <ac:chgData name="KevCla12" userId="ef2eb634-4620-450f-93cc-80cc93397e60" providerId="ADAL" clId="{DF6678F8-4F85-488B-B919-FA7E2EC6DABC}" dt="2023-10-14T16:16:26.343" v="3031" actId="21"/>
          <ac:picMkLst>
            <pc:docMk/>
            <pc:sldMk cId="3624439011" sldId="334"/>
            <ac:picMk id="28" creationId="{D33D420F-2CE3-238A-BE58-C6BD90DD350B}"/>
          </ac:picMkLst>
        </pc:picChg>
        <pc:picChg chg="add del mod">
          <ac:chgData name="KevCla12" userId="ef2eb634-4620-450f-93cc-80cc93397e60" providerId="ADAL" clId="{DF6678F8-4F85-488B-B919-FA7E2EC6DABC}" dt="2023-10-14T16:16:23.298" v="3029"/>
          <ac:picMkLst>
            <pc:docMk/>
            <pc:sldMk cId="3624439011" sldId="334"/>
            <ac:picMk id="31" creationId="{8EF2BFB5-588B-89D4-BBF1-E9BA6A8C1245}"/>
          </ac:picMkLst>
        </pc:picChg>
        <pc:picChg chg="add mod">
          <ac:chgData name="KevCla12" userId="ef2eb634-4620-450f-93cc-80cc93397e60" providerId="ADAL" clId="{DF6678F8-4F85-488B-B919-FA7E2EC6DABC}" dt="2023-10-14T16:16:53.054" v="3040" actId="1036"/>
          <ac:picMkLst>
            <pc:docMk/>
            <pc:sldMk cId="3624439011" sldId="334"/>
            <ac:picMk id="40" creationId="{388A3195-94AF-8DA1-AFF8-619786D0D6FF}"/>
          </ac:picMkLst>
        </pc:picChg>
        <pc:cxnChg chg="del">
          <ac:chgData name="KevCla12" userId="ef2eb634-4620-450f-93cc-80cc93397e60" providerId="ADAL" clId="{DF6678F8-4F85-488B-B919-FA7E2EC6DABC}" dt="2023-10-14T16:10:50.591" v="2956" actId="478"/>
          <ac:cxnSpMkLst>
            <pc:docMk/>
            <pc:sldMk cId="3624439011" sldId="334"/>
            <ac:cxnSpMk id="46" creationId="{804B6D7B-5C09-F27D-2CD8-9A3C1BD65A86}"/>
          </ac:cxnSpMkLst>
        </pc:cxnChg>
        <pc:cxnChg chg="mod">
          <ac:chgData name="KevCla12" userId="ef2eb634-4620-450f-93cc-80cc93397e60" providerId="ADAL" clId="{DF6678F8-4F85-488B-B919-FA7E2EC6DABC}" dt="2023-10-14T16:06:31.434" v="2737" actId="14100"/>
          <ac:cxnSpMkLst>
            <pc:docMk/>
            <pc:sldMk cId="3624439011" sldId="334"/>
            <ac:cxnSpMk id="48" creationId="{6C54567A-9AC8-423F-E0FA-E799A3AD332D}"/>
          </ac:cxnSpMkLst>
        </pc:cxnChg>
      </pc:sldChg>
      <pc:sldChg chg="addSp delSp modSp add mod">
        <pc:chgData name="KevCla12" userId="ef2eb634-4620-450f-93cc-80cc93397e60" providerId="ADAL" clId="{DF6678F8-4F85-488B-B919-FA7E2EC6DABC}" dt="2023-10-17T14:18:34.532" v="9756" actId="20577"/>
        <pc:sldMkLst>
          <pc:docMk/>
          <pc:sldMk cId="574875507" sldId="335"/>
        </pc:sldMkLst>
        <pc:spChg chg="mod">
          <ac:chgData name="KevCla12" userId="ef2eb634-4620-450f-93cc-80cc93397e60" providerId="ADAL" clId="{DF6678F8-4F85-488B-B919-FA7E2EC6DABC}" dt="2023-10-17T14:18:34.532" v="9756" actId="20577"/>
          <ac:spMkLst>
            <pc:docMk/>
            <pc:sldMk cId="574875507" sldId="335"/>
            <ac:spMk id="2" creationId="{5906ABD2-70D0-FD9C-E4C7-81A1E91EAD70}"/>
          </ac:spMkLst>
        </pc:spChg>
        <pc:spChg chg="add del">
          <ac:chgData name="KevCla12" userId="ef2eb634-4620-450f-93cc-80cc93397e60" providerId="ADAL" clId="{DF6678F8-4F85-488B-B919-FA7E2EC6DABC}" dt="2023-10-14T16:20:18.213" v="3061"/>
          <ac:spMkLst>
            <pc:docMk/>
            <pc:sldMk cId="574875507" sldId="335"/>
            <ac:spMk id="3" creationId="{3BAC510A-1D45-929A-E9A8-9F77998779A8}"/>
          </ac:spMkLst>
        </pc:spChg>
        <pc:spChg chg="mod">
          <ac:chgData name="KevCla12" userId="ef2eb634-4620-450f-93cc-80cc93397e60" providerId="ADAL" clId="{DF6678F8-4F85-488B-B919-FA7E2EC6DABC}" dt="2023-10-17T14:17:54.084" v="9605" actId="20577"/>
          <ac:spMkLst>
            <pc:docMk/>
            <pc:sldMk cId="574875507" sldId="335"/>
            <ac:spMk id="5" creationId="{F9F9AED1-AC1A-DA47-7AC0-B87D77ED626A}"/>
          </ac:spMkLst>
        </pc:spChg>
        <pc:spChg chg="mod">
          <ac:chgData name="KevCla12" userId="ef2eb634-4620-450f-93cc-80cc93397e60" providerId="ADAL" clId="{DF6678F8-4F85-488B-B919-FA7E2EC6DABC}" dt="2023-10-14T16:18:18.710" v="3044" actId="207"/>
          <ac:spMkLst>
            <pc:docMk/>
            <pc:sldMk cId="574875507" sldId="335"/>
            <ac:spMk id="24" creationId="{4C1755CF-CD88-D10B-E579-760E27E69BFC}"/>
          </ac:spMkLst>
        </pc:spChg>
        <pc:spChg chg="del">
          <ac:chgData name="KevCla12" userId="ef2eb634-4620-450f-93cc-80cc93397e60" providerId="ADAL" clId="{DF6678F8-4F85-488B-B919-FA7E2EC6DABC}" dt="2023-10-14T16:18:20.332" v="3045" actId="478"/>
          <ac:spMkLst>
            <pc:docMk/>
            <pc:sldMk cId="574875507" sldId="335"/>
            <ac:spMk id="26" creationId="{05017580-DA45-923E-D75D-540C745A52D2}"/>
          </ac:spMkLst>
        </pc:spChg>
        <pc:spChg chg="add del">
          <ac:chgData name="KevCla12" userId="ef2eb634-4620-450f-93cc-80cc93397e60" providerId="ADAL" clId="{DF6678F8-4F85-488B-B919-FA7E2EC6DABC}" dt="2023-10-14T16:22:26.723" v="3071" actId="478"/>
          <ac:spMkLst>
            <pc:docMk/>
            <pc:sldMk cId="574875507" sldId="335"/>
            <ac:spMk id="27" creationId="{D5925B69-B60D-5958-65A9-B48BEF0E5A26}"/>
          </ac:spMkLst>
        </pc:spChg>
        <pc:spChg chg="add mod">
          <ac:chgData name="KevCla12" userId="ef2eb634-4620-450f-93cc-80cc93397e60" providerId="ADAL" clId="{DF6678F8-4F85-488B-B919-FA7E2EC6DABC}" dt="2023-10-14T16:23:52.336" v="3089" actId="14100"/>
          <ac:spMkLst>
            <pc:docMk/>
            <pc:sldMk cId="574875507" sldId="335"/>
            <ac:spMk id="28" creationId="{3D0407BB-6B07-A51B-4084-5274A69C101B}"/>
          </ac:spMkLst>
        </pc:spChg>
        <pc:spChg chg="add mod">
          <ac:chgData name="KevCla12" userId="ef2eb634-4620-450f-93cc-80cc93397e60" providerId="ADAL" clId="{DF6678F8-4F85-488B-B919-FA7E2EC6DABC}" dt="2023-10-14T16:24:21.402" v="3096" actId="1076"/>
          <ac:spMkLst>
            <pc:docMk/>
            <pc:sldMk cId="574875507" sldId="335"/>
            <ac:spMk id="29" creationId="{645D0654-DC48-F556-F407-676EA8596A79}"/>
          </ac:spMkLst>
        </pc:spChg>
        <pc:spChg chg="del mod">
          <ac:chgData name="KevCla12" userId="ef2eb634-4620-450f-93cc-80cc93397e60" providerId="ADAL" clId="{DF6678F8-4F85-488B-B919-FA7E2EC6DABC}" dt="2023-10-14T16:19:25.630" v="3055" actId="478"/>
          <ac:spMkLst>
            <pc:docMk/>
            <pc:sldMk cId="574875507" sldId="335"/>
            <ac:spMk id="33" creationId="{06F2DB87-9A26-4AD5-BCCD-A917FAB6DB84}"/>
          </ac:spMkLst>
        </pc:spChg>
        <pc:spChg chg="del">
          <ac:chgData name="KevCla12" userId="ef2eb634-4620-450f-93cc-80cc93397e60" providerId="ADAL" clId="{DF6678F8-4F85-488B-B919-FA7E2EC6DABC}" dt="2023-10-14T16:25:10.969" v="3098" actId="931"/>
          <ac:spMkLst>
            <pc:docMk/>
            <pc:sldMk cId="574875507" sldId="335"/>
            <ac:spMk id="34" creationId="{9633B51B-BD1E-ABAA-497D-681D0BCD9AB4}"/>
          </ac:spMkLst>
        </pc:spChg>
        <pc:spChg chg="del">
          <ac:chgData name="KevCla12" userId="ef2eb634-4620-450f-93cc-80cc93397e60" providerId="ADAL" clId="{DF6678F8-4F85-488B-B919-FA7E2EC6DABC}" dt="2023-10-14T16:19:22.950" v="3051" actId="478"/>
          <ac:spMkLst>
            <pc:docMk/>
            <pc:sldMk cId="574875507" sldId="335"/>
            <ac:spMk id="35" creationId="{95520E2E-B07A-4898-BE2D-5AB552ECE82B}"/>
          </ac:spMkLst>
        </pc:spChg>
        <pc:spChg chg="del">
          <ac:chgData name="KevCla12" userId="ef2eb634-4620-450f-93cc-80cc93397e60" providerId="ADAL" clId="{DF6678F8-4F85-488B-B919-FA7E2EC6DABC}" dt="2023-10-14T16:19:27.346" v="3057" actId="478"/>
          <ac:spMkLst>
            <pc:docMk/>
            <pc:sldMk cId="574875507" sldId="335"/>
            <ac:spMk id="36" creationId="{947F2902-7CE5-E1D6-FA82-23239351B562}"/>
          </ac:spMkLst>
        </pc:spChg>
        <pc:spChg chg="add del mod">
          <ac:chgData name="KevCla12" userId="ef2eb634-4620-450f-93cc-80cc93397e60" providerId="ADAL" clId="{DF6678F8-4F85-488B-B919-FA7E2EC6DABC}" dt="2023-10-14T16:29:04.400" v="3126" actId="931"/>
          <ac:spMkLst>
            <pc:docMk/>
            <pc:sldMk cId="574875507" sldId="335"/>
            <ac:spMk id="37" creationId="{A14E80F9-4380-6196-FC8E-5836F1193860}"/>
          </ac:spMkLst>
        </pc:spChg>
        <pc:spChg chg="mod">
          <ac:chgData name="KevCla12" userId="ef2eb634-4620-450f-93cc-80cc93397e60" providerId="ADAL" clId="{DF6678F8-4F85-488B-B919-FA7E2EC6DABC}" dt="2023-10-14T16:32:27.995" v="3148" actId="1076"/>
          <ac:spMkLst>
            <pc:docMk/>
            <pc:sldMk cId="574875507" sldId="335"/>
            <ac:spMk id="38" creationId="{4BE88CC7-D40D-6D73-0064-443F32D315C5}"/>
          </ac:spMkLst>
        </pc:spChg>
        <pc:spChg chg="add mod">
          <ac:chgData name="KevCla12" userId="ef2eb634-4620-450f-93cc-80cc93397e60" providerId="ADAL" clId="{DF6678F8-4F85-488B-B919-FA7E2EC6DABC}" dt="2023-10-14T16:26:11.265" v="3117" actId="1076"/>
          <ac:spMkLst>
            <pc:docMk/>
            <pc:sldMk cId="574875507" sldId="335"/>
            <ac:spMk id="42" creationId="{738EDFE3-24FC-2A2A-8BD6-BB02D60797AA}"/>
          </ac:spMkLst>
        </pc:spChg>
        <pc:spChg chg="del mod">
          <ac:chgData name="KevCla12" userId="ef2eb634-4620-450f-93cc-80cc93397e60" providerId="ADAL" clId="{DF6678F8-4F85-488B-B919-FA7E2EC6DABC}" dt="2023-10-14T16:19:28.425" v="3059" actId="478"/>
          <ac:spMkLst>
            <pc:docMk/>
            <pc:sldMk cId="574875507" sldId="335"/>
            <ac:spMk id="43" creationId="{044D71FE-EABA-4E44-7523-1AAA9F261E5E}"/>
          </ac:spMkLst>
        </pc:spChg>
        <pc:spChg chg="add mod">
          <ac:chgData name="KevCla12" userId="ef2eb634-4620-450f-93cc-80cc93397e60" providerId="ADAL" clId="{DF6678F8-4F85-488B-B919-FA7E2EC6DABC}" dt="2023-10-14T16:26:25.317" v="3118" actId="1076"/>
          <ac:spMkLst>
            <pc:docMk/>
            <pc:sldMk cId="574875507" sldId="335"/>
            <ac:spMk id="44" creationId="{23B8FD1C-7A10-DDE1-27AD-C5227B63C04D}"/>
          </ac:spMkLst>
        </pc:spChg>
        <pc:spChg chg="del">
          <ac:chgData name="KevCla12" userId="ef2eb634-4620-450f-93cc-80cc93397e60" providerId="ADAL" clId="{DF6678F8-4F85-488B-B919-FA7E2EC6DABC}" dt="2023-10-14T16:19:23.757" v="3052" actId="478"/>
          <ac:spMkLst>
            <pc:docMk/>
            <pc:sldMk cId="574875507" sldId="335"/>
            <ac:spMk id="45" creationId="{C837E93F-7FCA-E927-E4F2-6E05F8C70843}"/>
          </ac:spMkLst>
        </pc:spChg>
        <pc:spChg chg="del">
          <ac:chgData name="KevCla12" userId="ef2eb634-4620-450f-93cc-80cc93397e60" providerId="ADAL" clId="{DF6678F8-4F85-488B-B919-FA7E2EC6DABC}" dt="2023-10-14T16:19:24.455" v="3053" actId="478"/>
          <ac:spMkLst>
            <pc:docMk/>
            <pc:sldMk cId="574875507" sldId="335"/>
            <ac:spMk id="49" creationId="{9F3E4115-1AB1-BFDC-AD73-57587DD19E4A}"/>
          </ac:spMkLst>
        </pc:spChg>
        <pc:spChg chg="add del mod">
          <ac:chgData name="KevCla12" userId="ef2eb634-4620-450f-93cc-80cc93397e60" providerId="ADAL" clId="{DF6678F8-4F85-488B-B919-FA7E2EC6DABC}" dt="2023-10-14T16:31:22.947" v="3134"/>
          <ac:spMkLst>
            <pc:docMk/>
            <pc:sldMk cId="574875507" sldId="335"/>
            <ac:spMk id="55" creationId="{D74113A0-58C8-70A2-E6DE-149AA6D907CB}"/>
          </ac:spMkLst>
        </pc:spChg>
        <pc:spChg chg="add del mod">
          <ac:chgData name="KevCla12" userId="ef2eb634-4620-450f-93cc-80cc93397e60" providerId="ADAL" clId="{DF6678F8-4F85-488B-B919-FA7E2EC6DABC}" dt="2023-10-14T16:37:43.583" v="3248" actId="931"/>
          <ac:spMkLst>
            <pc:docMk/>
            <pc:sldMk cId="574875507" sldId="335"/>
            <ac:spMk id="60" creationId="{007B15F4-135C-B0D3-EBB8-3052F4609A0B}"/>
          </ac:spMkLst>
        </pc:spChg>
        <pc:spChg chg="add mod">
          <ac:chgData name="KevCla12" userId="ef2eb634-4620-450f-93cc-80cc93397e60" providerId="ADAL" clId="{DF6678F8-4F85-488B-B919-FA7E2EC6DABC}" dt="2023-10-14T16:37:44.374" v="3249" actId="21"/>
          <ac:spMkLst>
            <pc:docMk/>
            <pc:sldMk cId="574875507" sldId="335"/>
            <ac:spMk id="3073" creationId="{B6FB3C0D-5206-703B-B175-FF2A546C1D77}"/>
          </ac:spMkLst>
        </pc:spChg>
        <pc:picChg chg="add mod">
          <ac:chgData name="KevCla12" userId="ef2eb634-4620-450f-93cc-80cc93397e60" providerId="ADAL" clId="{DF6678F8-4F85-488B-B919-FA7E2EC6DABC}" dt="2023-10-14T16:32:52.166" v="3153" actId="1076"/>
          <ac:picMkLst>
            <pc:docMk/>
            <pc:sldMk cId="574875507" sldId="335"/>
            <ac:picMk id="25" creationId="{F0089917-FCC7-5426-49EC-B0C1CBBA7780}"/>
          </ac:picMkLst>
        </pc:picChg>
        <pc:picChg chg="add del mod">
          <ac:chgData name="KevCla12" userId="ef2eb634-4620-450f-93cc-80cc93397e60" providerId="ADAL" clId="{DF6678F8-4F85-488B-B919-FA7E2EC6DABC}" dt="2023-10-14T16:25:11.697" v="3099" actId="21"/>
          <ac:picMkLst>
            <pc:docMk/>
            <pc:sldMk cId="574875507" sldId="335"/>
            <ac:picMk id="31" creationId="{BAE6DC36-CED4-4D8B-0DBE-9DEEBEAAFDD5}"/>
          </ac:picMkLst>
        </pc:picChg>
        <pc:picChg chg="del">
          <ac:chgData name="KevCla12" userId="ef2eb634-4620-450f-93cc-80cc93397e60" providerId="ADAL" clId="{DF6678F8-4F85-488B-B919-FA7E2EC6DABC}" dt="2023-10-14T16:18:52.773" v="3047" actId="478"/>
          <ac:picMkLst>
            <pc:docMk/>
            <pc:sldMk cId="574875507" sldId="335"/>
            <ac:picMk id="39" creationId="{EC4BBB6E-0DA6-20F5-6B75-88439DFBC534}"/>
          </ac:picMkLst>
        </pc:picChg>
        <pc:picChg chg="del">
          <ac:chgData name="KevCla12" userId="ef2eb634-4620-450f-93cc-80cc93397e60" providerId="ADAL" clId="{DF6678F8-4F85-488B-B919-FA7E2EC6DABC}" dt="2023-10-14T16:37:19.126" v="3247" actId="478"/>
          <ac:picMkLst>
            <pc:docMk/>
            <pc:sldMk cId="574875507" sldId="335"/>
            <ac:picMk id="40" creationId="{388A3195-94AF-8DA1-AFF8-619786D0D6FF}"/>
          </ac:picMkLst>
        </pc:picChg>
        <pc:picChg chg="add mod">
          <ac:chgData name="KevCla12" userId="ef2eb634-4620-450f-93cc-80cc93397e60" providerId="ADAL" clId="{DF6678F8-4F85-488B-B919-FA7E2EC6DABC}" dt="2023-10-14T16:25:42.069" v="3113" actId="1035"/>
          <ac:picMkLst>
            <pc:docMk/>
            <pc:sldMk cId="574875507" sldId="335"/>
            <ac:picMk id="41" creationId="{06920F90-FA21-664C-8304-83BEA975B4BE}"/>
          </ac:picMkLst>
        </pc:picChg>
        <pc:picChg chg="add del mod">
          <ac:chgData name="KevCla12" userId="ef2eb634-4620-450f-93cc-80cc93397e60" providerId="ADAL" clId="{DF6678F8-4F85-488B-B919-FA7E2EC6DABC}" dt="2023-10-14T16:29:05.055" v="3127" actId="21"/>
          <ac:picMkLst>
            <pc:docMk/>
            <pc:sldMk cId="574875507" sldId="335"/>
            <ac:picMk id="53" creationId="{7A07E4FA-EF17-72B4-CC83-E9756404BC02}"/>
          </ac:picMkLst>
        </pc:picChg>
        <pc:picChg chg="add mod">
          <ac:chgData name="KevCla12" userId="ef2eb634-4620-450f-93cc-80cc93397e60" providerId="ADAL" clId="{DF6678F8-4F85-488B-B919-FA7E2EC6DABC}" dt="2023-10-14T16:29:24.889" v="3133" actId="207"/>
          <ac:picMkLst>
            <pc:docMk/>
            <pc:sldMk cId="574875507" sldId="335"/>
            <ac:picMk id="56" creationId="{3BC36651-2F04-3048-B0D9-5A63BC9E1754}"/>
          </ac:picMkLst>
        </pc:picChg>
        <pc:picChg chg="add del mod">
          <ac:chgData name="KevCla12" userId="ef2eb634-4620-450f-93cc-80cc93397e60" providerId="ADAL" clId="{DF6678F8-4F85-488B-B919-FA7E2EC6DABC}" dt="2023-10-14T16:31:24.330" v="3135" actId="21"/>
          <ac:picMkLst>
            <pc:docMk/>
            <pc:sldMk cId="574875507" sldId="335"/>
            <ac:picMk id="58" creationId="{B5B6DAF5-86EC-B4D3-D206-3A29FB1C72A8}"/>
          </ac:picMkLst>
        </pc:picChg>
        <pc:picChg chg="add mod">
          <ac:chgData name="KevCla12" userId="ef2eb634-4620-450f-93cc-80cc93397e60" providerId="ADAL" clId="{DF6678F8-4F85-488B-B919-FA7E2EC6DABC}" dt="2023-10-14T16:32:16.941" v="3145" actId="1076"/>
          <ac:picMkLst>
            <pc:docMk/>
            <pc:sldMk cId="574875507" sldId="335"/>
            <ac:picMk id="61" creationId="{7A445B39-2E5F-FB6E-5844-979C9498F3F7}"/>
          </ac:picMkLst>
        </pc:picChg>
        <pc:picChg chg="add del mod">
          <ac:chgData name="KevCla12" userId="ef2eb634-4620-450f-93cc-80cc93397e60" providerId="ADAL" clId="{DF6678F8-4F85-488B-B919-FA7E2EC6DABC}" dt="2023-10-14T16:37:44.374" v="3249" actId="21"/>
          <ac:picMkLst>
            <pc:docMk/>
            <pc:sldMk cId="574875507" sldId="335"/>
            <ac:picMk id="63" creationId="{782D0BF0-9E71-9726-C5D4-22B2B658D85D}"/>
          </ac:picMkLst>
        </pc:picChg>
        <pc:picChg chg="add mod">
          <ac:chgData name="KevCla12" userId="ef2eb634-4620-450f-93cc-80cc93397e60" providerId="ADAL" clId="{DF6678F8-4F85-488B-B919-FA7E2EC6DABC}" dt="2023-10-14T16:32:27.995" v="3148" actId="1076"/>
          <ac:picMkLst>
            <pc:docMk/>
            <pc:sldMk cId="574875507" sldId="335"/>
            <ac:picMk id="3074" creationId="{C2655B2A-06CC-4EC5-B499-073C06ACA463}"/>
          </ac:picMkLst>
        </pc:picChg>
        <pc:picChg chg="add mod">
          <ac:chgData name="KevCla12" userId="ef2eb634-4620-450f-93cc-80cc93397e60" providerId="ADAL" clId="{DF6678F8-4F85-488B-B919-FA7E2EC6DABC}" dt="2023-10-14T16:37:58.702" v="3254" actId="207"/>
          <ac:picMkLst>
            <pc:docMk/>
            <pc:sldMk cId="574875507" sldId="335"/>
            <ac:picMk id="3075" creationId="{617F9281-F30E-5734-9954-874B5BDA7E9E}"/>
          </ac:picMkLst>
        </pc:picChg>
        <pc:cxnChg chg="del">
          <ac:chgData name="KevCla12" userId="ef2eb634-4620-450f-93cc-80cc93397e60" providerId="ADAL" clId="{DF6678F8-4F85-488B-B919-FA7E2EC6DABC}" dt="2023-10-14T16:19:26.239" v="3056" actId="478"/>
          <ac:cxnSpMkLst>
            <pc:docMk/>
            <pc:sldMk cId="574875507" sldId="335"/>
            <ac:cxnSpMk id="47" creationId="{E29322D7-318F-B96A-1FF3-37DE5FC7905E}"/>
          </ac:cxnSpMkLst>
        </pc:cxnChg>
        <pc:cxnChg chg="del">
          <ac:chgData name="KevCla12" userId="ef2eb634-4620-450f-93cc-80cc93397e60" providerId="ADAL" clId="{DF6678F8-4F85-488B-B919-FA7E2EC6DABC}" dt="2023-10-14T16:18:28.682" v="3046" actId="478"/>
          <ac:cxnSpMkLst>
            <pc:docMk/>
            <pc:sldMk cId="574875507" sldId="335"/>
            <ac:cxnSpMk id="48" creationId="{6C54567A-9AC8-423F-E0FA-E799A3AD332D}"/>
          </ac:cxnSpMkLst>
        </pc:cxnChg>
        <pc:cxnChg chg="add mod">
          <ac:chgData name="KevCla12" userId="ef2eb634-4620-450f-93cc-80cc93397e60" providerId="ADAL" clId="{DF6678F8-4F85-488B-B919-FA7E2EC6DABC}" dt="2023-10-14T16:26:58.648" v="3124" actId="13822"/>
          <ac:cxnSpMkLst>
            <pc:docMk/>
            <pc:sldMk cId="574875507" sldId="335"/>
            <ac:cxnSpMk id="50" creationId="{CA37F7BA-184F-E87B-3891-B5906CA91B3E}"/>
          </ac:cxnSpMkLst>
        </pc:cxnChg>
      </pc:sldChg>
      <pc:sldChg chg="addSp delSp modSp new mod ord delCm">
        <pc:chgData name="KevCla12" userId="ef2eb634-4620-450f-93cc-80cc93397e60" providerId="ADAL" clId="{DF6678F8-4F85-488B-B919-FA7E2EC6DABC}" dt="2023-10-17T14:23:06.579" v="10016" actId="20577"/>
        <pc:sldMkLst>
          <pc:docMk/>
          <pc:sldMk cId="922827603" sldId="336"/>
        </pc:sldMkLst>
        <pc:spChg chg="mod">
          <ac:chgData name="KevCla12" userId="ef2eb634-4620-450f-93cc-80cc93397e60" providerId="ADAL" clId="{DF6678F8-4F85-488B-B919-FA7E2EC6DABC}" dt="2023-10-17T14:21:57.099" v="9820" actId="20577"/>
          <ac:spMkLst>
            <pc:docMk/>
            <pc:sldMk cId="922827603" sldId="336"/>
            <ac:spMk id="2" creationId="{318C4205-4AD7-2886-D957-1A6345FF81B9}"/>
          </ac:spMkLst>
        </pc:spChg>
        <pc:spChg chg="del">
          <ac:chgData name="KevCla12" userId="ef2eb634-4620-450f-93cc-80cc93397e60" providerId="ADAL" clId="{DF6678F8-4F85-488B-B919-FA7E2EC6DABC}" dt="2023-10-14T16:44:37.583" v="3289" actId="478"/>
          <ac:spMkLst>
            <pc:docMk/>
            <pc:sldMk cId="922827603" sldId="336"/>
            <ac:spMk id="3" creationId="{EEC3B426-749D-F96A-A4EE-F77326DB2FFA}"/>
          </ac:spMkLst>
        </pc:spChg>
        <pc:spChg chg="mod">
          <ac:chgData name="KevCla12" userId="ef2eb634-4620-450f-93cc-80cc93397e60" providerId="ADAL" clId="{DF6678F8-4F85-488B-B919-FA7E2EC6DABC}" dt="2023-10-17T14:10:46.527" v="9459" actId="20577"/>
          <ac:spMkLst>
            <pc:docMk/>
            <pc:sldMk cId="922827603" sldId="336"/>
            <ac:spMk id="5" creationId="{7966FCC6-4F00-F291-CE85-5E22F64B5D07}"/>
          </ac:spMkLst>
        </pc:spChg>
        <pc:spChg chg="add mod">
          <ac:chgData name="KevCla12" userId="ef2eb634-4620-450f-93cc-80cc93397e60" providerId="ADAL" clId="{DF6678F8-4F85-488B-B919-FA7E2EC6DABC}" dt="2023-10-17T14:22:22.173" v="9836" actId="20577"/>
          <ac:spMkLst>
            <pc:docMk/>
            <pc:sldMk cId="922827603" sldId="336"/>
            <ac:spMk id="9" creationId="{A580AE1E-EAFC-510D-809F-5EA0E5CD7708}"/>
          </ac:spMkLst>
        </pc:spChg>
        <pc:spChg chg="add mod">
          <ac:chgData name="KevCla12" userId="ef2eb634-4620-450f-93cc-80cc93397e60" providerId="ADAL" clId="{DF6678F8-4F85-488B-B919-FA7E2EC6DABC}" dt="2023-10-17T14:23:06.579" v="10016" actId="20577"/>
          <ac:spMkLst>
            <pc:docMk/>
            <pc:sldMk cId="922827603" sldId="336"/>
            <ac:spMk id="10" creationId="{3C4736F4-05BA-9124-E0B6-C9FE7CD63F93}"/>
          </ac:spMkLst>
        </pc:spChg>
        <pc:picChg chg="add mod">
          <ac:chgData name="KevCla12" userId="ef2eb634-4620-450f-93cc-80cc93397e60" providerId="ADAL" clId="{DF6678F8-4F85-488B-B919-FA7E2EC6DABC}" dt="2023-10-17T14:10:36.607" v="9434" actId="1035"/>
          <ac:picMkLst>
            <pc:docMk/>
            <pc:sldMk cId="922827603" sldId="336"/>
            <ac:picMk id="8" creationId="{771996D6-1028-D664-94C9-10EB943B472B}"/>
          </ac:picMkLst>
        </pc:picChg>
        <pc:picChg chg="add del mod">
          <ac:chgData name="KevCla12" userId="ef2eb634-4620-450f-93cc-80cc93397e60" providerId="ADAL" clId="{DF6678F8-4F85-488B-B919-FA7E2EC6DABC}" dt="2023-10-14T16:44:45.932" v="3295" actId="22"/>
          <ac:picMkLst>
            <pc:docMk/>
            <pc:sldMk cId="922827603" sldId="336"/>
            <ac:picMk id="9" creationId="{F9078F3F-EBB7-D437-4569-ACF77934366D}"/>
          </ac:picMkLst>
        </pc:picChg>
        <pc:picChg chg="add del mod">
          <ac:chgData name="KevCla12" userId="ef2eb634-4620-450f-93cc-80cc93397e60" providerId="ADAL" clId="{DF6678F8-4F85-488B-B919-FA7E2EC6DABC}" dt="2023-10-17T14:10:21.634" v="9420" actId="478"/>
          <ac:picMkLst>
            <pc:docMk/>
            <pc:sldMk cId="922827603" sldId="336"/>
            <ac:picMk id="11" creationId="{87A879C6-42B3-DC27-76A6-E42C483421EA}"/>
          </ac:picMkLst>
        </pc:picChg>
        <pc:extLst>
          <p:ext xmlns:p="http://schemas.openxmlformats.org/presentationml/2006/main" uri="{D6D511B9-2390-475A-947B-AFAB55BFBCF1}">
            <pc226:cmChg xmlns:pc226="http://schemas.microsoft.com/office/powerpoint/2022/06/main/command" chg="del">
              <pc226:chgData name="KevCla12" userId="ef2eb634-4620-450f-93cc-80cc93397e60" providerId="ADAL" clId="{DF6678F8-4F85-488B-B919-FA7E2EC6DABC}" dt="2023-10-17T14:21:02.004" v="9768"/>
              <pc2:cmMkLst xmlns:pc2="http://schemas.microsoft.com/office/powerpoint/2019/9/main/command">
                <pc:docMk/>
                <pc:sldMk cId="922827603" sldId="336"/>
                <pc2:cmMk id="{584DAD3C-EB80-483C-98F5-2B32CA793797}"/>
              </pc2:cmMkLst>
            </pc226:cmChg>
          </p:ext>
        </pc:extLst>
      </pc:sldChg>
      <pc:sldChg chg="addSp delSp modSp new del mod">
        <pc:chgData name="KevCla12" userId="ef2eb634-4620-450f-93cc-80cc93397e60" providerId="ADAL" clId="{DF6678F8-4F85-488B-B919-FA7E2EC6DABC}" dt="2023-10-15T13:25:46.453" v="7059" actId="47"/>
        <pc:sldMkLst>
          <pc:docMk/>
          <pc:sldMk cId="3088635774" sldId="337"/>
        </pc:sldMkLst>
        <pc:spChg chg="del">
          <ac:chgData name="KevCla12" userId="ef2eb634-4620-450f-93cc-80cc93397e60" providerId="ADAL" clId="{DF6678F8-4F85-488B-B919-FA7E2EC6DABC}" dt="2023-10-14T16:46:12.965" v="3298" actId="478"/>
          <ac:spMkLst>
            <pc:docMk/>
            <pc:sldMk cId="3088635774" sldId="337"/>
            <ac:spMk id="3" creationId="{A18176DF-3AD5-C1B9-91EE-14A72396F43D}"/>
          </ac:spMkLst>
        </pc:spChg>
        <pc:spChg chg="mod">
          <ac:chgData name="KevCla12" userId="ef2eb634-4620-450f-93cc-80cc93397e60" providerId="ADAL" clId="{DF6678F8-4F85-488B-B919-FA7E2EC6DABC}" dt="2023-10-14T16:52:23.635" v="3608" actId="20577"/>
          <ac:spMkLst>
            <pc:docMk/>
            <pc:sldMk cId="3088635774" sldId="337"/>
            <ac:spMk id="5" creationId="{C98CD14F-EA7B-8043-F886-19378D35B75F}"/>
          </ac:spMkLst>
        </pc:spChg>
        <pc:spChg chg="add mod">
          <ac:chgData name="KevCla12" userId="ef2eb634-4620-450f-93cc-80cc93397e60" providerId="ADAL" clId="{DF6678F8-4F85-488B-B919-FA7E2EC6DABC}" dt="2023-10-14T16:49:52.885" v="3557" actId="1037"/>
          <ac:spMkLst>
            <pc:docMk/>
            <pc:sldMk cId="3088635774" sldId="337"/>
            <ac:spMk id="10" creationId="{9D216685-CFAE-B77F-58E1-CEB59FC4827E}"/>
          </ac:spMkLst>
        </pc:spChg>
        <pc:spChg chg="add mod">
          <ac:chgData name="KevCla12" userId="ef2eb634-4620-450f-93cc-80cc93397e60" providerId="ADAL" clId="{DF6678F8-4F85-488B-B919-FA7E2EC6DABC}" dt="2023-10-14T16:49:52.885" v="3557" actId="1037"/>
          <ac:spMkLst>
            <pc:docMk/>
            <pc:sldMk cId="3088635774" sldId="337"/>
            <ac:spMk id="11" creationId="{C04D5A45-9C01-28AB-1874-D25563940BC7}"/>
          </ac:spMkLst>
        </pc:spChg>
        <pc:spChg chg="add mod">
          <ac:chgData name="KevCla12" userId="ef2eb634-4620-450f-93cc-80cc93397e60" providerId="ADAL" clId="{DF6678F8-4F85-488B-B919-FA7E2EC6DABC}" dt="2023-10-14T16:49:52.885" v="3557" actId="1037"/>
          <ac:spMkLst>
            <pc:docMk/>
            <pc:sldMk cId="3088635774" sldId="337"/>
            <ac:spMk id="12" creationId="{1DA91657-8362-5754-62B6-A8CE636F8670}"/>
          </ac:spMkLst>
        </pc:spChg>
        <pc:spChg chg="add mod">
          <ac:chgData name="KevCla12" userId="ef2eb634-4620-450f-93cc-80cc93397e60" providerId="ADAL" clId="{DF6678F8-4F85-488B-B919-FA7E2EC6DABC}" dt="2023-10-14T16:49:52.885" v="3557" actId="1037"/>
          <ac:spMkLst>
            <pc:docMk/>
            <pc:sldMk cId="3088635774" sldId="337"/>
            <ac:spMk id="13" creationId="{52FAC318-F8CB-3680-3722-3A5056EC0AAB}"/>
          </ac:spMkLst>
        </pc:spChg>
        <pc:spChg chg="add del mod">
          <ac:chgData name="KevCla12" userId="ef2eb634-4620-450f-93cc-80cc93397e60" providerId="ADAL" clId="{DF6678F8-4F85-488B-B919-FA7E2EC6DABC}" dt="2023-10-14T16:49:52.885" v="3557" actId="1037"/>
          <ac:spMkLst>
            <pc:docMk/>
            <pc:sldMk cId="3088635774" sldId="337"/>
            <ac:spMk id="14" creationId="{CA2D55E8-EFFE-0A9A-7526-2F6F29D17556}"/>
          </ac:spMkLst>
        </pc:spChg>
        <pc:spChg chg="add mod">
          <ac:chgData name="KevCla12" userId="ef2eb634-4620-450f-93cc-80cc93397e60" providerId="ADAL" clId="{DF6678F8-4F85-488B-B919-FA7E2EC6DABC}" dt="2023-10-14T16:49:52.885" v="3557" actId="1037"/>
          <ac:spMkLst>
            <pc:docMk/>
            <pc:sldMk cId="3088635774" sldId="337"/>
            <ac:spMk id="15" creationId="{32CEC99B-A8D0-D5D9-211C-8F057980BDBC}"/>
          </ac:spMkLst>
        </pc:spChg>
        <pc:spChg chg="add del mod">
          <ac:chgData name="KevCla12" userId="ef2eb634-4620-450f-93cc-80cc93397e60" providerId="ADAL" clId="{DF6678F8-4F85-488B-B919-FA7E2EC6DABC}" dt="2023-10-14T16:47:33.222" v="3300" actId="478"/>
          <ac:spMkLst>
            <pc:docMk/>
            <pc:sldMk cId="3088635774" sldId="337"/>
            <ac:spMk id="16" creationId="{9524BD40-54B5-4BAF-C1F8-3EC150754158}"/>
          </ac:spMkLst>
        </pc:spChg>
        <pc:spChg chg="add del mod">
          <ac:chgData name="KevCla12" userId="ef2eb634-4620-450f-93cc-80cc93397e60" providerId="ADAL" clId="{DF6678F8-4F85-488B-B919-FA7E2EC6DABC}" dt="2023-10-14T16:47:37.274" v="3306" actId="478"/>
          <ac:spMkLst>
            <pc:docMk/>
            <pc:sldMk cId="3088635774" sldId="337"/>
            <ac:spMk id="17" creationId="{CA3061B7-CA72-2910-8420-E6227DCC4929}"/>
          </ac:spMkLst>
        </pc:spChg>
        <pc:spChg chg="add del mod">
          <ac:chgData name="KevCla12" userId="ef2eb634-4620-450f-93cc-80cc93397e60" providerId="ADAL" clId="{DF6678F8-4F85-488B-B919-FA7E2EC6DABC}" dt="2023-10-14T16:47:36.666" v="3305" actId="478"/>
          <ac:spMkLst>
            <pc:docMk/>
            <pc:sldMk cId="3088635774" sldId="337"/>
            <ac:spMk id="18" creationId="{02C6CB8B-8E6C-6321-EE60-B1E8DE01AB10}"/>
          </ac:spMkLst>
        </pc:spChg>
        <pc:spChg chg="add del mod">
          <ac:chgData name="KevCla12" userId="ef2eb634-4620-450f-93cc-80cc93397e60" providerId="ADAL" clId="{DF6678F8-4F85-488B-B919-FA7E2EC6DABC}" dt="2023-10-14T16:49:57.321" v="3558" actId="478"/>
          <ac:spMkLst>
            <pc:docMk/>
            <pc:sldMk cId="3088635774" sldId="337"/>
            <ac:spMk id="19" creationId="{7B14B9F9-A3DB-6246-6AC9-17C7C785C808}"/>
          </ac:spMkLst>
        </pc:spChg>
        <pc:spChg chg="add mod">
          <ac:chgData name="KevCla12" userId="ef2eb634-4620-450f-93cc-80cc93397e60" providerId="ADAL" clId="{DF6678F8-4F85-488B-B919-FA7E2EC6DABC}" dt="2023-10-14T16:49:52.885" v="3557" actId="1037"/>
          <ac:spMkLst>
            <pc:docMk/>
            <pc:sldMk cId="3088635774" sldId="337"/>
            <ac:spMk id="20" creationId="{05F14641-B8C1-5A42-D118-1C0EC943978D}"/>
          </ac:spMkLst>
        </pc:spChg>
        <pc:spChg chg="add del mod">
          <ac:chgData name="KevCla12" userId="ef2eb634-4620-450f-93cc-80cc93397e60" providerId="ADAL" clId="{DF6678F8-4F85-488B-B919-FA7E2EC6DABC}" dt="2023-10-14T16:47:35.926" v="3304" actId="478"/>
          <ac:spMkLst>
            <pc:docMk/>
            <pc:sldMk cId="3088635774" sldId="337"/>
            <ac:spMk id="21" creationId="{87968520-2CC6-20C9-46E4-00F87EE09B9F}"/>
          </ac:spMkLst>
        </pc:spChg>
        <pc:spChg chg="add mod">
          <ac:chgData name="KevCla12" userId="ef2eb634-4620-450f-93cc-80cc93397e60" providerId="ADAL" clId="{DF6678F8-4F85-488B-B919-FA7E2EC6DABC}" dt="2023-10-14T16:49:52.885" v="3557" actId="1037"/>
          <ac:spMkLst>
            <pc:docMk/>
            <pc:sldMk cId="3088635774" sldId="337"/>
            <ac:spMk id="22" creationId="{D37A4FD8-F14B-8536-E854-D46743545A53}"/>
          </ac:spMkLst>
        </pc:spChg>
        <pc:spChg chg="add mod">
          <ac:chgData name="KevCla12" userId="ef2eb634-4620-450f-93cc-80cc93397e60" providerId="ADAL" clId="{DF6678F8-4F85-488B-B919-FA7E2EC6DABC}" dt="2023-10-14T16:49:52.885" v="3557" actId="1037"/>
          <ac:spMkLst>
            <pc:docMk/>
            <pc:sldMk cId="3088635774" sldId="337"/>
            <ac:spMk id="23" creationId="{5F4F7D25-02D0-819D-551B-8A3B11B04752}"/>
          </ac:spMkLst>
        </pc:spChg>
        <pc:spChg chg="add del mod">
          <ac:chgData name="KevCla12" userId="ef2eb634-4620-450f-93cc-80cc93397e60" providerId="ADAL" clId="{DF6678F8-4F85-488B-B919-FA7E2EC6DABC}" dt="2023-10-14T16:47:38.441" v="3307" actId="478"/>
          <ac:spMkLst>
            <pc:docMk/>
            <pc:sldMk cId="3088635774" sldId="337"/>
            <ac:spMk id="24" creationId="{86080D44-CA24-B566-E33D-9B1511C9D453}"/>
          </ac:spMkLst>
        </pc:spChg>
        <pc:spChg chg="add mod">
          <ac:chgData name="KevCla12" userId="ef2eb634-4620-450f-93cc-80cc93397e60" providerId="ADAL" clId="{DF6678F8-4F85-488B-B919-FA7E2EC6DABC}" dt="2023-10-14T16:49:52.885" v="3557" actId="1037"/>
          <ac:spMkLst>
            <pc:docMk/>
            <pc:sldMk cId="3088635774" sldId="337"/>
            <ac:spMk id="25" creationId="{C0FB8FF8-D08B-D206-7195-ACC95CBB4B10}"/>
          </ac:spMkLst>
        </pc:spChg>
        <pc:spChg chg="add mod">
          <ac:chgData name="KevCla12" userId="ef2eb634-4620-450f-93cc-80cc93397e60" providerId="ADAL" clId="{DF6678F8-4F85-488B-B919-FA7E2EC6DABC}" dt="2023-10-14T16:49:52.885" v="3557" actId="1037"/>
          <ac:spMkLst>
            <pc:docMk/>
            <pc:sldMk cId="3088635774" sldId="337"/>
            <ac:spMk id="26" creationId="{4D503105-7883-461E-AC43-B7CCF93A8C7E}"/>
          </ac:spMkLst>
        </pc:spChg>
        <pc:spChg chg="add del mod">
          <ac:chgData name="KevCla12" userId="ef2eb634-4620-450f-93cc-80cc93397e60" providerId="ADAL" clId="{DF6678F8-4F85-488B-B919-FA7E2EC6DABC}" dt="2023-10-14T16:50:01.052" v="3560" actId="478"/>
          <ac:spMkLst>
            <pc:docMk/>
            <pc:sldMk cId="3088635774" sldId="337"/>
            <ac:spMk id="27" creationId="{FD2AEBFB-8C64-DA68-EF21-75C18A26CF90}"/>
          </ac:spMkLst>
        </pc:spChg>
        <pc:spChg chg="add mod">
          <ac:chgData name="KevCla12" userId="ef2eb634-4620-450f-93cc-80cc93397e60" providerId="ADAL" clId="{DF6678F8-4F85-488B-B919-FA7E2EC6DABC}" dt="2023-10-14T16:49:52.885" v="3557" actId="1037"/>
          <ac:spMkLst>
            <pc:docMk/>
            <pc:sldMk cId="3088635774" sldId="337"/>
            <ac:spMk id="28" creationId="{68CE3E91-0593-50A3-E927-341C9F1B31AC}"/>
          </ac:spMkLst>
        </pc:spChg>
        <pc:spChg chg="add del mod">
          <ac:chgData name="KevCla12" userId="ef2eb634-4620-450f-93cc-80cc93397e60" providerId="ADAL" clId="{DF6678F8-4F85-488B-B919-FA7E2EC6DABC}" dt="2023-10-14T16:50:02.684" v="3561" actId="478"/>
          <ac:spMkLst>
            <pc:docMk/>
            <pc:sldMk cId="3088635774" sldId="337"/>
            <ac:spMk id="29" creationId="{F48CF374-65D2-B855-9242-19A460C4EDE9}"/>
          </ac:spMkLst>
        </pc:spChg>
        <pc:spChg chg="add mod ord">
          <ac:chgData name="KevCla12" userId="ef2eb634-4620-450f-93cc-80cc93397e60" providerId="ADAL" clId="{DF6678F8-4F85-488B-B919-FA7E2EC6DABC}" dt="2023-10-14T16:51:41.842" v="3573" actId="166"/>
          <ac:spMkLst>
            <pc:docMk/>
            <pc:sldMk cId="3088635774" sldId="337"/>
            <ac:spMk id="30" creationId="{EA3C636E-ABE6-4B55-5662-23A7F09668A6}"/>
          </ac:spMkLst>
        </pc:spChg>
        <pc:spChg chg="add del mod">
          <ac:chgData name="KevCla12" userId="ef2eb634-4620-450f-93cc-80cc93397e60" providerId="ADAL" clId="{DF6678F8-4F85-488B-B919-FA7E2EC6DABC}" dt="2023-10-14T16:47:35.280" v="3303" actId="478"/>
          <ac:spMkLst>
            <pc:docMk/>
            <pc:sldMk cId="3088635774" sldId="337"/>
            <ac:spMk id="31" creationId="{CEDB7E68-9C2D-DC5D-F1B6-8B6E398782DF}"/>
          </ac:spMkLst>
        </pc:spChg>
        <pc:spChg chg="add mod">
          <ac:chgData name="KevCla12" userId="ef2eb634-4620-450f-93cc-80cc93397e60" providerId="ADAL" clId="{DF6678F8-4F85-488B-B919-FA7E2EC6DABC}" dt="2023-10-14T16:49:52.885" v="3557" actId="1037"/>
          <ac:spMkLst>
            <pc:docMk/>
            <pc:sldMk cId="3088635774" sldId="337"/>
            <ac:spMk id="32" creationId="{86179042-365B-4C07-F625-DBD70ED556ED}"/>
          </ac:spMkLst>
        </pc:spChg>
        <pc:spChg chg="add mod">
          <ac:chgData name="KevCla12" userId="ef2eb634-4620-450f-93cc-80cc93397e60" providerId="ADAL" clId="{DF6678F8-4F85-488B-B919-FA7E2EC6DABC}" dt="2023-10-15T13:25:42.931" v="7058" actId="14100"/>
          <ac:spMkLst>
            <pc:docMk/>
            <pc:sldMk cId="3088635774" sldId="337"/>
            <ac:spMk id="34" creationId="{4819BD01-FEB8-2998-D57A-98FD10B69491}"/>
          </ac:spMkLst>
        </pc:spChg>
        <pc:spChg chg="add mod">
          <ac:chgData name="KevCla12" userId="ef2eb634-4620-450f-93cc-80cc93397e60" providerId="ADAL" clId="{DF6678F8-4F85-488B-B919-FA7E2EC6DABC}" dt="2023-10-14T16:51:18.247" v="3569" actId="1076"/>
          <ac:spMkLst>
            <pc:docMk/>
            <pc:sldMk cId="3088635774" sldId="337"/>
            <ac:spMk id="35" creationId="{ACCA0D0F-DEE7-81C3-EF0A-921169BA5A20}"/>
          </ac:spMkLst>
        </pc:spChg>
        <pc:spChg chg="add mod">
          <ac:chgData name="KevCla12" userId="ef2eb634-4620-450f-93cc-80cc93397e60" providerId="ADAL" clId="{DF6678F8-4F85-488B-B919-FA7E2EC6DABC}" dt="2023-10-14T16:51:18.247" v="3569" actId="1076"/>
          <ac:spMkLst>
            <pc:docMk/>
            <pc:sldMk cId="3088635774" sldId="337"/>
            <ac:spMk id="36" creationId="{A099A942-900D-DC3B-E6A3-316CD363A657}"/>
          </ac:spMkLst>
        </pc:spChg>
        <pc:spChg chg="add mod">
          <ac:chgData name="KevCla12" userId="ef2eb634-4620-450f-93cc-80cc93397e60" providerId="ADAL" clId="{DF6678F8-4F85-488B-B919-FA7E2EC6DABC}" dt="2023-10-14T16:51:47.385" v="3575" actId="1037"/>
          <ac:spMkLst>
            <pc:docMk/>
            <pc:sldMk cId="3088635774" sldId="337"/>
            <ac:spMk id="37" creationId="{36EB75A0-F85D-3264-90E9-869052639DF0}"/>
          </ac:spMkLst>
        </pc:spChg>
        <pc:spChg chg="add mod">
          <ac:chgData name="KevCla12" userId="ef2eb634-4620-450f-93cc-80cc93397e60" providerId="ADAL" clId="{DF6678F8-4F85-488B-B919-FA7E2EC6DABC}" dt="2023-10-15T11:40:13.712" v="5064" actId="20577"/>
          <ac:spMkLst>
            <pc:docMk/>
            <pc:sldMk cId="3088635774" sldId="337"/>
            <ac:spMk id="38" creationId="{DF5EDA4B-C387-5ADD-16B9-635135D25B15}"/>
          </ac:spMkLst>
        </pc:spChg>
        <pc:picChg chg="add mod">
          <ac:chgData name="KevCla12" userId="ef2eb634-4620-450f-93cc-80cc93397e60" providerId="ADAL" clId="{DF6678F8-4F85-488B-B919-FA7E2EC6DABC}" dt="2023-10-14T16:49:52.885" v="3557" actId="1037"/>
          <ac:picMkLst>
            <pc:docMk/>
            <pc:sldMk cId="3088635774" sldId="337"/>
            <ac:picMk id="33" creationId="{CBC1536D-4D58-D9C6-97E1-29125CD29202}"/>
          </ac:picMkLst>
        </pc:picChg>
        <pc:cxnChg chg="add del mod">
          <ac:chgData name="KevCla12" userId="ef2eb634-4620-450f-93cc-80cc93397e60" providerId="ADAL" clId="{DF6678F8-4F85-488B-B919-FA7E2EC6DABC}" dt="2023-10-14T16:49:59.180" v="3559" actId="478"/>
          <ac:cxnSpMkLst>
            <pc:docMk/>
            <pc:sldMk cId="3088635774" sldId="337"/>
            <ac:cxnSpMk id="8" creationId="{6EBB4E3F-038F-16A4-B91E-4768AB7A3430}"/>
          </ac:cxnSpMkLst>
        </pc:cxnChg>
        <pc:cxnChg chg="add mod">
          <ac:chgData name="KevCla12" userId="ef2eb634-4620-450f-93cc-80cc93397e60" providerId="ADAL" clId="{DF6678F8-4F85-488B-B919-FA7E2EC6DABC}" dt="2023-10-14T16:49:52.885" v="3557" actId="1037"/>
          <ac:cxnSpMkLst>
            <pc:docMk/>
            <pc:sldMk cId="3088635774" sldId="337"/>
            <ac:cxnSpMk id="9" creationId="{8FF7A964-C977-47BF-C98A-E8D76DDF2729}"/>
          </ac:cxnSpMkLst>
        </pc:cxnChg>
      </pc:sldChg>
      <pc:sldChg chg="modSp new del mod">
        <pc:chgData name="KevCla12" userId="ef2eb634-4620-450f-93cc-80cc93397e60" providerId="ADAL" clId="{DF6678F8-4F85-488B-B919-FA7E2EC6DABC}" dt="2023-10-15T13:11:34.811" v="6462" actId="47"/>
        <pc:sldMkLst>
          <pc:docMk/>
          <pc:sldMk cId="4134534907" sldId="338"/>
        </pc:sldMkLst>
        <pc:spChg chg="mod">
          <ac:chgData name="KevCla12" userId="ef2eb634-4620-450f-93cc-80cc93397e60" providerId="ADAL" clId="{DF6678F8-4F85-488B-B919-FA7E2EC6DABC}" dt="2023-10-15T10:53:06.702" v="4834" actId="20577"/>
          <ac:spMkLst>
            <pc:docMk/>
            <pc:sldMk cId="4134534907" sldId="338"/>
            <ac:spMk id="3" creationId="{FE6E3D08-0D54-8EBF-0FDD-81E756D559A3}"/>
          </ac:spMkLst>
        </pc:spChg>
      </pc:sldChg>
      <pc:sldChg chg="addSp delSp modSp new mod ord modCm">
        <pc:chgData name="KevCla12" userId="ef2eb634-4620-450f-93cc-80cc93397e60" providerId="ADAL" clId="{DF6678F8-4F85-488B-B919-FA7E2EC6DABC}" dt="2023-10-17T14:29:33.559" v="10285"/>
        <pc:sldMkLst>
          <pc:docMk/>
          <pc:sldMk cId="3674816059" sldId="339"/>
        </pc:sldMkLst>
        <pc:spChg chg="mod">
          <ac:chgData name="KevCla12" userId="ef2eb634-4620-450f-93cc-80cc93397e60" providerId="ADAL" clId="{DF6678F8-4F85-488B-B919-FA7E2EC6DABC}" dt="2023-10-17T14:17:18.786" v="9535"/>
          <ac:spMkLst>
            <pc:docMk/>
            <pc:sldMk cId="3674816059" sldId="339"/>
            <ac:spMk id="2" creationId="{156FD766-2EC5-3016-69B5-D6F8796353B4}"/>
          </ac:spMkLst>
        </pc:spChg>
        <pc:spChg chg="del">
          <ac:chgData name="KevCla12" userId="ef2eb634-4620-450f-93cc-80cc93397e60" providerId="ADAL" clId="{DF6678F8-4F85-488B-B919-FA7E2EC6DABC}" dt="2023-10-15T12:02:47.431" v="5246" actId="478"/>
          <ac:spMkLst>
            <pc:docMk/>
            <pc:sldMk cId="3674816059" sldId="339"/>
            <ac:spMk id="3" creationId="{5673BFD2-12B0-28C6-0B00-E0493682C54E}"/>
          </ac:spMkLst>
        </pc:spChg>
        <pc:spChg chg="mod">
          <ac:chgData name="KevCla12" userId="ef2eb634-4620-450f-93cc-80cc93397e60" providerId="ADAL" clId="{DF6678F8-4F85-488B-B919-FA7E2EC6DABC}" dt="2023-10-15T12:47:10.080" v="5247"/>
          <ac:spMkLst>
            <pc:docMk/>
            <pc:sldMk cId="3674816059" sldId="339"/>
            <ac:spMk id="5" creationId="{EC9B9503-3E64-D415-3BBF-3808F774A255}"/>
          </ac:spMkLst>
        </pc:spChg>
        <pc:spChg chg="add mod">
          <ac:chgData name="KevCla12" userId="ef2eb634-4620-450f-93cc-80cc93397e60" providerId="ADAL" clId="{DF6678F8-4F85-488B-B919-FA7E2EC6DABC}" dt="2023-10-15T12:49:24.678" v="5349" actId="1038"/>
          <ac:spMkLst>
            <pc:docMk/>
            <pc:sldMk cId="3674816059" sldId="339"/>
            <ac:spMk id="8" creationId="{EB261140-09D3-563B-13CB-47084D894AB3}"/>
          </ac:spMkLst>
        </pc:spChg>
        <pc:spChg chg="add del mod">
          <ac:chgData name="KevCla12" userId="ef2eb634-4620-450f-93cc-80cc93397e60" providerId="ADAL" clId="{DF6678F8-4F85-488B-B919-FA7E2EC6DABC}" dt="2023-10-15T12:48:45.738" v="5250"/>
          <ac:spMkLst>
            <pc:docMk/>
            <pc:sldMk cId="3674816059" sldId="339"/>
            <ac:spMk id="9" creationId="{1F8917E2-BCE0-6B55-EE3D-87D6049C391D}"/>
          </ac:spMkLst>
        </pc:spChg>
        <pc:spChg chg="add mod">
          <ac:chgData name="KevCla12" userId="ef2eb634-4620-450f-93cc-80cc93397e60" providerId="ADAL" clId="{DF6678F8-4F85-488B-B919-FA7E2EC6DABC}" dt="2023-10-15T12:49:44.738" v="5393" actId="20577"/>
          <ac:spMkLst>
            <pc:docMk/>
            <pc:sldMk cId="3674816059" sldId="339"/>
            <ac:spMk id="10" creationId="{5429F700-0177-28FE-AC00-A20705AB5866}"/>
          </ac:spMkLst>
        </pc:spChg>
        <pc:spChg chg="add mod ord">
          <ac:chgData name="KevCla12" userId="ef2eb634-4620-450f-93cc-80cc93397e60" providerId="ADAL" clId="{DF6678F8-4F85-488B-B919-FA7E2EC6DABC}" dt="2023-10-15T12:49:24.678" v="5349" actId="1038"/>
          <ac:spMkLst>
            <pc:docMk/>
            <pc:sldMk cId="3674816059" sldId="339"/>
            <ac:spMk id="11" creationId="{B8B54175-78E2-A117-6A13-621CCA0B41E5}"/>
          </ac:spMkLst>
        </pc:spChg>
        <pc:spChg chg="add mod">
          <ac:chgData name="KevCla12" userId="ef2eb634-4620-450f-93cc-80cc93397e60" providerId="ADAL" clId="{DF6678F8-4F85-488B-B919-FA7E2EC6DABC}" dt="2023-10-15T12:49:24.678" v="5349" actId="1038"/>
          <ac:spMkLst>
            <pc:docMk/>
            <pc:sldMk cId="3674816059" sldId="339"/>
            <ac:spMk id="12" creationId="{BD0B6AF6-F38A-9C87-FE5E-9C6E51814406}"/>
          </ac:spMkLst>
        </pc:spChg>
        <pc:spChg chg="add mod">
          <ac:chgData name="KevCla12" userId="ef2eb634-4620-450f-93cc-80cc93397e60" providerId="ADAL" clId="{DF6678F8-4F85-488B-B919-FA7E2EC6DABC}" dt="2023-10-15T12:54:28.027" v="5492" actId="1076"/>
          <ac:spMkLst>
            <pc:docMk/>
            <pc:sldMk cId="3674816059" sldId="339"/>
            <ac:spMk id="14" creationId="{080F21DA-3FF4-C269-C904-A0B3398ACA95}"/>
          </ac:spMkLst>
        </pc:spChg>
        <pc:spChg chg="add del mod">
          <ac:chgData name="KevCla12" userId="ef2eb634-4620-450f-93cc-80cc93397e60" providerId="ADAL" clId="{DF6678F8-4F85-488B-B919-FA7E2EC6DABC}" dt="2023-10-15T12:54:38.183" v="5495" actId="478"/>
          <ac:spMkLst>
            <pc:docMk/>
            <pc:sldMk cId="3674816059" sldId="339"/>
            <ac:spMk id="15" creationId="{6FFC8C33-A901-50A0-BBF7-8C29B8037108}"/>
          </ac:spMkLst>
        </pc:spChg>
        <pc:spChg chg="add del mod">
          <ac:chgData name="KevCla12" userId="ef2eb634-4620-450f-93cc-80cc93397e60" providerId="ADAL" clId="{DF6678F8-4F85-488B-B919-FA7E2EC6DABC}" dt="2023-10-15T12:57:20.031" v="5552" actId="478"/>
          <ac:spMkLst>
            <pc:docMk/>
            <pc:sldMk cId="3674816059" sldId="339"/>
            <ac:spMk id="16" creationId="{125C1A8B-8C70-52D8-A573-924067CE427D}"/>
          </ac:spMkLst>
        </pc:spChg>
        <pc:spChg chg="add del mod">
          <ac:chgData name="KevCla12" userId="ef2eb634-4620-450f-93cc-80cc93397e60" providerId="ADAL" clId="{DF6678F8-4F85-488B-B919-FA7E2EC6DABC}" dt="2023-10-15T12:57:20.615" v="5553" actId="478"/>
          <ac:spMkLst>
            <pc:docMk/>
            <pc:sldMk cId="3674816059" sldId="339"/>
            <ac:spMk id="17" creationId="{F7048A75-1011-E705-F3B4-23F870136330}"/>
          </ac:spMkLst>
        </pc:spChg>
        <pc:spChg chg="add del mod">
          <ac:chgData name="KevCla12" userId="ef2eb634-4620-450f-93cc-80cc93397e60" providerId="ADAL" clId="{DF6678F8-4F85-488B-B919-FA7E2EC6DABC}" dt="2023-10-15T12:51:32.617" v="5445" actId="478"/>
          <ac:spMkLst>
            <pc:docMk/>
            <pc:sldMk cId="3674816059" sldId="339"/>
            <ac:spMk id="18" creationId="{A7C38257-0171-E92F-775F-41F4A21BCF88}"/>
          </ac:spMkLst>
        </pc:spChg>
        <pc:spChg chg="add mod">
          <ac:chgData name="KevCla12" userId="ef2eb634-4620-450f-93cc-80cc93397e60" providerId="ADAL" clId="{DF6678F8-4F85-488B-B919-FA7E2EC6DABC}" dt="2023-10-15T12:54:07.030" v="5489" actId="207"/>
          <ac:spMkLst>
            <pc:docMk/>
            <pc:sldMk cId="3674816059" sldId="339"/>
            <ac:spMk id="19" creationId="{50465F1A-5B4A-1823-B59D-C9ECE6AAD526}"/>
          </ac:spMkLst>
        </pc:spChg>
        <pc:spChg chg="add mod">
          <ac:chgData name="KevCla12" userId="ef2eb634-4620-450f-93cc-80cc93397e60" providerId="ADAL" clId="{DF6678F8-4F85-488B-B919-FA7E2EC6DABC}" dt="2023-10-15T12:56:32.837" v="5540" actId="14100"/>
          <ac:spMkLst>
            <pc:docMk/>
            <pc:sldMk cId="3674816059" sldId="339"/>
            <ac:spMk id="28" creationId="{E5413BE4-04DD-6261-EDF4-ED393B6BCAEB}"/>
          </ac:spMkLst>
        </pc:spChg>
        <pc:spChg chg="add mod">
          <ac:chgData name="KevCla12" userId="ef2eb634-4620-450f-93cc-80cc93397e60" providerId="ADAL" clId="{DF6678F8-4F85-488B-B919-FA7E2EC6DABC}" dt="2023-10-15T12:56:24.130" v="5539" actId="1076"/>
          <ac:spMkLst>
            <pc:docMk/>
            <pc:sldMk cId="3674816059" sldId="339"/>
            <ac:spMk id="31" creationId="{45B31882-2D87-F37E-4B4B-0A3EB28A1683}"/>
          </ac:spMkLst>
        </pc:spChg>
        <pc:spChg chg="add del mod">
          <ac:chgData name="KevCla12" userId="ef2eb634-4620-450f-93cc-80cc93397e60" providerId="ADAL" clId="{DF6678F8-4F85-488B-B919-FA7E2EC6DABC}" dt="2023-10-15T12:57:53.585" v="5559" actId="478"/>
          <ac:spMkLst>
            <pc:docMk/>
            <pc:sldMk cId="3674816059" sldId="339"/>
            <ac:spMk id="41" creationId="{9120B3E0-B12A-19C8-6CA9-1716231830DC}"/>
          </ac:spMkLst>
        </pc:spChg>
        <pc:spChg chg="add mod">
          <ac:chgData name="KevCla12" userId="ef2eb634-4620-450f-93cc-80cc93397e60" providerId="ADAL" clId="{DF6678F8-4F85-488B-B919-FA7E2EC6DABC}" dt="2023-10-15T12:58:12.748" v="5599" actId="1076"/>
          <ac:spMkLst>
            <pc:docMk/>
            <pc:sldMk cId="3674816059" sldId="339"/>
            <ac:spMk id="42" creationId="{2B95D56F-DE1A-B30E-2C53-3B3CCB7F6585}"/>
          </ac:spMkLst>
        </pc:spChg>
        <pc:spChg chg="add mod">
          <ac:chgData name="KevCla12" userId="ef2eb634-4620-450f-93cc-80cc93397e60" providerId="ADAL" clId="{DF6678F8-4F85-488B-B919-FA7E2EC6DABC}" dt="2023-10-15T12:58:32.493" v="5614" actId="1076"/>
          <ac:spMkLst>
            <pc:docMk/>
            <pc:sldMk cId="3674816059" sldId="339"/>
            <ac:spMk id="43" creationId="{F59DAF6A-CC8E-B5A2-CDCE-64FC5ED76FF3}"/>
          </ac:spMkLst>
        </pc:spChg>
        <pc:spChg chg="add mod">
          <ac:chgData name="KevCla12" userId="ef2eb634-4620-450f-93cc-80cc93397e60" providerId="ADAL" clId="{DF6678F8-4F85-488B-B919-FA7E2EC6DABC}" dt="2023-10-15T12:58:49.534" v="5634" actId="20577"/>
          <ac:spMkLst>
            <pc:docMk/>
            <pc:sldMk cId="3674816059" sldId="339"/>
            <ac:spMk id="44" creationId="{10D9D56A-3574-7AD6-E0F5-47B094CF8603}"/>
          </ac:spMkLst>
        </pc:spChg>
        <pc:spChg chg="add del mod">
          <ac:chgData name="KevCla12" userId="ef2eb634-4620-450f-93cc-80cc93397e60" providerId="ADAL" clId="{DF6678F8-4F85-488B-B919-FA7E2EC6DABC}" dt="2023-10-15T13:00:42.804" v="5785" actId="1037"/>
          <ac:spMkLst>
            <pc:docMk/>
            <pc:sldMk cId="3674816059" sldId="339"/>
            <ac:spMk id="45" creationId="{E0DA9588-ED64-CFF5-E5A6-9CDB282D1610}"/>
          </ac:spMkLst>
        </pc:spChg>
        <pc:spChg chg="add mod">
          <ac:chgData name="KevCla12" userId="ef2eb634-4620-450f-93cc-80cc93397e60" providerId="ADAL" clId="{DF6678F8-4F85-488B-B919-FA7E2EC6DABC}" dt="2023-10-15T13:00:42.804" v="5785" actId="1037"/>
          <ac:spMkLst>
            <pc:docMk/>
            <pc:sldMk cId="3674816059" sldId="339"/>
            <ac:spMk id="46" creationId="{D235353A-2E96-7461-A482-62418A0725AB}"/>
          </ac:spMkLst>
        </pc:spChg>
        <pc:spChg chg="add mod">
          <ac:chgData name="KevCla12" userId="ef2eb634-4620-450f-93cc-80cc93397e60" providerId="ADAL" clId="{DF6678F8-4F85-488B-B919-FA7E2EC6DABC}" dt="2023-10-15T13:00:42.804" v="5785" actId="1037"/>
          <ac:spMkLst>
            <pc:docMk/>
            <pc:sldMk cId="3674816059" sldId="339"/>
            <ac:spMk id="47" creationId="{EF1E14C8-9FAB-17AD-6D5D-4B090E252976}"/>
          </ac:spMkLst>
        </pc:spChg>
        <pc:spChg chg="add mod">
          <ac:chgData name="KevCla12" userId="ef2eb634-4620-450f-93cc-80cc93397e60" providerId="ADAL" clId="{DF6678F8-4F85-488B-B919-FA7E2EC6DABC}" dt="2023-10-15T13:00:42.804" v="5785" actId="1037"/>
          <ac:spMkLst>
            <pc:docMk/>
            <pc:sldMk cId="3674816059" sldId="339"/>
            <ac:spMk id="48" creationId="{27AE3C19-B014-A4BE-7D3A-9D457B72CAF4}"/>
          </ac:spMkLst>
        </pc:spChg>
        <pc:spChg chg="add mod">
          <ac:chgData name="KevCla12" userId="ef2eb634-4620-450f-93cc-80cc93397e60" providerId="ADAL" clId="{DF6678F8-4F85-488B-B919-FA7E2EC6DABC}" dt="2023-10-15T13:00:42.804" v="5785" actId="1037"/>
          <ac:spMkLst>
            <pc:docMk/>
            <pc:sldMk cId="3674816059" sldId="339"/>
            <ac:spMk id="49" creationId="{53A1C062-1DA4-96FA-23FE-27A5CEBE5FED}"/>
          </ac:spMkLst>
        </pc:spChg>
        <pc:spChg chg="add mod">
          <ac:chgData name="KevCla12" userId="ef2eb634-4620-450f-93cc-80cc93397e60" providerId="ADAL" clId="{DF6678F8-4F85-488B-B919-FA7E2EC6DABC}" dt="2023-10-15T13:01:15.920" v="5794" actId="1076"/>
          <ac:spMkLst>
            <pc:docMk/>
            <pc:sldMk cId="3674816059" sldId="339"/>
            <ac:spMk id="50" creationId="{F42A93B2-DB73-DC60-4E08-F65C00209547}"/>
          </ac:spMkLst>
        </pc:spChg>
        <pc:spChg chg="add mod">
          <ac:chgData name="KevCla12" userId="ef2eb634-4620-450f-93cc-80cc93397e60" providerId="ADAL" clId="{DF6678F8-4F85-488B-B919-FA7E2EC6DABC}" dt="2023-10-15T13:02:06.314" v="5812" actId="20577"/>
          <ac:spMkLst>
            <pc:docMk/>
            <pc:sldMk cId="3674816059" sldId="339"/>
            <ac:spMk id="51" creationId="{489A12B3-72F5-A325-C8AC-2718C36A9151}"/>
          </ac:spMkLst>
        </pc:spChg>
        <pc:spChg chg="add mod">
          <ac:chgData name="KevCla12" userId="ef2eb634-4620-450f-93cc-80cc93397e60" providerId="ADAL" clId="{DF6678F8-4F85-488B-B919-FA7E2EC6DABC}" dt="2023-10-15T13:02:07.791" v="5813" actId="20577"/>
          <ac:spMkLst>
            <pc:docMk/>
            <pc:sldMk cId="3674816059" sldId="339"/>
            <ac:spMk id="52" creationId="{D393AD0D-50A4-9D0A-CD79-5688ED9EB5B5}"/>
          </ac:spMkLst>
        </pc:spChg>
        <pc:spChg chg="add mod">
          <ac:chgData name="KevCla12" userId="ef2eb634-4620-450f-93cc-80cc93397e60" providerId="ADAL" clId="{DF6678F8-4F85-488B-B919-FA7E2EC6DABC}" dt="2023-10-15T13:01:55.385" v="5810" actId="20577"/>
          <ac:spMkLst>
            <pc:docMk/>
            <pc:sldMk cId="3674816059" sldId="339"/>
            <ac:spMk id="53" creationId="{30E6A019-3E43-2DA6-D22E-9EC9D14DB1BF}"/>
          </ac:spMkLst>
        </pc:spChg>
        <pc:spChg chg="add mod">
          <ac:chgData name="KevCla12" userId="ef2eb634-4620-450f-93cc-80cc93397e60" providerId="ADAL" clId="{DF6678F8-4F85-488B-B919-FA7E2EC6DABC}" dt="2023-10-15T13:02:02.625" v="5811" actId="20577"/>
          <ac:spMkLst>
            <pc:docMk/>
            <pc:sldMk cId="3674816059" sldId="339"/>
            <ac:spMk id="54" creationId="{E7887CAD-B89F-4DC3-1CFD-FADA595A4CAB}"/>
          </ac:spMkLst>
        </pc:spChg>
        <pc:spChg chg="add mod">
          <ac:chgData name="KevCla12" userId="ef2eb634-4620-450f-93cc-80cc93397e60" providerId="ADAL" clId="{DF6678F8-4F85-488B-B919-FA7E2EC6DABC}" dt="2023-10-15T13:02:41.785" v="5845" actId="113"/>
          <ac:spMkLst>
            <pc:docMk/>
            <pc:sldMk cId="3674816059" sldId="339"/>
            <ac:spMk id="55" creationId="{35EBE139-0921-D508-5588-3DB3F7335117}"/>
          </ac:spMkLst>
        </pc:spChg>
        <pc:spChg chg="add mod">
          <ac:chgData name="KevCla12" userId="ef2eb634-4620-450f-93cc-80cc93397e60" providerId="ADAL" clId="{DF6678F8-4F85-488B-B919-FA7E2EC6DABC}" dt="2023-10-15T13:02:54.608" v="5860" actId="20577"/>
          <ac:spMkLst>
            <pc:docMk/>
            <pc:sldMk cId="3674816059" sldId="339"/>
            <ac:spMk id="56" creationId="{879C9505-F005-1061-BC57-0D655755FDB1}"/>
          </ac:spMkLst>
        </pc:spChg>
        <pc:spChg chg="add mod">
          <ac:chgData name="KevCla12" userId="ef2eb634-4620-450f-93cc-80cc93397e60" providerId="ADAL" clId="{DF6678F8-4F85-488B-B919-FA7E2EC6DABC}" dt="2023-10-15T13:03:04.929" v="5884" actId="1038"/>
          <ac:spMkLst>
            <pc:docMk/>
            <pc:sldMk cId="3674816059" sldId="339"/>
            <ac:spMk id="57" creationId="{C53D5AC8-C44C-8A76-6862-4654D13AD531}"/>
          </ac:spMkLst>
        </pc:spChg>
        <pc:spChg chg="add mod">
          <ac:chgData name="KevCla12" userId="ef2eb634-4620-450f-93cc-80cc93397e60" providerId="ADAL" clId="{DF6678F8-4F85-488B-B919-FA7E2EC6DABC}" dt="2023-10-15T13:03:29.240" v="5895" actId="14100"/>
          <ac:spMkLst>
            <pc:docMk/>
            <pc:sldMk cId="3674816059" sldId="339"/>
            <ac:spMk id="58" creationId="{F5D69F0C-23B9-9220-6D8E-A7D5AF541D11}"/>
          </ac:spMkLst>
        </pc:spChg>
        <pc:spChg chg="add mod">
          <ac:chgData name="KevCla12" userId="ef2eb634-4620-450f-93cc-80cc93397e60" providerId="ADAL" clId="{DF6678F8-4F85-488B-B919-FA7E2EC6DABC}" dt="2023-10-15T13:03:31.276" v="5897"/>
          <ac:spMkLst>
            <pc:docMk/>
            <pc:sldMk cId="3674816059" sldId="339"/>
            <ac:spMk id="59" creationId="{4A69F0B6-7505-C940-80DF-4DC44EBA1018}"/>
          </ac:spMkLst>
        </pc:spChg>
        <pc:spChg chg="add mod">
          <ac:chgData name="KevCla12" userId="ef2eb634-4620-450f-93cc-80cc93397e60" providerId="ADAL" clId="{DF6678F8-4F85-488B-B919-FA7E2EC6DABC}" dt="2023-10-15T13:04:43.005" v="5981" actId="14100"/>
          <ac:spMkLst>
            <pc:docMk/>
            <pc:sldMk cId="3674816059" sldId="339"/>
            <ac:spMk id="60" creationId="{52BAED7F-D2B1-A36F-AC2C-961099C41A81}"/>
          </ac:spMkLst>
        </pc:spChg>
        <pc:spChg chg="add mod">
          <ac:chgData name="KevCla12" userId="ef2eb634-4620-450f-93cc-80cc93397e60" providerId="ADAL" clId="{DF6678F8-4F85-488B-B919-FA7E2EC6DABC}" dt="2023-10-15T13:04:29.607" v="5975" actId="1036"/>
          <ac:spMkLst>
            <pc:docMk/>
            <pc:sldMk cId="3674816059" sldId="339"/>
            <ac:spMk id="61" creationId="{38CC9F15-ECF3-6978-24C4-EF151EC2E810}"/>
          </ac:spMkLst>
        </pc:spChg>
        <pc:spChg chg="add mod ord">
          <ac:chgData name="KevCla12" userId="ef2eb634-4620-450f-93cc-80cc93397e60" providerId="ADAL" clId="{DF6678F8-4F85-488B-B919-FA7E2EC6DABC}" dt="2023-10-15T13:11:26.662" v="6461" actId="1036"/>
          <ac:spMkLst>
            <pc:docMk/>
            <pc:sldMk cId="3674816059" sldId="339"/>
            <ac:spMk id="62" creationId="{1D3D8103-2881-4134-8D56-E2418A774C55}"/>
          </ac:spMkLst>
        </pc:spChg>
        <pc:spChg chg="add del mod ord">
          <ac:chgData name="KevCla12" userId="ef2eb634-4620-450f-93cc-80cc93397e60" providerId="ADAL" clId="{DF6678F8-4F85-488B-B919-FA7E2EC6DABC}" dt="2023-10-15T13:08:18.927" v="6090" actId="478"/>
          <ac:spMkLst>
            <pc:docMk/>
            <pc:sldMk cId="3674816059" sldId="339"/>
            <ac:spMk id="63" creationId="{E5FB016D-F3C6-88B4-A312-B4D2404FF911}"/>
          </ac:spMkLst>
        </pc:spChg>
        <pc:spChg chg="add mod">
          <ac:chgData name="KevCla12" userId="ef2eb634-4620-450f-93cc-80cc93397e60" providerId="ADAL" clId="{DF6678F8-4F85-488B-B919-FA7E2EC6DABC}" dt="2023-10-15T13:11:26.662" v="6461" actId="1036"/>
          <ac:spMkLst>
            <pc:docMk/>
            <pc:sldMk cId="3674816059" sldId="339"/>
            <ac:spMk id="64" creationId="{7B0F7486-9CD2-5C73-482C-49C748919BCD}"/>
          </ac:spMkLst>
        </pc:spChg>
        <pc:spChg chg="add mod">
          <ac:chgData name="KevCla12" userId="ef2eb634-4620-450f-93cc-80cc93397e60" providerId="ADAL" clId="{DF6678F8-4F85-488B-B919-FA7E2EC6DABC}" dt="2023-10-15T13:07:52.314" v="6078" actId="571"/>
          <ac:spMkLst>
            <pc:docMk/>
            <pc:sldMk cId="3674816059" sldId="339"/>
            <ac:spMk id="65" creationId="{06895BA6-DCA4-1B91-E1E4-A546086D93A8}"/>
          </ac:spMkLst>
        </pc:spChg>
        <pc:spChg chg="add mod">
          <ac:chgData name="KevCla12" userId="ef2eb634-4620-450f-93cc-80cc93397e60" providerId="ADAL" clId="{DF6678F8-4F85-488B-B919-FA7E2EC6DABC}" dt="2023-10-15T13:11:26.662" v="6461" actId="1036"/>
          <ac:spMkLst>
            <pc:docMk/>
            <pc:sldMk cId="3674816059" sldId="339"/>
            <ac:spMk id="66" creationId="{45D50DD5-F58D-8BD2-B204-C977ACA06F8E}"/>
          </ac:spMkLst>
        </pc:spChg>
        <pc:spChg chg="add mod">
          <ac:chgData name="KevCla12" userId="ef2eb634-4620-450f-93cc-80cc93397e60" providerId="ADAL" clId="{DF6678F8-4F85-488B-B919-FA7E2EC6DABC}" dt="2023-10-15T13:11:26.662" v="6461" actId="1036"/>
          <ac:spMkLst>
            <pc:docMk/>
            <pc:sldMk cId="3674816059" sldId="339"/>
            <ac:spMk id="67" creationId="{74C988FD-A667-F142-1BE1-739078DF46A1}"/>
          </ac:spMkLst>
        </pc:spChg>
        <pc:spChg chg="add mod">
          <ac:chgData name="KevCla12" userId="ef2eb634-4620-450f-93cc-80cc93397e60" providerId="ADAL" clId="{DF6678F8-4F85-488B-B919-FA7E2EC6DABC}" dt="2023-10-15T13:11:26.662" v="6461" actId="1036"/>
          <ac:spMkLst>
            <pc:docMk/>
            <pc:sldMk cId="3674816059" sldId="339"/>
            <ac:spMk id="68" creationId="{22699633-03E1-D91D-0EFD-3BE0E75DC0DA}"/>
          </ac:spMkLst>
        </pc:spChg>
        <pc:spChg chg="add mod">
          <ac:chgData name="KevCla12" userId="ef2eb634-4620-450f-93cc-80cc93397e60" providerId="ADAL" clId="{DF6678F8-4F85-488B-B919-FA7E2EC6DABC}" dt="2023-10-15T13:11:26.662" v="6461" actId="1036"/>
          <ac:spMkLst>
            <pc:docMk/>
            <pc:sldMk cId="3674816059" sldId="339"/>
            <ac:spMk id="69" creationId="{9CAE7670-E1FA-28E8-EFAD-82B1E066503F}"/>
          </ac:spMkLst>
        </pc:spChg>
        <pc:spChg chg="add mod">
          <ac:chgData name="KevCla12" userId="ef2eb634-4620-450f-93cc-80cc93397e60" providerId="ADAL" clId="{DF6678F8-4F85-488B-B919-FA7E2EC6DABC}" dt="2023-10-15T13:11:26.662" v="6461" actId="1036"/>
          <ac:spMkLst>
            <pc:docMk/>
            <pc:sldMk cId="3674816059" sldId="339"/>
            <ac:spMk id="70" creationId="{43F94076-DD9C-1BEF-9A8C-885EDAECC712}"/>
          </ac:spMkLst>
        </pc:spChg>
        <pc:spChg chg="add mod">
          <ac:chgData name="KevCla12" userId="ef2eb634-4620-450f-93cc-80cc93397e60" providerId="ADAL" clId="{DF6678F8-4F85-488B-B919-FA7E2EC6DABC}" dt="2023-10-15T13:11:26.662" v="6461" actId="1036"/>
          <ac:spMkLst>
            <pc:docMk/>
            <pc:sldMk cId="3674816059" sldId="339"/>
            <ac:spMk id="71" creationId="{3F98794B-181E-025B-DF64-31CF80E4EFEA}"/>
          </ac:spMkLst>
        </pc:spChg>
        <pc:picChg chg="add mod">
          <ac:chgData name="KevCla12" userId="ef2eb634-4620-450f-93cc-80cc93397e60" providerId="ADAL" clId="{DF6678F8-4F85-488B-B919-FA7E2EC6DABC}" dt="2023-10-15T12:49:24.678" v="5349" actId="1038"/>
          <ac:picMkLst>
            <pc:docMk/>
            <pc:sldMk cId="3674816059" sldId="339"/>
            <ac:picMk id="13" creationId="{7000E43B-FDC1-F669-8EE0-480FF19D2821}"/>
          </ac:picMkLst>
        </pc:picChg>
        <pc:cxnChg chg="add mod">
          <ac:chgData name="KevCla12" userId="ef2eb634-4620-450f-93cc-80cc93397e60" providerId="ADAL" clId="{DF6678F8-4F85-488B-B919-FA7E2EC6DABC}" dt="2023-10-15T12:56:01.484" v="5534" actId="14100"/>
          <ac:cxnSpMkLst>
            <pc:docMk/>
            <pc:sldMk cId="3674816059" sldId="339"/>
            <ac:cxnSpMk id="21" creationId="{4E3691F6-47C3-AAE4-6C49-C746019AFBAE}"/>
          </ac:cxnSpMkLst>
        </pc:cxnChg>
        <pc:cxnChg chg="add mod">
          <ac:chgData name="KevCla12" userId="ef2eb634-4620-450f-93cc-80cc93397e60" providerId="ADAL" clId="{DF6678F8-4F85-488B-B919-FA7E2EC6DABC}" dt="2023-10-15T12:55:26.692" v="5507" actId="14100"/>
          <ac:cxnSpMkLst>
            <pc:docMk/>
            <pc:sldMk cId="3674816059" sldId="339"/>
            <ac:cxnSpMk id="25" creationId="{F1DF4E5E-BC72-A6D0-A274-437841670B5D}"/>
          </ac:cxnSpMkLst>
        </pc:cxnChg>
        <pc:cxnChg chg="add mod">
          <ac:chgData name="KevCla12" userId="ef2eb634-4620-450f-93cc-80cc93397e60" providerId="ADAL" clId="{DF6678F8-4F85-488B-B919-FA7E2EC6DABC}" dt="2023-10-15T12:56:42.368" v="5543" actId="14100"/>
          <ac:cxnSpMkLst>
            <pc:docMk/>
            <pc:sldMk cId="3674816059" sldId="339"/>
            <ac:cxnSpMk id="32" creationId="{372851F5-0B50-5540-2FFE-E8AA7F1F3D6F}"/>
          </ac:cxnSpMkLst>
        </pc:cxnChg>
        <pc:cxnChg chg="add mod">
          <ac:chgData name="KevCla12" userId="ef2eb634-4620-450f-93cc-80cc93397e60" providerId="ADAL" clId="{DF6678F8-4F85-488B-B919-FA7E2EC6DABC}" dt="2023-10-15T12:57:11.841" v="5550" actId="1076"/>
          <ac:cxnSpMkLst>
            <pc:docMk/>
            <pc:sldMk cId="3674816059" sldId="339"/>
            <ac:cxnSpMk id="34" creationId="{F456FDCC-DD6D-574F-D5B0-9E3463001C03}"/>
          </ac:cxnSpMkLst>
        </pc:cxnChg>
        <pc:cxnChg chg="add mod">
          <ac:chgData name="KevCla12" userId="ef2eb634-4620-450f-93cc-80cc93397e60" providerId="ADAL" clId="{DF6678F8-4F85-488B-B919-FA7E2EC6DABC}" dt="2023-10-15T12:57:14.423" v="5551" actId="1076"/>
          <ac:cxnSpMkLst>
            <pc:docMk/>
            <pc:sldMk cId="3674816059" sldId="339"/>
            <ac:cxnSpMk id="37" creationId="{0C0A82AC-1E16-010E-114D-65DCC7166F91}"/>
          </ac:cxnSpMkLst>
        </pc:cxnChg>
        <pc:cxnChg chg="add mod">
          <ac:chgData name="KevCla12" userId="ef2eb634-4620-450f-93cc-80cc93397e60" providerId="ADAL" clId="{DF6678F8-4F85-488B-B919-FA7E2EC6DABC}" dt="2023-10-15T12:57:34.459" v="5557" actId="14100"/>
          <ac:cxnSpMkLst>
            <pc:docMk/>
            <pc:sldMk cId="3674816059" sldId="339"/>
            <ac:cxnSpMk id="38" creationId="{A56909FD-D094-32C5-DD09-339415762460}"/>
          </ac:cxnSpMkLst>
        </pc:cxnChg>
        <pc:extLst>
          <p:ext xmlns:p="http://schemas.openxmlformats.org/presentationml/2006/main" uri="{D6D511B9-2390-475A-947B-AFAB55BFBCF1}">
            <pc226:cmChg xmlns:pc226="http://schemas.microsoft.com/office/powerpoint/2022/06/main/command" chg="mod">
              <pc226:chgData name="KevCla12" userId="ef2eb634-4620-450f-93cc-80cc93397e60" providerId="ADAL" clId="{DF6678F8-4F85-488B-B919-FA7E2EC6DABC}" dt="2023-10-17T14:29:33.559" v="10285"/>
              <pc2:cmMkLst xmlns:pc2="http://schemas.microsoft.com/office/powerpoint/2019/9/main/command">
                <pc:docMk/>
                <pc:sldMk cId="3674816059" sldId="339"/>
                <pc2:cmMk id="{B650E114-0BAC-489D-8F3A-AC98C9183340}"/>
              </pc2:cmMkLst>
            </pc226:cmChg>
            <pc226:cmChg xmlns:pc226="http://schemas.microsoft.com/office/powerpoint/2022/06/main/command" chg="mod">
              <pc226:chgData name="KevCla12" userId="ef2eb634-4620-450f-93cc-80cc93397e60" providerId="ADAL" clId="{DF6678F8-4F85-488B-B919-FA7E2EC6DABC}" dt="2023-10-17T14:29:31.830" v="10284"/>
              <pc2:cmMkLst xmlns:pc2="http://schemas.microsoft.com/office/powerpoint/2019/9/main/command">
                <pc:docMk/>
                <pc:sldMk cId="3674816059" sldId="339"/>
                <pc2:cmMk id="{0852B431-5026-4E52-8A06-07ACAAB567BF}"/>
              </pc2:cmMkLst>
            </pc226:cmChg>
            <pc226:cmChg xmlns:pc226="http://schemas.microsoft.com/office/powerpoint/2022/06/main/command" chg="mod">
              <pc226:chgData name="KevCla12" userId="ef2eb634-4620-450f-93cc-80cc93397e60" providerId="ADAL" clId="{DF6678F8-4F85-488B-B919-FA7E2EC6DABC}" dt="2023-10-17T14:29:30.296" v="10283"/>
              <pc2:cmMkLst xmlns:pc2="http://schemas.microsoft.com/office/powerpoint/2019/9/main/command">
                <pc:docMk/>
                <pc:sldMk cId="3674816059" sldId="339"/>
                <pc2:cmMk id="{32407E56-677D-4001-BD7E-5C408DFBBF1D}"/>
              </pc2:cmMkLst>
            </pc226:cmChg>
          </p:ext>
        </pc:extLst>
      </pc:sldChg>
      <pc:sldChg chg="addSp delSp modSp add mod ord">
        <pc:chgData name="KevCla12" userId="ef2eb634-4620-450f-93cc-80cc93397e60" providerId="ADAL" clId="{DF6678F8-4F85-488B-B919-FA7E2EC6DABC}" dt="2023-10-17T14:20:43.107" v="9767"/>
        <pc:sldMkLst>
          <pc:docMk/>
          <pc:sldMk cId="1332053118" sldId="340"/>
        </pc:sldMkLst>
        <pc:spChg chg="mod">
          <ac:chgData name="KevCla12" userId="ef2eb634-4620-450f-93cc-80cc93397e60" providerId="ADAL" clId="{DF6678F8-4F85-488B-B919-FA7E2EC6DABC}" dt="2023-10-17T14:20:43.107" v="9767"/>
          <ac:spMkLst>
            <pc:docMk/>
            <pc:sldMk cId="1332053118" sldId="340"/>
            <ac:spMk id="2" creationId="{1010524F-2A73-7C75-4A1A-924CE9CB7B52}"/>
          </ac:spMkLst>
        </pc:spChg>
        <pc:spChg chg="del">
          <ac:chgData name="KevCla12" userId="ef2eb634-4620-450f-93cc-80cc93397e60" providerId="ADAL" clId="{DF6678F8-4F85-488B-B919-FA7E2EC6DABC}" dt="2023-10-15T13:15:33.341" v="6467"/>
          <ac:spMkLst>
            <pc:docMk/>
            <pc:sldMk cId="1332053118" sldId="340"/>
            <ac:spMk id="6" creationId="{C1A1898A-9FC8-1C7F-954E-1451E08623C6}"/>
          </ac:spMkLst>
        </pc:spChg>
        <pc:spChg chg="del">
          <ac:chgData name="KevCla12" userId="ef2eb634-4620-450f-93cc-80cc93397e60" providerId="ADAL" clId="{DF6678F8-4F85-488B-B919-FA7E2EC6DABC}" dt="2023-10-15T13:18:53.713" v="6479" actId="931"/>
          <ac:spMkLst>
            <pc:docMk/>
            <pc:sldMk cId="1332053118" sldId="340"/>
            <ac:spMk id="7" creationId="{C568EE14-E269-1D32-E199-3C726F3810E9}"/>
          </ac:spMkLst>
        </pc:spChg>
        <pc:spChg chg="add del mod">
          <ac:chgData name="KevCla12" userId="ef2eb634-4620-450f-93cc-80cc93397e60" providerId="ADAL" clId="{DF6678F8-4F85-488B-B919-FA7E2EC6DABC}" dt="2023-10-15T13:18:53.713" v="6479" actId="931"/>
          <ac:spMkLst>
            <pc:docMk/>
            <pc:sldMk cId="1332053118" sldId="340"/>
            <ac:spMk id="17" creationId="{907DD702-700B-0106-D02E-1BE4796A37E0}"/>
          </ac:spMkLst>
        </pc:spChg>
        <pc:spChg chg="mod">
          <ac:chgData name="KevCla12" userId="ef2eb634-4620-450f-93cc-80cc93397e60" providerId="ADAL" clId="{DF6678F8-4F85-488B-B919-FA7E2EC6DABC}" dt="2023-10-15T13:19:14.169" v="6490" actId="1076"/>
          <ac:spMkLst>
            <pc:docMk/>
            <pc:sldMk cId="1332053118" sldId="340"/>
            <ac:spMk id="37" creationId="{36EB75A0-F85D-3264-90E9-869052639DF0}"/>
          </ac:spMkLst>
        </pc:spChg>
        <pc:spChg chg="del">
          <ac:chgData name="KevCla12" userId="ef2eb634-4620-450f-93cc-80cc93397e60" providerId="ADAL" clId="{DF6678F8-4F85-488B-B919-FA7E2EC6DABC}" dt="2023-10-15T13:13:05.942" v="6466" actId="478"/>
          <ac:spMkLst>
            <pc:docMk/>
            <pc:sldMk cId="1332053118" sldId="340"/>
            <ac:spMk id="38" creationId="{DF5EDA4B-C387-5ADD-16B9-635135D25B15}"/>
          </ac:spMkLst>
        </pc:spChg>
        <pc:spChg chg="add mod">
          <ac:chgData name="KevCla12" userId="ef2eb634-4620-450f-93cc-80cc93397e60" providerId="ADAL" clId="{DF6678F8-4F85-488B-B919-FA7E2EC6DABC}" dt="2023-10-15T13:18:57.362" v="6480" actId="21"/>
          <ac:spMkLst>
            <pc:docMk/>
            <pc:sldMk cId="1332053118" sldId="340"/>
            <ac:spMk id="44" creationId="{DFF9872E-9B8B-B736-BB02-EA01B096166B}"/>
          </ac:spMkLst>
        </pc:spChg>
        <pc:spChg chg="add mod">
          <ac:chgData name="KevCla12" userId="ef2eb634-4620-450f-93cc-80cc93397e60" providerId="ADAL" clId="{DF6678F8-4F85-488B-B919-FA7E2EC6DABC}" dt="2023-10-15T13:18:57.362" v="6480" actId="21"/>
          <ac:spMkLst>
            <pc:docMk/>
            <pc:sldMk cId="1332053118" sldId="340"/>
            <ac:spMk id="46" creationId="{FCC29C75-FF33-EB51-8E19-A482532B0809}"/>
          </ac:spMkLst>
        </pc:spChg>
        <pc:spChg chg="add mod">
          <ac:chgData name="KevCla12" userId="ef2eb634-4620-450f-93cc-80cc93397e60" providerId="ADAL" clId="{DF6678F8-4F85-488B-B919-FA7E2EC6DABC}" dt="2023-10-15T13:21:32.490" v="6587" actId="20577"/>
          <ac:spMkLst>
            <pc:docMk/>
            <pc:sldMk cId="1332053118" sldId="340"/>
            <ac:spMk id="54" creationId="{D6293345-3ED1-1E6B-6463-C447FAFF1BA3}"/>
          </ac:spMkLst>
        </pc:spChg>
        <pc:spChg chg="add mod">
          <ac:chgData name="KevCla12" userId="ef2eb634-4620-450f-93cc-80cc93397e60" providerId="ADAL" clId="{DF6678F8-4F85-488B-B919-FA7E2EC6DABC}" dt="2023-10-15T13:21:45.999" v="6627" actId="20577"/>
          <ac:spMkLst>
            <pc:docMk/>
            <pc:sldMk cId="1332053118" sldId="340"/>
            <ac:spMk id="55" creationId="{5B4F7008-6E02-0FF9-25B1-22BAD08E7415}"/>
          </ac:spMkLst>
        </pc:spChg>
        <pc:spChg chg="add mod">
          <ac:chgData name="KevCla12" userId="ef2eb634-4620-450f-93cc-80cc93397e60" providerId="ADAL" clId="{DF6678F8-4F85-488B-B919-FA7E2EC6DABC}" dt="2023-10-15T13:22:13.039" v="6664" actId="20577"/>
          <ac:spMkLst>
            <pc:docMk/>
            <pc:sldMk cId="1332053118" sldId="340"/>
            <ac:spMk id="56" creationId="{8F729297-5873-D5F4-0C98-7CF60EACE324}"/>
          </ac:spMkLst>
        </pc:spChg>
        <pc:spChg chg="add mod">
          <ac:chgData name="KevCla12" userId="ef2eb634-4620-450f-93cc-80cc93397e60" providerId="ADAL" clId="{DF6678F8-4F85-488B-B919-FA7E2EC6DABC}" dt="2023-10-15T13:22:58.860" v="6724" actId="14100"/>
          <ac:spMkLst>
            <pc:docMk/>
            <pc:sldMk cId="1332053118" sldId="340"/>
            <ac:spMk id="57" creationId="{3422740E-5B72-9D3D-1C86-4B8DF9E34005}"/>
          </ac:spMkLst>
        </pc:spChg>
        <pc:spChg chg="add mod">
          <ac:chgData name="KevCla12" userId="ef2eb634-4620-450f-93cc-80cc93397e60" providerId="ADAL" clId="{DF6678F8-4F85-488B-B919-FA7E2EC6DABC}" dt="2023-10-15T13:23:27.849" v="6752" actId="20577"/>
          <ac:spMkLst>
            <pc:docMk/>
            <pc:sldMk cId="1332053118" sldId="340"/>
            <ac:spMk id="58" creationId="{BF9618E5-5A2E-6D87-D1D7-DC3D8389CEF2}"/>
          </ac:spMkLst>
        </pc:spChg>
        <pc:spChg chg="add mod">
          <ac:chgData name="KevCla12" userId="ef2eb634-4620-450f-93cc-80cc93397e60" providerId="ADAL" clId="{DF6678F8-4F85-488B-B919-FA7E2EC6DABC}" dt="2023-10-15T13:23:53.730" v="6815" actId="20577"/>
          <ac:spMkLst>
            <pc:docMk/>
            <pc:sldMk cId="1332053118" sldId="340"/>
            <ac:spMk id="59" creationId="{1FF7DE37-EB96-F64C-378B-4422B8BE0292}"/>
          </ac:spMkLst>
        </pc:spChg>
        <pc:spChg chg="add mod">
          <ac:chgData name="KevCla12" userId="ef2eb634-4620-450f-93cc-80cc93397e60" providerId="ADAL" clId="{DF6678F8-4F85-488B-B919-FA7E2EC6DABC}" dt="2023-10-15T13:24:12.375" v="6838" actId="20577"/>
          <ac:spMkLst>
            <pc:docMk/>
            <pc:sldMk cId="1332053118" sldId="340"/>
            <ac:spMk id="60" creationId="{4F0A606D-AD15-A381-B48D-61601C7D579F}"/>
          </ac:spMkLst>
        </pc:spChg>
        <pc:spChg chg="add mod">
          <ac:chgData name="KevCla12" userId="ef2eb634-4620-450f-93cc-80cc93397e60" providerId="ADAL" clId="{DF6678F8-4F85-488B-B919-FA7E2EC6DABC}" dt="2023-10-15T13:30:27.920" v="7065" actId="20577"/>
          <ac:spMkLst>
            <pc:docMk/>
            <pc:sldMk cId="1332053118" sldId="340"/>
            <ac:spMk id="61" creationId="{329A3A69-4C64-024F-B53A-87CF0FC5DD33}"/>
          </ac:spMkLst>
        </pc:spChg>
        <pc:spChg chg="add mod">
          <ac:chgData name="KevCla12" userId="ef2eb634-4620-450f-93cc-80cc93397e60" providerId="ADAL" clId="{DF6678F8-4F85-488B-B919-FA7E2EC6DABC}" dt="2023-10-15T13:24:32.247" v="6892"/>
          <ac:spMkLst>
            <pc:docMk/>
            <pc:sldMk cId="1332053118" sldId="340"/>
            <ac:spMk id="62" creationId="{37CB0562-14CF-BAA9-2BFB-04B00A333141}"/>
          </ac:spMkLst>
        </pc:spChg>
        <pc:spChg chg="add mod">
          <ac:chgData name="KevCla12" userId="ef2eb634-4620-450f-93cc-80cc93397e60" providerId="ADAL" clId="{DF6678F8-4F85-488B-B919-FA7E2EC6DABC}" dt="2023-10-15T13:25:00.335" v="6967" actId="20577"/>
          <ac:spMkLst>
            <pc:docMk/>
            <pc:sldMk cId="1332053118" sldId="340"/>
            <ac:spMk id="63" creationId="{EECDC91E-FA1D-99B7-F3C0-701CD58054D6}"/>
          </ac:spMkLst>
        </pc:spChg>
        <pc:spChg chg="add mod">
          <ac:chgData name="KevCla12" userId="ef2eb634-4620-450f-93cc-80cc93397e60" providerId="ADAL" clId="{DF6678F8-4F85-488B-B919-FA7E2EC6DABC}" dt="2023-10-15T13:25:21.920" v="7057" actId="20577"/>
          <ac:spMkLst>
            <pc:docMk/>
            <pc:sldMk cId="1332053118" sldId="340"/>
            <ac:spMk id="64" creationId="{3E817734-87C4-6CF0-2654-B6202AA0E142}"/>
          </ac:spMkLst>
        </pc:spChg>
        <pc:picChg chg="add del mod">
          <ac:chgData name="KevCla12" userId="ef2eb634-4620-450f-93cc-80cc93397e60" providerId="ADAL" clId="{DF6678F8-4F85-488B-B919-FA7E2EC6DABC}" dt="2023-10-15T13:15:34.479" v="6468" actId="21"/>
          <ac:picMkLst>
            <pc:docMk/>
            <pc:sldMk cId="1332053118" sldId="340"/>
            <ac:picMk id="8" creationId="{3F0DABC2-971B-8631-001A-A6D5D6EA5E0C}"/>
          </ac:picMkLst>
        </pc:picChg>
        <pc:picChg chg="add del mod modCrop">
          <ac:chgData name="KevCla12" userId="ef2eb634-4620-450f-93cc-80cc93397e60" providerId="ADAL" clId="{DF6678F8-4F85-488B-B919-FA7E2EC6DABC}" dt="2023-10-15T13:16:12.223" v="6478" actId="478"/>
          <ac:picMkLst>
            <pc:docMk/>
            <pc:sldMk cId="1332053118" sldId="340"/>
            <ac:picMk id="18" creationId="{B1421A8A-45A5-D7D0-8B71-866A2CF46DFD}"/>
          </ac:picMkLst>
        </pc:picChg>
        <pc:picChg chg="add del mod">
          <ac:chgData name="KevCla12" userId="ef2eb634-4620-450f-93cc-80cc93397e60" providerId="ADAL" clId="{DF6678F8-4F85-488B-B919-FA7E2EC6DABC}" dt="2023-10-15T13:18:57.362" v="6480" actId="21"/>
          <ac:picMkLst>
            <pc:docMk/>
            <pc:sldMk cId="1332053118" sldId="340"/>
            <ac:picMk id="21" creationId="{73DFEA92-9D51-EB3F-A6AD-0992580ABB80}"/>
          </ac:picMkLst>
        </pc:picChg>
        <pc:picChg chg="add del mod">
          <ac:chgData name="KevCla12" userId="ef2eb634-4620-450f-93cc-80cc93397e60" providerId="ADAL" clId="{DF6678F8-4F85-488B-B919-FA7E2EC6DABC}" dt="2023-10-15T13:18:57.362" v="6480" actId="21"/>
          <ac:picMkLst>
            <pc:docMk/>
            <pc:sldMk cId="1332053118" sldId="340"/>
            <ac:picMk id="27" creationId="{E6078F46-B37C-76FF-FB80-BB854BDBE401}"/>
          </ac:picMkLst>
        </pc:picChg>
        <pc:picChg chg="add mod">
          <ac:chgData name="KevCla12" userId="ef2eb634-4620-450f-93cc-80cc93397e60" providerId="ADAL" clId="{DF6678F8-4F85-488B-B919-FA7E2EC6DABC}" dt="2023-10-15T13:20:50.635" v="6504" actId="1076"/>
          <ac:picMkLst>
            <pc:docMk/>
            <pc:sldMk cId="1332053118" sldId="340"/>
            <ac:picMk id="31" creationId="{BC4C6434-22E6-7946-80CA-8B9FC9D71CC6}"/>
          </ac:picMkLst>
        </pc:picChg>
        <pc:picChg chg="add mod">
          <ac:chgData name="KevCla12" userId="ef2eb634-4620-450f-93cc-80cc93397e60" providerId="ADAL" clId="{DF6678F8-4F85-488B-B919-FA7E2EC6DABC}" dt="2023-10-15T13:23:11.523" v="6727" actId="1076"/>
          <ac:picMkLst>
            <pc:docMk/>
            <pc:sldMk cId="1332053118" sldId="340"/>
            <ac:picMk id="40" creationId="{B94D9D10-F2B9-9CD5-F852-A92ABA85A871}"/>
          </ac:picMkLst>
        </pc:picChg>
        <pc:picChg chg="add mod">
          <ac:chgData name="KevCla12" userId="ef2eb634-4620-450f-93cc-80cc93397e60" providerId="ADAL" clId="{DF6678F8-4F85-488B-B919-FA7E2EC6DABC}" dt="2023-10-15T13:21:53.197" v="6630" actId="1035"/>
          <ac:picMkLst>
            <pc:docMk/>
            <pc:sldMk cId="1332053118" sldId="340"/>
            <ac:picMk id="42" creationId="{1CBA41ED-BDC3-EFD0-15D6-EB35ADA7E0EA}"/>
          </ac:picMkLst>
        </pc:picChg>
        <pc:picChg chg="add mod">
          <ac:chgData name="KevCla12" userId="ef2eb634-4620-450f-93cc-80cc93397e60" providerId="ADAL" clId="{DF6678F8-4F85-488B-B919-FA7E2EC6DABC}" dt="2023-10-15T13:20:50.635" v="6504" actId="1076"/>
          <ac:picMkLst>
            <pc:docMk/>
            <pc:sldMk cId="1332053118" sldId="340"/>
            <ac:picMk id="47" creationId="{FB151FE2-D91E-CFE4-6481-AF45C2B1EE5E}"/>
          </ac:picMkLst>
        </pc:picChg>
        <pc:picChg chg="add mod">
          <ac:chgData name="KevCla12" userId="ef2eb634-4620-450f-93cc-80cc93397e60" providerId="ADAL" clId="{DF6678F8-4F85-488B-B919-FA7E2EC6DABC}" dt="2023-10-15T13:20:50.635" v="6504" actId="1076"/>
          <ac:picMkLst>
            <pc:docMk/>
            <pc:sldMk cId="1332053118" sldId="340"/>
            <ac:picMk id="48" creationId="{9BD85DDF-12FB-DBB2-DDFF-FF6BFBE3388C}"/>
          </ac:picMkLst>
        </pc:picChg>
        <pc:picChg chg="add mod">
          <ac:chgData name="KevCla12" userId="ef2eb634-4620-450f-93cc-80cc93397e60" providerId="ADAL" clId="{DF6678F8-4F85-488B-B919-FA7E2EC6DABC}" dt="2023-10-15T13:19:25.150" v="6494" actId="571"/>
          <ac:picMkLst>
            <pc:docMk/>
            <pc:sldMk cId="1332053118" sldId="340"/>
            <ac:picMk id="49" creationId="{3F8DDADF-9D41-1A7C-EC7D-EC6CB5D7BC9C}"/>
          </ac:picMkLst>
        </pc:picChg>
        <pc:picChg chg="add mod">
          <ac:chgData name="KevCla12" userId="ef2eb634-4620-450f-93cc-80cc93397e60" providerId="ADAL" clId="{DF6678F8-4F85-488B-B919-FA7E2EC6DABC}" dt="2023-10-15T13:19:25.150" v="6494" actId="571"/>
          <ac:picMkLst>
            <pc:docMk/>
            <pc:sldMk cId="1332053118" sldId="340"/>
            <ac:picMk id="50" creationId="{270882CE-B107-C453-B935-0F111E37B71D}"/>
          </ac:picMkLst>
        </pc:picChg>
        <pc:picChg chg="add mod">
          <ac:chgData name="KevCla12" userId="ef2eb634-4620-450f-93cc-80cc93397e60" providerId="ADAL" clId="{DF6678F8-4F85-488B-B919-FA7E2EC6DABC}" dt="2023-10-15T13:19:25.150" v="6494" actId="571"/>
          <ac:picMkLst>
            <pc:docMk/>
            <pc:sldMk cId="1332053118" sldId="340"/>
            <ac:picMk id="51" creationId="{FF1A1EC9-CBEB-2BEF-2273-61FD66CDB6B3}"/>
          </ac:picMkLst>
        </pc:picChg>
        <pc:picChg chg="add mod">
          <ac:chgData name="KevCla12" userId="ef2eb634-4620-450f-93cc-80cc93397e60" providerId="ADAL" clId="{DF6678F8-4F85-488B-B919-FA7E2EC6DABC}" dt="2023-10-15T13:19:25.150" v="6494" actId="571"/>
          <ac:picMkLst>
            <pc:docMk/>
            <pc:sldMk cId="1332053118" sldId="340"/>
            <ac:picMk id="52" creationId="{CF07232E-8972-323C-9BCB-E5F7E1F5465B}"/>
          </ac:picMkLst>
        </pc:picChg>
        <pc:picChg chg="add mod">
          <ac:chgData name="KevCla12" userId="ef2eb634-4620-450f-93cc-80cc93397e60" providerId="ADAL" clId="{DF6678F8-4F85-488B-B919-FA7E2EC6DABC}" dt="2023-10-15T13:19:25.150" v="6494" actId="571"/>
          <ac:picMkLst>
            <pc:docMk/>
            <pc:sldMk cId="1332053118" sldId="340"/>
            <ac:picMk id="53" creationId="{4DE57825-A76F-7A5D-7277-936C0B4E0C59}"/>
          </ac:picMkLst>
        </pc:picChg>
      </pc:sldChg>
      <pc:sldChg chg="addSp delSp modSp new add del mod ord delCm">
        <pc:chgData name="KevCla12" userId="ef2eb634-4620-450f-93cc-80cc93397e60" providerId="ADAL" clId="{DF6678F8-4F85-488B-B919-FA7E2EC6DABC}" dt="2023-10-17T14:29:03.784" v="10278"/>
        <pc:sldMkLst>
          <pc:docMk/>
          <pc:sldMk cId="1788893857" sldId="341"/>
        </pc:sldMkLst>
        <pc:spChg chg="mod">
          <ac:chgData name="KevCla12" userId="ef2eb634-4620-450f-93cc-80cc93397e60" providerId="ADAL" clId="{DF6678F8-4F85-488B-B919-FA7E2EC6DABC}" dt="2023-10-17T14:27:52.163" v="10270" actId="20577"/>
          <ac:spMkLst>
            <pc:docMk/>
            <pc:sldMk cId="1788893857" sldId="341"/>
            <ac:spMk id="2" creationId="{46A33086-A78D-6EF2-7838-E344F0218BC1}"/>
          </ac:spMkLst>
        </pc:spChg>
        <pc:spChg chg="del">
          <ac:chgData name="KevCla12" userId="ef2eb634-4620-450f-93cc-80cc93397e60" providerId="ADAL" clId="{DF6678F8-4F85-488B-B919-FA7E2EC6DABC}" dt="2023-10-15T13:31:53.490" v="7066" actId="478"/>
          <ac:spMkLst>
            <pc:docMk/>
            <pc:sldMk cId="1788893857" sldId="341"/>
            <ac:spMk id="3" creationId="{C045CBAA-F2EE-D2F6-4D88-6C1DE02E2EB8}"/>
          </ac:spMkLst>
        </pc:spChg>
        <pc:spChg chg="del">
          <ac:chgData name="KevCla12" userId="ef2eb634-4620-450f-93cc-80cc93397e60" providerId="ADAL" clId="{DF6678F8-4F85-488B-B919-FA7E2EC6DABC}" dt="2023-10-15T13:34:14.594" v="7103" actId="931"/>
          <ac:spMkLst>
            <pc:docMk/>
            <pc:sldMk cId="1788893857" sldId="341"/>
            <ac:spMk id="5" creationId="{01F82A52-63CE-CB19-22ED-ECFED6F869B3}"/>
          </ac:spMkLst>
        </pc:spChg>
        <pc:spChg chg="add del mod">
          <ac:chgData name="KevCla12" userId="ef2eb634-4620-450f-93cc-80cc93397e60" providerId="ADAL" clId="{DF6678F8-4F85-488B-B919-FA7E2EC6DABC}" dt="2023-10-15T13:33:41.812" v="7102" actId="478"/>
          <ac:spMkLst>
            <pc:docMk/>
            <pc:sldMk cId="1788893857" sldId="341"/>
            <ac:spMk id="8" creationId="{472118B5-BB21-AFC5-2316-5BF3AED71D9C}"/>
          </ac:spMkLst>
        </pc:spChg>
        <pc:spChg chg="add del mod">
          <ac:chgData name="KevCla12" userId="ef2eb634-4620-450f-93cc-80cc93397e60" providerId="ADAL" clId="{DF6678F8-4F85-488B-B919-FA7E2EC6DABC}" dt="2023-10-15T13:33:40.777" v="7101" actId="478"/>
          <ac:spMkLst>
            <pc:docMk/>
            <pc:sldMk cId="1788893857" sldId="341"/>
            <ac:spMk id="9" creationId="{1F636D00-D4C6-1DAC-965C-1DA2C67AAAD5}"/>
          </ac:spMkLst>
        </pc:spChg>
        <pc:spChg chg="add del mod">
          <ac:chgData name="KevCla12" userId="ef2eb634-4620-450f-93cc-80cc93397e60" providerId="ADAL" clId="{DF6678F8-4F85-488B-B919-FA7E2EC6DABC}" dt="2023-10-15T13:42:18.326" v="7162" actId="931"/>
          <ac:spMkLst>
            <pc:docMk/>
            <pc:sldMk cId="1788893857" sldId="341"/>
            <ac:spMk id="13" creationId="{4C17BEFD-BB16-AF30-732C-E654C0685185}"/>
          </ac:spMkLst>
        </pc:spChg>
        <pc:spChg chg="add mod">
          <ac:chgData name="KevCla12" userId="ef2eb634-4620-450f-93cc-80cc93397e60" providerId="ADAL" clId="{DF6678F8-4F85-488B-B919-FA7E2EC6DABC}" dt="2023-10-15T13:35:52.560" v="7142" actId="1037"/>
          <ac:spMkLst>
            <pc:docMk/>
            <pc:sldMk cId="1788893857" sldId="341"/>
            <ac:spMk id="15" creationId="{5BB6DB33-F5E1-2E8C-FE07-336C90C4170E}"/>
          </ac:spMkLst>
        </pc:spChg>
        <pc:spChg chg="add mod">
          <ac:chgData name="KevCla12" userId="ef2eb634-4620-450f-93cc-80cc93397e60" providerId="ADAL" clId="{DF6678F8-4F85-488B-B919-FA7E2EC6DABC}" dt="2023-10-15T13:40:23.696" v="7161" actId="14100"/>
          <ac:spMkLst>
            <pc:docMk/>
            <pc:sldMk cId="1788893857" sldId="341"/>
            <ac:spMk id="16" creationId="{350514AE-CB08-1BF5-0839-A4273F0D00D2}"/>
          </ac:spMkLst>
        </pc:spChg>
        <pc:spChg chg="add del mod">
          <ac:chgData name="KevCla12" userId="ef2eb634-4620-450f-93cc-80cc93397e60" providerId="ADAL" clId="{DF6678F8-4F85-488B-B919-FA7E2EC6DABC}" dt="2023-10-15T13:46:59.367" v="7194" actId="931"/>
          <ac:spMkLst>
            <pc:docMk/>
            <pc:sldMk cId="1788893857" sldId="341"/>
            <ac:spMk id="20" creationId="{50E776E7-D6C0-150B-FEBE-CE812D84E011}"/>
          </ac:spMkLst>
        </pc:spChg>
        <pc:spChg chg="add mod">
          <ac:chgData name="KevCla12" userId="ef2eb634-4620-450f-93cc-80cc93397e60" providerId="ADAL" clId="{DF6678F8-4F85-488B-B919-FA7E2EC6DABC}" dt="2023-10-15T13:43:10.908" v="7182" actId="20577"/>
          <ac:spMkLst>
            <pc:docMk/>
            <pc:sldMk cId="1788893857" sldId="341"/>
            <ac:spMk id="22" creationId="{670D1147-A133-6797-A392-ABF05ADF0083}"/>
          </ac:spMkLst>
        </pc:spChg>
        <pc:spChg chg="add mod">
          <ac:chgData name="KevCla12" userId="ef2eb634-4620-450f-93cc-80cc93397e60" providerId="ADAL" clId="{DF6678F8-4F85-488B-B919-FA7E2EC6DABC}" dt="2023-10-15T13:45:26.421" v="7193"/>
          <ac:spMkLst>
            <pc:docMk/>
            <pc:sldMk cId="1788893857" sldId="341"/>
            <ac:spMk id="23" creationId="{E4FEAC24-D2F2-7CC2-36AE-85C76E65A452}"/>
          </ac:spMkLst>
        </pc:spChg>
        <pc:spChg chg="add del mod">
          <ac:chgData name="KevCla12" userId="ef2eb634-4620-450f-93cc-80cc93397e60" providerId="ADAL" clId="{DF6678F8-4F85-488B-B919-FA7E2EC6DABC}" dt="2023-10-15T13:51:07.924" v="7226" actId="931"/>
          <ac:spMkLst>
            <pc:docMk/>
            <pc:sldMk cId="1788893857" sldId="341"/>
            <ac:spMk id="27" creationId="{00DD1400-65A9-6F5F-6C8A-64EAF49C95F7}"/>
          </ac:spMkLst>
        </pc:spChg>
        <pc:spChg chg="add mod">
          <ac:chgData name="KevCla12" userId="ef2eb634-4620-450f-93cc-80cc93397e60" providerId="ADAL" clId="{DF6678F8-4F85-488B-B919-FA7E2EC6DABC}" dt="2023-10-15T13:47:27.119" v="7209" actId="20577"/>
          <ac:spMkLst>
            <pc:docMk/>
            <pc:sldMk cId="1788893857" sldId="341"/>
            <ac:spMk id="29" creationId="{B91C1D3A-6E61-AA61-B84E-70347DA53AA8}"/>
          </ac:spMkLst>
        </pc:spChg>
        <pc:spChg chg="add mod">
          <ac:chgData name="KevCla12" userId="ef2eb634-4620-450f-93cc-80cc93397e60" providerId="ADAL" clId="{DF6678F8-4F85-488B-B919-FA7E2EC6DABC}" dt="2023-10-15T13:48:48.232" v="7218"/>
          <ac:spMkLst>
            <pc:docMk/>
            <pc:sldMk cId="1788893857" sldId="341"/>
            <ac:spMk id="30" creationId="{76A4D53C-6523-65C7-5A3D-92AEAD572901}"/>
          </ac:spMkLst>
        </pc:spChg>
        <pc:spChg chg="add mod">
          <ac:chgData name="KevCla12" userId="ef2eb634-4620-450f-93cc-80cc93397e60" providerId="ADAL" clId="{DF6678F8-4F85-488B-B919-FA7E2EC6DABC}" dt="2023-10-15T13:53:49.056" v="7258" actId="1035"/>
          <ac:spMkLst>
            <pc:docMk/>
            <pc:sldMk cId="1788893857" sldId="341"/>
            <ac:spMk id="32" creationId="{6C599EAE-01D8-FEFF-ED17-60F3E1A946D9}"/>
          </ac:spMkLst>
        </pc:spChg>
        <pc:spChg chg="add mod">
          <ac:chgData name="KevCla12" userId="ef2eb634-4620-450f-93cc-80cc93397e60" providerId="ADAL" clId="{DF6678F8-4F85-488B-B919-FA7E2EC6DABC}" dt="2023-10-17T14:27:41.517" v="10268" actId="20577"/>
          <ac:spMkLst>
            <pc:docMk/>
            <pc:sldMk cId="1788893857" sldId="341"/>
            <ac:spMk id="36" creationId="{74FA30C2-CA8F-D399-2FA3-932F1BDDE9C5}"/>
          </ac:spMkLst>
        </pc:spChg>
        <pc:spChg chg="add mod">
          <ac:chgData name="KevCla12" userId="ef2eb634-4620-450f-93cc-80cc93397e60" providerId="ADAL" clId="{DF6678F8-4F85-488B-B919-FA7E2EC6DABC}" dt="2023-10-15T13:53:49.056" v="7258" actId="1035"/>
          <ac:spMkLst>
            <pc:docMk/>
            <pc:sldMk cId="1788893857" sldId="341"/>
            <ac:spMk id="38" creationId="{F4DDF0B5-A659-5B70-E28E-32CE895717AB}"/>
          </ac:spMkLst>
        </pc:spChg>
        <pc:spChg chg="add del">
          <ac:chgData name="KevCla12" userId="ef2eb634-4620-450f-93cc-80cc93397e60" providerId="ADAL" clId="{DF6678F8-4F85-488B-B919-FA7E2EC6DABC}" dt="2023-10-15T13:53:20.214" v="7242"/>
          <ac:spMkLst>
            <pc:docMk/>
            <pc:sldMk cId="1788893857" sldId="341"/>
            <ac:spMk id="39" creationId="{E0F8C66F-7E38-F55D-A71C-82BE9141CFA1}"/>
          </ac:spMkLst>
        </pc:spChg>
        <pc:picChg chg="add del mod">
          <ac:chgData name="KevCla12" userId="ef2eb634-4620-450f-93cc-80cc93397e60" providerId="ADAL" clId="{DF6678F8-4F85-488B-B919-FA7E2EC6DABC}" dt="2023-10-15T13:34:17.684" v="7106" actId="21"/>
          <ac:picMkLst>
            <pc:docMk/>
            <pc:sldMk cId="1788893857" sldId="341"/>
            <ac:picMk id="11" creationId="{74CC1EF4-2293-8FD5-CE3F-66FC97E60E60}"/>
          </ac:picMkLst>
        </pc:picChg>
        <pc:picChg chg="add mod">
          <ac:chgData name="KevCla12" userId="ef2eb634-4620-450f-93cc-80cc93397e60" providerId="ADAL" clId="{DF6678F8-4F85-488B-B919-FA7E2EC6DABC}" dt="2023-10-15T13:35:46.053" v="7129" actId="207"/>
          <ac:picMkLst>
            <pc:docMk/>
            <pc:sldMk cId="1788893857" sldId="341"/>
            <ac:picMk id="14" creationId="{A1599DAD-2808-1A22-561F-CB1064F475DA}"/>
          </ac:picMkLst>
        </pc:picChg>
        <pc:picChg chg="add del mod">
          <ac:chgData name="KevCla12" userId="ef2eb634-4620-450f-93cc-80cc93397e60" providerId="ADAL" clId="{DF6678F8-4F85-488B-B919-FA7E2EC6DABC}" dt="2023-10-15T13:42:20.036" v="7163" actId="21"/>
          <ac:picMkLst>
            <pc:docMk/>
            <pc:sldMk cId="1788893857" sldId="341"/>
            <ac:picMk id="18" creationId="{F9872A50-86C1-227E-5543-3DAD920EE2D4}"/>
          </ac:picMkLst>
        </pc:picChg>
        <pc:picChg chg="add mod">
          <ac:chgData name="KevCla12" userId="ef2eb634-4620-450f-93cc-80cc93397e60" providerId="ADAL" clId="{DF6678F8-4F85-488B-B919-FA7E2EC6DABC}" dt="2023-10-15T13:43:15.019" v="7183" actId="207"/>
          <ac:picMkLst>
            <pc:docMk/>
            <pc:sldMk cId="1788893857" sldId="341"/>
            <ac:picMk id="21" creationId="{FC446F63-F516-E4A3-6792-D67B2E14CDBC}"/>
          </ac:picMkLst>
        </pc:picChg>
        <pc:picChg chg="add del mod">
          <ac:chgData name="KevCla12" userId="ef2eb634-4620-450f-93cc-80cc93397e60" providerId="ADAL" clId="{DF6678F8-4F85-488B-B919-FA7E2EC6DABC}" dt="2023-10-15T13:47:00.094" v="7195" actId="21"/>
          <ac:picMkLst>
            <pc:docMk/>
            <pc:sldMk cId="1788893857" sldId="341"/>
            <ac:picMk id="25" creationId="{72FEFAF2-5ACF-AA23-6CF4-96F1BD350745}"/>
          </ac:picMkLst>
        </pc:picChg>
        <pc:picChg chg="add mod">
          <ac:chgData name="KevCla12" userId="ef2eb634-4620-450f-93cc-80cc93397e60" providerId="ADAL" clId="{DF6678F8-4F85-488B-B919-FA7E2EC6DABC}" dt="2023-10-15T13:47:30.886" v="7210" actId="207"/>
          <ac:picMkLst>
            <pc:docMk/>
            <pc:sldMk cId="1788893857" sldId="341"/>
            <ac:picMk id="28" creationId="{F889122E-DD51-4F6D-E692-1DCC0C9EC9BD}"/>
          </ac:picMkLst>
        </pc:picChg>
        <pc:picChg chg="add del mod">
          <ac:chgData name="KevCla12" userId="ef2eb634-4620-450f-93cc-80cc93397e60" providerId="ADAL" clId="{DF6678F8-4F85-488B-B919-FA7E2EC6DABC}" dt="2023-10-15T13:51:15.852" v="7232" actId="478"/>
          <ac:picMkLst>
            <pc:docMk/>
            <pc:sldMk cId="1788893857" sldId="341"/>
            <ac:picMk id="31" creationId="{F376F494-8805-9E8F-232F-75B271D9D181}"/>
          </ac:picMkLst>
        </pc:picChg>
        <pc:picChg chg="add del mod">
          <ac:chgData name="KevCla12" userId="ef2eb634-4620-450f-93cc-80cc93397e60" providerId="ADAL" clId="{DF6678F8-4F85-488B-B919-FA7E2EC6DABC}" dt="2023-10-15T13:51:08.818" v="7227" actId="21"/>
          <ac:picMkLst>
            <pc:docMk/>
            <pc:sldMk cId="1788893857" sldId="341"/>
            <ac:picMk id="34" creationId="{0218C426-3584-C2B9-4B78-47C20E59A795}"/>
          </ac:picMkLst>
        </pc:picChg>
        <pc:picChg chg="add mod">
          <ac:chgData name="KevCla12" userId="ef2eb634-4620-450f-93cc-80cc93397e60" providerId="ADAL" clId="{DF6678F8-4F85-488B-B919-FA7E2EC6DABC}" dt="2023-10-15T13:53:49.056" v="7258" actId="1035"/>
          <ac:picMkLst>
            <pc:docMk/>
            <pc:sldMk cId="1788893857" sldId="341"/>
            <ac:picMk id="37" creationId="{08B4C8B9-3823-EF58-98BD-07490C333E5A}"/>
          </ac:picMkLst>
        </pc:picChg>
        <pc:extLst>
          <p:ext xmlns:p="http://schemas.openxmlformats.org/presentationml/2006/main" uri="{D6D511B9-2390-475A-947B-AFAB55BFBCF1}">
            <pc226:cmChg xmlns:pc226="http://schemas.microsoft.com/office/powerpoint/2022/06/main/command" chg="del">
              <pc226:chgData name="KevCla12" userId="ef2eb634-4620-450f-93cc-80cc93397e60" providerId="ADAL" clId="{DF6678F8-4F85-488B-B919-FA7E2EC6DABC}" dt="2023-10-17T14:29:03.784" v="10278"/>
              <pc2:cmMkLst xmlns:pc2="http://schemas.microsoft.com/office/powerpoint/2019/9/main/command">
                <pc:docMk/>
                <pc:sldMk cId="1788893857" sldId="341"/>
                <pc2:cmMk id="{9CBE3D80-16AE-4ACE-B7C6-9F4C9C89591D}"/>
              </pc2:cmMkLst>
            </pc226:cmChg>
          </p:ext>
        </pc:extLst>
      </pc:sldChg>
      <pc:sldChg chg="addSp delSp modSp new mod ord">
        <pc:chgData name="KevCla12" userId="ef2eb634-4620-450f-93cc-80cc93397e60" providerId="ADAL" clId="{DF6678F8-4F85-488B-B919-FA7E2EC6DABC}" dt="2023-10-17T14:31:17.686" v="10346"/>
        <pc:sldMkLst>
          <pc:docMk/>
          <pc:sldMk cId="2694165896" sldId="342"/>
        </pc:sldMkLst>
        <pc:spChg chg="add del">
          <ac:chgData name="KevCla12" userId="ef2eb634-4620-450f-93cc-80cc93397e60" providerId="ADAL" clId="{DF6678F8-4F85-488B-B919-FA7E2EC6DABC}" dt="2023-10-16T16:25:08.574" v="8657" actId="478"/>
          <ac:spMkLst>
            <pc:docMk/>
            <pc:sldMk cId="2694165896" sldId="342"/>
            <ac:spMk id="2" creationId="{58C30D8E-574E-9CB2-3BDE-2E2B5FEC879F}"/>
          </ac:spMkLst>
        </pc:spChg>
        <pc:spChg chg="add mod">
          <ac:chgData name="KevCla12" userId="ef2eb634-4620-450f-93cc-80cc93397e60" providerId="ADAL" clId="{DF6678F8-4F85-488B-B919-FA7E2EC6DABC}" dt="2023-10-16T16:43:59.810" v="8974"/>
          <ac:spMkLst>
            <pc:docMk/>
            <pc:sldMk cId="2694165896" sldId="342"/>
            <ac:spMk id="2" creationId="{EA58B990-26AB-4B67-C555-3DD8BB8BBEC1}"/>
          </ac:spMkLst>
        </pc:spChg>
        <pc:spChg chg="add mod">
          <ac:chgData name="KevCla12" userId="ef2eb634-4620-450f-93cc-80cc93397e60" providerId="ADAL" clId="{DF6678F8-4F85-488B-B919-FA7E2EC6DABC}" dt="2023-10-16T16:44:05.170" v="8976"/>
          <ac:spMkLst>
            <pc:docMk/>
            <pc:sldMk cId="2694165896" sldId="342"/>
            <ac:spMk id="3" creationId="{048B6F07-E4F0-2C26-5B74-373EDB36417F}"/>
          </ac:spMkLst>
        </pc:spChg>
        <pc:spChg chg="add del mod">
          <ac:chgData name="KevCla12" userId="ef2eb634-4620-450f-93cc-80cc93397e60" providerId="ADAL" clId="{DF6678F8-4F85-488B-B919-FA7E2EC6DABC}" dt="2023-10-16T16:25:05.068" v="8656" actId="478"/>
          <ac:spMkLst>
            <pc:docMk/>
            <pc:sldMk cId="2694165896" sldId="342"/>
            <ac:spMk id="3" creationId="{9A468AC2-4695-BD07-3BBE-A981875CD76C}"/>
          </ac:spMkLst>
        </pc:spChg>
        <pc:spChg chg="add del mod">
          <ac:chgData name="KevCla12" userId="ef2eb634-4620-450f-93cc-80cc93397e60" providerId="ADAL" clId="{DF6678F8-4F85-488B-B919-FA7E2EC6DABC}" dt="2023-10-17T14:06:40.343" v="9406" actId="20577"/>
          <ac:spMkLst>
            <pc:docMk/>
            <pc:sldMk cId="2694165896" sldId="342"/>
            <ac:spMk id="5" creationId="{186E442E-C397-6393-26E4-4E6D2E02B294}"/>
          </ac:spMkLst>
        </pc:spChg>
        <pc:spChg chg="add mod">
          <ac:chgData name="KevCla12" userId="ef2eb634-4620-450f-93cc-80cc93397e60" providerId="ADAL" clId="{DF6678F8-4F85-488B-B919-FA7E2EC6DABC}" dt="2023-10-16T16:44:05.170" v="8976"/>
          <ac:spMkLst>
            <pc:docMk/>
            <pc:sldMk cId="2694165896" sldId="342"/>
            <ac:spMk id="8" creationId="{EC23DB57-A8AC-71EE-98AD-7C6BEABDBEC8}"/>
          </ac:spMkLst>
        </pc:spChg>
        <pc:spChg chg="add del mod">
          <ac:chgData name="KevCla12" userId="ef2eb634-4620-450f-93cc-80cc93397e60" providerId="ADAL" clId="{DF6678F8-4F85-488B-B919-FA7E2EC6DABC}" dt="2023-10-16T16:25:09.516" v="8658" actId="478"/>
          <ac:spMkLst>
            <pc:docMk/>
            <pc:sldMk cId="2694165896" sldId="342"/>
            <ac:spMk id="9" creationId="{EFAE2368-724F-BCA1-78E5-4302E611997A}"/>
          </ac:spMkLst>
        </pc:spChg>
        <pc:spChg chg="add mod">
          <ac:chgData name="KevCla12" userId="ef2eb634-4620-450f-93cc-80cc93397e60" providerId="ADAL" clId="{DF6678F8-4F85-488B-B919-FA7E2EC6DABC}" dt="2023-10-16T16:25:50.126" v="8660" actId="1076"/>
          <ac:spMkLst>
            <pc:docMk/>
            <pc:sldMk cId="2694165896" sldId="342"/>
            <ac:spMk id="10" creationId="{7EBCBCFC-CB40-CF4C-8C68-1BBBE79E6511}"/>
          </ac:spMkLst>
        </pc:spChg>
        <pc:spChg chg="add mod">
          <ac:chgData name="KevCla12" userId="ef2eb634-4620-450f-93cc-80cc93397e60" providerId="ADAL" clId="{DF6678F8-4F85-488B-B919-FA7E2EC6DABC}" dt="2023-10-16T16:27:02.395" v="8858" actId="1035"/>
          <ac:spMkLst>
            <pc:docMk/>
            <pc:sldMk cId="2694165896" sldId="342"/>
            <ac:spMk id="11" creationId="{0D5DCFB5-2831-4C4B-634F-D73A1D00CA41}"/>
          </ac:spMkLst>
        </pc:spChg>
        <pc:spChg chg="add del mod">
          <ac:chgData name="KevCla12" userId="ef2eb634-4620-450f-93cc-80cc93397e60" providerId="ADAL" clId="{DF6678F8-4F85-488B-B919-FA7E2EC6DABC}" dt="2023-10-15T20:08:22.962" v="8230" actId="21"/>
          <ac:spMkLst>
            <pc:docMk/>
            <pc:sldMk cId="2694165896" sldId="342"/>
            <ac:spMk id="11" creationId="{9524B50B-1895-7E7C-4BAF-D7823C80001C}"/>
          </ac:spMkLst>
        </pc:spChg>
        <pc:spChg chg="add mod">
          <ac:chgData name="KevCla12" userId="ef2eb634-4620-450f-93cc-80cc93397e60" providerId="ADAL" clId="{DF6678F8-4F85-488B-B919-FA7E2EC6DABC}" dt="2023-10-16T16:25:50.126" v="8660" actId="1076"/>
          <ac:spMkLst>
            <pc:docMk/>
            <pc:sldMk cId="2694165896" sldId="342"/>
            <ac:spMk id="12" creationId="{8D5FCF5D-E16A-4061-5C06-EE5C66332103}"/>
          </ac:spMkLst>
        </pc:spChg>
        <pc:spChg chg="add mod">
          <ac:chgData name="KevCla12" userId="ef2eb634-4620-450f-93cc-80cc93397e60" providerId="ADAL" clId="{DF6678F8-4F85-488B-B919-FA7E2EC6DABC}" dt="2023-10-16T16:27:02.395" v="8858" actId="1035"/>
          <ac:spMkLst>
            <pc:docMk/>
            <pc:sldMk cId="2694165896" sldId="342"/>
            <ac:spMk id="13" creationId="{788C2C11-1C63-9311-A56D-4F4453F59E89}"/>
          </ac:spMkLst>
        </pc:spChg>
        <pc:spChg chg="add mod">
          <ac:chgData name="KevCla12" userId="ef2eb634-4620-450f-93cc-80cc93397e60" providerId="ADAL" clId="{DF6678F8-4F85-488B-B919-FA7E2EC6DABC}" dt="2023-10-16T16:26:55.566" v="8844" actId="14100"/>
          <ac:spMkLst>
            <pc:docMk/>
            <pc:sldMk cId="2694165896" sldId="342"/>
            <ac:spMk id="16" creationId="{E0206C53-D0C2-485F-589A-FEC039175383}"/>
          </ac:spMkLst>
        </pc:spChg>
        <pc:spChg chg="add mod">
          <ac:chgData name="KevCla12" userId="ef2eb634-4620-450f-93cc-80cc93397e60" providerId="ADAL" clId="{DF6678F8-4F85-488B-B919-FA7E2EC6DABC}" dt="2023-10-16T16:27:42.891" v="8894"/>
          <ac:spMkLst>
            <pc:docMk/>
            <pc:sldMk cId="2694165896" sldId="342"/>
            <ac:spMk id="17" creationId="{2FE4A06B-5E8D-D8B7-76B9-AD24FD41BDCF}"/>
          </ac:spMkLst>
        </pc:spChg>
        <pc:spChg chg="add mod">
          <ac:chgData name="KevCla12" userId="ef2eb634-4620-450f-93cc-80cc93397e60" providerId="ADAL" clId="{DF6678F8-4F85-488B-B919-FA7E2EC6DABC}" dt="2023-10-16T16:44:08.427" v="8978" actId="1076"/>
          <ac:spMkLst>
            <pc:docMk/>
            <pc:sldMk cId="2694165896" sldId="342"/>
            <ac:spMk id="18" creationId="{5272F7DD-493F-4640-E8DE-D9E7774B5968}"/>
          </ac:spMkLst>
        </pc:spChg>
        <pc:spChg chg="add mod">
          <ac:chgData name="KevCla12" userId="ef2eb634-4620-450f-93cc-80cc93397e60" providerId="ADAL" clId="{DF6678F8-4F85-488B-B919-FA7E2EC6DABC}" dt="2023-10-16T16:44:15.519" v="8999" actId="20577"/>
          <ac:spMkLst>
            <pc:docMk/>
            <pc:sldMk cId="2694165896" sldId="342"/>
            <ac:spMk id="19" creationId="{AC2391AC-1309-9F13-4C8A-73245C7F545B}"/>
          </ac:spMkLst>
        </pc:spChg>
        <pc:graphicFrameChg chg="add del mod">
          <ac:chgData name="KevCla12" userId="ef2eb634-4620-450f-93cc-80cc93397e60" providerId="ADAL" clId="{DF6678F8-4F85-488B-B919-FA7E2EC6DABC}" dt="2023-10-15T19:40:58.657" v="8208"/>
          <ac:graphicFrameMkLst>
            <pc:docMk/>
            <pc:sldMk cId="2694165896" sldId="342"/>
            <ac:graphicFrameMk id="8" creationId="{DBC4D055-FE28-7CC3-A41A-45583905F79E}"/>
          </ac:graphicFrameMkLst>
        </pc:graphicFrameChg>
        <pc:graphicFrameChg chg="add del mod">
          <ac:chgData name="KevCla12" userId="ef2eb634-4620-450f-93cc-80cc93397e60" providerId="ADAL" clId="{DF6678F8-4F85-488B-B919-FA7E2EC6DABC}" dt="2023-10-15T20:08:23.494" v="8231"/>
          <ac:graphicFrameMkLst>
            <pc:docMk/>
            <pc:sldMk cId="2694165896" sldId="342"/>
            <ac:graphicFrameMk id="9" creationId="{31160389-5504-10A3-2ABF-E5F5A936306A}"/>
          </ac:graphicFrameMkLst>
        </pc:graphicFrameChg>
        <pc:graphicFrameChg chg="add del mod">
          <ac:chgData name="KevCla12" userId="ef2eb634-4620-450f-93cc-80cc93397e60" providerId="ADAL" clId="{DF6678F8-4F85-488B-B919-FA7E2EC6DABC}" dt="2023-10-15T20:08:22.498" v="8229"/>
          <ac:graphicFrameMkLst>
            <pc:docMk/>
            <pc:sldMk cId="2694165896" sldId="342"/>
            <ac:graphicFrameMk id="12" creationId="{F1891534-EF55-6304-4A4B-1A660A6A8834}"/>
          </ac:graphicFrameMkLst>
        </pc:graphicFrameChg>
        <pc:picChg chg="add mod">
          <ac:chgData name="KevCla12" userId="ef2eb634-4620-450f-93cc-80cc93397e60" providerId="ADAL" clId="{DF6678F8-4F85-488B-B919-FA7E2EC6DABC}" dt="2023-10-16T16:44:05.170" v="8976"/>
          <ac:picMkLst>
            <pc:docMk/>
            <pc:sldMk cId="2694165896" sldId="342"/>
            <ac:picMk id="9" creationId="{F1AD2172-3D82-24A7-DA81-6B6616DB16B7}"/>
          </ac:picMkLst>
        </pc:picChg>
        <pc:picChg chg="add mod">
          <ac:chgData name="KevCla12" userId="ef2eb634-4620-450f-93cc-80cc93397e60" providerId="ADAL" clId="{DF6678F8-4F85-488B-B919-FA7E2EC6DABC}" dt="2023-10-16T16:25:50.126" v="8660" actId="1076"/>
          <ac:picMkLst>
            <pc:docMk/>
            <pc:sldMk cId="2694165896" sldId="342"/>
            <ac:picMk id="14" creationId="{DE071E10-0678-5FC6-6BDD-669817460417}"/>
          </ac:picMkLst>
        </pc:picChg>
        <pc:picChg chg="add mod">
          <ac:chgData name="KevCla12" userId="ef2eb634-4620-450f-93cc-80cc93397e60" providerId="ADAL" clId="{DF6678F8-4F85-488B-B919-FA7E2EC6DABC}" dt="2023-10-16T16:27:02.395" v="8858" actId="1035"/>
          <ac:picMkLst>
            <pc:docMk/>
            <pc:sldMk cId="2694165896" sldId="342"/>
            <ac:picMk id="15" creationId="{B2BE6BD2-BABC-9A3A-FBEC-C7D2325B873B}"/>
          </ac:picMkLst>
        </pc:picChg>
        <pc:picChg chg="add mod">
          <ac:chgData name="KevCla12" userId="ef2eb634-4620-450f-93cc-80cc93397e60" providerId="ADAL" clId="{DF6678F8-4F85-488B-B919-FA7E2EC6DABC}" dt="2023-10-16T16:44:08.427" v="8978" actId="1076"/>
          <ac:picMkLst>
            <pc:docMk/>
            <pc:sldMk cId="2694165896" sldId="342"/>
            <ac:picMk id="20" creationId="{773B982B-1AC4-DFDB-2453-73049FEEB5D7}"/>
          </ac:picMkLst>
        </pc:picChg>
      </pc:sldChg>
      <pc:sldChg chg="addSp delSp modSp new mod ord">
        <pc:chgData name="KevCla12" userId="ef2eb634-4620-450f-93cc-80cc93397e60" providerId="ADAL" clId="{DF6678F8-4F85-488B-B919-FA7E2EC6DABC}" dt="2023-10-17T14:30:24.702" v="10290"/>
        <pc:sldMkLst>
          <pc:docMk/>
          <pc:sldMk cId="193878591" sldId="343"/>
        </pc:sldMkLst>
        <pc:spChg chg="del">
          <ac:chgData name="KevCla12" userId="ef2eb634-4620-450f-93cc-80cc93397e60" providerId="ADAL" clId="{DF6678F8-4F85-488B-B919-FA7E2EC6DABC}" dt="2023-10-15T19:10:35.300" v="7626" actId="478"/>
          <ac:spMkLst>
            <pc:docMk/>
            <pc:sldMk cId="193878591" sldId="343"/>
            <ac:spMk id="2" creationId="{D57E5A0B-5657-853B-E963-A393D811CB91}"/>
          </ac:spMkLst>
        </pc:spChg>
        <pc:spChg chg="del">
          <ac:chgData name="KevCla12" userId="ef2eb634-4620-450f-93cc-80cc93397e60" providerId="ADAL" clId="{DF6678F8-4F85-488B-B919-FA7E2EC6DABC}" dt="2023-10-15T19:10:36.617" v="7627" actId="478"/>
          <ac:spMkLst>
            <pc:docMk/>
            <pc:sldMk cId="193878591" sldId="343"/>
            <ac:spMk id="3" creationId="{E86B827C-7FD6-35BC-0B5C-C0EDB9B74AC8}"/>
          </ac:spMkLst>
        </pc:spChg>
        <pc:spChg chg="mod">
          <ac:chgData name="KevCla12" userId="ef2eb634-4620-450f-93cc-80cc93397e60" providerId="ADAL" clId="{DF6678F8-4F85-488B-B919-FA7E2EC6DABC}" dt="2023-10-15T19:18:27.534" v="8120" actId="20577"/>
          <ac:spMkLst>
            <pc:docMk/>
            <pc:sldMk cId="193878591" sldId="343"/>
            <ac:spMk id="5" creationId="{F6D68206-FC39-2E95-69EB-038B105B2139}"/>
          </ac:spMkLst>
        </pc:spChg>
        <pc:spChg chg="add mod">
          <ac:chgData name="KevCla12" userId="ef2eb634-4620-450f-93cc-80cc93397e60" providerId="ADAL" clId="{DF6678F8-4F85-488B-B919-FA7E2EC6DABC}" dt="2023-10-15T19:19:24.587" v="8130" actId="20577"/>
          <ac:spMkLst>
            <pc:docMk/>
            <pc:sldMk cId="193878591" sldId="343"/>
            <ac:spMk id="8" creationId="{D72EF777-7453-4D56-E37C-470AE7412B8E}"/>
          </ac:spMkLst>
        </pc:spChg>
        <pc:spChg chg="add mod">
          <ac:chgData name="KevCla12" userId="ef2eb634-4620-450f-93cc-80cc93397e60" providerId="ADAL" clId="{DF6678F8-4F85-488B-B919-FA7E2EC6DABC}" dt="2023-10-15T19:18:16.675" v="8105" actId="1076"/>
          <ac:spMkLst>
            <pc:docMk/>
            <pc:sldMk cId="193878591" sldId="343"/>
            <ac:spMk id="9" creationId="{37FFE0C9-7BB6-4505-F3EF-BB1A2919878B}"/>
          </ac:spMkLst>
        </pc:spChg>
        <pc:spChg chg="add mod">
          <ac:chgData name="KevCla12" userId="ef2eb634-4620-450f-93cc-80cc93397e60" providerId="ADAL" clId="{DF6678F8-4F85-488B-B919-FA7E2EC6DABC}" dt="2023-10-15T19:18:16.675" v="8105" actId="1076"/>
          <ac:spMkLst>
            <pc:docMk/>
            <pc:sldMk cId="193878591" sldId="343"/>
            <ac:spMk id="10" creationId="{355E577B-6791-F0EE-279F-E5240383DEF1}"/>
          </ac:spMkLst>
        </pc:spChg>
        <pc:spChg chg="add mod">
          <ac:chgData name="KevCla12" userId="ef2eb634-4620-450f-93cc-80cc93397e60" providerId="ADAL" clId="{DF6678F8-4F85-488B-B919-FA7E2EC6DABC}" dt="2023-10-15T19:18:12.316" v="8104" actId="1076"/>
          <ac:spMkLst>
            <pc:docMk/>
            <pc:sldMk cId="193878591" sldId="343"/>
            <ac:spMk id="11" creationId="{AC2310A0-957E-08B8-668F-AED7A686FE99}"/>
          </ac:spMkLst>
        </pc:spChg>
        <pc:spChg chg="add mod">
          <ac:chgData name="KevCla12" userId="ef2eb634-4620-450f-93cc-80cc93397e60" providerId="ADAL" clId="{DF6678F8-4F85-488B-B919-FA7E2EC6DABC}" dt="2023-10-15T19:18:12.316" v="8104" actId="1076"/>
          <ac:spMkLst>
            <pc:docMk/>
            <pc:sldMk cId="193878591" sldId="343"/>
            <ac:spMk id="12" creationId="{94144D5B-9452-20FD-63CC-388F2682351A}"/>
          </ac:spMkLst>
        </pc:spChg>
        <pc:spChg chg="add mod">
          <ac:chgData name="KevCla12" userId="ef2eb634-4620-450f-93cc-80cc93397e60" providerId="ADAL" clId="{DF6678F8-4F85-488B-B919-FA7E2EC6DABC}" dt="2023-10-15T19:15:42.790" v="7823" actId="120"/>
          <ac:spMkLst>
            <pc:docMk/>
            <pc:sldMk cId="193878591" sldId="343"/>
            <ac:spMk id="13" creationId="{50A6587F-404B-2D05-76D5-CB831C044C2D}"/>
          </ac:spMkLst>
        </pc:spChg>
        <pc:spChg chg="add mod">
          <ac:chgData name="KevCla12" userId="ef2eb634-4620-450f-93cc-80cc93397e60" providerId="ADAL" clId="{DF6678F8-4F85-488B-B919-FA7E2EC6DABC}" dt="2023-10-15T19:16:26.936" v="7911" actId="5793"/>
          <ac:spMkLst>
            <pc:docMk/>
            <pc:sldMk cId="193878591" sldId="343"/>
            <ac:spMk id="16" creationId="{77FFA90A-F52B-63E3-0179-7143AAFB1145}"/>
          </ac:spMkLst>
        </pc:spChg>
        <pc:spChg chg="add del mod">
          <ac:chgData name="KevCla12" userId="ef2eb634-4620-450f-93cc-80cc93397e60" providerId="ADAL" clId="{DF6678F8-4F85-488B-B919-FA7E2EC6DABC}" dt="2023-10-15T19:16:10.126" v="7860" actId="478"/>
          <ac:spMkLst>
            <pc:docMk/>
            <pc:sldMk cId="193878591" sldId="343"/>
            <ac:spMk id="17" creationId="{A65D4CB0-D670-68CF-AE4B-11458D56D26A}"/>
          </ac:spMkLst>
        </pc:spChg>
        <pc:spChg chg="add mod">
          <ac:chgData name="KevCla12" userId="ef2eb634-4620-450f-93cc-80cc93397e60" providerId="ADAL" clId="{DF6678F8-4F85-488B-B919-FA7E2EC6DABC}" dt="2023-10-15T19:16:35.686" v="7927" actId="20577"/>
          <ac:spMkLst>
            <pc:docMk/>
            <pc:sldMk cId="193878591" sldId="343"/>
            <ac:spMk id="18" creationId="{0CF678AA-CEB5-DEC8-7DEE-F5FD3C70EA4D}"/>
          </ac:spMkLst>
        </pc:spChg>
        <pc:spChg chg="add mod">
          <ac:chgData name="KevCla12" userId="ef2eb634-4620-450f-93cc-80cc93397e60" providerId="ADAL" clId="{DF6678F8-4F85-488B-B919-FA7E2EC6DABC}" dt="2023-10-15T19:17:12.567" v="8015" actId="14100"/>
          <ac:spMkLst>
            <pc:docMk/>
            <pc:sldMk cId="193878591" sldId="343"/>
            <ac:spMk id="19" creationId="{8D231CE6-26BE-D6D4-D016-3E2F96F8BA41}"/>
          </ac:spMkLst>
        </pc:spChg>
        <pc:spChg chg="add mod">
          <ac:chgData name="KevCla12" userId="ef2eb634-4620-450f-93cc-80cc93397e60" providerId="ADAL" clId="{DF6678F8-4F85-488B-B919-FA7E2EC6DABC}" dt="2023-10-15T19:17:10.159" v="8014" actId="571"/>
          <ac:spMkLst>
            <pc:docMk/>
            <pc:sldMk cId="193878591" sldId="343"/>
            <ac:spMk id="20" creationId="{3AE1B0A7-7305-E0A5-D04F-FCF7329173BD}"/>
          </ac:spMkLst>
        </pc:spChg>
        <pc:spChg chg="add mod">
          <ac:chgData name="KevCla12" userId="ef2eb634-4620-450f-93cc-80cc93397e60" providerId="ADAL" clId="{DF6678F8-4F85-488B-B919-FA7E2EC6DABC}" dt="2023-10-15T19:17:31.921" v="8040" actId="14100"/>
          <ac:spMkLst>
            <pc:docMk/>
            <pc:sldMk cId="193878591" sldId="343"/>
            <ac:spMk id="21" creationId="{27957A73-49CB-B59B-CCF9-1B0DA0FF84C5}"/>
          </ac:spMkLst>
        </pc:spChg>
        <pc:spChg chg="add mod">
          <ac:chgData name="KevCla12" userId="ef2eb634-4620-450f-93cc-80cc93397e60" providerId="ADAL" clId="{DF6678F8-4F85-488B-B919-FA7E2EC6DABC}" dt="2023-10-15T19:17:59.086" v="8103" actId="20577"/>
          <ac:spMkLst>
            <pc:docMk/>
            <pc:sldMk cId="193878591" sldId="343"/>
            <ac:spMk id="22" creationId="{C6C0258C-ED8A-C910-54C1-B67697C93575}"/>
          </ac:spMkLst>
        </pc:spChg>
        <pc:cxnChg chg="add mod">
          <ac:chgData name="KevCla12" userId="ef2eb634-4620-450f-93cc-80cc93397e60" providerId="ADAL" clId="{DF6678F8-4F85-488B-B919-FA7E2EC6DABC}" dt="2023-10-15T19:15:00.210" v="7815" actId="14100"/>
          <ac:cxnSpMkLst>
            <pc:docMk/>
            <pc:sldMk cId="193878591" sldId="343"/>
            <ac:cxnSpMk id="14" creationId="{F531D5BB-DD9F-26F9-B49B-3CE1076764FD}"/>
          </ac:cxnSpMkLst>
        </pc:cxnChg>
      </pc:sldChg>
      <pc:sldChg chg="modSp add mod ord">
        <pc:chgData name="KevCla12" userId="ef2eb634-4620-450f-93cc-80cc93397e60" providerId="ADAL" clId="{DF6678F8-4F85-488B-B919-FA7E2EC6DABC}" dt="2023-10-17T14:30:24.702" v="10290"/>
        <pc:sldMkLst>
          <pc:docMk/>
          <pc:sldMk cId="2894647059" sldId="344"/>
        </pc:sldMkLst>
        <pc:spChg chg="mod">
          <ac:chgData name="KevCla12" userId="ef2eb634-4620-450f-93cc-80cc93397e60" providerId="ADAL" clId="{DF6678F8-4F85-488B-B919-FA7E2EC6DABC}" dt="2023-10-15T19:19:28.767" v="8134" actId="20577"/>
          <ac:spMkLst>
            <pc:docMk/>
            <pc:sldMk cId="2894647059" sldId="344"/>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458860339" sldId="345"/>
        </pc:sldMkLst>
        <pc:spChg chg="mod">
          <ac:chgData name="KevCla12" userId="ef2eb634-4620-450f-93cc-80cc93397e60" providerId="ADAL" clId="{DF6678F8-4F85-488B-B919-FA7E2EC6DABC}" dt="2023-10-15T19:19:31.586" v="8138" actId="20577"/>
          <ac:spMkLst>
            <pc:docMk/>
            <pc:sldMk cId="458860339" sldId="345"/>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223838157" sldId="346"/>
        </pc:sldMkLst>
        <pc:spChg chg="mod">
          <ac:chgData name="KevCla12" userId="ef2eb634-4620-450f-93cc-80cc93397e60" providerId="ADAL" clId="{DF6678F8-4F85-488B-B919-FA7E2EC6DABC}" dt="2023-10-15T19:19:36.118" v="8142" actId="20577"/>
          <ac:spMkLst>
            <pc:docMk/>
            <pc:sldMk cId="223838157" sldId="346"/>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859148925" sldId="347"/>
        </pc:sldMkLst>
        <pc:spChg chg="mod">
          <ac:chgData name="KevCla12" userId="ef2eb634-4620-450f-93cc-80cc93397e60" providerId="ADAL" clId="{DF6678F8-4F85-488B-B919-FA7E2EC6DABC}" dt="2023-10-15T19:19:39.875" v="8146" actId="20577"/>
          <ac:spMkLst>
            <pc:docMk/>
            <pc:sldMk cId="859148925" sldId="347"/>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1463427970" sldId="348"/>
        </pc:sldMkLst>
        <pc:spChg chg="mod">
          <ac:chgData name="KevCla12" userId="ef2eb634-4620-450f-93cc-80cc93397e60" providerId="ADAL" clId="{DF6678F8-4F85-488B-B919-FA7E2EC6DABC}" dt="2023-10-15T19:19:43.609" v="8150" actId="20577"/>
          <ac:spMkLst>
            <pc:docMk/>
            <pc:sldMk cId="1463427970" sldId="348"/>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2373289674" sldId="349"/>
        </pc:sldMkLst>
        <pc:spChg chg="mod">
          <ac:chgData name="KevCla12" userId="ef2eb634-4620-450f-93cc-80cc93397e60" providerId="ADAL" clId="{DF6678F8-4F85-488B-B919-FA7E2EC6DABC}" dt="2023-10-15T19:19:46.904" v="8154" actId="20577"/>
          <ac:spMkLst>
            <pc:docMk/>
            <pc:sldMk cId="2373289674" sldId="349"/>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1007233819" sldId="350"/>
        </pc:sldMkLst>
        <pc:spChg chg="mod">
          <ac:chgData name="KevCla12" userId="ef2eb634-4620-450f-93cc-80cc93397e60" providerId="ADAL" clId="{DF6678F8-4F85-488B-B919-FA7E2EC6DABC}" dt="2023-10-15T19:20:19.832" v="8167" actId="20577"/>
          <ac:spMkLst>
            <pc:docMk/>
            <pc:sldMk cId="1007233819" sldId="350"/>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1311231526" sldId="351"/>
        </pc:sldMkLst>
        <pc:spChg chg="mod">
          <ac:chgData name="KevCla12" userId="ef2eb634-4620-450f-93cc-80cc93397e60" providerId="ADAL" clId="{DF6678F8-4F85-488B-B919-FA7E2EC6DABC}" dt="2023-10-15T19:20:23.857" v="8169" actId="20577"/>
          <ac:spMkLst>
            <pc:docMk/>
            <pc:sldMk cId="1311231526" sldId="351"/>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3667809533" sldId="352"/>
        </pc:sldMkLst>
        <pc:spChg chg="mod">
          <ac:chgData name="KevCla12" userId="ef2eb634-4620-450f-93cc-80cc93397e60" providerId="ADAL" clId="{DF6678F8-4F85-488B-B919-FA7E2EC6DABC}" dt="2023-10-15T19:20:27.102" v="8172" actId="20577"/>
          <ac:spMkLst>
            <pc:docMk/>
            <pc:sldMk cId="3667809533" sldId="352"/>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4255526258" sldId="353"/>
        </pc:sldMkLst>
        <pc:spChg chg="mod">
          <ac:chgData name="KevCla12" userId="ef2eb634-4620-450f-93cc-80cc93397e60" providerId="ADAL" clId="{DF6678F8-4F85-488B-B919-FA7E2EC6DABC}" dt="2023-10-15T19:20:31.797" v="8174" actId="20577"/>
          <ac:spMkLst>
            <pc:docMk/>
            <pc:sldMk cId="4255526258" sldId="353"/>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3744360188" sldId="354"/>
        </pc:sldMkLst>
        <pc:spChg chg="mod">
          <ac:chgData name="KevCla12" userId="ef2eb634-4620-450f-93cc-80cc93397e60" providerId="ADAL" clId="{DF6678F8-4F85-488B-B919-FA7E2EC6DABC}" dt="2023-10-15T19:20:35.008" v="8176" actId="20577"/>
          <ac:spMkLst>
            <pc:docMk/>
            <pc:sldMk cId="3744360188" sldId="354"/>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1752432362" sldId="355"/>
        </pc:sldMkLst>
        <pc:spChg chg="mod">
          <ac:chgData name="KevCla12" userId="ef2eb634-4620-450f-93cc-80cc93397e60" providerId="ADAL" clId="{DF6678F8-4F85-488B-B919-FA7E2EC6DABC}" dt="2023-10-15T19:20:37.935" v="8178" actId="20577"/>
          <ac:spMkLst>
            <pc:docMk/>
            <pc:sldMk cId="1752432362" sldId="355"/>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3009283451" sldId="356"/>
        </pc:sldMkLst>
        <pc:spChg chg="mod">
          <ac:chgData name="KevCla12" userId="ef2eb634-4620-450f-93cc-80cc93397e60" providerId="ADAL" clId="{DF6678F8-4F85-488B-B919-FA7E2EC6DABC}" dt="2023-10-15T19:20:40.901" v="8180" actId="20577"/>
          <ac:spMkLst>
            <pc:docMk/>
            <pc:sldMk cId="3009283451" sldId="356"/>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3121014267" sldId="357"/>
        </pc:sldMkLst>
        <pc:spChg chg="mod">
          <ac:chgData name="KevCla12" userId="ef2eb634-4620-450f-93cc-80cc93397e60" providerId="ADAL" clId="{DF6678F8-4F85-488B-B919-FA7E2EC6DABC}" dt="2023-10-15T19:20:43.788" v="8182" actId="20577"/>
          <ac:spMkLst>
            <pc:docMk/>
            <pc:sldMk cId="3121014267" sldId="357"/>
            <ac:spMk id="8" creationId="{D72EF777-7453-4D56-E37C-470AE7412B8E}"/>
          </ac:spMkLst>
        </pc:spChg>
      </pc:sldChg>
      <pc:sldChg chg="modSp add mod ord">
        <pc:chgData name="KevCla12" userId="ef2eb634-4620-450f-93cc-80cc93397e60" providerId="ADAL" clId="{DF6678F8-4F85-488B-B919-FA7E2EC6DABC}" dt="2023-10-17T14:30:24.702" v="10290"/>
        <pc:sldMkLst>
          <pc:docMk/>
          <pc:sldMk cId="881709091" sldId="358"/>
        </pc:sldMkLst>
        <pc:spChg chg="mod">
          <ac:chgData name="KevCla12" userId="ef2eb634-4620-450f-93cc-80cc93397e60" providerId="ADAL" clId="{DF6678F8-4F85-488B-B919-FA7E2EC6DABC}" dt="2023-10-15T19:20:51.194" v="8188" actId="20577"/>
          <ac:spMkLst>
            <pc:docMk/>
            <pc:sldMk cId="881709091" sldId="358"/>
            <ac:spMk id="8" creationId="{D72EF777-7453-4D56-E37C-470AE7412B8E}"/>
          </ac:spMkLst>
        </pc:spChg>
      </pc:sldChg>
      <pc:sldChg chg="addSp delSp modSp new mod ord">
        <pc:chgData name="KevCla12" userId="ef2eb634-4620-450f-93cc-80cc93397e60" providerId="ADAL" clId="{DF6678F8-4F85-488B-B919-FA7E2EC6DABC}" dt="2023-10-17T14:30:27.786" v="10292"/>
        <pc:sldMkLst>
          <pc:docMk/>
          <pc:sldMk cId="2648272818" sldId="359"/>
        </pc:sldMkLst>
        <pc:spChg chg="del">
          <ac:chgData name="KevCla12" userId="ef2eb634-4620-450f-93cc-80cc93397e60" providerId="ADAL" clId="{DF6678F8-4F85-488B-B919-FA7E2EC6DABC}" dt="2023-10-15T20:51:51.501" v="8268" actId="478"/>
          <ac:spMkLst>
            <pc:docMk/>
            <pc:sldMk cId="2648272818" sldId="359"/>
            <ac:spMk id="2" creationId="{905DBA8B-34EA-9149-8662-C4068F095E79}"/>
          </ac:spMkLst>
        </pc:spChg>
        <pc:spChg chg="del">
          <ac:chgData name="KevCla12" userId="ef2eb634-4620-450f-93cc-80cc93397e60" providerId="ADAL" clId="{DF6678F8-4F85-488B-B919-FA7E2EC6DABC}" dt="2023-10-15T20:51:50.478" v="8267" actId="478"/>
          <ac:spMkLst>
            <pc:docMk/>
            <pc:sldMk cId="2648272818" sldId="359"/>
            <ac:spMk id="3" creationId="{27A17580-0AB5-83A1-8639-5997FEAAFCF7}"/>
          </ac:spMkLst>
        </pc:spChg>
        <pc:spChg chg="mod">
          <ac:chgData name="KevCla12" userId="ef2eb634-4620-450f-93cc-80cc93397e60" providerId="ADAL" clId="{DF6678F8-4F85-488B-B919-FA7E2EC6DABC}" dt="2023-10-15T20:52:57.682" v="8297" actId="20577"/>
          <ac:spMkLst>
            <pc:docMk/>
            <pc:sldMk cId="2648272818" sldId="359"/>
            <ac:spMk id="5" creationId="{0EC00327-8DCD-5BCD-A1E6-049089F4A5AC}"/>
          </ac:spMkLst>
        </pc:spChg>
        <pc:picChg chg="add mod">
          <ac:chgData name="KevCla12" userId="ef2eb634-4620-450f-93cc-80cc93397e60" providerId="ADAL" clId="{DF6678F8-4F85-488B-B919-FA7E2EC6DABC}" dt="2023-10-15T20:51:59.781" v="8271" actId="14100"/>
          <ac:picMkLst>
            <pc:docMk/>
            <pc:sldMk cId="2648272818" sldId="359"/>
            <ac:picMk id="9" creationId="{B352C8C5-3DBC-E8A7-A7CE-16AD6CDD994F}"/>
          </ac:picMkLst>
        </pc:picChg>
      </pc:sldChg>
      <pc:sldChg chg="addSp delSp modSp new mod ord">
        <pc:chgData name="KevCla12" userId="ef2eb634-4620-450f-93cc-80cc93397e60" providerId="ADAL" clId="{DF6678F8-4F85-488B-B919-FA7E2EC6DABC}" dt="2023-10-17T14:30:27.786" v="10292"/>
        <pc:sldMkLst>
          <pc:docMk/>
          <pc:sldMk cId="2598543404" sldId="360"/>
        </pc:sldMkLst>
        <pc:spChg chg="del">
          <ac:chgData name="KevCla12" userId="ef2eb634-4620-450f-93cc-80cc93397e60" providerId="ADAL" clId="{DF6678F8-4F85-488B-B919-FA7E2EC6DABC}" dt="2023-10-15T20:52:44.345" v="8273" actId="478"/>
          <ac:spMkLst>
            <pc:docMk/>
            <pc:sldMk cId="2598543404" sldId="360"/>
            <ac:spMk id="2" creationId="{1D60CFDD-E350-4701-869A-2747D3CA2359}"/>
          </ac:spMkLst>
        </pc:spChg>
        <pc:spChg chg="del">
          <ac:chgData name="KevCla12" userId="ef2eb634-4620-450f-93cc-80cc93397e60" providerId="ADAL" clId="{DF6678F8-4F85-488B-B919-FA7E2EC6DABC}" dt="2023-10-15T20:52:45.255" v="8274" actId="478"/>
          <ac:spMkLst>
            <pc:docMk/>
            <pc:sldMk cId="2598543404" sldId="360"/>
            <ac:spMk id="3" creationId="{DAF3F0C5-1900-764B-3AF5-E1A1C0DA12D3}"/>
          </ac:spMkLst>
        </pc:spChg>
        <pc:spChg chg="mod">
          <ac:chgData name="KevCla12" userId="ef2eb634-4620-450f-93cc-80cc93397e60" providerId="ADAL" clId="{DF6678F8-4F85-488B-B919-FA7E2EC6DABC}" dt="2023-10-15T20:53:01.474" v="8298"/>
          <ac:spMkLst>
            <pc:docMk/>
            <pc:sldMk cId="2598543404" sldId="360"/>
            <ac:spMk id="5" creationId="{09EBAEBA-7DE2-2003-7501-D32828830981}"/>
          </ac:spMkLst>
        </pc:spChg>
        <pc:picChg chg="add mod">
          <ac:chgData name="KevCla12" userId="ef2eb634-4620-450f-93cc-80cc93397e60" providerId="ADAL" clId="{DF6678F8-4F85-488B-B919-FA7E2EC6DABC}" dt="2023-10-15T20:52:49.917" v="8277" actId="14100"/>
          <ac:picMkLst>
            <pc:docMk/>
            <pc:sldMk cId="2598543404" sldId="360"/>
            <ac:picMk id="9" creationId="{C644F9E1-8DD9-051F-8E1F-1F39D1D0E497}"/>
          </ac:picMkLst>
        </pc:picChg>
      </pc:sldChg>
      <pc:sldChg chg="addSp delSp modSp new mod ord">
        <pc:chgData name="KevCla12" userId="ef2eb634-4620-450f-93cc-80cc93397e60" providerId="ADAL" clId="{DF6678F8-4F85-488B-B919-FA7E2EC6DABC}" dt="2023-10-17T14:30:27.786" v="10292"/>
        <pc:sldMkLst>
          <pc:docMk/>
          <pc:sldMk cId="2422640916" sldId="361"/>
        </pc:sldMkLst>
        <pc:spChg chg="del">
          <ac:chgData name="KevCla12" userId="ef2eb634-4620-450f-93cc-80cc93397e60" providerId="ADAL" clId="{DF6678F8-4F85-488B-B919-FA7E2EC6DABC}" dt="2023-10-15T20:54:16.753" v="8326" actId="478"/>
          <ac:spMkLst>
            <pc:docMk/>
            <pc:sldMk cId="2422640916" sldId="361"/>
            <ac:spMk id="2" creationId="{52B26ACD-BCA4-2F34-E934-2BB57671AB6A}"/>
          </ac:spMkLst>
        </pc:spChg>
        <pc:spChg chg="del">
          <ac:chgData name="KevCla12" userId="ef2eb634-4620-450f-93cc-80cc93397e60" providerId="ADAL" clId="{DF6678F8-4F85-488B-B919-FA7E2EC6DABC}" dt="2023-10-15T20:53:43.721" v="8300" actId="478"/>
          <ac:spMkLst>
            <pc:docMk/>
            <pc:sldMk cId="2422640916" sldId="361"/>
            <ac:spMk id="3" creationId="{B8DC8DF4-D91F-F2A9-EC2D-BF1DEAD51481}"/>
          </ac:spMkLst>
        </pc:spChg>
        <pc:spChg chg="mod">
          <ac:chgData name="KevCla12" userId="ef2eb634-4620-450f-93cc-80cc93397e60" providerId="ADAL" clId="{DF6678F8-4F85-488B-B919-FA7E2EC6DABC}" dt="2023-10-15T20:54:12.859" v="8325" actId="20577"/>
          <ac:spMkLst>
            <pc:docMk/>
            <pc:sldMk cId="2422640916" sldId="361"/>
            <ac:spMk id="5" creationId="{B25DCB7C-B35B-F76F-5F0C-DDA9C6E22AE6}"/>
          </ac:spMkLst>
        </pc:spChg>
        <pc:picChg chg="add mod">
          <ac:chgData name="KevCla12" userId="ef2eb634-4620-450f-93cc-80cc93397e60" providerId="ADAL" clId="{DF6678F8-4F85-488B-B919-FA7E2EC6DABC}" dt="2023-10-15T20:53:50.982" v="8303" actId="14100"/>
          <ac:picMkLst>
            <pc:docMk/>
            <pc:sldMk cId="2422640916" sldId="361"/>
            <ac:picMk id="9" creationId="{8E4D9C96-E663-4B43-1BD7-E87F399F1BF1}"/>
          </ac:picMkLst>
        </pc:picChg>
      </pc:sldChg>
      <pc:sldChg chg="addSp delSp modSp new mod">
        <pc:chgData name="KevCla12" userId="ef2eb634-4620-450f-93cc-80cc93397e60" providerId="ADAL" clId="{DF6678F8-4F85-488B-B919-FA7E2EC6DABC}" dt="2023-10-17T14:19:24.637" v="9766"/>
        <pc:sldMkLst>
          <pc:docMk/>
          <pc:sldMk cId="1204342257" sldId="362"/>
        </pc:sldMkLst>
        <pc:spChg chg="mod">
          <ac:chgData name="KevCla12" userId="ef2eb634-4620-450f-93cc-80cc93397e60" providerId="ADAL" clId="{DF6678F8-4F85-488B-B919-FA7E2EC6DABC}" dt="2023-10-17T14:19:24.637" v="9766"/>
          <ac:spMkLst>
            <pc:docMk/>
            <pc:sldMk cId="1204342257" sldId="362"/>
            <ac:spMk id="2" creationId="{E8E9310C-AF8F-0DCD-D269-F390E6BCA246}"/>
          </ac:spMkLst>
        </pc:spChg>
        <pc:spChg chg="del">
          <ac:chgData name="KevCla12" userId="ef2eb634-4620-450f-93cc-80cc93397e60" providerId="ADAL" clId="{DF6678F8-4F85-488B-B919-FA7E2EC6DABC}" dt="2023-10-16T14:21:42.906" v="8382" actId="478"/>
          <ac:spMkLst>
            <pc:docMk/>
            <pc:sldMk cId="1204342257" sldId="362"/>
            <ac:spMk id="3" creationId="{A2121E23-ECD0-87F7-CB17-3CFFB216D4A4}"/>
          </ac:spMkLst>
        </pc:spChg>
        <pc:spChg chg="mod">
          <ac:chgData name="KevCla12" userId="ef2eb634-4620-450f-93cc-80cc93397e60" providerId="ADAL" clId="{DF6678F8-4F85-488B-B919-FA7E2EC6DABC}" dt="2023-10-16T14:47:14.411" v="8492" actId="20577"/>
          <ac:spMkLst>
            <pc:docMk/>
            <pc:sldMk cId="1204342257" sldId="362"/>
            <ac:spMk id="5" creationId="{93CE7537-4767-56CD-2034-6D9544E3D1FE}"/>
          </ac:spMkLst>
        </pc:spChg>
        <pc:spChg chg="del">
          <ac:chgData name="KevCla12" userId="ef2eb634-4620-450f-93cc-80cc93397e60" providerId="ADAL" clId="{DF6678F8-4F85-488B-B919-FA7E2EC6DABC}" dt="2023-10-16T14:21:48.110" v="8383"/>
          <ac:spMkLst>
            <pc:docMk/>
            <pc:sldMk cId="1204342257" sldId="362"/>
            <ac:spMk id="6" creationId="{FA5E53FE-A473-1598-7164-C5E43166F472}"/>
          </ac:spMkLst>
        </pc:spChg>
        <pc:spChg chg="add del mod">
          <ac:chgData name="KevCla12" userId="ef2eb634-4620-450f-93cc-80cc93397e60" providerId="ADAL" clId="{DF6678F8-4F85-488B-B919-FA7E2EC6DABC}" dt="2023-10-16T14:22:14.023" v="8392"/>
          <ac:spMkLst>
            <pc:docMk/>
            <pc:sldMk cId="1204342257" sldId="362"/>
            <ac:spMk id="11" creationId="{111024AD-1DC4-849F-FD0C-11FF424FFE26}"/>
          </ac:spMkLst>
        </pc:spChg>
        <pc:spChg chg="add del mod">
          <ac:chgData name="KevCla12" userId="ef2eb634-4620-450f-93cc-80cc93397e60" providerId="ADAL" clId="{DF6678F8-4F85-488B-B919-FA7E2EC6DABC}" dt="2023-10-16T14:42:12.290" v="8409"/>
          <ac:spMkLst>
            <pc:docMk/>
            <pc:sldMk cId="1204342257" sldId="362"/>
            <ac:spMk id="16" creationId="{D093DE18-CEFE-E725-479C-6F63F7C92F0D}"/>
          </ac:spMkLst>
        </pc:spChg>
        <pc:spChg chg="add del mod">
          <ac:chgData name="KevCla12" userId="ef2eb634-4620-450f-93cc-80cc93397e60" providerId="ADAL" clId="{DF6678F8-4F85-488B-B919-FA7E2EC6DABC}" dt="2023-10-16T14:42:43.757" v="8415"/>
          <ac:spMkLst>
            <pc:docMk/>
            <pc:sldMk cId="1204342257" sldId="362"/>
            <ac:spMk id="21" creationId="{A755ED75-D080-33C8-1AE9-BC57DFAAA02F}"/>
          </ac:spMkLst>
        </pc:spChg>
        <pc:spChg chg="add del mod">
          <ac:chgData name="KevCla12" userId="ef2eb634-4620-450f-93cc-80cc93397e60" providerId="ADAL" clId="{DF6678F8-4F85-488B-B919-FA7E2EC6DABC}" dt="2023-10-16T14:43:50.139" v="8423"/>
          <ac:spMkLst>
            <pc:docMk/>
            <pc:sldMk cId="1204342257" sldId="362"/>
            <ac:spMk id="26" creationId="{6CCC8B9F-D574-F458-62DD-2A152123D2AF}"/>
          </ac:spMkLst>
        </pc:spChg>
        <pc:spChg chg="add del mod">
          <ac:chgData name="KevCla12" userId="ef2eb634-4620-450f-93cc-80cc93397e60" providerId="ADAL" clId="{DF6678F8-4F85-488B-B919-FA7E2EC6DABC}" dt="2023-10-16T14:46:39.228" v="8437"/>
          <ac:spMkLst>
            <pc:docMk/>
            <pc:sldMk cId="1204342257" sldId="362"/>
            <ac:spMk id="31" creationId="{917CF6D9-E70A-729D-4B8D-EF61E8A34DB4}"/>
          </ac:spMkLst>
        </pc:spChg>
        <pc:spChg chg="add mod">
          <ac:chgData name="KevCla12" userId="ef2eb634-4620-450f-93cc-80cc93397e60" providerId="ADAL" clId="{DF6678F8-4F85-488B-B919-FA7E2EC6DABC}" dt="2023-10-16T14:46:40.829" v="8438" actId="21"/>
          <ac:spMkLst>
            <pc:docMk/>
            <pc:sldMk cId="1204342257" sldId="362"/>
            <ac:spMk id="37" creationId="{9CA9DBE9-720E-9F13-9D4B-F57907D349F2}"/>
          </ac:spMkLst>
        </pc:spChg>
        <pc:grpChg chg="add mod">
          <ac:chgData name="KevCla12" userId="ef2eb634-4620-450f-93cc-80cc93397e60" providerId="ADAL" clId="{DF6678F8-4F85-488B-B919-FA7E2EC6DABC}" dt="2023-10-16T14:46:15.660" v="8436" actId="11530"/>
          <ac:grpSpMkLst>
            <pc:docMk/>
            <pc:sldMk cId="1204342257" sldId="362"/>
            <ac:grpSpMk id="33" creationId="{30A92FD5-456B-F21E-25B9-7819F484D18D}"/>
          </ac:grpSpMkLst>
        </pc:grpChg>
        <pc:picChg chg="add del mod">
          <ac:chgData name="KevCla12" userId="ef2eb634-4620-450f-93cc-80cc93397e60" providerId="ADAL" clId="{DF6678F8-4F85-488B-B919-FA7E2EC6DABC}" dt="2023-10-16T14:21:49.738" v="8384" actId="21"/>
          <ac:picMkLst>
            <pc:docMk/>
            <pc:sldMk cId="1204342257" sldId="362"/>
            <ac:picMk id="9" creationId="{2604B808-2F44-6687-9AE4-7DC0688C7255}"/>
          </ac:picMkLst>
        </pc:picChg>
        <pc:picChg chg="add del mod">
          <ac:chgData name="KevCla12" userId="ef2eb634-4620-450f-93cc-80cc93397e60" providerId="ADAL" clId="{DF6678F8-4F85-488B-B919-FA7E2EC6DABC}" dt="2023-10-16T14:42:02.640" v="8408" actId="478"/>
          <ac:picMkLst>
            <pc:docMk/>
            <pc:sldMk cId="1204342257" sldId="362"/>
            <ac:picMk id="12" creationId="{DBC0775C-BB02-E3AB-32E6-F76C9FA009BE}"/>
          </ac:picMkLst>
        </pc:picChg>
        <pc:picChg chg="add del mod">
          <ac:chgData name="KevCla12" userId="ef2eb634-4620-450f-93cc-80cc93397e60" providerId="ADAL" clId="{DF6678F8-4F85-488B-B919-FA7E2EC6DABC}" dt="2023-10-16T14:22:15.576" v="8393" actId="21"/>
          <ac:picMkLst>
            <pc:docMk/>
            <pc:sldMk cId="1204342257" sldId="362"/>
            <ac:picMk id="14" creationId="{C4A27B0D-26B0-AFA8-6B36-0E248AA52E2C}"/>
          </ac:picMkLst>
        </pc:picChg>
        <pc:picChg chg="add del mod ord modCrop">
          <ac:chgData name="KevCla12" userId="ef2eb634-4620-450f-93cc-80cc93397e60" providerId="ADAL" clId="{DF6678F8-4F85-488B-B919-FA7E2EC6DABC}" dt="2023-10-16T14:42:02.004" v="8407" actId="478"/>
          <ac:picMkLst>
            <pc:docMk/>
            <pc:sldMk cId="1204342257" sldId="362"/>
            <ac:picMk id="17" creationId="{B5FDFA55-825B-006E-16F6-7CB2BED74D45}"/>
          </ac:picMkLst>
        </pc:picChg>
        <pc:picChg chg="add del mod">
          <ac:chgData name="KevCla12" userId="ef2eb634-4620-450f-93cc-80cc93397e60" providerId="ADAL" clId="{DF6678F8-4F85-488B-B919-FA7E2EC6DABC}" dt="2023-10-16T14:42:14.054" v="8410" actId="21"/>
          <ac:picMkLst>
            <pc:docMk/>
            <pc:sldMk cId="1204342257" sldId="362"/>
            <ac:picMk id="19" creationId="{DF713261-72E3-CB6D-BA61-B9637D502853}"/>
          </ac:picMkLst>
        </pc:picChg>
        <pc:picChg chg="add mod ord">
          <ac:chgData name="KevCla12" userId="ef2eb634-4620-450f-93cc-80cc93397e60" providerId="ADAL" clId="{DF6678F8-4F85-488B-B919-FA7E2EC6DABC}" dt="2023-10-16T14:45:47.060" v="8430" actId="164"/>
          <ac:picMkLst>
            <pc:docMk/>
            <pc:sldMk cId="1204342257" sldId="362"/>
            <ac:picMk id="22" creationId="{31C7D30C-A2E4-14B4-DEFB-5070BCB1A4FC}"/>
          </ac:picMkLst>
        </pc:picChg>
        <pc:picChg chg="add del mod">
          <ac:chgData name="KevCla12" userId="ef2eb634-4620-450f-93cc-80cc93397e60" providerId="ADAL" clId="{DF6678F8-4F85-488B-B919-FA7E2EC6DABC}" dt="2023-10-16T14:42:45.686" v="8416" actId="21"/>
          <ac:picMkLst>
            <pc:docMk/>
            <pc:sldMk cId="1204342257" sldId="362"/>
            <ac:picMk id="24" creationId="{2F2C9E25-A3D7-57A8-828B-52B518703D7D}"/>
          </ac:picMkLst>
        </pc:picChg>
        <pc:picChg chg="add mod modCrop">
          <ac:chgData name="KevCla12" userId="ef2eb634-4620-450f-93cc-80cc93397e60" providerId="ADAL" clId="{DF6678F8-4F85-488B-B919-FA7E2EC6DABC}" dt="2023-10-16T14:45:47.060" v="8430" actId="164"/>
          <ac:picMkLst>
            <pc:docMk/>
            <pc:sldMk cId="1204342257" sldId="362"/>
            <ac:picMk id="27" creationId="{55CCCBAA-D1B2-CF70-36D2-8A0E7160C45C}"/>
          </ac:picMkLst>
        </pc:picChg>
        <pc:picChg chg="add del mod">
          <ac:chgData name="KevCla12" userId="ef2eb634-4620-450f-93cc-80cc93397e60" providerId="ADAL" clId="{DF6678F8-4F85-488B-B919-FA7E2EC6DABC}" dt="2023-10-16T14:43:51.274" v="8424" actId="21"/>
          <ac:picMkLst>
            <pc:docMk/>
            <pc:sldMk cId="1204342257" sldId="362"/>
            <ac:picMk id="29" creationId="{36015A01-F1D3-B0F4-EE6A-A8903E3D6BA8}"/>
          </ac:picMkLst>
        </pc:picChg>
        <pc:picChg chg="add mod ord modCrop">
          <ac:chgData name="KevCla12" userId="ef2eb634-4620-450f-93cc-80cc93397e60" providerId="ADAL" clId="{DF6678F8-4F85-488B-B919-FA7E2EC6DABC}" dt="2023-10-16T14:45:47.060" v="8430" actId="164"/>
          <ac:picMkLst>
            <pc:docMk/>
            <pc:sldMk cId="1204342257" sldId="362"/>
            <ac:picMk id="32" creationId="{898D4435-C63B-910B-F9CF-2097C244626A}"/>
          </ac:picMkLst>
        </pc:picChg>
        <pc:picChg chg="add del mod">
          <ac:chgData name="KevCla12" userId="ef2eb634-4620-450f-93cc-80cc93397e60" providerId="ADAL" clId="{DF6678F8-4F85-488B-B919-FA7E2EC6DABC}" dt="2023-10-16T14:46:40.829" v="8438" actId="21"/>
          <ac:picMkLst>
            <pc:docMk/>
            <pc:sldMk cId="1204342257" sldId="362"/>
            <ac:picMk id="35" creationId="{8949FB73-B9B6-FC1B-A23B-53319585B7B3}"/>
          </ac:picMkLst>
        </pc:picChg>
        <pc:picChg chg="add mod">
          <ac:chgData name="KevCla12" userId="ef2eb634-4620-450f-93cc-80cc93397e60" providerId="ADAL" clId="{DF6678F8-4F85-488B-B919-FA7E2EC6DABC}" dt="2023-10-16T14:46:55.052" v="8444" actId="1076"/>
          <ac:picMkLst>
            <pc:docMk/>
            <pc:sldMk cId="1204342257" sldId="362"/>
            <ac:picMk id="38" creationId="{32370AF0-1558-7145-F9C9-54E36F1F183A}"/>
          </ac:picMkLst>
        </pc:picChg>
      </pc:sldChg>
      <pc:sldChg chg="ord">
        <pc:chgData name="KevCla12" userId="ef2eb634-4620-450f-93cc-80cc93397e60" providerId="ADAL" clId="{DF6678F8-4F85-488B-B919-FA7E2EC6DABC}" dt="2023-10-16T15:52:17.367" v="8567"/>
        <pc:sldMkLst>
          <pc:docMk/>
          <pc:sldMk cId="1742750569" sldId="363"/>
        </pc:sldMkLst>
      </pc:sldChg>
      <pc:sldChg chg="ord">
        <pc:chgData name="KevCla12" userId="ef2eb634-4620-450f-93cc-80cc93397e60" providerId="ADAL" clId="{DF6678F8-4F85-488B-B919-FA7E2EC6DABC}" dt="2023-10-16T15:52:17.367" v="8567"/>
        <pc:sldMkLst>
          <pc:docMk/>
          <pc:sldMk cId="2880603665" sldId="364"/>
        </pc:sldMkLst>
      </pc:sldChg>
      <pc:sldChg chg="addSp delSp modSp new mod">
        <pc:chgData name="KevCla12" userId="ef2eb634-4620-450f-93cc-80cc93397e60" providerId="ADAL" clId="{DF6678F8-4F85-488B-B919-FA7E2EC6DABC}" dt="2023-10-17T14:07:14.894" v="9416" actId="21"/>
        <pc:sldMkLst>
          <pc:docMk/>
          <pc:sldMk cId="1752648007" sldId="365"/>
        </pc:sldMkLst>
        <pc:spChg chg="add del">
          <ac:chgData name="KevCla12" userId="ef2eb634-4620-450f-93cc-80cc93397e60" providerId="ADAL" clId="{DF6678F8-4F85-488B-B919-FA7E2EC6DABC}" dt="2023-10-16T15:48:16.168" v="8542" actId="478"/>
          <ac:spMkLst>
            <pc:docMk/>
            <pc:sldMk cId="1752648007" sldId="365"/>
            <ac:spMk id="2" creationId="{31AD48E8-3E2D-96E9-6983-6BF367188871}"/>
          </ac:spMkLst>
        </pc:spChg>
        <pc:spChg chg="add del mod">
          <ac:chgData name="KevCla12" userId="ef2eb634-4620-450f-93cc-80cc93397e60" providerId="ADAL" clId="{DF6678F8-4F85-488B-B919-FA7E2EC6DABC}" dt="2023-10-17T14:07:14.894" v="9416" actId="21"/>
          <ac:spMkLst>
            <pc:docMk/>
            <pc:sldMk cId="1752648007" sldId="365"/>
            <ac:spMk id="2" creationId="{3423725D-49C5-22E4-1614-551C4033A628}"/>
          </ac:spMkLst>
        </pc:spChg>
        <pc:spChg chg="add del">
          <ac:chgData name="KevCla12" userId="ef2eb634-4620-450f-93cc-80cc93397e60" providerId="ADAL" clId="{DF6678F8-4F85-488B-B919-FA7E2EC6DABC}" dt="2023-10-16T15:48:13.430" v="8541" actId="478"/>
          <ac:spMkLst>
            <pc:docMk/>
            <pc:sldMk cId="1752648007" sldId="365"/>
            <ac:spMk id="3" creationId="{E5C04006-0324-9F74-ABB6-2BA792169E65}"/>
          </ac:spMkLst>
        </pc:spChg>
        <pc:spChg chg="add del">
          <ac:chgData name="KevCla12" userId="ef2eb634-4620-450f-93cc-80cc93397e60" providerId="ADAL" clId="{DF6678F8-4F85-488B-B919-FA7E2EC6DABC}" dt="2023-10-16T15:48:19.280" v="8543"/>
          <ac:spMkLst>
            <pc:docMk/>
            <pc:sldMk cId="1752648007" sldId="365"/>
            <ac:spMk id="5" creationId="{5EC7E3AC-1F26-AD5D-BCD4-71955CF5B7B7}"/>
          </ac:spMkLst>
        </pc:spChg>
        <pc:spChg chg="add del">
          <ac:chgData name="KevCla12" userId="ef2eb634-4620-450f-93cc-80cc93397e60" providerId="ADAL" clId="{DF6678F8-4F85-488B-B919-FA7E2EC6DABC}" dt="2023-10-16T15:48:05.691" v="8537"/>
          <ac:spMkLst>
            <pc:docMk/>
            <pc:sldMk cId="1752648007" sldId="365"/>
            <ac:spMk id="6" creationId="{B3CAC08E-61CA-2FF3-D9F3-CD64366D32E1}"/>
          </ac:spMkLst>
        </pc:spChg>
        <pc:spChg chg="add del mod">
          <ac:chgData name="KevCla12" userId="ef2eb634-4620-450f-93cc-80cc93397e60" providerId="ADAL" clId="{DF6678F8-4F85-488B-B919-FA7E2EC6DABC}" dt="2023-10-16T15:48:05.285" v="8536" actId="21"/>
          <ac:spMkLst>
            <pc:docMk/>
            <pc:sldMk cId="1752648007" sldId="365"/>
            <ac:spMk id="11" creationId="{32CBF165-4FDF-BBF0-75BF-FAA6E9C51404}"/>
          </ac:spMkLst>
        </pc:spChg>
        <pc:spChg chg="add mod">
          <ac:chgData name="KevCla12" userId="ef2eb634-4620-450f-93cc-80cc93397e60" providerId="ADAL" clId="{DF6678F8-4F85-488B-B919-FA7E2EC6DABC}" dt="2023-10-16T15:48:52.816" v="8563" actId="20577"/>
          <ac:spMkLst>
            <pc:docMk/>
            <pc:sldMk cId="1752648007" sldId="365"/>
            <ac:spMk id="16" creationId="{0CCA83CF-FD0F-0F67-E7C7-A2AB2C3E379C}"/>
          </ac:spMkLst>
        </pc:spChg>
        <pc:picChg chg="add del mod">
          <ac:chgData name="KevCla12" userId="ef2eb634-4620-450f-93cc-80cc93397e60" providerId="ADAL" clId="{DF6678F8-4F85-488B-B919-FA7E2EC6DABC}" dt="2023-10-16T15:48:05.691" v="8537"/>
          <ac:picMkLst>
            <pc:docMk/>
            <pc:sldMk cId="1752648007" sldId="365"/>
            <ac:picMk id="9" creationId="{959D4DEE-38A7-93A3-C178-856BAF26BCCA}"/>
          </ac:picMkLst>
        </pc:picChg>
        <pc:picChg chg="add del mod">
          <ac:chgData name="KevCla12" userId="ef2eb634-4620-450f-93cc-80cc93397e60" providerId="ADAL" clId="{DF6678F8-4F85-488B-B919-FA7E2EC6DABC}" dt="2023-10-16T15:48:04.884" v="8535"/>
          <ac:picMkLst>
            <pc:docMk/>
            <pc:sldMk cId="1752648007" sldId="365"/>
            <ac:picMk id="12" creationId="{A82705C6-C177-DA4C-1AC4-177B2F700558}"/>
          </ac:picMkLst>
        </pc:picChg>
        <pc:picChg chg="add del mod">
          <ac:chgData name="KevCla12" userId="ef2eb634-4620-450f-93cc-80cc93397e60" providerId="ADAL" clId="{DF6678F8-4F85-488B-B919-FA7E2EC6DABC}" dt="2023-10-16T15:48:21.094" v="8544" actId="21"/>
          <ac:picMkLst>
            <pc:docMk/>
            <pc:sldMk cId="1752648007" sldId="365"/>
            <ac:picMk id="14" creationId="{6509CC1E-EA6A-0204-D2F1-AE74F63DEDBA}"/>
          </ac:picMkLst>
        </pc:picChg>
        <pc:picChg chg="add mod">
          <ac:chgData name="KevCla12" userId="ef2eb634-4620-450f-93cc-80cc93397e60" providerId="ADAL" clId="{DF6678F8-4F85-488B-B919-FA7E2EC6DABC}" dt="2023-10-16T15:48:34.137" v="8550" actId="1076"/>
          <ac:picMkLst>
            <pc:docMk/>
            <pc:sldMk cId="1752648007" sldId="365"/>
            <ac:picMk id="17" creationId="{75C7E17E-EF81-2B81-E29F-D35ECC79E87A}"/>
          </ac:picMkLst>
        </pc:picChg>
      </pc:sldChg>
      <pc:sldChg chg="addSp delSp modSp new del mod">
        <pc:chgData name="KevCla12" userId="ef2eb634-4620-450f-93cc-80cc93397e60" providerId="ADAL" clId="{DF6678F8-4F85-488B-B919-FA7E2EC6DABC}" dt="2023-10-16T16:24:51.021" v="8655" actId="47"/>
        <pc:sldMkLst>
          <pc:docMk/>
          <pc:sldMk cId="2281669067" sldId="366"/>
        </pc:sldMkLst>
        <pc:spChg chg="del">
          <ac:chgData name="KevCla12" userId="ef2eb634-4620-450f-93cc-80cc93397e60" providerId="ADAL" clId="{DF6678F8-4F85-488B-B919-FA7E2EC6DABC}" dt="2023-10-16T16:22:40.441" v="8572" actId="478"/>
          <ac:spMkLst>
            <pc:docMk/>
            <pc:sldMk cId="2281669067" sldId="366"/>
            <ac:spMk id="2" creationId="{4FFB6557-05B9-6576-62BC-F5086BF74753}"/>
          </ac:spMkLst>
        </pc:spChg>
        <pc:spChg chg="del">
          <ac:chgData name="KevCla12" userId="ef2eb634-4620-450f-93cc-80cc93397e60" providerId="ADAL" clId="{DF6678F8-4F85-488B-B919-FA7E2EC6DABC}" dt="2023-10-16T16:22:39.093" v="8571" actId="478"/>
          <ac:spMkLst>
            <pc:docMk/>
            <pc:sldMk cId="2281669067" sldId="366"/>
            <ac:spMk id="3" creationId="{EA5E17DA-4266-CC35-4A92-F1607B214FC4}"/>
          </ac:spMkLst>
        </pc:spChg>
        <pc:spChg chg="mod">
          <ac:chgData name="KevCla12" userId="ef2eb634-4620-450f-93cc-80cc93397e60" providerId="ADAL" clId="{DF6678F8-4F85-488B-B919-FA7E2EC6DABC}" dt="2023-10-16T16:22:53.164" v="8609" actId="20577"/>
          <ac:spMkLst>
            <pc:docMk/>
            <pc:sldMk cId="2281669067" sldId="366"/>
            <ac:spMk id="5" creationId="{E1F579F9-80B5-07BD-B0CC-DB23D35E8981}"/>
          </ac:spMkLst>
        </pc:spChg>
        <pc:picChg chg="add mod">
          <ac:chgData name="KevCla12" userId="ef2eb634-4620-450f-93cc-80cc93397e60" providerId="ADAL" clId="{DF6678F8-4F85-488B-B919-FA7E2EC6DABC}" dt="2023-10-16T16:23:30.094" v="8627" actId="1076"/>
          <ac:picMkLst>
            <pc:docMk/>
            <pc:sldMk cId="2281669067" sldId="366"/>
            <ac:picMk id="7" creationId="{139587AE-27EA-C5C2-2B6D-F945A9DAE3F1}"/>
          </ac:picMkLst>
        </pc:picChg>
      </pc:sldChg>
      <pc:sldChg chg="addSp delSp modSp add mod ord">
        <pc:chgData name="KevCla12" userId="ef2eb634-4620-450f-93cc-80cc93397e60" providerId="ADAL" clId="{DF6678F8-4F85-488B-B919-FA7E2EC6DABC}" dt="2023-10-17T14:31:13.798" v="10344"/>
        <pc:sldMkLst>
          <pc:docMk/>
          <pc:sldMk cId="2383779809" sldId="367"/>
        </pc:sldMkLst>
        <pc:spChg chg="mod">
          <ac:chgData name="KevCla12" userId="ef2eb634-4620-450f-93cc-80cc93397e60" providerId="ADAL" clId="{DF6678F8-4F85-488B-B919-FA7E2EC6DABC}" dt="2023-10-16T16:23:03.795" v="8616" actId="20577"/>
          <ac:spMkLst>
            <pc:docMk/>
            <pc:sldMk cId="2383779809" sldId="367"/>
            <ac:spMk id="5" creationId="{E1F579F9-80B5-07BD-B0CC-DB23D35E8981}"/>
          </ac:spMkLst>
        </pc:spChg>
        <pc:picChg chg="add del mod">
          <ac:chgData name="KevCla12" userId="ef2eb634-4620-450f-93cc-80cc93397e60" providerId="ADAL" clId="{DF6678F8-4F85-488B-B919-FA7E2EC6DABC}" dt="2023-10-16T16:23:48.626" v="8633" actId="21"/>
          <ac:picMkLst>
            <pc:docMk/>
            <pc:sldMk cId="2383779809" sldId="367"/>
            <ac:picMk id="3" creationId="{DC3379BD-4BA7-5341-535A-BD39CF5944FB}"/>
          </ac:picMkLst>
        </pc:picChg>
        <pc:picChg chg="add mod">
          <ac:chgData name="KevCla12" userId="ef2eb634-4620-450f-93cc-80cc93397e60" providerId="ADAL" clId="{DF6678F8-4F85-488B-B919-FA7E2EC6DABC}" dt="2023-10-16T16:24:17.922" v="8648" actId="208"/>
          <ac:picMkLst>
            <pc:docMk/>
            <pc:sldMk cId="2383779809" sldId="367"/>
            <ac:picMk id="6" creationId="{55D4D29E-0B02-19D9-A6E6-9D303EF6AC16}"/>
          </ac:picMkLst>
        </pc:picChg>
      </pc:sldChg>
      <pc:sldChg chg="addSp modSp add mod ord">
        <pc:chgData name="KevCla12" userId="ef2eb634-4620-450f-93cc-80cc93397e60" providerId="ADAL" clId="{DF6678F8-4F85-488B-B919-FA7E2EC6DABC}" dt="2023-10-17T14:31:13.798" v="10344"/>
        <pc:sldMkLst>
          <pc:docMk/>
          <pc:sldMk cId="573489196" sldId="368"/>
        </pc:sldMkLst>
        <pc:spChg chg="mod">
          <ac:chgData name="KevCla12" userId="ef2eb634-4620-450f-93cc-80cc93397e60" providerId="ADAL" clId="{DF6678F8-4F85-488B-B919-FA7E2EC6DABC}" dt="2023-10-16T16:23:07.741" v="8620" actId="20577"/>
          <ac:spMkLst>
            <pc:docMk/>
            <pc:sldMk cId="573489196" sldId="368"/>
            <ac:spMk id="5" creationId="{E1F579F9-80B5-07BD-B0CC-DB23D35E8981}"/>
          </ac:spMkLst>
        </pc:spChg>
        <pc:picChg chg="add mod">
          <ac:chgData name="KevCla12" userId="ef2eb634-4620-450f-93cc-80cc93397e60" providerId="ADAL" clId="{DF6678F8-4F85-488B-B919-FA7E2EC6DABC}" dt="2023-10-16T16:24:38.023" v="8654" actId="208"/>
          <ac:picMkLst>
            <pc:docMk/>
            <pc:sldMk cId="573489196" sldId="368"/>
            <ac:picMk id="2" creationId="{F32C7685-4F12-E5AB-8FFD-1F72642A68B7}"/>
          </ac:picMkLst>
        </pc:picChg>
      </pc:sldChg>
      <pc:sldChg chg="addSp delSp modSp add mod ord">
        <pc:chgData name="KevCla12" userId="ef2eb634-4620-450f-93cc-80cc93397e60" providerId="ADAL" clId="{DF6678F8-4F85-488B-B919-FA7E2EC6DABC}" dt="2023-10-17T14:31:13.798" v="10344"/>
        <pc:sldMkLst>
          <pc:docMk/>
          <pc:sldMk cId="2907260217" sldId="369"/>
        </pc:sldMkLst>
        <pc:picChg chg="add del mod">
          <ac:chgData name="KevCla12" userId="ef2eb634-4620-450f-93cc-80cc93397e60" providerId="ADAL" clId="{DF6678F8-4F85-488B-B919-FA7E2EC6DABC}" dt="2023-10-16T16:24:01.863" v="8641"/>
          <ac:picMkLst>
            <pc:docMk/>
            <pc:sldMk cId="2907260217" sldId="369"/>
            <ac:picMk id="2" creationId="{3311D39F-ADC8-1D58-8AD0-53F7EFCA7286}"/>
          </ac:picMkLst>
        </pc:picChg>
        <pc:picChg chg="add del mod">
          <ac:chgData name="KevCla12" userId="ef2eb634-4620-450f-93cc-80cc93397e60" providerId="ADAL" clId="{DF6678F8-4F85-488B-B919-FA7E2EC6DABC}" dt="2023-10-16T16:24:12.086" v="8646" actId="21"/>
          <ac:picMkLst>
            <pc:docMk/>
            <pc:sldMk cId="2907260217" sldId="369"/>
            <ac:picMk id="3" creationId="{4E74FAA8-AB39-D952-0979-88EF8ACC756B}"/>
          </ac:picMkLst>
        </pc:picChg>
        <pc:picChg chg="mod">
          <ac:chgData name="KevCla12" userId="ef2eb634-4620-450f-93cc-80cc93397e60" providerId="ADAL" clId="{DF6678F8-4F85-488B-B919-FA7E2EC6DABC}" dt="2023-10-16T16:24:05.821" v="8642" actId="208"/>
          <ac:picMkLst>
            <pc:docMk/>
            <pc:sldMk cId="2907260217" sldId="369"/>
            <ac:picMk id="7" creationId="{139587AE-27EA-C5C2-2B6D-F945A9DAE3F1}"/>
          </ac:picMkLst>
        </pc:picChg>
        <pc:picChg chg="add del mod">
          <ac:chgData name="KevCla12" userId="ef2eb634-4620-450f-93cc-80cc93397e60" providerId="ADAL" clId="{DF6678F8-4F85-488B-B919-FA7E2EC6DABC}" dt="2023-10-16T16:24:31.822" v="8652" actId="21"/>
          <ac:picMkLst>
            <pc:docMk/>
            <pc:sldMk cId="2907260217" sldId="369"/>
            <ac:picMk id="8" creationId="{8F126D70-10A5-1770-DCF0-46764D09AA57}"/>
          </ac:picMkLst>
        </pc:picChg>
      </pc:sldChg>
      <pc:sldChg chg="del">
        <pc:chgData name="KevCla12" userId="ef2eb634-4620-450f-93cc-80cc93397e60" providerId="ADAL" clId="{DF6678F8-4F85-488B-B919-FA7E2EC6DABC}" dt="2023-10-16T16:46:02.658" v="9005" actId="47"/>
        <pc:sldMkLst>
          <pc:docMk/>
          <pc:sldMk cId="3670225622" sldId="370"/>
        </pc:sldMkLst>
      </pc:sldChg>
      <pc:sldChg chg="addSp delSp modSp new mod ord">
        <pc:chgData name="KevCla12" userId="ef2eb634-4620-450f-93cc-80cc93397e60" providerId="ADAL" clId="{DF6678F8-4F85-488B-B919-FA7E2EC6DABC}" dt="2023-10-17T14:31:23.077" v="10348"/>
        <pc:sldMkLst>
          <pc:docMk/>
          <pc:sldMk cId="3995354178" sldId="371"/>
        </pc:sldMkLst>
        <pc:spChg chg="del">
          <ac:chgData name="KevCla12" userId="ef2eb634-4620-450f-93cc-80cc93397e60" providerId="ADAL" clId="{DF6678F8-4F85-488B-B919-FA7E2EC6DABC}" dt="2023-10-16T16:30:06.841" v="8920" actId="478"/>
          <ac:spMkLst>
            <pc:docMk/>
            <pc:sldMk cId="3995354178" sldId="371"/>
            <ac:spMk id="2" creationId="{39867569-AF62-A366-269B-418FC90A1AD2}"/>
          </ac:spMkLst>
        </pc:spChg>
        <pc:spChg chg="del">
          <ac:chgData name="KevCla12" userId="ef2eb634-4620-450f-93cc-80cc93397e60" providerId="ADAL" clId="{DF6678F8-4F85-488B-B919-FA7E2EC6DABC}" dt="2023-10-16T16:30:07.756" v="8921" actId="478"/>
          <ac:spMkLst>
            <pc:docMk/>
            <pc:sldMk cId="3995354178" sldId="371"/>
            <ac:spMk id="3" creationId="{54070134-387A-C249-99C9-3A9AF0CDDAAC}"/>
          </ac:spMkLst>
        </pc:spChg>
        <pc:spChg chg="mod">
          <ac:chgData name="KevCla12" userId="ef2eb634-4620-450f-93cc-80cc93397e60" providerId="ADAL" clId="{DF6678F8-4F85-488B-B919-FA7E2EC6DABC}" dt="2023-10-16T16:32:55.820" v="8951" actId="20577"/>
          <ac:spMkLst>
            <pc:docMk/>
            <pc:sldMk cId="3995354178" sldId="371"/>
            <ac:spMk id="5" creationId="{F72FE622-EE06-9550-F244-2A608784AD22}"/>
          </ac:spMkLst>
        </pc:spChg>
        <pc:picChg chg="add mod">
          <ac:chgData name="KevCla12" userId="ef2eb634-4620-450f-93cc-80cc93397e60" providerId="ADAL" clId="{DF6678F8-4F85-488B-B919-FA7E2EC6DABC}" dt="2023-10-16T16:30:43.125" v="8927" actId="1076"/>
          <ac:picMkLst>
            <pc:docMk/>
            <pc:sldMk cId="3995354178" sldId="371"/>
            <ac:picMk id="7" creationId="{3AA4EF20-5F42-9C2B-CFA4-EA1CD0DFBB33}"/>
          </ac:picMkLst>
        </pc:picChg>
      </pc:sldChg>
      <pc:sldChg chg="add del">
        <pc:chgData name="KevCla12" userId="ef2eb634-4620-450f-93cc-80cc93397e60" providerId="ADAL" clId="{DF6678F8-4F85-488B-B919-FA7E2EC6DABC}" dt="2023-10-16T16:30:45.423" v="8928" actId="47"/>
        <pc:sldMkLst>
          <pc:docMk/>
          <pc:sldMk cId="123364103" sldId="372"/>
        </pc:sldMkLst>
      </pc:sldChg>
      <pc:sldChg chg="addSp delSp modSp add mod ord">
        <pc:chgData name="KevCla12" userId="ef2eb634-4620-450f-93cc-80cc93397e60" providerId="ADAL" clId="{DF6678F8-4F85-488B-B919-FA7E2EC6DABC}" dt="2023-10-17T14:31:23.077" v="10348"/>
        <pc:sldMkLst>
          <pc:docMk/>
          <pc:sldMk cId="598483280" sldId="372"/>
        </pc:sldMkLst>
        <pc:spChg chg="mod">
          <ac:chgData name="KevCla12" userId="ef2eb634-4620-450f-93cc-80cc93397e60" providerId="ADAL" clId="{DF6678F8-4F85-488B-B919-FA7E2EC6DABC}" dt="2023-10-16T16:32:59.183" v="8955" actId="20577"/>
          <ac:spMkLst>
            <pc:docMk/>
            <pc:sldMk cId="598483280" sldId="372"/>
            <ac:spMk id="5" creationId="{F72FE622-EE06-9550-F244-2A608784AD22}"/>
          </ac:spMkLst>
        </pc:spChg>
        <pc:picChg chg="add mod">
          <ac:chgData name="KevCla12" userId="ef2eb634-4620-450f-93cc-80cc93397e60" providerId="ADAL" clId="{DF6678F8-4F85-488B-B919-FA7E2EC6DABC}" dt="2023-10-16T16:31:25.602" v="8933" actId="1076"/>
          <ac:picMkLst>
            <pc:docMk/>
            <pc:sldMk cId="598483280" sldId="372"/>
            <ac:picMk id="3" creationId="{D8F1FBB3-4790-1F3C-D225-5D8FB81E1F10}"/>
          </ac:picMkLst>
        </pc:picChg>
        <pc:picChg chg="del">
          <ac:chgData name="KevCla12" userId="ef2eb634-4620-450f-93cc-80cc93397e60" providerId="ADAL" clId="{DF6678F8-4F85-488B-B919-FA7E2EC6DABC}" dt="2023-10-16T16:31:26.556" v="8934" actId="478"/>
          <ac:picMkLst>
            <pc:docMk/>
            <pc:sldMk cId="598483280" sldId="372"/>
            <ac:picMk id="7" creationId="{3AA4EF20-5F42-9C2B-CFA4-EA1CD0DFBB33}"/>
          </ac:picMkLst>
        </pc:picChg>
      </pc:sldChg>
      <pc:sldChg chg="addSp modSp add mod ord">
        <pc:chgData name="KevCla12" userId="ef2eb634-4620-450f-93cc-80cc93397e60" providerId="ADAL" clId="{DF6678F8-4F85-488B-B919-FA7E2EC6DABC}" dt="2023-10-17T14:31:23.077" v="10348"/>
        <pc:sldMkLst>
          <pc:docMk/>
          <pc:sldMk cId="596013715" sldId="373"/>
        </pc:sldMkLst>
        <pc:spChg chg="mod">
          <ac:chgData name="KevCla12" userId="ef2eb634-4620-450f-93cc-80cc93397e60" providerId="ADAL" clId="{DF6678F8-4F85-488B-B919-FA7E2EC6DABC}" dt="2023-10-16T16:33:20.044" v="8969" actId="20577"/>
          <ac:spMkLst>
            <pc:docMk/>
            <pc:sldMk cId="596013715" sldId="373"/>
            <ac:spMk id="5" creationId="{F72FE622-EE06-9550-F244-2A608784AD22}"/>
          </ac:spMkLst>
        </pc:spChg>
        <pc:picChg chg="add mod modCrop">
          <ac:chgData name="KevCla12" userId="ef2eb634-4620-450f-93cc-80cc93397e60" providerId="ADAL" clId="{DF6678F8-4F85-488B-B919-FA7E2EC6DABC}" dt="2023-10-16T16:33:16.066" v="8963" actId="732"/>
          <ac:picMkLst>
            <pc:docMk/>
            <pc:sldMk cId="596013715" sldId="373"/>
            <ac:picMk id="6" creationId="{DCBABCC6-AE7F-A404-5044-880E1F8CC9C4}"/>
          </ac:picMkLst>
        </pc:picChg>
      </pc:sldChg>
      <pc:sldChg chg="addSp delSp modSp add mod ord">
        <pc:chgData name="KevCla12" userId="ef2eb634-4620-450f-93cc-80cc93397e60" providerId="ADAL" clId="{DF6678F8-4F85-488B-B919-FA7E2EC6DABC}" dt="2023-10-17T14:31:23.077" v="10348"/>
        <pc:sldMkLst>
          <pc:docMk/>
          <pc:sldMk cId="1997465040" sldId="374"/>
        </pc:sldMkLst>
        <pc:spChg chg="mod">
          <ac:chgData name="KevCla12" userId="ef2eb634-4620-450f-93cc-80cc93397e60" providerId="ADAL" clId="{DF6678F8-4F85-488B-B919-FA7E2EC6DABC}" dt="2023-10-16T16:33:23.878" v="8973" actId="20577"/>
          <ac:spMkLst>
            <pc:docMk/>
            <pc:sldMk cId="1997465040" sldId="374"/>
            <ac:spMk id="5" creationId="{F72FE622-EE06-9550-F244-2A608784AD22}"/>
          </ac:spMkLst>
        </pc:spChg>
        <pc:picChg chg="del">
          <ac:chgData name="KevCla12" userId="ef2eb634-4620-450f-93cc-80cc93397e60" providerId="ADAL" clId="{DF6678F8-4F85-488B-B919-FA7E2EC6DABC}" dt="2023-10-16T16:32:47.921" v="8947" actId="478"/>
          <ac:picMkLst>
            <pc:docMk/>
            <pc:sldMk cId="1997465040" sldId="374"/>
            <ac:picMk id="6" creationId="{DCBABCC6-AE7F-A404-5044-880E1F8CC9C4}"/>
          </ac:picMkLst>
        </pc:picChg>
        <pc:picChg chg="add mod">
          <ac:chgData name="KevCla12" userId="ef2eb634-4620-450f-93cc-80cc93397e60" providerId="ADAL" clId="{DF6678F8-4F85-488B-B919-FA7E2EC6DABC}" dt="2023-10-16T16:32:45.448" v="8946" actId="14100"/>
          <ac:picMkLst>
            <pc:docMk/>
            <pc:sldMk cId="1997465040" sldId="374"/>
            <ac:picMk id="7" creationId="{B16C1301-671A-9D53-D592-EBE21536C44C}"/>
          </ac:picMkLst>
        </pc:picChg>
      </pc:sldChg>
      <pc:sldChg chg="modSp add mod">
        <pc:chgData name="KevCla12" userId="ef2eb634-4620-450f-93cc-80cc93397e60" providerId="ADAL" clId="{DF6678F8-4F85-488B-B919-FA7E2EC6DABC}" dt="2023-10-17T14:30:01.069" v="10288" actId="208"/>
        <pc:sldMkLst>
          <pc:docMk/>
          <pc:sldMk cId="1203626844" sldId="375"/>
        </pc:sldMkLst>
        <pc:spChg chg="mod">
          <ac:chgData name="KevCla12" userId="ef2eb634-4620-450f-93cc-80cc93397e60" providerId="ADAL" clId="{DF6678F8-4F85-488B-B919-FA7E2EC6DABC}" dt="2023-10-17T14:29:48.551" v="10286" actId="208"/>
          <ac:spMkLst>
            <pc:docMk/>
            <pc:sldMk cId="1203626844" sldId="375"/>
            <ac:spMk id="12" creationId="{B70DA8CA-D176-0369-7FD3-EAFFBCF77D11}"/>
          </ac:spMkLst>
        </pc:spChg>
        <pc:spChg chg="mod">
          <ac:chgData name="KevCla12" userId="ef2eb634-4620-450f-93cc-80cc93397e60" providerId="ADAL" clId="{DF6678F8-4F85-488B-B919-FA7E2EC6DABC}" dt="2023-10-17T14:29:48.551" v="10286" actId="208"/>
          <ac:spMkLst>
            <pc:docMk/>
            <pc:sldMk cId="1203626844" sldId="375"/>
            <ac:spMk id="13" creationId="{FBD2F447-A07F-27EA-F257-E85D18BA2857}"/>
          </ac:spMkLst>
        </pc:spChg>
        <pc:spChg chg="mod">
          <ac:chgData name="KevCla12" userId="ef2eb634-4620-450f-93cc-80cc93397e60" providerId="ADAL" clId="{DF6678F8-4F85-488B-B919-FA7E2EC6DABC}" dt="2023-10-17T14:29:48.551" v="10286" actId="208"/>
          <ac:spMkLst>
            <pc:docMk/>
            <pc:sldMk cId="1203626844" sldId="375"/>
            <ac:spMk id="14" creationId="{94E83C71-E404-57B6-0746-016066A3737A}"/>
          </ac:spMkLst>
        </pc:spChg>
        <pc:spChg chg="mod">
          <ac:chgData name="KevCla12" userId="ef2eb634-4620-450f-93cc-80cc93397e60" providerId="ADAL" clId="{DF6678F8-4F85-488B-B919-FA7E2EC6DABC}" dt="2023-10-17T14:29:53.519" v="10287" actId="208"/>
          <ac:spMkLst>
            <pc:docMk/>
            <pc:sldMk cId="1203626844" sldId="375"/>
            <ac:spMk id="15" creationId="{F8886834-0EFE-2D3C-69D6-68F5E52C09A5}"/>
          </ac:spMkLst>
        </pc:spChg>
        <pc:spChg chg="mod">
          <ac:chgData name="KevCla12" userId="ef2eb634-4620-450f-93cc-80cc93397e60" providerId="ADAL" clId="{DF6678F8-4F85-488B-B919-FA7E2EC6DABC}" dt="2023-10-17T14:29:48.551" v="10286" actId="208"/>
          <ac:spMkLst>
            <pc:docMk/>
            <pc:sldMk cId="1203626844" sldId="375"/>
            <ac:spMk id="16" creationId="{F68DC3E8-F1FC-5D31-2BFE-37155719E82A}"/>
          </ac:spMkLst>
        </pc:spChg>
        <pc:spChg chg="mod">
          <ac:chgData name="KevCla12" userId="ef2eb634-4620-450f-93cc-80cc93397e60" providerId="ADAL" clId="{DF6678F8-4F85-488B-B919-FA7E2EC6DABC}" dt="2023-10-17T14:29:48.551" v="10286" actId="208"/>
          <ac:spMkLst>
            <pc:docMk/>
            <pc:sldMk cId="1203626844" sldId="375"/>
            <ac:spMk id="17" creationId="{493C0CEE-18AC-898B-1091-5422A798E827}"/>
          </ac:spMkLst>
        </pc:spChg>
        <pc:spChg chg="mod">
          <ac:chgData name="KevCla12" userId="ef2eb634-4620-450f-93cc-80cc93397e60" providerId="ADAL" clId="{DF6678F8-4F85-488B-B919-FA7E2EC6DABC}" dt="2023-10-17T14:29:48.551" v="10286" actId="208"/>
          <ac:spMkLst>
            <pc:docMk/>
            <pc:sldMk cId="1203626844" sldId="375"/>
            <ac:spMk id="18" creationId="{9D42AF47-0FA5-FAFB-F9E3-992B765E61DD}"/>
          </ac:spMkLst>
        </pc:spChg>
        <pc:spChg chg="mod">
          <ac:chgData name="KevCla12" userId="ef2eb634-4620-450f-93cc-80cc93397e60" providerId="ADAL" clId="{DF6678F8-4F85-488B-B919-FA7E2EC6DABC}" dt="2023-10-17T14:29:48.551" v="10286" actId="208"/>
          <ac:spMkLst>
            <pc:docMk/>
            <pc:sldMk cId="1203626844" sldId="375"/>
            <ac:spMk id="20" creationId="{64344FD6-3450-C36B-6CA2-8B16924F1F64}"/>
          </ac:spMkLst>
        </pc:spChg>
        <pc:spChg chg="mod">
          <ac:chgData name="KevCla12" userId="ef2eb634-4620-450f-93cc-80cc93397e60" providerId="ADAL" clId="{DF6678F8-4F85-488B-B919-FA7E2EC6DABC}" dt="2023-10-17T14:29:48.551" v="10286" actId="208"/>
          <ac:spMkLst>
            <pc:docMk/>
            <pc:sldMk cId="1203626844" sldId="375"/>
            <ac:spMk id="21" creationId="{A182B185-2E6D-B670-A84D-1425123B758B}"/>
          </ac:spMkLst>
        </pc:spChg>
        <pc:spChg chg="mod">
          <ac:chgData name="KevCla12" userId="ef2eb634-4620-450f-93cc-80cc93397e60" providerId="ADAL" clId="{DF6678F8-4F85-488B-B919-FA7E2EC6DABC}" dt="2023-10-17T14:29:48.551" v="10286" actId="208"/>
          <ac:spMkLst>
            <pc:docMk/>
            <pc:sldMk cId="1203626844" sldId="375"/>
            <ac:spMk id="22" creationId="{11AE36B7-92EF-1E11-5938-224F481357E1}"/>
          </ac:spMkLst>
        </pc:spChg>
        <pc:spChg chg="mod">
          <ac:chgData name="KevCla12" userId="ef2eb634-4620-450f-93cc-80cc93397e60" providerId="ADAL" clId="{DF6678F8-4F85-488B-B919-FA7E2EC6DABC}" dt="2023-10-17T14:30:01.069" v="10288" actId="208"/>
          <ac:spMkLst>
            <pc:docMk/>
            <pc:sldMk cId="1203626844" sldId="375"/>
            <ac:spMk id="24" creationId="{0DCC53FC-F100-2CEE-7430-F5E38E151B0C}"/>
          </ac:spMkLst>
        </pc:spChg>
        <pc:spChg chg="mod">
          <ac:chgData name="KevCla12" userId="ef2eb634-4620-450f-93cc-80cc93397e60" providerId="ADAL" clId="{DF6678F8-4F85-488B-B919-FA7E2EC6DABC}" dt="2023-10-17T14:30:01.069" v="10288" actId="208"/>
          <ac:spMkLst>
            <pc:docMk/>
            <pc:sldMk cId="1203626844" sldId="375"/>
            <ac:spMk id="26" creationId="{D9ACA198-24F7-AF7D-1EF5-77449D1CF12F}"/>
          </ac:spMkLst>
        </pc:spChg>
        <pc:spChg chg="mod">
          <ac:chgData name="KevCla12" userId="ef2eb634-4620-450f-93cc-80cc93397e60" providerId="ADAL" clId="{DF6678F8-4F85-488B-B919-FA7E2EC6DABC}" dt="2023-10-17T14:30:01.069" v="10288" actId="208"/>
          <ac:spMkLst>
            <pc:docMk/>
            <pc:sldMk cId="1203626844" sldId="375"/>
            <ac:spMk id="27" creationId="{7E7EA03A-0BBB-1450-1024-EF78F8C62192}"/>
          </ac:spMkLst>
        </pc:spChg>
      </pc:sldChg>
      <pc:sldChg chg="del ord">
        <pc:chgData name="KevCla12" userId="ef2eb634-4620-450f-93cc-80cc93397e60" providerId="ADAL" clId="{DF6678F8-4F85-488B-B919-FA7E2EC6DABC}" dt="2023-10-17T08:32:31.949" v="9022" actId="2696"/>
        <pc:sldMkLst>
          <pc:docMk/>
          <pc:sldMk cId="4033112458" sldId="375"/>
        </pc:sldMkLst>
      </pc:sldChg>
      <pc:sldChg chg="new del">
        <pc:chgData name="KevCla12" userId="ef2eb634-4620-450f-93cc-80cc93397e60" providerId="ADAL" clId="{DF6678F8-4F85-488B-B919-FA7E2EC6DABC}" dt="2023-10-16T16:45:50.624" v="9004" actId="47"/>
        <pc:sldMkLst>
          <pc:docMk/>
          <pc:sldMk cId="1293459837" sldId="376"/>
        </pc:sldMkLst>
      </pc:sldChg>
      <pc:sldChg chg="add ord">
        <pc:chgData name="KevCla12" userId="ef2eb634-4620-450f-93cc-80cc93397e60" providerId="ADAL" clId="{DF6678F8-4F85-488B-B919-FA7E2EC6DABC}" dt="2023-10-17T14:31:32.877" v="10350"/>
        <pc:sldMkLst>
          <pc:docMk/>
          <pc:sldMk cId="2132163416" sldId="377"/>
        </pc:sldMkLst>
      </pc:sldChg>
      <pc:sldChg chg="ord">
        <pc:chgData name="KevCla12" userId="ef2eb634-4620-450f-93cc-80cc93397e60" providerId="ADAL" clId="{DF6678F8-4F85-488B-B919-FA7E2EC6DABC}" dt="2023-10-17T14:30:24.702" v="10290"/>
        <pc:sldMkLst>
          <pc:docMk/>
          <pc:sldMk cId="557102970" sldId="378"/>
        </pc:sldMkLst>
      </pc:sldChg>
      <pc:sldChg chg="ord">
        <pc:chgData name="KevCla12" userId="ef2eb634-4620-450f-93cc-80cc93397e60" providerId="ADAL" clId="{DF6678F8-4F85-488B-B919-FA7E2EC6DABC}" dt="2023-10-17T14:30:24.702" v="10290"/>
        <pc:sldMkLst>
          <pc:docMk/>
          <pc:sldMk cId="3587184805" sldId="1061"/>
        </pc:sldMkLst>
      </pc:sldChg>
      <pc:sldChg chg="ord">
        <pc:chgData name="KevCla12" userId="ef2eb634-4620-450f-93cc-80cc93397e60" providerId="ADAL" clId="{DF6678F8-4F85-488B-B919-FA7E2EC6DABC}" dt="2023-10-17T08:32:18.817" v="9021"/>
        <pc:sldMkLst>
          <pc:docMk/>
          <pc:sldMk cId="3880411909" sldId="1062"/>
        </pc:sldMkLst>
      </pc:sldChg>
      <pc:sldChg chg="ord">
        <pc:chgData name="KevCla12" userId="ef2eb634-4620-450f-93cc-80cc93397e60" providerId="ADAL" clId="{DF6678F8-4F85-488B-B919-FA7E2EC6DABC}" dt="2023-10-17T08:32:18.817" v="9021"/>
        <pc:sldMkLst>
          <pc:docMk/>
          <pc:sldMk cId="2293467756" sldId="1063"/>
        </pc:sldMkLst>
      </pc:sldChg>
      <pc:sldChg chg="ord">
        <pc:chgData name="KevCla12" userId="ef2eb634-4620-450f-93cc-80cc93397e60" providerId="ADAL" clId="{DF6678F8-4F85-488B-B919-FA7E2EC6DABC}" dt="2023-10-17T08:32:18.817" v="9021"/>
        <pc:sldMkLst>
          <pc:docMk/>
          <pc:sldMk cId="3066829894" sldId="1064"/>
        </pc:sldMkLst>
      </pc:sldChg>
      <pc:sldChg chg="ord">
        <pc:chgData name="KevCla12" userId="ef2eb634-4620-450f-93cc-80cc93397e60" providerId="ADAL" clId="{DF6678F8-4F85-488B-B919-FA7E2EC6DABC}" dt="2023-10-17T08:32:18.817" v="9021"/>
        <pc:sldMkLst>
          <pc:docMk/>
          <pc:sldMk cId="3096482214" sldId="1065"/>
        </pc:sldMkLst>
      </pc:sldChg>
      <pc:sldChg chg="ord">
        <pc:chgData name="KevCla12" userId="ef2eb634-4620-450f-93cc-80cc93397e60" providerId="ADAL" clId="{DF6678F8-4F85-488B-B919-FA7E2EC6DABC}" dt="2023-10-17T08:32:18.817" v="9021"/>
        <pc:sldMkLst>
          <pc:docMk/>
          <pc:sldMk cId="1617138573" sldId="1066"/>
        </pc:sldMkLst>
      </pc:sldChg>
      <pc:sldChg chg="ord">
        <pc:chgData name="KevCla12" userId="ef2eb634-4620-450f-93cc-80cc93397e60" providerId="ADAL" clId="{DF6678F8-4F85-488B-B919-FA7E2EC6DABC}" dt="2023-10-17T08:32:18.817" v="9021"/>
        <pc:sldMkLst>
          <pc:docMk/>
          <pc:sldMk cId="3754820474" sldId="1067"/>
        </pc:sldMkLst>
      </pc:sldChg>
      <pc:sldChg chg="ord">
        <pc:chgData name="KevCla12" userId="ef2eb634-4620-450f-93cc-80cc93397e60" providerId="ADAL" clId="{DF6678F8-4F85-488B-B919-FA7E2EC6DABC}" dt="2023-10-17T08:32:18.817" v="9021"/>
        <pc:sldMkLst>
          <pc:docMk/>
          <pc:sldMk cId="109463790" sldId="1068"/>
        </pc:sldMkLst>
      </pc:sldChg>
      <pc:sldChg chg="ord">
        <pc:chgData name="KevCla12" userId="ef2eb634-4620-450f-93cc-80cc93397e60" providerId="ADAL" clId="{DF6678F8-4F85-488B-B919-FA7E2EC6DABC}" dt="2023-10-17T08:32:18.817" v="9021"/>
        <pc:sldMkLst>
          <pc:docMk/>
          <pc:sldMk cId="708360021" sldId="1069"/>
        </pc:sldMkLst>
      </pc:sldChg>
      <pc:sldChg chg="ord">
        <pc:chgData name="KevCla12" userId="ef2eb634-4620-450f-93cc-80cc93397e60" providerId="ADAL" clId="{DF6678F8-4F85-488B-B919-FA7E2EC6DABC}" dt="2023-10-17T08:32:18.817" v="9021"/>
        <pc:sldMkLst>
          <pc:docMk/>
          <pc:sldMk cId="2413923312" sldId="1070"/>
        </pc:sldMkLst>
      </pc:sldChg>
      <pc:sldChg chg="modSp add mod">
        <pc:chgData name="KevCla12" userId="ef2eb634-4620-450f-93cc-80cc93397e60" providerId="ADAL" clId="{DF6678F8-4F85-488B-B919-FA7E2EC6DABC}" dt="2023-10-17T14:05:08.685" v="9370" actId="108"/>
        <pc:sldMkLst>
          <pc:docMk/>
          <pc:sldMk cId="2636289103" sldId="1071"/>
        </pc:sldMkLst>
        <pc:spChg chg="mod">
          <ac:chgData name="KevCla12" userId="ef2eb634-4620-450f-93cc-80cc93397e60" providerId="ADAL" clId="{DF6678F8-4F85-488B-B919-FA7E2EC6DABC}" dt="2023-10-17T14:05:08.685" v="9370" actId="108"/>
          <ac:spMkLst>
            <pc:docMk/>
            <pc:sldMk cId="2636289103" sldId="1071"/>
            <ac:spMk id="16" creationId="{00000000-0000-0000-0000-000000000000}"/>
          </ac:spMkLst>
        </pc:spChg>
        <pc:spChg chg="mod">
          <ac:chgData name="KevCla12" userId="ef2eb634-4620-450f-93cc-80cc93397e60" providerId="ADAL" clId="{DF6678F8-4F85-488B-B919-FA7E2EC6DABC}" dt="2023-10-17T14:05:00.673" v="9369" actId="108"/>
          <ac:spMkLst>
            <pc:docMk/>
            <pc:sldMk cId="2636289103" sldId="1071"/>
            <ac:spMk id="17" creationId="{00000000-0000-0000-0000-000000000000}"/>
          </ac:spMkLst>
        </pc:spChg>
      </pc:sldChg>
      <pc:sldChg chg="new del">
        <pc:chgData name="KevCla12" userId="ef2eb634-4620-450f-93cc-80cc93397e60" providerId="ADAL" clId="{DF6678F8-4F85-488B-B919-FA7E2EC6DABC}" dt="2023-10-17T14:00:35.242" v="9077" actId="47"/>
        <pc:sldMkLst>
          <pc:docMk/>
          <pc:sldMk cId="2647985828" sldId="1071"/>
        </pc:sldMkLst>
      </pc:sldChg>
      <pc:sldChg chg="modSp add mod">
        <pc:chgData name="KevCla12" userId="ef2eb634-4620-450f-93cc-80cc93397e60" providerId="ADAL" clId="{DF6678F8-4F85-488B-B919-FA7E2EC6DABC}" dt="2023-10-17T14:05:32.024" v="9373" actId="108"/>
        <pc:sldMkLst>
          <pc:docMk/>
          <pc:sldMk cId="3398839119" sldId="1072"/>
        </pc:sldMkLst>
        <pc:spChg chg="mod">
          <ac:chgData name="KevCla12" userId="ef2eb634-4620-450f-93cc-80cc93397e60" providerId="ADAL" clId="{DF6678F8-4F85-488B-B919-FA7E2EC6DABC}" dt="2023-10-17T14:05:32.024" v="9373" actId="108"/>
          <ac:spMkLst>
            <pc:docMk/>
            <pc:sldMk cId="3398839119" sldId="1072"/>
            <ac:spMk id="17" creationId="{00000000-0000-0000-0000-000000000000}"/>
          </ac:spMkLst>
        </pc:spChg>
        <pc:spChg chg="mod">
          <ac:chgData name="KevCla12" userId="ef2eb634-4620-450f-93cc-80cc93397e60" providerId="ADAL" clId="{DF6678F8-4F85-488B-B919-FA7E2EC6DABC}" dt="2023-10-17T14:05:28.275" v="9372" actId="108"/>
          <ac:spMkLst>
            <pc:docMk/>
            <pc:sldMk cId="3398839119" sldId="1072"/>
            <ac:spMk id="19" creationId="{00000000-0000-0000-0000-000000000000}"/>
          </ac:spMkLst>
        </pc:spChg>
      </pc:sldChg>
      <pc:sldChg chg="modSp add mod">
        <pc:chgData name="KevCla12" userId="ef2eb634-4620-450f-93cc-80cc93397e60" providerId="ADAL" clId="{DF6678F8-4F85-488B-B919-FA7E2EC6DABC}" dt="2023-10-17T14:07:31.906" v="9419" actId="108"/>
        <pc:sldMkLst>
          <pc:docMk/>
          <pc:sldMk cId="346588154" sldId="1073"/>
        </pc:sldMkLst>
        <pc:spChg chg="mod">
          <ac:chgData name="KevCla12" userId="ef2eb634-4620-450f-93cc-80cc93397e60" providerId="ADAL" clId="{DF6678F8-4F85-488B-B919-FA7E2EC6DABC}" dt="2023-10-17T14:07:31.906" v="9419" actId="108"/>
          <ac:spMkLst>
            <pc:docMk/>
            <pc:sldMk cId="346588154" sldId="1073"/>
            <ac:spMk id="19" creationId="{00000000-0000-0000-0000-000000000000}"/>
          </ac:spMkLst>
        </pc:spChg>
        <pc:spChg chg="mod">
          <ac:chgData name="KevCla12" userId="ef2eb634-4620-450f-93cc-80cc93397e60" providerId="ADAL" clId="{DF6678F8-4F85-488B-B919-FA7E2EC6DABC}" dt="2023-10-17T14:07:29.286" v="9418" actId="108"/>
          <ac:spMkLst>
            <pc:docMk/>
            <pc:sldMk cId="346588154" sldId="1073"/>
            <ac:spMk id="22" creationId="{00000000-0000-0000-0000-000000000000}"/>
          </ac:spMkLst>
        </pc:spChg>
      </pc:sldChg>
      <pc:sldChg chg="addSp delSp modSp new mod modClrScheme chgLayout">
        <pc:chgData name="KevCla12" userId="ef2eb634-4620-450f-93cc-80cc93397e60" providerId="ADAL" clId="{DF6678F8-4F85-488B-B919-FA7E2EC6DABC}" dt="2023-10-17T14:31:01.090" v="10342" actId="478"/>
        <pc:sldMkLst>
          <pc:docMk/>
          <pc:sldMk cId="1918179014" sldId="1074"/>
        </pc:sldMkLst>
        <pc:spChg chg="del mod ord">
          <ac:chgData name="KevCla12" userId="ef2eb634-4620-450f-93cc-80cc93397e60" providerId="ADAL" clId="{DF6678F8-4F85-488B-B919-FA7E2EC6DABC}" dt="2023-10-17T14:30:49.138" v="10294" actId="700"/>
          <ac:spMkLst>
            <pc:docMk/>
            <pc:sldMk cId="1918179014" sldId="1074"/>
            <ac:spMk id="2" creationId="{DE320543-EE83-C7AF-583E-416388BA3097}"/>
          </ac:spMkLst>
        </pc:spChg>
        <pc:spChg chg="del mod ord">
          <ac:chgData name="KevCla12" userId="ef2eb634-4620-450f-93cc-80cc93397e60" providerId="ADAL" clId="{DF6678F8-4F85-488B-B919-FA7E2EC6DABC}" dt="2023-10-17T14:30:49.138" v="10294" actId="700"/>
          <ac:spMkLst>
            <pc:docMk/>
            <pc:sldMk cId="1918179014" sldId="1074"/>
            <ac:spMk id="3" creationId="{F2B1266C-9257-72D9-EFCB-862FB1F20353}"/>
          </ac:spMkLst>
        </pc:spChg>
        <pc:spChg chg="mod ord">
          <ac:chgData name="KevCla12" userId="ef2eb634-4620-450f-93cc-80cc93397e60" providerId="ADAL" clId="{DF6678F8-4F85-488B-B919-FA7E2EC6DABC}" dt="2023-10-17T14:30:49.138" v="10294" actId="700"/>
          <ac:spMkLst>
            <pc:docMk/>
            <pc:sldMk cId="1918179014" sldId="1074"/>
            <ac:spMk id="4" creationId="{681A136D-44EF-7FB6-8904-BBD68F2B7F74}"/>
          </ac:spMkLst>
        </pc:spChg>
        <pc:spChg chg="del">
          <ac:chgData name="KevCla12" userId="ef2eb634-4620-450f-93cc-80cc93397e60" providerId="ADAL" clId="{DF6678F8-4F85-488B-B919-FA7E2EC6DABC}" dt="2023-10-17T14:30:49.138" v="10294" actId="700"/>
          <ac:spMkLst>
            <pc:docMk/>
            <pc:sldMk cId="1918179014" sldId="1074"/>
            <ac:spMk id="5" creationId="{1BDF860E-861D-7F68-7506-D0B99B135D8B}"/>
          </ac:spMkLst>
        </pc:spChg>
        <pc:spChg chg="del">
          <ac:chgData name="KevCla12" userId="ef2eb634-4620-450f-93cc-80cc93397e60" providerId="ADAL" clId="{DF6678F8-4F85-488B-B919-FA7E2EC6DABC}" dt="2023-10-17T14:30:49.138" v="10294" actId="700"/>
          <ac:spMkLst>
            <pc:docMk/>
            <pc:sldMk cId="1918179014" sldId="1074"/>
            <ac:spMk id="6" creationId="{BC7A6BB7-C50B-861F-0B3E-3E873C71F9CB}"/>
          </ac:spMkLst>
        </pc:spChg>
        <pc:spChg chg="del">
          <ac:chgData name="KevCla12" userId="ef2eb634-4620-450f-93cc-80cc93397e60" providerId="ADAL" clId="{DF6678F8-4F85-488B-B919-FA7E2EC6DABC}" dt="2023-10-17T14:30:49.138" v="10294" actId="700"/>
          <ac:spMkLst>
            <pc:docMk/>
            <pc:sldMk cId="1918179014" sldId="1074"/>
            <ac:spMk id="7" creationId="{BEC77C15-8D5D-C828-6C18-387E42E47655}"/>
          </ac:spMkLst>
        </pc:spChg>
        <pc:spChg chg="add mod ord">
          <ac:chgData name="KevCla12" userId="ef2eb634-4620-450f-93cc-80cc93397e60" providerId="ADAL" clId="{DF6678F8-4F85-488B-B919-FA7E2EC6DABC}" dt="2023-10-17T14:30:59.207" v="10341" actId="20577"/>
          <ac:spMkLst>
            <pc:docMk/>
            <pc:sldMk cId="1918179014" sldId="1074"/>
            <ac:spMk id="8" creationId="{84D6DD54-9664-A117-1E26-C93E20174CE4}"/>
          </ac:spMkLst>
        </pc:spChg>
        <pc:spChg chg="add del mod ord">
          <ac:chgData name="KevCla12" userId="ef2eb634-4620-450f-93cc-80cc93397e60" providerId="ADAL" clId="{DF6678F8-4F85-488B-B919-FA7E2EC6DABC}" dt="2023-10-17T14:31:01.090" v="10342" actId="478"/>
          <ac:spMkLst>
            <pc:docMk/>
            <pc:sldMk cId="1918179014" sldId="1074"/>
            <ac:spMk id="9" creationId="{E94C4FD1-1537-39B4-37FF-02310F334AFD}"/>
          </ac:spMkLst>
        </pc:spChg>
      </pc:sldChg>
      <pc:sldMasterChg chg="modSldLayout">
        <pc:chgData name="KevCla12" userId="ef2eb634-4620-450f-93cc-80cc93397e60" providerId="ADAL" clId="{DF6678F8-4F85-488B-B919-FA7E2EC6DABC}" dt="2023-10-14T11:11:23.224" v="647" actId="478"/>
        <pc:sldMasterMkLst>
          <pc:docMk/>
          <pc:sldMasterMk cId="1070981886" sldId="2147483656"/>
        </pc:sldMasterMkLst>
        <pc:sldLayoutChg chg="delSp mod">
          <pc:chgData name="KevCla12" userId="ef2eb634-4620-450f-93cc-80cc93397e60" providerId="ADAL" clId="{DF6678F8-4F85-488B-B919-FA7E2EC6DABC}" dt="2023-10-14T11:11:23.224" v="647" actId="478"/>
          <pc:sldLayoutMkLst>
            <pc:docMk/>
            <pc:sldMasterMk cId="1070981886" sldId="2147483656"/>
            <pc:sldLayoutMk cId="3300769633" sldId="2147483663"/>
          </pc:sldLayoutMkLst>
          <pc:spChg chg="del">
            <ac:chgData name="KevCla12" userId="ef2eb634-4620-450f-93cc-80cc93397e60" providerId="ADAL" clId="{DF6678F8-4F85-488B-B919-FA7E2EC6DABC}" dt="2023-10-14T11:11:19.638" v="646" actId="478"/>
            <ac:spMkLst>
              <pc:docMk/>
              <pc:sldMasterMk cId="1070981886" sldId="2147483656"/>
              <pc:sldLayoutMk cId="3300769633" sldId="2147483663"/>
              <ac:spMk id="15" creationId="{00000000-0000-0000-0000-000000000000}"/>
            </ac:spMkLst>
          </pc:spChg>
          <pc:spChg chg="del">
            <ac:chgData name="KevCla12" userId="ef2eb634-4620-450f-93cc-80cc93397e60" providerId="ADAL" clId="{DF6678F8-4F85-488B-B919-FA7E2EC6DABC}" dt="2023-10-14T11:11:23.224" v="647" actId="478"/>
            <ac:spMkLst>
              <pc:docMk/>
              <pc:sldMasterMk cId="1070981886" sldId="2147483656"/>
              <pc:sldLayoutMk cId="3300769633" sldId="2147483663"/>
              <ac:spMk id="16" creationId="{00000000-0000-0000-0000-000000000000}"/>
            </ac:spMkLst>
          </pc:spChg>
        </pc:sldLayoutChg>
      </pc:sldMasterChg>
    </pc:docChg>
  </pc:docChgLst>
  <pc:docChgLst>
    <pc:chgData name="JanRud67" userId="S::janrud67@student.fh-westkueste.de::e03750ef-9d6b-41ce-93f4-a0b96c768197" providerId="AD" clId="Web-{81FCF7F6-E888-411D-8680-EA62856057C1}"/>
    <pc:docChg chg="modSld">
      <pc:chgData name="JanRud67" userId="S::janrud67@student.fh-westkueste.de::e03750ef-9d6b-41ce-93f4-a0b96c768197" providerId="AD" clId="Web-{81FCF7F6-E888-411D-8680-EA62856057C1}" dt="2023-10-17T16:52:13.482" v="0" actId="20577"/>
      <pc:docMkLst>
        <pc:docMk/>
      </pc:docMkLst>
      <pc:sldChg chg="modSp">
        <pc:chgData name="JanRud67" userId="S::janrud67@student.fh-westkueste.de::e03750ef-9d6b-41ce-93f4-a0b96c768197" providerId="AD" clId="Web-{81FCF7F6-E888-411D-8680-EA62856057C1}" dt="2023-10-17T16:52:13.482" v="0" actId="20577"/>
        <pc:sldMkLst>
          <pc:docMk/>
          <pc:sldMk cId="922827603" sldId="336"/>
        </pc:sldMkLst>
        <pc:spChg chg="mod">
          <ac:chgData name="JanRud67" userId="S::janrud67@student.fh-westkueste.de::e03750ef-9d6b-41ce-93f4-a0b96c768197" providerId="AD" clId="Web-{81FCF7F6-E888-411D-8680-EA62856057C1}" dt="2023-10-17T16:52:13.482" v="0" actId="20577"/>
          <ac:spMkLst>
            <pc:docMk/>
            <pc:sldMk cId="922827603" sldId="336"/>
            <ac:spMk id="2" creationId="{318C4205-4AD7-2886-D957-1A6345FF81B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fachhochschulewestkueste-my.sharepoint.com/personal/kevcla12_student_fh-westkueste_de/Documents/kleinerUberSpa&#223;.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fachhochschulewestkueste.sharepoint.com/sites/GUF-Sprint2/Freigegebene%20Dokumente/General/Kevin/KPI.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fachhochschulewestkueste-my.sharepoint.com/personal/kevcla12_student_fh-westkueste_de/Documents/kleinerUberSpa&#223;.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fachhochschulewestkueste-my.sharepoint.com/personal/kevcla12_student_fh-westkueste_de/Documents/kleinerUberSpa&#223;.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https://fachhochschulewestkueste-my.sharepoint.com/personal/kevcla12_student_fh-westkueste_de/Documents/kleinerUberSpa&#223;.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jaydi\Downloads\Uber\statistic_id946298_ubers-number-of-rides-worldwide-by-quarter-2017-2023.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Mappe1"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https://fachhochschulewestkueste-my.sharepoint.com/personal/kevcla12_student_fh-westkueste_de/Documents/kleinerUberSpa&#223;.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https://fachhochschulewestkueste-my.sharepoint.com/personal/kevcla12_student_fh-westkueste_de/Documents/kleinerUberSpa&#223;.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_199_760DA05.xlsx"/><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https://fachhochschulewestkueste-my.sharepoint.com/personal/kevcla12_student_fh-westkueste_de/Documents/kleinerUberSpa&#223;.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fachhochschulewestkueste-my.sharepoint.com/personal/kevcla12_student_fh-westkueste_de/Documents/kleinerUberSpa&#223;.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fachhochschulewestkueste-my.sharepoint.com/personal/kevcla12_student_fh-westkueste_de/Documents/kleinerUberSpa&#223;.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oleObject" Target="https://fachhochschulewestkueste-my.sharepoint.com/personal/kevcla12_student_fh-westkueste_de/Documents/kleinerUberSpa&#223;.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fachhochschulewestkueste-my.sharepoint.com/personal/kevcla12_student_fh-westkueste_de/Documents/kleinerUberSpa&#223;.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fachhochschulewestkueste-my.sharepoint.com/personal/kevcla12_student_fh-westkueste_de/Documents/kleinerUberSpa&#223;.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fachhochschulewestkueste.sharepoint.com/sites/GUF-Sprint2/Freigegebene%20Dokumente/General/Kevin/KPI.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fachhochschulewestkueste.sharepoint.com/sites/GUF-Sprint2/Freigegebene%20Dokumente/General/Kevin/KPI.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0" i="0" u="none" strike="noStrike" kern="1200" spc="0" baseline="0">
                <a:solidFill>
                  <a:schemeClr val="tx1"/>
                </a:solidFill>
                <a:latin typeface="+mn-lt"/>
                <a:ea typeface="+mn-ea"/>
                <a:cs typeface="+mn-cs"/>
              </a:defRPr>
            </a:pPr>
            <a:r>
              <a:rPr lang="en-US">
                <a:solidFill>
                  <a:schemeClr val="tx1"/>
                </a:solidFill>
              </a:rPr>
              <a:t>Revenue</a:t>
            </a:r>
            <a:r>
              <a:rPr lang="en-US" baseline="0">
                <a:solidFill>
                  <a:schemeClr val="tx1"/>
                </a:solidFill>
              </a:rPr>
              <a:t> by Region </a:t>
            </a:r>
            <a:r>
              <a:rPr lang="en-US" baseline="0" err="1">
                <a:solidFill>
                  <a:schemeClr val="tx1"/>
                </a:solidFill>
              </a:rPr>
              <a:t>over</a:t>
            </a:r>
            <a:r>
              <a:rPr lang="en-US" baseline="0">
                <a:solidFill>
                  <a:schemeClr val="tx1"/>
                </a:solidFill>
              </a:rPr>
              <a:t> time</a:t>
            </a:r>
            <a:endParaRPr lang="en-US">
              <a:solidFill>
                <a:schemeClr val="tx1"/>
              </a:solidFill>
            </a:endParaRPr>
          </a:p>
        </c:rich>
      </c:tx>
      <c:overlay val="0"/>
      <c:spPr>
        <a:noFill/>
        <a:ln>
          <a:noFill/>
        </a:ln>
        <a:effectLst/>
      </c:spPr>
      <c:txPr>
        <a:bodyPr rot="0" spcFirstLastPara="1" vertOverflow="ellipsis" vert="horz" wrap="square" anchor="ctr" anchorCtr="1"/>
        <a:lstStyle/>
        <a:p>
          <a:pPr>
            <a:defRPr lang="en-US"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Revenue!$E$3</c:f>
              <c:strCache>
                <c:ptCount val="1"/>
                <c:pt idx="0">
                  <c:v>US&amp;CAN</c:v>
                </c:pt>
              </c:strCache>
            </c:strRef>
          </c:tx>
          <c:spPr>
            <a:ln w="19050" cap="rnd">
              <a:solidFill>
                <a:schemeClr val="accent1"/>
              </a:solidFill>
              <a:round/>
            </a:ln>
            <a:effectLst/>
          </c:spPr>
          <c:marker>
            <c:symbol val="none"/>
          </c:marker>
          <c:cat>
            <c:numRef>
              <c:f>Revenue!$B$6:$B$10</c:f>
              <c:numCache>
                <c:formatCode>General</c:formatCode>
                <c:ptCount val="5"/>
                <c:pt idx="0">
                  <c:v>2018</c:v>
                </c:pt>
                <c:pt idx="1">
                  <c:v>2019</c:v>
                </c:pt>
                <c:pt idx="2">
                  <c:v>2020</c:v>
                </c:pt>
                <c:pt idx="3">
                  <c:v>2021</c:v>
                </c:pt>
                <c:pt idx="4">
                  <c:v>2022</c:v>
                </c:pt>
              </c:numCache>
            </c:numRef>
          </c:cat>
          <c:val>
            <c:numRef>
              <c:f>Revenue!$F$6:$F$10</c:f>
              <c:numCache>
                <c:formatCode>0.0%</c:formatCode>
                <c:ptCount val="5"/>
                <c:pt idx="0">
                  <c:v>0.57861579414374442</c:v>
                </c:pt>
                <c:pt idx="1">
                  <c:v>0.62239344030536514</c:v>
                </c:pt>
                <c:pt idx="2">
                  <c:v>0.59350031421132954</c:v>
                </c:pt>
                <c:pt idx="3">
                  <c:v>0.57828702377542252</c:v>
                </c:pt>
                <c:pt idx="4">
                  <c:v>0.61091068795683412</c:v>
                </c:pt>
              </c:numCache>
            </c:numRef>
          </c:val>
          <c:smooth val="0"/>
          <c:extLst>
            <c:ext xmlns:c16="http://schemas.microsoft.com/office/drawing/2014/chart" uri="{C3380CC4-5D6E-409C-BE32-E72D297353CC}">
              <c16:uniqueId val="{00000000-5DA1-4D91-93B6-60CB1FE0444B}"/>
            </c:ext>
          </c:extLst>
        </c:ser>
        <c:ser>
          <c:idx val="1"/>
          <c:order val="1"/>
          <c:tx>
            <c:strRef>
              <c:f>Revenue!$G$3</c:f>
              <c:strCache>
                <c:ptCount val="1"/>
                <c:pt idx="0">
                  <c:v>LatAm</c:v>
                </c:pt>
              </c:strCache>
            </c:strRef>
          </c:tx>
          <c:spPr>
            <a:ln w="19050" cap="rnd">
              <a:solidFill>
                <a:schemeClr val="accent2"/>
              </a:solidFill>
              <a:round/>
            </a:ln>
            <a:effectLst/>
          </c:spPr>
          <c:marker>
            <c:symbol val="none"/>
          </c:marker>
          <c:val>
            <c:numRef>
              <c:f>Revenue!$H$6:$H$10</c:f>
              <c:numCache>
                <c:formatCode>0.0%</c:formatCode>
                <c:ptCount val="5"/>
                <c:pt idx="0">
                  <c:v>0.17763975155279504</c:v>
                </c:pt>
                <c:pt idx="1">
                  <c:v>0.13762635187672298</c:v>
                </c:pt>
                <c:pt idx="2">
                  <c:v>0.11625819193823503</c:v>
                </c:pt>
                <c:pt idx="3">
                  <c:v>8.1180177599541672E-2</c:v>
                </c:pt>
                <c:pt idx="4">
                  <c:v>6.2051008564168522E-2</c:v>
                </c:pt>
              </c:numCache>
            </c:numRef>
          </c:val>
          <c:smooth val="0"/>
          <c:extLst>
            <c:ext xmlns:c16="http://schemas.microsoft.com/office/drawing/2014/chart" uri="{C3380CC4-5D6E-409C-BE32-E72D297353CC}">
              <c16:uniqueId val="{00000001-5DA1-4D91-93B6-60CB1FE0444B}"/>
            </c:ext>
          </c:extLst>
        </c:ser>
        <c:ser>
          <c:idx val="2"/>
          <c:order val="2"/>
          <c:tx>
            <c:strRef>
              <c:f>Revenue!$I$3</c:f>
              <c:strCache>
                <c:ptCount val="1"/>
                <c:pt idx="0">
                  <c:v>EMEA</c:v>
                </c:pt>
              </c:strCache>
            </c:strRef>
          </c:tx>
          <c:spPr>
            <a:ln w="19050" cap="rnd">
              <a:solidFill>
                <a:schemeClr val="accent3"/>
              </a:solidFill>
              <a:round/>
            </a:ln>
            <a:effectLst/>
          </c:spPr>
          <c:marker>
            <c:symbol val="none"/>
          </c:marker>
          <c:val>
            <c:numRef>
              <c:f>Revenue!$J$6:$J$10</c:f>
              <c:numCache>
                <c:formatCode>0.0%</c:formatCode>
                <c:ptCount val="5"/>
                <c:pt idx="0">
                  <c:v>0.15270629991126886</c:v>
                </c:pt>
                <c:pt idx="1">
                  <c:v>0.15183431116137697</c:v>
                </c:pt>
                <c:pt idx="2">
                  <c:v>0.18726995241942723</c:v>
                </c:pt>
                <c:pt idx="3">
                  <c:v>0.18407333142366084</c:v>
                </c:pt>
                <c:pt idx="4">
                  <c:v>0.21783731216864824</c:v>
                </c:pt>
              </c:numCache>
            </c:numRef>
          </c:val>
          <c:smooth val="0"/>
          <c:extLst>
            <c:ext xmlns:c16="http://schemas.microsoft.com/office/drawing/2014/chart" uri="{C3380CC4-5D6E-409C-BE32-E72D297353CC}">
              <c16:uniqueId val="{00000002-5DA1-4D91-93B6-60CB1FE0444B}"/>
            </c:ext>
          </c:extLst>
        </c:ser>
        <c:ser>
          <c:idx val="3"/>
          <c:order val="3"/>
          <c:tx>
            <c:strRef>
              <c:f>Revenue!$K$3</c:f>
              <c:strCache>
                <c:ptCount val="1"/>
                <c:pt idx="0">
                  <c:v>APAC</c:v>
                </c:pt>
              </c:strCache>
            </c:strRef>
          </c:tx>
          <c:spPr>
            <a:ln w="19050" cap="rnd">
              <a:solidFill>
                <a:schemeClr val="accent4"/>
              </a:solidFill>
              <a:round/>
            </a:ln>
            <a:effectLst/>
          </c:spPr>
          <c:marker>
            <c:symbol val="none"/>
          </c:marker>
          <c:val>
            <c:numRef>
              <c:f>Revenue!$L$6:$L$10</c:f>
              <c:numCache>
                <c:formatCode>0.0%</c:formatCode>
                <c:ptCount val="5"/>
                <c:pt idx="0">
                  <c:v>9.1038154392191664E-2</c:v>
                </c:pt>
                <c:pt idx="1">
                  <c:v>8.8145896656534953E-2</c:v>
                </c:pt>
                <c:pt idx="2">
                  <c:v>0.10297154143100817</c:v>
                </c:pt>
                <c:pt idx="3">
                  <c:v>0.15645946720137496</c:v>
                </c:pt>
                <c:pt idx="4">
                  <c:v>0.10920099131034916</c:v>
                </c:pt>
              </c:numCache>
            </c:numRef>
          </c:val>
          <c:smooth val="0"/>
          <c:extLst>
            <c:ext xmlns:c16="http://schemas.microsoft.com/office/drawing/2014/chart" uri="{C3380CC4-5D6E-409C-BE32-E72D297353CC}">
              <c16:uniqueId val="{00000003-5DA1-4D91-93B6-60CB1FE0444B}"/>
            </c:ext>
          </c:extLst>
        </c:ser>
        <c:dLbls>
          <c:showLegendKey val="0"/>
          <c:showVal val="0"/>
          <c:showCatName val="0"/>
          <c:showSerName val="0"/>
          <c:showPercent val="0"/>
          <c:showBubbleSize val="0"/>
        </c:dLbls>
        <c:smooth val="0"/>
        <c:axId val="203139312"/>
        <c:axId val="1604079504"/>
      </c:lineChart>
      <c:catAx>
        <c:axId val="203139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604079504"/>
        <c:crosses val="autoZero"/>
        <c:auto val="1"/>
        <c:lblAlgn val="ctr"/>
        <c:lblOffset val="100"/>
        <c:noMultiLvlLbl val="0"/>
      </c:catAx>
      <c:valAx>
        <c:axId val="1604079504"/>
        <c:scaling>
          <c:orientation val="minMax"/>
        </c:scaling>
        <c:delete val="0"/>
        <c:axPos val="l"/>
        <c:majorGridlines>
          <c:spPr>
            <a:ln w="9525" cap="flat" cmpd="sng" algn="ctr">
              <a:solidFill>
                <a:schemeClr val="accent2">
                  <a:lumMod val="40000"/>
                  <a:lumOff val="60000"/>
                </a:schemeClr>
              </a:solidFill>
              <a:round/>
            </a:ln>
            <a:effectLst/>
          </c:spPr>
        </c:majorGridlines>
        <c:title>
          <c:tx>
            <c:rich>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r>
                  <a:rPr lang="en-US">
                    <a:solidFill>
                      <a:schemeClr val="tx1"/>
                    </a:solidFill>
                  </a:rPr>
                  <a:t>Revenue</a:t>
                </a:r>
                <a:r>
                  <a:rPr lang="en-US" baseline="0">
                    <a:solidFill>
                      <a:schemeClr val="tx1"/>
                    </a:solidFill>
                  </a:rPr>
                  <a:t> </a:t>
                </a:r>
                <a:r>
                  <a:rPr lang="en-US" baseline="0" err="1">
                    <a:solidFill>
                      <a:schemeClr val="tx1"/>
                    </a:solidFill>
                  </a:rPr>
                  <a:t>share</a:t>
                </a:r>
                <a:endParaRPr lang="en-US">
                  <a:solidFill>
                    <a:schemeClr val="tx1"/>
                  </a:solidFill>
                </a:endParaRPr>
              </a:p>
            </c:rich>
          </c:tx>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31393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r>
              <a:rPr lang="en-US" sz="1200"/>
              <a:t>Growth </a:t>
            </a:r>
            <a:r>
              <a:rPr lang="en-US" sz="1200" err="1"/>
              <a:t>of</a:t>
            </a:r>
            <a:r>
              <a:rPr lang="en-US" sz="1200"/>
              <a:t> MAPC</a:t>
            </a:r>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v>Uber</c:v>
          </c:tx>
          <c:spPr>
            <a:solidFill>
              <a:schemeClr val="tx1"/>
            </a:solidFill>
            <a:ln>
              <a:noFill/>
            </a:ln>
            <a:effectLst/>
          </c:spPr>
          <c:invertIfNegative val="0"/>
          <c:dLbls>
            <c:dLbl>
              <c:idx val="0"/>
              <c:layout>
                <c:manualLayout>
                  <c:x val="-2.3472179717369813E-17"/>
                  <c:y val="9.098054521642357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9D9-4DB4-B61B-F635447E77E4}"/>
                </c:ext>
              </c:extLst>
            </c:dLbl>
            <c:dLbl>
              <c:idx val="1"/>
              <c:layout>
                <c:manualLayout>
                  <c:x val="-4.6944359434739625E-17"/>
                  <c:y val="2.08272144360701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9D9-4DB4-B61B-F635447E77E4}"/>
                </c:ext>
              </c:extLst>
            </c:dLbl>
            <c:dLbl>
              <c:idx val="2"/>
              <c:layout>
                <c:manualLayout>
                  <c:x val="0"/>
                  <c:y val="1.48687364761133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9D9-4DB4-B61B-F635447E77E4}"/>
                </c:ext>
              </c:extLst>
            </c:dLbl>
            <c:dLbl>
              <c:idx val="3"/>
              <c:layout>
                <c:manualLayout>
                  <c:x val="-9.388871886947925E-17"/>
                  <c:y val="2.363532859642831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9D9-4DB4-B61B-F635447E77E4}"/>
                </c:ext>
              </c:extLst>
            </c:dLbl>
            <c:dLbl>
              <c:idx val="4"/>
              <c:layout>
                <c:manualLayout>
                  <c:x val="0"/>
                  <c:y val="1.37272505733171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9D9-4DB4-B61B-F635447E77E4}"/>
                </c:ext>
              </c:extLst>
            </c:dLbl>
            <c:spPr>
              <a:noFill/>
              <a:ln>
                <a:noFill/>
              </a:ln>
              <a:effectLst/>
            </c:spPr>
            <c:txPr>
              <a:bodyPr rot="5400000" spcFirstLastPara="1" vertOverflow="ellipsis" wrap="square" lIns="38100" tIns="19050" rIns="38100" bIns="19050" anchor="ctr" anchorCtr="1">
                <a:spAutoFit/>
              </a:bodyPr>
              <a:lstStyle/>
              <a:p>
                <a:pPr>
                  <a:defRPr sz="7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PI.xlsx]Revenue!$C$225:$C$229</c:f>
              <c:strCache>
                <c:ptCount val="5"/>
                <c:pt idx="0">
                  <c:v>2018</c:v>
                </c:pt>
                <c:pt idx="1">
                  <c:v>2019</c:v>
                </c:pt>
                <c:pt idx="2">
                  <c:v>2020</c:v>
                </c:pt>
                <c:pt idx="3">
                  <c:v>2021</c:v>
                </c:pt>
                <c:pt idx="4">
                  <c:v>2022</c:v>
                </c:pt>
              </c:strCache>
            </c:strRef>
          </c:cat>
          <c:val>
            <c:numRef>
              <c:f>[KPI.xlsx]Revenue!$E$225:$E$229</c:f>
              <c:numCache>
                <c:formatCode>0.00%</c:formatCode>
                <c:ptCount val="5"/>
                <c:pt idx="0">
                  <c:v>0.33823529411764708</c:v>
                </c:pt>
                <c:pt idx="1">
                  <c:v>0.11538461538461539</c:v>
                </c:pt>
                <c:pt idx="2">
                  <c:v>-0.22660098522167488</c:v>
                </c:pt>
                <c:pt idx="3">
                  <c:v>0.35668789808917195</c:v>
                </c:pt>
                <c:pt idx="4">
                  <c:v>0.15492957746478872</c:v>
                </c:pt>
              </c:numCache>
            </c:numRef>
          </c:val>
          <c:extLst>
            <c:ext xmlns:c16="http://schemas.microsoft.com/office/drawing/2014/chart" uri="{C3380CC4-5D6E-409C-BE32-E72D297353CC}">
              <c16:uniqueId val="{00000000-E9D9-4DB4-B61B-F635447E77E4}"/>
            </c:ext>
          </c:extLst>
        </c:ser>
        <c:ser>
          <c:idx val="1"/>
          <c:order val="1"/>
          <c:tx>
            <c:v>Lyft</c:v>
          </c:tx>
          <c:spPr>
            <a:solidFill>
              <a:schemeClr val="accent1"/>
            </a:solidFill>
            <a:ln>
              <a:noFill/>
            </a:ln>
            <a:effectLst/>
          </c:spPr>
          <c:invertIfNegative val="0"/>
          <c:dLbls>
            <c:dLbl>
              <c:idx val="0"/>
              <c:layout>
                <c:manualLayout>
                  <c:x val="0"/>
                  <c:y val="1.977153610758207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9D9-4DB4-B61B-F635447E77E4}"/>
                </c:ext>
              </c:extLst>
            </c:dLbl>
            <c:dLbl>
              <c:idx val="1"/>
              <c:layout>
                <c:manualLayout>
                  <c:x val="-4.6944359434739625E-17"/>
                  <c:y val="1.693204089147695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9D9-4DB4-B61B-F635447E77E4}"/>
                </c:ext>
              </c:extLst>
            </c:dLbl>
            <c:dLbl>
              <c:idx val="2"/>
              <c:layout>
                <c:manualLayout>
                  <c:x val="0"/>
                  <c:y val="2.393688092899692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9D9-4DB4-B61B-F635447E77E4}"/>
                </c:ext>
              </c:extLst>
            </c:dLbl>
            <c:dLbl>
              <c:idx val="3"/>
              <c:layout>
                <c:manualLayout>
                  <c:x val="0"/>
                  <c:y val="1.977153610758206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9D9-4DB4-B61B-F635447E77E4}"/>
                </c:ext>
              </c:extLst>
            </c:dLbl>
            <c:dLbl>
              <c:idx val="4"/>
              <c:layout>
                <c:manualLayout>
                  <c:x val="-1.877774377389585E-16"/>
                  <c:y val="1.98509694049416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9D9-4DB4-B61B-F635447E77E4}"/>
                </c:ext>
              </c:extLst>
            </c:dLbl>
            <c:spPr>
              <a:noFill/>
              <a:ln>
                <a:noFill/>
              </a:ln>
              <a:effectLst/>
            </c:spPr>
            <c:txPr>
              <a:bodyPr rot="5400000" spcFirstLastPara="1" vertOverflow="ellipsis" wrap="square" lIns="38100" tIns="19050" rIns="38100" bIns="19050" anchor="ctr" anchorCtr="1">
                <a:spAutoFit/>
              </a:bodyPr>
              <a:lstStyle/>
              <a:p>
                <a:pPr>
                  <a:defRPr sz="700" b="1" i="0" u="none" strike="noStrike" kern="1200" baseline="0">
                    <a:solidFill>
                      <a:schemeClr val="accen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KPI.xlsx]Revenue!$F$233:$F$237</c:f>
              <c:numCache>
                <c:formatCode>0.00%</c:formatCode>
                <c:ptCount val="5"/>
                <c:pt idx="0">
                  <c:v>0.47619047619047633</c:v>
                </c:pt>
                <c:pt idx="1">
                  <c:v>0.23118279569892455</c:v>
                </c:pt>
                <c:pt idx="2">
                  <c:v>-0.45414847161572047</c:v>
                </c:pt>
                <c:pt idx="3">
                  <c:v>0.49599999999999994</c:v>
                </c:pt>
                <c:pt idx="4">
                  <c:v>8.5561497326203287E-2</c:v>
                </c:pt>
              </c:numCache>
            </c:numRef>
          </c:val>
          <c:extLst>
            <c:ext xmlns:c16="http://schemas.microsoft.com/office/drawing/2014/chart" uri="{C3380CC4-5D6E-409C-BE32-E72D297353CC}">
              <c16:uniqueId val="{00000001-E9D9-4DB4-B61B-F635447E77E4}"/>
            </c:ext>
          </c:extLst>
        </c:ser>
        <c:ser>
          <c:idx val="2"/>
          <c:order val="2"/>
          <c:tx>
            <c:v>Etsy</c:v>
          </c:tx>
          <c:spPr>
            <a:solidFill>
              <a:schemeClr val="accent5">
                <a:lumMod val="40000"/>
                <a:lumOff val="60000"/>
              </a:schemeClr>
            </a:solidFill>
            <a:ln>
              <a:noFill/>
            </a:ln>
            <a:effectLst/>
          </c:spPr>
          <c:invertIfNegative val="0"/>
          <c:dLbls>
            <c:dLbl>
              <c:idx val="1"/>
              <c:layout>
                <c:manualLayout>
                  <c:x val="-4.6944359434739625E-17"/>
                  <c:y val="1.64961384139915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9D9-4DB4-B61B-F635447E77E4}"/>
                </c:ext>
              </c:extLst>
            </c:dLbl>
            <c:dLbl>
              <c:idx val="2"/>
              <c:layout>
                <c:manualLayout>
                  <c:x val="0"/>
                  <c:y val="2.39819911966331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9D9-4DB4-B61B-F635447E77E4}"/>
                </c:ext>
              </c:extLst>
            </c:dLbl>
            <c:dLbl>
              <c:idx val="3"/>
              <c:layout>
                <c:manualLayout>
                  <c:x val="0"/>
                  <c:y val="1.69099760866548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9D9-4DB4-B61B-F635447E77E4}"/>
                </c:ext>
              </c:extLst>
            </c:dLbl>
            <c:spPr>
              <a:noFill/>
              <a:ln>
                <a:noFill/>
              </a:ln>
              <a:effectLst/>
            </c:spPr>
            <c:txPr>
              <a:bodyPr rot="5400000" spcFirstLastPara="1" vertOverflow="ellipsis" wrap="square" lIns="38100" tIns="19050" rIns="38100" bIns="19050" anchor="ctr" anchorCtr="1">
                <a:spAutoFit/>
              </a:bodyPr>
              <a:lstStyle/>
              <a:p>
                <a:pPr>
                  <a:defRPr sz="700" b="1" i="0" u="none" strike="noStrike" kern="1200" baseline="0">
                    <a:solidFill>
                      <a:schemeClr val="accent5">
                        <a:lumMod val="40000"/>
                        <a:lumOff val="6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KPI.xlsx]Revenue!$E$240:$E$244</c:f>
              <c:numCache>
                <c:formatCode>0.00%</c:formatCode>
                <c:ptCount val="5"/>
                <c:pt idx="1">
                  <c:v>0.17490494296577941</c:v>
                </c:pt>
                <c:pt idx="2">
                  <c:v>0.76699029126213603</c:v>
                </c:pt>
                <c:pt idx="3">
                  <c:v>0.1758241758241757</c:v>
                </c:pt>
                <c:pt idx="4">
                  <c:v>-3.1152647975077882E-2</c:v>
                </c:pt>
              </c:numCache>
            </c:numRef>
          </c:val>
          <c:extLst>
            <c:ext xmlns:c16="http://schemas.microsoft.com/office/drawing/2014/chart" uri="{C3380CC4-5D6E-409C-BE32-E72D297353CC}">
              <c16:uniqueId val="{00000002-E9D9-4DB4-B61B-F635447E77E4}"/>
            </c:ext>
          </c:extLst>
        </c:ser>
        <c:ser>
          <c:idx val="3"/>
          <c:order val="3"/>
          <c:tx>
            <c:v>Ebay</c:v>
          </c:tx>
          <c:spPr>
            <a:solidFill>
              <a:schemeClr val="accent2">
                <a:lumMod val="40000"/>
                <a:lumOff val="60000"/>
              </a:schemeClr>
            </a:solidFill>
            <a:ln>
              <a:noFill/>
            </a:ln>
            <a:effectLst/>
          </c:spPr>
          <c:invertIfNegative val="0"/>
          <c:dLbls>
            <c:dLbl>
              <c:idx val="4"/>
              <c:layout>
                <c:manualLayout>
                  <c:x val="0"/>
                  <c:y val="1.588960144588214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9D9-4DB4-B61B-F635447E77E4}"/>
                </c:ext>
              </c:extLst>
            </c:dLbl>
            <c:spPr>
              <a:noFill/>
              <a:ln>
                <a:noFill/>
              </a:ln>
              <a:effectLst/>
            </c:spPr>
            <c:txPr>
              <a:bodyPr rot="5400000" spcFirstLastPara="1" vertOverflow="ellipsis" wrap="square" lIns="38100" tIns="19050" rIns="38100" bIns="19050" anchor="ctr" anchorCtr="1">
                <a:spAutoFit/>
              </a:bodyPr>
              <a:lstStyle/>
              <a:p>
                <a:pPr>
                  <a:defRPr sz="700" b="1" i="0" u="none" strike="noStrike" kern="1200" baseline="0">
                    <a:solidFill>
                      <a:schemeClr val="accent2">
                        <a:lumMod val="60000"/>
                        <a:lumOff val="4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KPI.xlsx]Revenue!$E$248:$E$252</c:f>
              <c:numCache>
                <c:formatCode>0%</c:formatCode>
                <c:ptCount val="5"/>
                <c:pt idx="0">
                  <c:v>4.790419161676647E-2</c:v>
                </c:pt>
                <c:pt idx="1">
                  <c:v>-1.1428571428571429E-2</c:v>
                </c:pt>
                <c:pt idx="2">
                  <c:v>-6.9364161849710976E-2</c:v>
                </c:pt>
                <c:pt idx="3">
                  <c:v>-1.2422360248447204E-2</c:v>
                </c:pt>
                <c:pt idx="4">
                  <c:v>-0.13207547169811321</c:v>
                </c:pt>
              </c:numCache>
            </c:numRef>
          </c:val>
          <c:extLst>
            <c:ext xmlns:c16="http://schemas.microsoft.com/office/drawing/2014/chart" uri="{C3380CC4-5D6E-409C-BE32-E72D297353CC}">
              <c16:uniqueId val="{00000003-E9D9-4DB4-B61B-F635447E77E4}"/>
            </c:ext>
          </c:extLst>
        </c:ser>
        <c:dLbls>
          <c:dLblPos val="inEnd"/>
          <c:showLegendKey val="0"/>
          <c:showVal val="1"/>
          <c:showCatName val="0"/>
          <c:showSerName val="0"/>
          <c:showPercent val="0"/>
          <c:showBubbleSize val="0"/>
        </c:dLbls>
        <c:gapWidth val="150"/>
        <c:axId val="214290304"/>
        <c:axId val="214287584"/>
      </c:barChart>
      <c:catAx>
        <c:axId val="214290304"/>
        <c:scaling>
          <c:orientation val="minMax"/>
        </c:scaling>
        <c:delete val="1"/>
        <c:axPos val="b"/>
        <c:numFmt formatCode="General" sourceLinked="1"/>
        <c:majorTickMark val="none"/>
        <c:minorTickMark val="none"/>
        <c:tickLblPos val="nextTo"/>
        <c:crossAx val="214287584"/>
        <c:crosses val="autoZero"/>
        <c:auto val="1"/>
        <c:lblAlgn val="ctr"/>
        <c:lblOffset val="100"/>
        <c:noMultiLvlLbl val="0"/>
      </c:catAx>
      <c:valAx>
        <c:axId val="214287584"/>
        <c:scaling>
          <c:orientation val="minMax"/>
        </c:scaling>
        <c:delete val="0"/>
        <c:axPos val="l"/>
        <c:majorGridlines>
          <c:spPr>
            <a:ln w="9525" cap="flat" cmpd="sng" algn="ctr">
              <a:solidFill>
                <a:schemeClr val="accent2">
                  <a:lumMod val="20000"/>
                  <a:lumOff val="80000"/>
                </a:schemeClr>
              </a:solidFill>
              <a:round/>
            </a:ln>
            <a:effectLst/>
          </c:spPr>
        </c:majorGridlines>
        <c:title>
          <c:tx>
            <c:rich>
              <a:bodyPr rot="-5400000" spcFirstLastPara="1" vertOverflow="ellipsis" vert="horz" wrap="square" anchor="ctr" anchorCtr="1"/>
              <a:lstStyle/>
              <a:p>
                <a:pPr>
                  <a:defRPr lang="en-US" sz="800" b="0" i="0" u="none" strike="noStrike" kern="1200" baseline="0">
                    <a:solidFill>
                      <a:schemeClr val="tx1"/>
                    </a:solidFill>
                    <a:latin typeface="+mn-lt"/>
                    <a:ea typeface="+mn-ea"/>
                    <a:cs typeface="+mn-cs"/>
                  </a:defRPr>
                </a:pPr>
                <a:r>
                  <a:rPr lang="en-US" sz="800"/>
                  <a:t>Customer Growth</a:t>
                </a:r>
              </a:p>
            </c:rich>
          </c:tx>
          <c:overlay val="0"/>
          <c:spPr>
            <a:noFill/>
            <a:ln>
              <a:noFill/>
            </a:ln>
            <a:effectLst/>
          </c:spPr>
          <c:txPr>
            <a:bodyPr rot="-5400000" spcFirstLastPara="1" vertOverflow="ellipsis" vert="horz" wrap="square" anchor="ctr" anchorCtr="1"/>
            <a:lstStyle/>
            <a:p>
              <a:pPr>
                <a:defRPr lang="en-US" sz="800" b="0" i="0" u="none" strike="noStrike" kern="1200" baseline="0">
                  <a:solidFill>
                    <a:schemeClr val="tx1"/>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429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5400000" vert="horz"/>
    <a:lstStyle/>
    <a:p>
      <a:pPr>
        <a:defRPr>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0" i="0" u="none" strike="noStrike" kern="1200" spc="0" baseline="0">
                <a:solidFill>
                  <a:schemeClr val="tx1"/>
                </a:solidFill>
                <a:latin typeface="+mn-lt"/>
                <a:ea typeface="+mn-ea"/>
                <a:cs typeface="+mn-cs"/>
              </a:defRPr>
            </a:pPr>
            <a:r>
              <a:rPr lang="en-US"/>
              <a:t>Operational Cashflow in </a:t>
            </a:r>
            <a:r>
              <a:rPr lang="en-US" err="1"/>
              <a:t>million</a:t>
            </a:r>
            <a:r>
              <a:rPr lang="en-US"/>
              <a:t> $</a:t>
            </a:r>
          </a:p>
        </c:rich>
      </c:tx>
      <c:overlay val="0"/>
      <c:spPr>
        <a:noFill/>
        <a:ln>
          <a:noFill/>
        </a:ln>
        <a:effectLst/>
      </c:spPr>
      <c:txPr>
        <a:bodyPr rot="0" spcFirstLastPara="1" vertOverflow="ellipsis" vert="horz" wrap="square" anchor="ctr" anchorCtr="1"/>
        <a:lstStyle/>
        <a:p>
          <a:pPr>
            <a:defRPr lang="en-US" sz="14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Revenue!$AB$3</c:f>
              <c:strCache>
                <c:ptCount val="1"/>
                <c:pt idx="0">
                  <c:v>Uber</c:v>
                </c:pt>
              </c:strCache>
            </c:strRef>
          </c:tx>
          <c:spPr>
            <a:solidFill>
              <a:schemeClr val="tx1"/>
            </a:solidFill>
            <a:ln>
              <a:noFill/>
            </a:ln>
            <a:effectLst/>
          </c:spPr>
          <c:invertIfNegative val="0"/>
          <c:dLbls>
            <c:dLbl>
              <c:idx val="0"/>
              <c:layout>
                <c:manualLayout>
                  <c:x val="0"/>
                  <c:y val="2.02020094901723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7B7-41DC-ABDA-06B83A30389A}"/>
                </c:ext>
              </c:extLst>
            </c:dLbl>
            <c:dLbl>
              <c:idx val="1"/>
              <c:layout>
                <c:manualLayout>
                  <c:x val="-5.0925337632079971E-17"/>
                  <c:y val="2.02020094901723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7B7-41DC-ABDA-06B83A30389A}"/>
                </c:ext>
              </c:extLst>
            </c:dLbl>
            <c:dLbl>
              <c:idx val="2"/>
              <c:layout>
                <c:manualLayout>
                  <c:x val="-5.0925337632079971E-17"/>
                  <c:y val="2.02020094901723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7B7-41DC-ABDA-06B83A30389A}"/>
                </c:ext>
              </c:extLst>
            </c:dLbl>
            <c:dLbl>
              <c:idx val="3"/>
              <c:layout>
                <c:manualLayout>
                  <c:x val="0"/>
                  <c:y val="2.020200949017233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7B7-41DC-ABDA-06B83A30389A}"/>
                </c:ext>
              </c:extLst>
            </c:dLbl>
            <c:dLbl>
              <c:idx val="4"/>
              <c:layout>
                <c:manualLayout>
                  <c:x val="0"/>
                  <c:y val="6.734003163390838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7B7-41DC-ABDA-06B83A30389A}"/>
                </c:ext>
              </c:extLst>
            </c:dLbl>
            <c:dLbl>
              <c:idx val="5"/>
              <c:layout>
                <c:manualLayout>
                  <c:x val="0"/>
                  <c:y val="2.02020094901723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7B7-41DC-ABDA-06B83A30389A}"/>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venue!$AA$4:$AA$10</c:f>
              <c:numCache>
                <c:formatCode>General</c:formatCode>
                <c:ptCount val="7"/>
                <c:pt idx="0">
                  <c:v>2016</c:v>
                </c:pt>
                <c:pt idx="1">
                  <c:v>2017</c:v>
                </c:pt>
                <c:pt idx="2">
                  <c:v>2018</c:v>
                </c:pt>
                <c:pt idx="3">
                  <c:v>2019</c:v>
                </c:pt>
                <c:pt idx="4">
                  <c:v>2020</c:v>
                </c:pt>
                <c:pt idx="5">
                  <c:v>2021</c:v>
                </c:pt>
                <c:pt idx="6">
                  <c:v>2022</c:v>
                </c:pt>
              </c:numCache>
            </c:numRef>
          </c:cat>
          <c:val>
            <c:numRef>
              <c:f>Revenue!$AB$4:$AB$10</c:f>
              <c:numCache>
                <c:formatCode>_(* #,##0.00_);_(* \(#,##0.00\);_(* "-"??_);_(@_)</c:formatCode>
                <c:ptCount val="7"/>
                <c:pt idx="0">
                  <c:v>-2913</c:v>
                </c:pt>
                <c:pt idx="1">
                  <c:v>-1418</c:v>
                </c:pt>
                <c:pt idx="2">
                  <c:v>-1541</c:v>
                </c:pt>
                <c:pt idx="3">
                  <c:v>-4321</c:v>
                </c:pt>
                <c:pt idx="4">
                  <c:v>-2745</c:v>
                </c:pt>
                <c:pt idx="5">
                  <c:v>-445</c:v>
                </c:pt>
                <c:pt idx="6">
                  <c:v>642</c:v>
                </c:pt>
              </c:numCache>
            </c:numRef>
          </c:val>
          <c:extLst>
            <c:ext xmlns:c16="http://schemas.microsoft.com/office/drawing/2014/chart" uri="{C3380CC4-5D6E-409C-BE32-E72D297353CC}">
              <c16:uniqueId val="{00000000-3725-4193-A85F-6ACD975FEFB4}"/>
            </c:ext>
          </c:extLst>
        </c:ser>
        <c:ser>
          <c:idx val="1"/>
          <c:order val="1"/>
          <c:tx>
            <c:strRef>
              <c:f>Revenue!$AC$3</c:f>
              <c:strCache>
                <c:ptCount val="1"/>
                <c:pt idx="0">
                  <c:v>Lyft</c:v>
                </c:pt>
              </c:strCache>
            </c:strRef>
          </c:tx>
          <c:spPr>
            <a:solidFill>
              <a:schemeClr val="accent1"/>
            </a:solidFill>
            <a:ln>
              <a:noFill/>
            </a:ln>
            <a:effectLst/>
          </c:spPr>
          <c:invertIfNegative val="0"/>
          <c:dLbls>
            <c:dLbl>
              <c:idx val="0"/>
              <c:layout>
                <c:manualLayout>
                  <c:x val="0"/>
                  <c:y val="0.1164044028715486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25-4193-A85F-6ACD975FEFB4}"/>
                </c:ext>
              </c:extLst>
            </c:dLbl>
            <c:dLbl>
              <c:idx val="1"/>
              <c:layout>
                <c:manualLayout>
                  <c:x val="0"/>
                  <c:y val="0.1182634119338201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725-4193-A85F-6ACD975FEFB4}"/>
                </c:ext>
              </c:extLst>
            </c:dLbl>
            <c:dLbl>
              <c:idx val="2"/>
              <c:layout>
                <c:manualLayout>
                  <c:x val="0"/>
                  <c:y val="0.111005004902036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725-4193-A85F-6ACD975FEFB4}"/>
                </c:ext>
              </c:extLst>
            </c:dLbl>
            <c:dLbl>
              <c:idx val="3"/>
              <c:layout>
                <c:manualLayout>
                  <c:x val="0"/>
                  <c:y val="9.969983313458302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725-4193-A85F-6ACD975FEFB4}"/>
                </c:ext>
              </c:extLst>
            </c:dLbl>
            <c:dLbl>
              <c:idx val="4"/>
              <c:layout>
                <c:manualLayout>
                  <c:x val="0"/>
                  <c:y val="0.1767506154719820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725-4193-A85F-6ACD975FEFB4}"/>
                </c:ext>
              </c:extLst>
            </c:dLbl>
            <c:dLbl>
              <c:idx val="5"/>
              <c:layout>
                <c:manualLayout>
                  <c:x val="2.7777777777777779E-3"/>
                  <c:y val="9.920618298142422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725-4193-A85F-6ACD975FEFB4}"/>
                </c:ext>
              </c:extLst>
            </c:dLbl>
            <c:dLbl>
              <c:idx val="6"/>
              <c:layout>
                <c:manualLayout>
                  <c:x val="2.5000000000000001E-2"/>
                  <c:y val="0.1160141488299537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725-4193-A85F-6ACD975FEFB4}"/>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accent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Revenue!$AA$4:$AA$10</c:f>
              <c:numCache>
                <c:formatCode>General</c:formatCode>
                <c:ptCount val="7"/>
                <c:pt idx="0">
                  <c:v>2016</c:v>
                </c:pt>
                <c:pt idx="1">
                  <c:v>2017</c:v>
                </c:pt>
                <c:pt idx="2">
                  <c:v>2018</c:v>
                </c:pt>
                <c:pt idx="3">
                  <c:v>2019</c:v>
                </c:pt>
                <c:pt idx="4">
                  <c:v>2020</c:v>
                </c:pt>
                <c:pt idx="5">
                  <c:v>2021</c:v>
                </c:pt>
                <c:pt idx="6">
                  <c:v>2022</c:v>
                </c:pt>
              </c:numCache>
            </c:numRef>
          </c:cat>
          <c:val>
            <c:numRef>
              <c:f>Revenue!$AC$4:$AC$10</c:f>
              <c:numCache>
                <c:formatCode>_(* #,##0.00_);_(* \(#,##0.00\);_(* "-"??_);_(@_)</c:formatCode>
                <c:ptCount val="7"/>
                <c:pt idx="0">
                  <c:v>-487.16300000000001</c:v>
                </c:pt>
                <c:pt idx="1">
                  <c:v>-393.52600000000001</c:v>
                </c:pt>
                <c:pt idx="2">
                  <c:v>-280.673</c:v>
                </c:pt>
                <c:pt idx="3">
                  <c:v>-105.702</c:v>
                </c:pt>
                <c:pt idx="4">
                  <c:v>-1378.8989999999999</c:v>
                </c:pt>
                <c:pt idx="5">
                  <c:v>-101.721</c:v>
                </c:pt>
                <c:pt idx="6">
                  <c:v>-237.285</c:v>
                </c:pt>
              </c:numCache>
            </c:numRef>
          </c:val>
          <c:extLst>
            <c:ext xmlns:c16="http://schemas.microsoft.com/office/drawing/2014/chart" uri="{C3380CC4-5D6E-409C-BE32-E72D297353CC}">
              <c16:uniqueId val="{00000001-3725-4193-A85F-6ACD975FEFB4}"/>
            </c:ext>
          </c:extLst>
        </c:ser>
        <c:ser>
          <c:idx val="2"/>
          <c:order val="2"/>
          <c:tx>
            <c:strRef>
              <c:f>Revenue!$AD$3</c:f>
              <c:strCache>
                <c:ptCount val="1"/>
                <c:pt idx="0">
                  <c:v>Grab</c:v>
                </c:pt>
              </c:strCache>
            </c:strRef>
          </c:tx>
          <c:spPr>
            <a:solidFill>
              <a:schemeClr val="accent2"/>
            </a:solidFill>
            <a:ln>
              <a:solidFill>
                <a:schemeClr val="accent2"/>
              </a:solidFill>
            </a:ln>
            <a:effectLst/>
          </c:spPr>
          <c:invertIfNegative val="0"/>
          <c:dLbls>
            <c:dLbl>
              <c:idx val="3"/>
              <c:layout>
                <c:manualLayout>
                  <c:x val="0"/>
                  <c:y val="2.02020094901723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7B7-41DC-ABDA-06B83A30389A}"/>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venue!$AA$4:$AA$10</c:f>
              <c:numCache>
                <c:formatCode>General</c:formatCode>
                <c:ptCount val="7"/>
                <c:pt idx="0">
                  <c:v>2016</c:v>
                </c:pt>
                <c:pt idx="1">
                  <c:v>2017</c:v>
                </c:pt>
                <c:pt idx="2">
                  <c:v>2018</c:v>
                </c:pt>
                <c:pt idx="3">
                  <c:v>2019</c:v>
                </c:pt>
                <c:pt idx="4">
                  <c:v>2020</c:v>
                </c:pt>
                <c:pt idx="5">
                  <c:v>2021</c:v>
                </c:pt>
                <c:pt idx="6">
                  <c:v>2022</c:v>
                </c:pt>
              </c:numCache>
            </c:numRef>
          </c:cat>
          <c:val>
            <c:numRef>
              <c:f>Revenue!$AD$4:$AD$10</c:f>
              <c:numCache>
                <c:formatCode>General</c:formatCode>
                <c:ptCount val="7"/>
                <c:pt idx="3" formatCode="_(* #,##0.00_);_(* \(#,##0.00\);_(* &quot;-&quot;??_);_(@_)">
                  <c:v>-2112</c:v>
                </c:pt>
                <c:pt idx="4" formatCode="_(* #,##0.00_);_(* \(#,##0.00\);_(* &quot;-&quot;??_);_(@_)">
                  <c:v>-643</c:v>
                </c:pt>
                <c:pt idx="5" formatCode="_(* #,##0.00_);_(* \(#,##0.00\);_(* &quot;-&quot;??_);_(@_)">
                  <c:v>-954</c:v>
                </c:pt>
                <c:pt idx="6" formatCode="_(* #,##0.00_);_(* \(#,##0.00\);_(* &quot;-&quot;??_);_(@_)">
                  <c:v>-798</c:v>
                </c:pt>
              </c:numCache>
            </c:numRef>
          </c:val>
          <c:extLst>
            <c:ext xmlns:c16="http://schemas.microsoft.com/office/drawing/2014/chart" uri="{C3380CC4-5D6E-409C-BE32-E72D297353CC}">
              <c16:uniqueId val="{00000002-3725-4193-A85F-6ACD975FEFB4}"/>
            </c:ext>
          </c:extLst>
        </c:ser>
        <c:dLbls>
          <c:dLblPos val="outEnd"/>
          <c:showLegendKey val="0"/>
          <c:showVal val="1"/>
          <c:showCatName val="0"/>
          <c:showSerName val="0"/>
          <c:showPercent val="0"/>
          <c:showBubbleSize val="0"/>
        </c:dLbls>
        <c:gapWidth val="219"/>
        <c:overlap val="-27"/>
        <c:axId val="1978620575"/>
        <c:axId val="1978627647"/>
      </c:barChart>
      <c:catAx>
        <c:axId val="197862057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900" b="1" i="0" u="none" strike="noStrike" kern="1200" baseline="0">
                <a:solidFill>
                  <a:schemeClr val="tx1"/>
                </a:solidFill>
                <a:latin typeface="+mn-lt"/>
                <a:ea typeface="+mn-ea"/>
                <a:cs typeface="+mn-cs"/>
              </a:defRPr>
            </a:pPr>
            <a:endParaRPr lang="en-US"/>
          </a:p>
        </c:txPr>
        <c:crossAx val="1978627647"/>
        <c:crosses val="autoZero"/>
        <c:auto val="1"/>
        <c:lblAlgn val="ctr"/>
        <c:lblOffset val="100"/>
        <c:noMultiLvlLbl val="0"/>
      </c:catAx>
      <c:valAx>
        <c:axId val="1978627647"/>
        <c:scaling>
          <c:orientation val="minMax"/>
        </c:scaling>
        <c:delete val="0"/>
        <c:axPos val="l"/>
        <c:majorGridlines>
          <c:spPr>
            <a:ln w="9525" cap="flat" cmpd="sng" algn="ctr">
              <a:solidFill>
                <a:schemeClr val="accent2">
                  <a:lumMod val="20000"/>
                  <a:lumOff val="80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97862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r>
              <a:rPr lang="en-US" sz="1200"/>
              <a:t>Revenue</a:t>
            </a:r>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v>Uber</c:v>
          </c:tx>
          <c:spPr>
            <a:ln w="28575" cap="rnd">
              <a:solidFill>
                <a:schemeClr val="tx1"/>
              </a:solidFill>
              <a:round/>
            </a:ln>
            <a:effectLst/>
          </c:spPr>
          <c:marker>
            <c:symbol val="none"/>
          </c:marker>
          <c:cat>
            <c:numRef>
              <c:f>Revenue!$B$103:$B$109</c:f>
              <c:numCache>
                <c:formatCode>General</c:formatCode>
                <c:ptCount val="7"/>
                <c:pt idx="0">
                  <c:v>2016</c:v>
                </c:pt>
                <c:pt idx="1">
                  <c:v>2017</c:v>
                </c:pt>
                <c:pt idx="2">
                  <c:v>2018</c:v>
                </c:pt>
                <c:pt idx="3">
                  <c:v>2019</c:v>
                </c:pt>
                <c:pt idx="4">
                  <c:v>2020</c:v>
                </c:pt>
                <c:pt idx="5">
                  <c:v>2021</c:v>
                </c:pt>
                <c:pt idx="6">
                  <c:v>2022</c:v>
                </c:pt>
              </c:numCache>
            </c:numRef>
          </c:cat>
          <c:val>
            <c:numRef>
              <c:f>Revenue!$C$103:$C$109</c:f>
              <c:numCache>
                <c:formatCode>_(* #,##0.00_);_(* \(#,##0.00\);_(* "-"??_);_(@_)</c:formatCode>
                <c:ptCount val="7"/>
                <c:pt idx="0">
                  <c:v>3845</c:v>
                </c:pt>
                <c:pt idx="1">
                  <c:v>7932</c:v>
                </c:pt>
                <c:pt idx="2">
                  <c:v>11270</c:v>
                </c:pt>
                <c:pt idx="3">
                  <c:v>14147</c:v>
                </c:pt>
                <c:pt idx="4">
                  <c:v>11139</c:v>
                </c:pt>
                <c:pt idx="5">
                  <c:v>17455</c:v>
                </c:pt>
                <c:pt idx="6">
                  <c:v>31877</c:v>
                </c:pt>
              </c:numCache>
            </c:numRef>
          </c:val>
          <c:smooth val="0"/>
          <c:extLst>
            <c:ext xmlns:c16="http://schemas.microsoft.com/office/drawing/2014/chart" uri="{C3380CC4-5D6E-409C-BE32-E72D297353CC}">
              <c16:uniqueId val="{00000000-165A-4DA0-A8BB-736152576560}"/>
            </c:ext>
          </c:extLst>
        </c:ser>
        <c:ser>
          <c:idx val="1"/>
          <c:order val="1"/>
          <c:tx>
            <c:v>Lyft</c:v>
          </c:tx>
          <c:spPr>
            <a:ln w="28575" cap="rnd">
              <a:solidFill>
                <a:schemeClr val="accent1"/>
              </a:solidFill>
              <a:round/>
            </a:ln>
            <a:effectLst/>
          </c:spPr>
          <c:marker>
            <c:symbol val="none"/>
          </c:marker>
          <c:cat>
            <c:numRef>
              <c:f>Revenue!$B$103:$B$109</c:f>
              <c:numCache>
                <c:formatCode>General</c:formatCode>
                <c:ptCount val="7"/>
                <c:pt idx="0">
                  <c:v>2016</c:v>
                </c:pt>
                <c:pt idx="1">
                  <c:v>2017</c:v>
                </c:pt>
                <c:pt idx="2">
                  <c:v>2018</c:v>
                </c:pt>
                <c:pt idx="3">
                  <c:v>2019</c:v>
                </c:pt>
                <c:pt idx="4">
                  <c:v>2020</c:v>
                </c:pt>
                <c:pt idx="5">
                  <c:v>2021</c:v>
                </c:pt>
                <c:pt idx="6">
                  <c:v>2022</c:v>
                </c:pt>
              </c:numCache>
            </c:numRef>
          </c:cat>
          <c:val>
            <c:numRef>
              <c:f>Revenue!$E$103:$E$109</c:f>
              <c:numCache>
                <c:formatCode>_(* #,##0.00_);_(* \(#,##0.00\);_(* "-"??_);_(@_)</c:formatCode>
                <c:ptCount val="7"/>
                <c:pt idx="0">
                  <c:v>343</c:v>
                </c:pt>
                <c:pt idx="1">
                  <c:v>1059.8810000000001</c:v>
                </c:pt>
                <c:pt idx="2">
                  <c:v>2156.616</c:v>
                </c:pt>
                <c:pt idx="3">
                  <c:v>3615.96</c:v>
                </c:pt>
                <c:pt idx="4">
                  <c:v>2364.681</c:v>
                </c:pt>
                <c:pt idx="5">
                  <c:v>3208.3229999999999</c:v>
                </c:pt>
                <c:pt idx="6">
                  <c:v>4095.1350000000002</c:v>
                </c:pt>
              </c:numCache>
            </c:numRef>
          </c:val>
          <c:smooth val="0"/>
          <c:extLst>
            <c:ext xmlns:c16="http://schemas.microsoft.com/office/drawing/2014/chart" uri="{C3380CC4-5D6E-409C-BE32-E72D297353CC}">
              <c16:uniqueId val="{00000001-165A-4DA0-A8BB-736152576560}"/>
            </c:ext>
          </c:extLst>
        </c:ser>
        <c:ser>
          <c:idx val="2"/>
          <c:order val="2"/>
          <c:tx>
            <c:v>Grab</c:v>
          </c:tx>
          <c:spPr>
            <a:ln w="28575" cap="rnd">
              <a:solidFill>
                <a:schemeClr val="accent2"/>
              </a:solidFill>
              <a:round/>
            </a:ln>
            <a:effectLst/>
          </c:spPr>
          <c:marker>
            <c:symbol val="none"/>
          </c:marker>
          <c:cat>
            <c:numRef>
              <c:f>Revenue!$B$103:$B$109</c:f>
              <c:numCache>
                <c:formatCode>General</c:formatCode>
                <c:ptCount val="7"/>
                <c:pt idx="0">
                  <c:v>2016</c:v>
                </c:pt>
                <c:pt idx="1">
                  <c:v>2017</c:v>
                </c:pt>
                <c:pt idx="2">
                  <c:v>2018</c:v>
                </c:pt>
                <c:pt idx="3">
                  <c:v>2019</c:v>
                </c:pt>
                <c:pt idx="4">
                  <c:v>2020</c:v>
                </c:pt>
                <c:pt idx="5">
                  <c:v>2021</c:v>
                </c:pt>
                <c:pt idx="6">
                  <c:v>2022</c:v>
                </c:pt>
              </c:numCache>
            </c:numRef>
          </c:cat>
          <c:val>
            <c:numRef>
              <c:f>Revenue!$F$103:$F$109</c:f>
              <c:numCache>
                <c:formatCode>General</c:formatCode>
                <c:ptCount val="7"/>
                <c:pt idx="3" formatCode="_(* #,##0.00_);_(* \(#,##0.00\);_(* &quot;-&quot;??_);_(@_)">
                  <c:v>-845</c:v>
                </c:pt>
                <c:pt idx="4" formatCode="_(* #,##0.00_);_(* \(#,##0.00\);_(* &quot;-&quot;??_);_(@_)">
                  <c:v>469</c:v>
                </c:pt>
                <c:pt idx="5" formatCode="_(* #,##0.00_);_(* \(#,##0.00\);_(* &quot;-&quot;??_);_(@_)">
                  <c:v>675</c:v>
                </c:pt>
                <c:pt idx="6" formatCode="_(* #,##0.00_);_(* \(#,##0.00\);_(* &quot;-&quot;??_);_(@_)">
                  <c:v>1433</c:v>
                </c:pt>
              </c:numCache>
            </c:numRef>
          </c:val>
          <c:smooth val="0"/>
          <c:extLst>
            <c:ext xmlns:c16="http://schemas.microsoft.com/office/drawing/2014/chart" uri="{C3380CC4-5D6E-409C-BE32-E72D297353CC}">
              <c16:uniqueId val="{00000002-165A-4DA0-A8BB-736152576560}"/>
            </c:ext>
          </c:extLst>
        </c:ser>
        <c:dLbls>
          <c:showLegendKey val="0"/>
          <c:showVal val="0"/>
          <c:showCatName val="0"/>
          <c:showSerName val="0"/>
          <c:showPercent val="0"/>
          <c:showBubbleSize val="0"/>
        </c:dLbls>
        <c:smooth val="0"/>
        <c:axId val="122154176"/>
        <c:axId val="122163424"/>
      </c:lineChart>
      <c:catAx>
        <c:axId val="122154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22163424"/>
        <c:crosses val="autoZero"/>
        <c:auto val="1"/>
        <c:lblAlgn val="ctr"/>
        <c:lblOffset val="100"/>
        <c:noMultiLvlLbl val="0"/>
      </c:catAx>
      <c:valAx>
        <c:axId val="122163424"/>
        <c:scaling>
          <c:orientation val="minMax"/>
        </c:scaling>
        <c:delete val="0"/>
        <c:axPos val="l"/>
        <c:majorGridlines>
          <c:spPr>
            <a:ln w="9525" cap="flat" cmpd="sng" algn="ctr">
              <a:solidFill>
                <a:schemeClr val="accent2">
                  <a:lumMod val="20000"/>
                  <a:lumOff val="80000"/>
                </a:schemeClr>
              </a:solidFill>
              <a:round/>
            </a:ln>
            <a:effectLst/>
          </c:spPr>
        </c:majorGridlines>
        <c:title>
          <c:tx>
            <c:rich>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r>
                  <a:rPr lang="en-US"/>
                  <a:t>Revenue in </a:t>
                </a:r>
                <a:r>
                  <a:rPr lang="en-US" err="1"/>
                  <a:t>million</a:t>
                </a:r>
                <a:r>
                  <a:rPr lang="en-US"/>
                  <a:t> $</a:t>
                </a:r>
              </a:p>
            </c:rich>
          </c:tx>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title>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221541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r>
              <a:rPr lang="en-US" sz="1200"/>
              <a:t>Revenue Growth</a:t>
            </a:r>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v>Uber</c:v>
          </c:tx>
          <c:spPr>
            <a:ln w="19050" cap="rnd">
              <a:solidFill>
                <a:schemeClr val="tx1"/>
              </a:solidFill>
              <a:round/>
            </a:ln>
            <a:effectLst/>
          </c:spPr>
          <c:marker>
            <c:symbol val="none"/>
          </c:marker>
          <c:cat>
            <c:numRef>
              <c:f>Revenue!$B$153:$B$158</c:f>
              <c:numCache>
                <c:formatCode>General</c:formatCode>
                <c:ptCount val="6"/>
                <c:pt idx="0">
                  <c:v>2017</c:v>
                </c:pt>
                <c:pt idx="1">
                  <c:v>2018</c:v>
                </c:pt>
                <c:pt idx="2">
                  <c:v>2019</c:v>
                </c:pt>
                <c:pt idx="3">
                  <c:v>2020</c:v>
                </c:pt>
                <c:pt idx="4">
                  <c:v>2021</c:v>
                </c:pt>
                <c:pt idx="5">
                  <c:v>2022</c:v>
                </c:pt>
              </c:numCache>
            </c:numRef>
          </c:cat>
          <c:val>
            <c:numRef>
              <c:f>Revenue!$D$117:$D$122</c:f>
              <c:numCache>
                <c:formatCode>0.0%</c:formatCode>
                <c:ptCount val="6"/>
                <c:pt idx="0">
                  <c:v>1.0629388816644993</c:v>
                </c:pt>
                <c:pt idx="1">
                  <c:v>0.42082702975289965</c:v>
                </c:pt>
                <c:pt idx="2">
                  <c:v>0.25527950310559006</c:v>
                </c:pt>
                <c:pt idx="3">
                  <c:v>-0.21262458471760798</c:v>
                </c:pt>
                <c:pt idx="4">
                  <c:v>0.56701678786246523</c:v>
                </c:pt>
                <c:pt idx="5">
                  <c:v>0.82623890002864508</c:v>
                </c:pt>
              </c:numCache>
            </c:numRef>
          </c:val>
          <c:smooth val="0"/>
          <c:extLst>
            <c:ext xmlns:c16="http://schemas.microsoft.com/office/drawing/2014/chart" uri="{C3380CC4-5D6E-409C-BE32-E72D297353CC}">
              <c16:uniqueId val="{00000000-F211-4AD0-AE58-9734D7A27C02}"/>
            </c:ext>
          </c:extLst>
        </c:ser>
        <c:ser>
          <c:idx val="1"/>
          <c:order val="1"/>
          <c:tx>
            <c:v>Lyft</c:v>
          </c:tx>
          <c:spPr>
            <a:ln w="19050" cap="rnd">
              <a:solidFill>
                <a:schemeClr val="accent1"/>
              </a:solidFill>
              <a:round/>
            </a:ln>
            <a:effectLst/>
          </c:spPr>
          <c:marker>
            <c:symbol val="none"/>
          </c:marker>
          <c:cat>
            <c:numRef>
              <c:f>Revenue!$B$153:$B$158</c:f>
              <c:numCache>
                <c:formatCode>General</c:formatCode>
                <c:ptCount val="6"/>
                <c:pt idx="0">
                  <c:v>2017</c:v>
                </c:pt>
                <c:pt idx="1">
                  <c:v>2018</c:v>
                </c:pt>
                <c:pt idx="2">
                  <c:v>2019</c:v>
                </c:pt>
                <c:pt idx="3">
                  <c:v>2020</c:v>
                </c:pt>
                <c:pt idx="4">
                  <c:v>2021</c:v>
                </c:pt>
                <c:pt idx="5">
                  <c:v>2022</c:v>
                </c:pt>
              </c:numCache>
            </c:numRef>
          </c:cat>
          <c:val>
            <c:numRef>
              <c:f>Revenue!$D$126:$D$131</c:f>
              <c:numCache>
                <c:formatCode>0.0%</c:formatCode>
                <c:ptCount val="6"/>
                <c:pt idx="0">
                  <c:v>2.0900320699708455</c:v>
                </c:pt>
                <c:pt idx="1">
                  <c:v>1.0347718281580669</c:v>
                </c:pt>
                <c:pt idx="2">
                  <c:v>0.67668235791629106</c:v>
                </c:pt>
                <c:pt idx="3">
                  <c:v>-0.34604337437361032</c:v>
                </c:pt>
                <c:pt idx="4">
                  <c:v>0.35676778389981567</c:v>
                </c:pt>
                <c:pt idx="5">
                  <c:v>0.27640982531995689</c:v>
                </c:pt>
              </c:numCache>
            </c:numRef>
          </c:val>
          <c:smooth val="0"/>
          <c:extLst>
            <c:ext xmlns:c16="http://schemas.microsoft.com/office/drawing/2014/chart" uri="{C3380CC4-5D6E-409C-BE32-E72D297353CC}">
              <c16:uniqueId val="{00000001-F211-4AD0-AE58-9734D7A27C02}"/>
            </c:ext>
          </c:extLst>
        </c:ser>
        <c:ser>
          <c:idx val="2"/>
          <c:order val="2"/>
          <c:tx>
            <c:v>Grab</c:v>
          </c:tx>
          <c:spPr>
            <a:ln w="19050" cap="rnd">
              <a:solidFill>
                <a:schemeClr val="accent2"/>
              </a:solidFill>
              <a:round/>
            </a:ln>
            <a:effectLst/>
          </c:spPr>
          <c:marker>
            <c:symbol val="none"/>
          </c:marker>
          <c:cat>
            <c:numRef>
              <c:f>Revenue!$B$153:$B$158</c:f>
              <c:numCache>
                <c:formatCode>General</c:formatCode>
                <c:ptCount val="6"/>
                <c:pt idx="0">
                  <c:v>2017</c:v>
                </c:pt>
                <c:pt idx="1">
                  <c:v>2018</c:v>
                </c:pt>
                <c:pt idx="2">
                  <c:v>2019</c:v>
                </c:pt>
                <c:pt idx="3">
                  <c:v>2020</c:v>
                </c:pt>
                <c:pt idx="4">
                  <c:v>2021</c:v>
                </c:pt>
                <c:pt idx="5">
                  <c:v>2022</c:v>
                </c:pt>
              </c:numCache>
            </c:numRef>
          </c:cat>
          <c:val>
            <c:numRef>
              <c:f>Revenue!$D$135:$D$140</c:f>
              <c:numCache>
                <c:formatCode>General</c:formatCode>
                <c:ptCount val="6"/>
                <c:pt idx="3" formatCode="0.0%">
                  <c:v>1.5550295857988166</c:v>
                </c:pt>
                <c:pt idx="4" formatCode="0.0%">
                  <c:v>0.43923240938166314</c:v>
                </c:pt>
                <c:pt idx="5" formatCode="0.0%">
                  <c:v>1.1229629629629629</c:v>
                </c:pt>
              </c:numCache>
            </c:numRef>
          </c:val>
          <c:smooth val="0"/>
          <c:extLst>
            <c:ext xmlns:c16="http://schemas.microsoft.com/office/drawing/2014/chart" uri="{C3380CC4-5D6E-409C-BE32-E72D297353CC}">
              <c16:uniqueId val="{00000002-F211-4AD0-AE58-9734D7A27C02}"/>
            </c:ext>
          </c:extLst>
        </c:ser>
        <c:ser>
          <c:idx val="3"/>
          <c:order val="3"/>
          <c:tx>
            <c:v>Ola Cab</c:v>
          </c:tx>
          <c:spPr>
            <a:ln w="12700" cap="rnd">
              <a:solidFill>
                <a:schemeClr val="accent4">
                  <a:lumMod val="20000"/>
                  <a:lumOff val="80000"/>
                </a:schemeClr>
              </a:solidFill>
              <a:round/>
            </a:ln>
            <a:effectLst/>
          </c:spPr>
          <c:marker>
            <c:symbol val="none"/>
          </c:marker>
          <c:cat>
            <c:numRef>
              <c:f>Revenue!$B$153:$B$158</c:f>
              <c:numCache>
                <c:formatCode>General</c:formatCode>
                <c:ptCount val="6"/>
                <c:pt idx="0">
                  <c:v>2017</c:v>
                </c:pt>
                <c:pt idx="1">
                  <c:v>2018</c:v>
                </c:pt>
                <c:pt idx="2">
                  <c:v>2019</c:v>
                </c:pt>
                <c:pt idx="3">
                  <c:v>2020</c:v>
                </c:pt>
                <c:pt idx="4">
                  <c:v>2021</c:v>
                </c:pt>
                <c:pt idx="5">
                  <c:v>2022</c:v>
                </c:pt>
              </c:numCache>
            </c:numRef>
          </c:cat>
          <c:val>
            <c:numRef>
              <c:f>Revenue!$D$144:$D$149</c:f>
              <c:numCache>
                <c:formatCode>General</c:formatCode>
                <c:ptCount val="6"/>
                <c:pt idx="2" formatCode="0.0%">
                  <c:v>0.37662337662337664</c:v>
                </c:pt>
                <c:pt idx="3" formatCode="0.0%">
                  <c:v>4.6776729559748334E-2</c:v>
                </c:pt>
                <c:pt idx="4" formatCode="0.0%">
                  <c:v>-0.63086744273375883</c:v>
                </c:pt>
                <c:pt idx="5" formatCode="0.0%">
                  <c:v>1.0044760935910479</c:v>
                </c:pt>
              </c:numCache>
            </c:numRef>
          </c:val>
          <c:smooth val="0"/>
          <c:extLst>
            <c:ext xmlns:c16="http://schemas.microsoft.com/office/drawing/2014/chart" uri="{C3380CC4-5D6E-409C-BE32-E72D297353CC}">
              <c16:uniqueId val="{00000003-F211-4AD0-AE58-9734D7A27C02}"/>
            </c:ext>
          </c:extLst>
        </c:ser>
        <c:ser>
          <c:idx val="4"/>
          <c:order val="4"/>
          <c:tx>
            <c:v>Didi Chuxing</c:v>
          </c:tx>
          <c:spPr>
            <a:ln w="12700" cap="rnd">
              <a:solidFill>
                <a:schemeClr val="accent6">
                  <a:lumMod val="40000"/>
                  <a:lumOff val="60000"/>
                </a:schemeClr>
              </a:solidFill>
              <a:round/>
            </a:ln>
            <a:effectLst/>
          </c:spPr>
          <c:marker>
            <c:symbol val="none"/>
          </c:marker>
          <c:cat>
            <c:numRef>
              <c:f>Revenue!$B$153:$B$158</c:f>
              <c:numCache>
                <c:formatCode>General</c:formatCode>
                <c:ptCount val="6"/>
                <c:pt idx="0">
                  <c:v>2017</c:v>
                </c:pt>
                <c:pt idx="1">
                  <c:v>2018</c:v>
                </c:pt>
                <c:pt idx="2">
                  <c:v>2019</c:v>
                </c:pt>
                <c:pt idx="3">
                  <c:v>2020</c:v>
                </c:pt>
                <c:pt idx="4">
                  <c:v>2021</c:v>
                </c:pt>
                <c:pt idx="5">
                  <c:v>2022</c:v>
                </c:pt>
              </c:numCache>
            </c:numRef>
          </c:cat>
          <c:val>
            <c:numRef>
              <c:f>Revenue!$D$153:$D$158</c:f>
              <c:numCache>
                <c:formatCode>General</c:formatCode>
                <c:ptCount val="6"/>
                <c:pt idx="2" formatCode="0.0%">
                  <c:v>0.14413482149456724</c:v>
                </c:pt>
                <c:pt idx="3" formatCode="0.0%">
                  <c:v>-8.43077718198849E-2</c:v>
                </c:pt>
                <c:pt idx="4" formatCode="0.0%">
                  <c:v>0.22640045153097221</c:v>
                </c:pt>
                <c:pt idx="5" formatCode="0.0%">
                  <c:v>-0.19007075878732105</c:v>
                </c:pt>
              </c:numCache>
            </c:numRef>
          </c:val>
          <c:smooth val="0"/>
          <c:extLst>
            <c:ext xmlns:c16="http://schemas.microsoft.com/office/drawing/2014/chart" uri="{C3380CC4-5D6E-409C-BE32-E72D297353CC}">
              <c16:uniqueId val="{00000004-F211-4AD0-AE58-9734D7A27C02}"/>
            </c:ext>
          </c:extLst>
        </c:ser>
        <c:dLbls>
          <c:showLegendKey val="0"/>
          <c:showVal val="0"/>
          <c:showCatName val="0"/>
          <c:showSerName val="0"/>
          <c:showPercent val="0"/>
          <c:showBubbleSize val="0"/>
        </c:dLbls>
        <c:smooth val="0"/>
        <c:axId val="293182528"/>
        <c:axId val="293192864"/>
      </c:lineChart>
      <c:catAx>
        <c:axId val="293182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93192864"/>
        <c:crosses val="autoZero"/>
        <c:auto val="1"/>
        <c:lblAlgn val="ctr"/>
        <c:lblOffset val="100"/>
        <c:noMultiLvlLbl val="0"/>
      </c:catAx>
      <c:valAx>
        <c:axId val="29319286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931825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r>
              <a:rPr lang="en-US" err="1">
                <a:solidFill>
                  <a:schemeClr val="tx1"/>
                </a:solidFill>
              </a:rPr>
              <a:t>Number</a:t>
            </a:r>
            <a:r>
              <a:rPr lang="en-US">
                <a:solidFill>
                  <a:schemeClr val="tx1"/>
                </a:solidFill>
              </a:rPr>
              <a:t> </a:t>
            </a:r>
            <a:r>
              <a:rPr lang="en-US" err="1">
                <a:solidFill>
                  <a:schemeClr val="tx1"/>
                </a:solidFill>
              </a:rPr>
              <a:t>of</a:t>
            </a:r>
            <a:r>
              <a:rPr lang="en-US">
                <a:solidFill>
                  <a:schemeClr val="tx1"/>
                </a:solidFill>
              </a:rPr>
              <a:t> </a:t>
            </a:r>
            <a:r>
              <a:rPr lang="en-US" err="1">
                <a:solidFill>
                  <a:schemeClr val="tx1"/>
                </a:solidFill>
              </a:rPr>
              <a:t>rides</a:t>
            </a:r>
            <a:r>
              <a:rPr lang="en-US" baseline="0">
                <a:solidFill>
                  <a:schemeClr val="tx1"/>
                </a:solidFill>
              </a:rPr>
              <a:t> by Uber </a:t>
            </a:r>
            <a:r>
              <a:rPr lang="en-US" baseline="0" err="1">
                <a:solidFill>
                  <a:schemeClr val="tx1"/>
                </a:solidFill>
              </a:rPr>
              <a:t>worldwide</a:t>
            </a:r>
            <a:endParaRPr lang="en-US">
              <a:solidFill>
                <a:schemeClr val="tx1"/>
              </a:solidFill>
            </a:endParaRPr>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404201748144572"/>
          <c:y val="0.18744616874347014"/>
          <c:w val="0.82362834531552309"/>
          <c:h val="0.6528625062643868"/>
        </c:manualLayout>
      </c:layout>
      <c:barChart>
        <c:barDir val="col"/>
        <c:grouping val="clustered"/>
        <c:varyColors val="0"/>
        <c:ser>
          <c:idx val="0"/>
          <c:order val="0"/>
          <c:spPr>
            <a:solidFill>
              <a:schemeClr val="tx1"/>
            </a:solidFill>
            <a:ln>
              <a:noFill/>
            </a:ln>
            <a:effectLst/>
          </c:spPr>
          <c:invertIfNegative val="0"/>
          <c:cat>
            <c:strRef>
              <c:f>Data!$B$6:$B$29</c:f>
              <c:strCache>
                <c:ptCount val="24"/>
                <c:pt idx="0">
                  <c:v>Q2 '17</c:v>
                </c:pt>
                <c:pt idx="1">
                  <c:v>Q3 '17</c:v>
                </c:pt>
                <c:pt idx="2">
                  <c:v>Q4 '17</c:v>
                </c:pt>
                <c:pt idx="3">
                  <c:v>Q1 '18</c:v>
                </c:pt>
                <c:pt idx="4">
                  <c:v>Q2 '18</c:v>
                </c:pt>
                <c:pt idx="5">
                  <c:v>Q3 '18</c:v>
                </c:pt>
                <c:pt idx="6">
                  <c:v>Q4 '18</c:v>
                </c:pt>
                <c:pt idx="7">
                  <c:v>Q1 '19</c:v>
                </c:pt>
                <c:pt idx="8">
                  <c:v>Q2 '19</c:v>
                </c:pt>
                <c:pt idx="9">
                  <c:v>Q3 '19</c:v>
                </c:pt>
                <c:pt idx="10">
                  <c:v>Q4 '19</c:v>
                </c:pt>
                <c:pt idx="11">
                  <c:v>Q1 '20</c:v>
                </c:pt>
                <c:pt idx="12">
                  <c:v>Q2 '20</c:v>
                </c:pt>
                <c:pt idx="13">
                  <c:v>Q3 '20</c:v>
                </c:pt>
                <c:pt idx="14">
                  <c:v>Q4 '20</c:v>
                </c:pt>
                <c:pt idx="15">
                  <c:v>Q1 '21</c:v>
                </c:pt>
                <c:pt idx="16">
                  <c:v>Q2 '21</c:v>
                </c:pt>
                <c:pt idx="17">
                  <c:v>Q3 '21</c:v>
                </c:pt>
                <c:pt idx="18">
                  <c:v>Q4 '21</c:v>
                </c:pt>
                <c:pt idx="19">
                  <c:v>Q1 '22</c:v>
                </c:pt>
                <c:pt idx="20">
                  <c:v>Q2 '22</c:v>
                </c:pt>
                <c:pt idx="21">
                  <c:v>Q3 '22</c:v>
                </c:pt>
                <c:pt idx="22">
                  <c:v>Q4 '22</c:v>
                </c:pt>
                <c:pt idx="23">
                  <c:v>Q1 '23</c:v>
                </c:pt>
              </c:strCache>
            </c:strRef>
          </c:cat>
          <c:val>
            <c:numRef>
              <c:f>Data!$C$6:$C$29</c:f>
              <c:numCache>
                <c:formatCode>#,##0</c:formatCode>
                <c:ptCount val="24"/>
                <c:pt idx="0">
                  <c:v>889</c:v>
                </c:pt>
                <c:pt idx="1">
                  <c:v>985</c:v>
                </c:pt>
                <c:pt idx="2">
                  <c:v>1088</c:v>
                </c:pt>
                <c:pt idx="3">
                  <c:v>1136</c:v>
                </c:pt>
                <c:pt idx="4">
                  <c:v>1242</c:v>
                </c:pt>
                <c:pt idx="5">
                  <c:v>1348</c:v>
                </c:pt>
                <c:pt idx="6">
                  <c:v>1493</c:v>
                </c:pt>
                <c:pt idx="7">
                  <c:v>1550</c:v>
                </c:pt>
                <c:pt idx="8">
                  <c:v>1677</c:v>
                </c:pt>
                <c:pt idx="9">
                  <c:v>1770</c:v>
                </c:pt>
                <c:pt idx="10">
                  <c:v>1907</c:v>
                </c:pt>
                <c:pt idx="11">
                  <c:v>1658</c:v>
                </c:pt>
                <c:pt idx="12">
                  <c:v>737</c:v>
                </c:pt>
                <c:pt idx="13">
                  <c:v>1184</c:v>
                </c:pt>
                <c:pt idx="14">
                  <c:v>1443</c:v>
                </c:pt>
                <c:pt idx="15">
                  <c:v>1447</c:v>
                </c:pt>
                <c:pt idx="16">
                  <c:v>1511</c:v>
                </c:pt>
                <c:pt idx="17">
                  <c:v>1641</c:v>
                </c:pt>
                <c:pt idx="18">
                  <c:v>1769</c:v>
                </c:pt>
                <c:pt idx="19">
                  <c:v>1713</c:v>
                </c:pt>
                <c:pt idx="20">
                  <c:v>1872</c:v>
                </c:pt>
                <c:pt idx="21">
                  <c:v>1953</c:v>
                </c:pt>
                <c:pt idx="22">
                  <c:v>2104</c:v>
                </c:pt>
                <c:pt idx="23">
                  <c:v>2124</c:v>
                </c:pt>
              </c:numCache>
            </c:numRef>
          </c:val>
          <c:extLst>
            <c:ext xmlns:c16="http://schemas.microsoft.com/office/drawing/2014/chart" uri="{C3380CC4-5D6E-409C-BE32-E72D297353CC}">
              <c16:uniqueId val="{00000000-312A-4CB8-9885-C2C409A0ACA3}"/>
            </c:ext>
          </c:extLst>
        </c:ser>
        <c:dLbls>
          <c:showLegendKey val="0"/>
          <c:showVal val="0"/>
          <c:showCatName val="0"/>
          <c:showSerName val="0"/>
          <c:showPercent val="0"/>
          <c:showBubbleSize val="0"/>
        </c:dLbls>
        <c:gapWidth val="194"/>
        <c:overlap val="-27"/>
        <c:axId val="1550450831"/>
        <c:axId val="1888222063"/>
      </c:barChart>
      <c:catAx>
        <c:axId val="1550450831"/>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solidFill>
                <a:latin typeface="+mn-lt"/>
                <a:ea typeface="+mn-ea"/>
                <a:cs typeface="+mn-cs"/>
              </a:defRPr>
            </a:pPr>
            <a:endParaRPr lang="en-US"/>
          </a:p>
        </c:txPr>
        <c:crossAx val="1888222063"/>
        <c:crosses val="autoZero"/>
        <c:auto val="1"/>
        <c:lblAlgn val="ctr"/>
        <c:lblOffset val="50"/>
        <c:tickLblSkip val="2"/>
        <c:noMultiLvlLbl val="0"/>
      </c:catAx>
      <c:valAx>
        <c:axId val="1888222063"/>
        <c:scaling>
          <c:orientation val="minMax"/>
        </c:scaling>
        <c:delete val="0"/>
        <c:axPos val="l"/>
        <c:majorGridlines>
          <c:spPr>
            <a:ln w="9525" cap="flat" cmpd="sng" algn="ctr">
              <a:solidFill>
                <a:schemeClr val="accent2">
                  <a:lumMod val="20000"/>
                  <a:lumOff val="80000"/>
                </a:schemeClr>
              </a:solidFill>
              <a:round/>
            </a:ln>
            <a:effectLst/>
          </c:spPr>
        </c:majorGridlines>
        <c:title>
          <c:tx>
            <c:rich>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r>
                  <a:rPr lang="en-US">
                    <a:solidFill>
                      <a:schemeClr val="tx1"/>
                    </a:solidFill>
                  </a:rPr>
                  <a:t>Rides</a:t>
                </a:r>
                <a:r>
                  <a:rPr lang="en-US" baseline="0">
                    <a:solidFill>
                      <a:schemeClr val="tx1"/>
                    </a:solidFill>
                  </a:rPr>
                  <a:t> </a:t>
                </a:r>
                <a:r>
                  <a:rPr lang="en-US">
                    <a:solidFill>
                      <a:schemeClr val="tx1"/>
                    </a:solidFill>
                  </a:rPr>
                  <a:t>in </a:t>
                </a:r>
                <a:r>
                  <a:rPr lang="en-US" err="1">
                    <a:solidFill>
                      <a:schemeClr val="tx1"/>
                    </a:solidFill>
                  </a:rPr>
                  <a:t>Millions</a:t>
                </a:r>
                <a:endParaRPr lang="en-US">
                  <a:solidFill>
                    <a:schemeClr val="tx1"/>
                  </a:solidFill>
                </a:endParaRPr>
              </a:p>
            </c:rich>
          </c:tx>
          <c:layout>
            <c:manualLayout>
              <c:xMode val="edge"/>
              <c:yMode val="edge"/>
              <c:x val="0"/>
              <c:y val="0.32056545116326479"/>
            </c:manualLayout>
          </c:layout>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504508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10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r>
              <a:rPr lang="en-US" err="1"/>
              <a:t>Number</a:t>
            </a:r>
            <a:r>
              <a:rPr lang="en-US" baseline="0"/>
              <a:t> </a:t>
            </a:r>
            <a:r>
              <a:rPr lang="en-US" baseline="0" err="1"/>
              <a:t>of</a:t>
            </a:r>
            <a:r>
              <a:rPr lang="en-US" baseline="0"/>
              <a:t> MAPC</a:t>
            </a:r>
            <a:endParaRPr lang="en-US"/>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tx1"/>
            </a:solidFill>
            <a:ln>
              <a:noFill/>
            </a:ln>
            <a:effectLst/>
          </c:spPr>
          <c:invertIfNegative val="0"/>
          <c:cat>
            <c:strRef>
              <c:f>'Uber Rides'!$A$10:$A$28</c:f>
              <c:strCache>
                <c:ptCount val="19"/>
                <c:pt idx="0">
                  <c:v>Q1 '19</c:v>
                </c:pt>
                <c:pt idx="1">
                  <c:v>Q2 '19</c:v>
                </c:pt>
                <c:pt idx="2">
                  <c:v>Q3 '19</c:v>
                </c:pt>
                <c:pt idx="3">
                  <c:v>Q4 '19</c:v>
                </c:pt>
                <c:pt idx="4">
                  <c:v>Q1 '20</c:v>
                </c:pt>
                <c:pt idx="5">
                  <c:v>Q2 '20</c:v>
                </c:pt>
                <c:pt idx="6">
                  <c:v>Q3 '20</c:v>
                </c:pt>
                <c:pt idx="7">
                  <c:v>Q4 '20</c:v>
                </c:pt>
                <c:pt idx="8">
                  <c:v>Q1 '21</c:v>
                </c:pt>
                <c:pt idx="9">
                  <c:v>Q2 '21</c:v>
                </c:pt>
                <c:pt idx="10">
                  <c:v>Q3 '21</c:v>
                </c:pt>
                <c:pt idx="11">
                  <c:v>Q4 '21</c:v>
                </c:pt>
                <c:pt idx="12">
                  <c:v>Q1 '22</c:v>
                </c:pt>
                <c:pt idx="13">
                  <c:v>Q2 '22</c:v>
                </c:pt>
                <c:pt idx="14">
                  <c:v>Q3 '22</c:v>
                </c:pt>
                <c:pt idx="15">
                  <c:v>Q4 '22</c:v>
                </c:pt>
                <c:pt idx="16">
                  <c:v>Q1 '23</c:v>
                </c:pt>
                <c:pt idx="17">
                  <c:v>Q2 '23</c:v>
                </c:pt>
                <c:pt idx="18">
                  <c:v>Q3 '23</c:v>
                </c:pt>
              </c:strCache>
            </c:strRef>
          </c:cat>
          <c:val>
            <c:numRef>
              <c:f>'Uber Rides'!$E$10:$E$28</c:f>
              <c:numCache>
                <c:formatCode>General</c:formatCode>
                <c:ptCount val="19"/>
                <c:pt idx="0">
                  <c:v>93</c:v>
                </c:pt>
                <c:pt idx="1">
                  <c:v>99</c:v>
                </c:pt>
                <c:pt idx="2">
                  <c:v>103</c:v>
                </c:pt>
                <c:pt idx="3">
                  <c:v>111</c:v>
                </c:pt>
                <c:pt idx="4">
                  <c:v>103</c:v>
                </c:pt>
                <c:pt idx="5">
                  <c:v>55</c:v>
                </c:pt>
                <c:pt idx="6">
                  <c:v>78</c:v>
                </c:pt>
                <c:pt idx="7">
                  <c:v>78</c:v>
                </c:pt>
                <c:pt idx="8">
                  <c:v>98</c:v>
                </c:pt>
                <c:pt idx="9">
                  <c:v>101</c:v>
                </c:pt>
                <c:pt idx="10">
                  <c:v>109</c:v>
                </c:pt>
                <c:pt idx="11">
                  <c:v>118</c:v>
                </c:pt>
                <c:pt idx="12">
                  <c:v>115</c:v>
                </c:pt>
                <c:pt idx="13">
                  <c:v>122</c:v>
                </c:pt>
                <c:pt idx="14">
                  <c:v>124</c:v>
                </c:pt>
                <c:pt idx="15">
                  <c:v>131</c:v>
                </c:pt>
                <c:pt idx="16">
                  <c:v>130</c:v>
                </c:pt>
                <c:pt idx="17">
                  <c:v>137</c:v>
                </c:pt>
                <c:pt idx="18">
                  <c:v>142</c:v>
                </c:pt>
              </c:numCache>
            </c:numRef>
          </c:val>
          <c:extLst>
            <c:ext xmlns:c16="http://schemas.microsoft.com/office/drawing/2014/chart" uri="{C3380CC4-5D6E-409C-BE32-E72D297353CC}">
              <c16:uniqueId val="{00000000-7C53-4CF5-9685-FAE69EA1D3E1}"/>
            </c:ext>
          </c:extLst>
        </c:ser>
        <c:dLbls>
          <c:showLegendKey val="0"/>
          <c:showVal val="0"/>
          <c:showCatName val="0"/>
          <c:showSerName val="0"/>
          <c:showPercent val="0"/>
          <c:showBubbleSize val="0"/>
        </c:dLbls>
        <c:gapWidth val="219"/>
        <c:overlap val="-27"/>
        <c:axId val="1254219551"/>
        <c:axId val="1145117327"/>
      </c:barChart>
      <c:catAx>
        <c:axId val="12542195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500" b="0" i="0" u="none" strike="noStrike" kern="1200" baseline="0">
                <a:solidFill>
                  <a:schemeClr val="tx1"/>
                </a:solidFill>
                <a:latin typeface="+mn-lt"/>
                <a:ea typeface="+mn-ea"/>
                <a:cs typeface="+mn-cs"/>
              </a:defRPr>
            </a:pPr>
            <a:endParaRPr lang="en-US"/>
          </a:p>
        </c:txPr>
        <c:crossAx val="1145117327"/>
        <c:crosses val="autoZero"/>
        <c:auto val="1"/>
        <c:lblAlgn val="ctr"/>
        <c:lblOffset val="100"/>
        <c:tickLblSkip val="2"/>
        <c:noMultiLvlLbl val="0"/>
      </c:catAx>
      <c:valAx>
        <c:axId val="1145117327"/>
        <c:scaling>
          <c:orientation val="minMax"/>
        </c:scaling>
        <c:delete val="0"/>
        <c:axPos val="l"/>
        <c:majorGridlines>
          <c:spPr>
            <a:ln w="9525" cap="flat" cmpd="sng" algn="ctr">
              <a:solidFill>
                <a:schemeClr val="accent2">
                  <a:lumMod val="20000"/>
                  <a:lumOff val="80000"/>
                </a:schemeClr>
              </a:solidFill>
              <a:round/>
            </a:ln>
            <a:effectLst/>
          </c:spPr>
        </c:majorGridlines>
        <c:title>
          <c:tx>
            <c:rich>
              <a:bodyPr rot="-5400000" spcFirstLastPara="1" vertOverflow="ellipsis" vert="horz" wrap="square" anchor="ctr" anchorCtr="1"/>
              <a:lstStyle/>
              <a:p>
                <a:pPr algn="ctr" rtl="0">
                  <a:defRPr lang="en-US" sz="1000" b="0" i="0" u="none" strike="noStrike" kern="1200" baseline="0">
                    <a:solidFill>
                      <a:schemeClr val="tx1"/>
                    </a:solidFill>
                    <a:latin typeface="+mn-lt"/>
                    <a:ea typeface="+mn-ea"/>
                    <a:cs typeface="+mn-cs"/>
                  </a:defRPr>
                </a:pPr>
                <a:r>
                  <a:rPr lang="en-US" sz="1000" b="0" i="0" u="none" strike="noStrike" kern="1200" baseline="0">
                    <a:solidFill>
                      <a:schemeClr val="tx1"/>
                    </a:solidFill>
                    <a:latin typeface="+mn-lt"/>
                    <a:ea typeface="+mn-ea"/>
                    <a:cs typeface="+mn-cs"/>
                  </a:rPr>
                  <a:t>MAPC in </a:t>
                </a:r>
                <a:r>
                  <a:rPr lang="en-US" sz="1000" b="0" i="0" u="none" strike="noStrike" kern="1200" baseline="0" err="1">
                    <a:solidFill>
                      <a:schemeClr val="tx1"/>
                    </a:solidFill>
                    <a:latin typeface="+mn-lt"/>
                    <a:ea typeface="+mn-ea"/>
                    <a:cs typeface="+mn-cs"/>
                  </a:rPr>
                  <a:t>millions</a:t>
                </a:r>
                <a:endParaRPr lang="en-US" sz="1000" b="0" i="0" u="none" strike="noStrike" kern="1200" baseline="0">
                  <a:solidFill>
                    <a:schemeClr val="tx1"/>
                  </a:solidFill>
                  <a:latin typeface="+mn-lt"/>
                  <a:ea typeface="+mn-ea"/>
                  <a:cs typeface="+mn-cs"/>
                </a:endParaRPr>
              </a:p>
            </c:rich>
          </c:tx>
          <c:overlay val="0"/>
          <c:spPr>
            <a:noFill/>
            <a:ln>
              <a:noFill/>
            </a:ln>
            <a:effectLst/>
          </c:spPr>
          <c:txPr>
            <a:bodyPr rot="-5400000" spcFirstLastPara="1" vertOverflow="ellipsis" vert="horz" wrap="square" anchor="ctr" anchorCtr="1"/>
            <a:lstStyle/>
            <a:p>
              <a:pPr algn="ctr" rtl="0">
                <a:defRPr lang="en-US" sz="10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crossAx val="1254219551"/>
        <c:crosses val="autoZero"/>
        <c:crossBetween val="between"/>
      </c:valAx>
      <c:spPr>
        <a:noFill/>
        <a:ln>
          <a:noFill/>
        </a:ln>
        <a:effectLst/>
      </c:spPr>
    </c:plotArea>
    <c:plotVisOnly val="1"/>
    <c:dispBlanksAs val="gap"/>
    <c:showDLblsOverMax val="0"/>
  </c:chart>
  <c:spPr>
    <a:noFill/>
    <a:ln>
      <a:noFill/>
    </a:ln>
    <a:effectLst/>
  </c:spPr>
  <c:txPr>
    <a:bodyPr/>
    <a:lstStyle/>
    <a:p>
      <a:pPr>
        <a:defRPr lang="en-US" sz="1000" b="0" i="0" u="none" strike="noStrike" kern="1200" baseline="0">
          <a:solidFill>
            <a:schemeClr val="tx1"/>
          </a:solidFill>
          <a:latin typeface="+mn-lt"/>
          <a:ea typeface="+mn-ea"/>
          <a:cs typeface="+mn-cs"/>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0" i="0" u="none" strike="noStrike" kern="1200" spc="0" baseline="0">
                <a:solidFill>
                  <a:schemeClr val="tx1"/>
                </a:solidFill>
                <a:latin typeface="+mn-lt"/>
                <a:ea typeface="+mn-ea"/>
                <a:cs typeface="+mn-cs"/>
              </a:defRPr>
            </a:pPr>
            <a:r>
              <a:rPr lang="en-US" sz="1400" b="0" i="0" u="none" strike="noStrike" kern="1200" spc="0" baseline="0">
                <a:solidFill>
                  <a:schemeClr val="tx1"/>
                </a:solidFill>
              </a:rPr>
              <a:t>Spending on </a:t>
            </a:r>
            <a:r>
              <a:rPr lang="en-US" sz="1400" b="0" i="0" u="none" strike="noStrike" kern="1200" spc="0" baseline="0" err="1">
                <a:solidFill>
                  <a:schemeClr val="tx1"/>
                </a:solidFill>
              </a:rPr>
              <a:t>Advertisement</a:t>
            </a:r>
            <a:endParaRPr lang="en-US" sz="1400" b="0" i="0" u="none" strike="noStrike" kern="1200" spc="0" baseline="0">
              <a:solidFill>
                <a:schemeClr val="tx1"/>
              </a:solidFill>
            </a:endParaRPr>
          </a:p>
        </c:rich>
      </c:tx>
      <c:overlay val="0"/>
      <c:spPr>
        <a:noFill/>
        <a:ln>
          <a:noFill/>
        </a:ln>
        <a:effectLst/>
      </c:spPr>
      <c:txPr>
        <a:bodyPr rot="0" spcFirstLastPara="1" vertOverflow="ellipsis" vert="horz" wrap="square" anchor="ctr" anchorCtr="1"/>
        <a:lstStyle/>
        <a:p>
          <a:pPr>
            <a:defRPr lang="en-US" sz="14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v>Uber</c:v>
          </c:tx>
          <c:spPr>
            <a:solidFill>
              <a:schemeClr val="tx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venue!$B$85:$B$90</c:f>
              <c:strCache>
                <c:ptCount val="6"/>
                <c:pt idx="0">
                  <c:v>2017</c:v>
                </c:pt>
                <c:pt idx="1">
                  <c:v>2018</c:v>
                </c:pt>
                <c:pt idx="2">
                  <c:v>2019</c:v>
                </c:pt>
                <c:pt idx="3">
                  <c:v>2020</c:v>
                </c:pt>
                <c:pt idx="4">
                  <c:v>2021</c:v>
                </c:pt>
                <c:pt idx="5">
                  <c:v>2022</c:v>
                </c:pt>
              </c:strCache>
            </c:strRef>
          </c:cat>
          <c:val>
            <c:numRef>
              <c:f>Revenue!$H$51:$H$56</c:f>
              <c:numCache>
                <c:formatCode>0.0%</c:formatCode>
                <c:ptCount val="6"/>
                <c:pt idx="0">
                  <c:v>0.31820474029248613</c:v>
                </c:pt>
                <c:pt idx="1">
                  <c:v>0.2795918367346939</c:v>
                </c:pt>
                <c:pt idx="2">
                  <c:v>0.32699512264084257</c:v>
                </c:pt>
                <c:pt idx="3">
                  <c:v>0.32166262680671515</c:v>
                </c:pt>
                <c:pt idx="4">
                  <c:v>0.27436264680607275</c:v>
                </c:pt>
                <c:pt idx="5">
                  <c:v>0.1491984816638956</c:v>
                </c:pt>
              </c:numCache>
            </c:numRef>
          </c:val>
          <c:extLst>
            <c:ext xmlns:c16="http://schemas.microsoft.com/office/drawing/2014/chart" uri="{C3380CC4-5D6E-409C-BE32-E72D297353CC}">
              <c16:uniqueId val="{00000000-BC47-4524-A394-130084047397}"/>
            </c:ext>
          </c:extLst>
        </c:ser>
        <c:ser>
          <c:idx val="1"/>
          <c:order val="1"/>
          <c:tx>
            <c:v>Lyft</c:v>
          </c:tx>
          <c:spPr>
            <a:solidFill>
              <a:schemeClr val="accent1"/>
            </a:solidFill>
            <a:ln>
              <a:noFill/>
            </a:ln>
            <a:effectLst/>
          </c:spPr>
          <c:invertIfNegative val="0"/>
          <c:dLbls>
            <c:dLbl>
              <c:idx val="0"/>
              <c:layout>
                <c:manualLayout>
                  <c:x val="0"/>
                  <c:y val="0.26348829144104735"/>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C47-4524-A394-130084047397}"/>
                </c:ext>
              </c:extLst>
            </c:dLbl>
            <c:spPr>
              <a:noFill/>
              <a:ln>
                <a:noFill/>
              </a:ln>
              <a:effectLst/>
            </c:spPr>
            <c:txPr>
              <a:bodyPr rot="5400000" spcFirstLastPara="1" vertOverflow="ellipsis"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venue!$B$85:$B$90</c:f>
              <c:strCache>
                <c:ptCount val="6"/>
                <c:pt idx="0">
                  <c:v>2017</c:v>
                </c:pt>
                <c:pt idx="1">
                  <c:v>2018</c:v>
                </c:pt>
                <c:pt idx="2">
                  <c:v>2019</c:v>
                </c:pt>
                <c:pt idx="3">
                  <c:v>2020</c:v>
                </c:pt>
                <c:pt idx="4">
                  <c:v>2021</c:v>
                </c:pt>
                <c:pt idx="5">
                  <c:v>2022</c:v>
                </c:pt>
              </c:strCache>
            </c:strRef>
          </c:cat>
          <c:val>
            <c:numRef>
              <c:f>Revenue!$H$68:$H$73</c:f>
              <c:numCache>
                <c:formatCode>0.0%</c:formatCode>
                <c:ptCount val="6"/>
                <c:pt idx="0">
                  <c:v>0.53497987038167494</c:v>
                </c:pt>
                <c:pt idx="1">
                  <c:v>0.37269082673966991</c:v>
                </c:pt>
                <c:pt idx="2">
                  <c:v>0.22514684896956824</c:v>
                </c:pt>
                <c:pt idx="3">
                  <c:v>0.17606222572939015</c:v>
                </c:pt>
                <c:pt idx="4">
                  <c:v>0.1282308545617134</c:v>
                </c:pt>
                <c:pt idx="5">
                  <c:v>0.1297910813685019</c:v>
                </c:pt>
              </c:numCache>
            </c:numRef>
          </c:val>
          <c:extLst>
            <c:ext xmlns:c16="http://schemas.microsoft.com/office/drawing/2014/chart" uri="{C3380CC4-5D6E-409C-BE32-E72D297353CC}">
              <c16:uniqueId val="{00000001-BC47-4524-A394-130084047397}"/>
            </c:ext>
          </c:extLst>
        </c:ser>
        <c:dLbls>
          <c:showLegendKey val="0"/>
          <c:showVal val="1"/>
          <c:showCatName val="0"/>
          <c:showSerName val="0"/>
          <c:showPercent val="0"/>
          <c:showBubbleSize val="0"/>
        </c:dLbls>
        <c:gapWidth val="219"/>
        <c:axId val="293185248"/>
        <c:axId val="293179264"/>
      </c:barChart>
      <c:lineChart>
        <c:grouping val="standard"/>
        <c:varyColors val="0"/>
        <c:ser>
          <c:idx val="2"/>
          <c:order val="2"/>
          <c:tx>
            <c:v>UberU</c:v>
          </c:tx>
          <c:spPr>
            <a:ln w="19050" cap="rnd">
              <a:solidFill>
                <a:schemeClr val="tx1"/>
              </a:solidFill>
              <a:round/>
            </a:ln>
            <a:effectLst/>
          </c:spPr>
          <c:marker>
            <c:symbol val="circle"/>
            <c:size val="5"/>
            <c:spPr>
              <a:solidFill>
                <a:schemeClr val="accent3"/>
              </a:solidFill>
              <a:ln w="19050">
                <a:solidFill>
                  <a:schemeClr val="tx1"/>
                </a:solidFill>
              </a:ln>
              <a:effectLst/>
            </c:spPr>
          </c:marker>
          <c:dLbls>
            <c:dLbl>
              <c:idx val="0"/>
              <c:layout>
                <c:manualLayout>
                  <c:x val="-9.0364299938555381E-2"/>
                  <c:y val="-4.50450450450450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C47-4524-A394-130084047397}"/>
                </c:ext>
              </c:extLst>
            </c:dLbl>
            <c:dLbl>
              <c:idx val="2"/>
              <c:layout>
                <c:manualLayout>
                  <c:x val="-6.4524844865987818E-17"/>
                  <c:y val="-4.5045045045045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C47-4524-A394-130084047397}"/>
                </c:ext>
              </c:extLst>
            </c:dLbl>
            <c:dLbl>
              <c:idx val="3"/>
              <c:layout>
                <c:manualLayout>
                  <c:x val="-1.2904968973197564E-16"/>
                  <c:y val="-4.50450450450450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C47-4524-A394-130084047397}"/>
                </c:ext>
              </c:extLst>
            </c:dLbl>
            <c:dLbl>
              <c:idx val="4"/>
              <c:layout>
                <c:manualLayout>
                  <c:x val="0"/>
                  <c:y val="-3.50350350350350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C47-4524-A394-130084047397}"/>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venue!$B$85:$B$90</c:f>
              <c:strCache>
                <c:ptCount val="6"/>
                <c:pt idx="0">
                  <c:v>2017</c:v>
                </c:pt>
                <c:pt idx="1">
                  <c:v>2018</c:v>
                </c:pt>
                <c:pt idx="2">
                  <c:v>2019</c:v>
                </c:pt>
                <c:pt idx="3">
                  <c:v>2020</c:v>
                </c:pt>
                <c:pt idx="4">
                  <c:v>2021</c:v>
                </c:pt>
                <c:pt idx="5">
                  <c:v>2022</c:v>
                </c:pt>
              </c:strCache>
            </c:strRef>
          </c:cat>
          <c:val>
            <c:numRef>
              <c:f>Revenue!$D$77:$D$82</c:f>
              <c:numCache>
                <c:formatCode>_("$"* #,##0.00_);_("$"* \(#,##0.00\);_("$"* "-"??_);_(@_)</c:formatCode>
                <c:ptCount val="6"/>
                <c:pt idx="0">
                  <c:v>37.117647058823529</c:v>
                </c:pt>
                <c:pt idx="1">
                  <c:v>34.626373626373628</c:v>
                </c:pt>
                <c:pt idx="2">
                  <c:v>45.576354679802954</c:v>
                </c:pt>
                <c:pt idx="3">
                  <c:v>45.64331210191083</c:v>
                </c:pt>
                <c:pt idx="4">
                  <c:v>44.967136150234744</c:v>
                </c:pt>
                <c:pt idx="5">
                  <c:v>38.666666666666664</c:v>
                </c:pt>
              </c:numCache>
            </c:numRef>
          </c:val>
          <c:smooth val="0"/>
          <c:extLst>
            <c:ext xmlns:c16="http://schemas.microsoft.com/office/drawing/2014/chart" uri="{C3380CC4-5D6E-409C-BE32-E72D297353CC}">
              <c16:uniqueId val="{00000002-BC47-4524-A394-130084047397}"/>
            </c:ext>
          </c:extLst>
        </c:ser>
        <c:ser>
          <c:idx val="3"/>
          <c:order val="3"/>
          <c:tx>
            <c:v>LyftU</c:v>
          </c:tx>
          <c:spPr>
            <a:ln w="19050" cap="rnd">
              <a:solidFill>
                <a:schemeClr val="accent1"/>
              </a:solidFill>
              <a:round/>
            </a:ln>
            <a:effectLst/>
          </c:spPr>
          <c:marker>
            <c:symbol val="triangle"/>
            <c:size val="5"/>
            <c:spPr>
              <a:solidFill>
                <a:schemeClr val="accent1"/>
              </a:solidFill>
              <a:ln w="19050">
                <a:solidFill>
                  <a:schemeClr val="accent1"/>
                </a:solidFill>
              </a:ln>
              <a:effectLst/>
            </c:spPr>
          </c:marker>
          <c:dLbls>
            <c:dLbl>
              <c:idx val="0"/>
              <c:layout>
                <c:manualLayout>
                  <c:x val="3.5195776506819184E-3"/>
                  <c:y val="-4.50450450450450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C47-4524-A394-130084047397}"/>
                </c:ext>
              </c:extLst>
            </c:dLbl>
            <c:dLbl>
              <c:idx val="1"/>
              <c:layout>
                <c:manualLayout>
                  <c:x val="0"/>
                  <c:y val="-3.0030030030030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C47-4524-A394-130084047397}"/>
                </c:ext>
              </c:extLst>
            </c:dLbl>
            <c:dLbl>
              <c:idx val="2"/>
              <c:layout>
                <c:manualLayout>
                  <c:x val="-6.4524844865987818E-17"/>
                  <c:y val="-4.0040040040040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C47-4524-A394-130084047397}"/>
                </c:ext>
              </c:extLst>
            </c:dLbl>
            <c:dLbl>
              <c:idx val="3"/>
              <c:layout>
                <c:manualLayout>
                  <c:x val="-1.2904968973197564E-16"/>
                  <c:y val="-1.0010010010010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C47-4524-A394-130084047397}"/>
                </c:ext>
              </c:extLst>
            </c:dLbl>
            <c:dLbl>
              <c:idx val="4"/>
              <c:layout>
                <c:manualLayout>
                  <c:x val="-1.7597888253409591E-2"/>
                  <c:y val="-7.50750750750751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C47-4524-A394-130084047397}"/>
                </c:ext>
              </c:extLst>
            </c:dLbl>
            <c:dLbl>
              <c:idx val="5"/>
              <c:layout>
                <c:manualLayout>
                  <c:x val="-3.5195776506819184E-3"/>
                  <c:y val="-4.50450450450450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C47-4524-A394-130084047397}"/>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venue!$B$85:$B$90</c:f>
              <c:strCache>
                <c:ptCount val="6"/>
                <c:pt idx="0">
                  <c:v>2017</c:v>
                </c:pt>
                <c:pt idx="1">
                  <c:v>2018</c:v>
                </c:pt>
                <c:pt idx="2">
                  <c:v>2019</c:v>
                </c:pt>
                <c:pt idx="3">
                  <c:v>2020</c:v>
                </c:pt>
                <c:pt idx="4">
                  <c:v>2021</c:v>
                </c:pt>
                <c:pt idx="5">
                  <c:v>2022</c:v>
                </c:pt>
              </c:strCache>
            </c:strRef>
          </c:cat>
          <c:val>
            <c:numRef>
              <c:f>Revenue!$D$85:$D$90</c:f>
              <c:numCache>
                <c:formatCode>_("$"* #,##0.00_);_("$"* \(#,##0.00\);_("$"* "-"??_);_(@_)</c:formatCode>
                <c:ptCount val="6"/>
                <c:pt idx="0">
                  <c:v>45.001190476190473</c:v>
                </c:pt>
                <c:pt idx="1">
                  <c:v>43.212419354838708</c:v>
                </c:pt>
                <c:pt idx="2">
                  <c:v>35.55117903930131</c:v>
                </c:pt>
                <c:pt idx="3">
                  <c:v>33.306480000000001</c:v>
                </c:pt>
                <c:pt idx="4">
                  <c:v>22.000320855614973</c:v>
                </c:pt>
                <c:pt idx="5">
                  <c:v>26.182857142857141</c:v>
                </c:pt>
              </c:numCache>
            </c:numRef>
          </c:val>
          <c:smooth val="0"/>
          <c:extLst>
            <c:ext xmlns:c16="http://schemas.microsoft.com/office/drawing/2014/chart" uri="{C3380CC4-5D6E-409C-BE32-E72D297353CC}">
              <c16:uniqueId val="{00000003-BC47-4524-A394-130084047397}"/>
            </c:ext>
          </c:extLst>
        </c:ser>
        <c:dLbls>
          <c:showLegendKey val="0"/>
          <c:showVal val="1"/>
          <c:showCatName val="0"/>
          <c:showSerName val="0"/>
          <c:showPercent val="0"/>
          <c:showBubbleSize val="0"/>
        </c:dLbls>
        <c:marker val="1"/>
        <c:smooth val="0"/>
        <c:axId val="1978642879"/>
        <c:axId val="1978622751"/>
      </c:lineChart>
      <c:catAx>
        <c:axId val="1978642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978622751"/>
        <c:crosses val="autoZero"/>
        <c:auto val="1"/>
        <c:lblAlgn val="ctr"/>
        <c:lblOffset val="100"/>
        <c:noMultiLvlLbl val="0"/>
      </c:catAx>
      <c:valAx>
        <c:axId val="1978622751"/>
        <c:scaling>
          <c:orientation val="minMax"/>
        </c:scaling>
        <c:delete val="0"/>
        <c:axPos val="l"/>
        <c:majorGridlines>
          <c:spPr>
            <a:ln w="9525" cap="flat" cmpd="sng" algn="ctr">
              <a:solidFill>
                <a:schemeClr val="accent2">
                  <a:lumMod val="20000"/>
                  <a:lumOff val="80000"/>
                </a:schemeClr>
              </a:solidFill>
              <a:round/>
            </a:ln>
            <a:effectLst/>
          </c:spPr>
        </c:majorGridlines>
        <c:title>
          <c:tx>
            <c:rich>
              <a:bodyPr rot="-5400000" spcFirstLastPara="1" vertOverflow="ellipsis" vert="horz" wrap="square" anchor="ctr" anchorCtr="1"/>
              <a:lstStyle/>
              <a:p>
                <a:pPr algn="ctr" rtl="0">
                  <a:defRPr lang="en-US" sz="1000" b="0" i="0" u="none" strike="noStrike" kern="1200" baseline="0">
                    <a:solidFill>
                      <a:schemeClr val="tx1"/>
                    </a:solidFill>
                    <a:latin typeface="+mn-lt"/>
                    <a:ea typeface="+mn-ea"/>
                    <a:cs typeface="+mn-cs"/>
                  </a:defRPr>
                </a:pPr>
                <a:r>
                  <a:rPr lang="en-US"/>
                  <a:t>Customer Acquisition </a:t>
                </a:r>
                <a:r>
                  <a:rPr lang="en-US" err="1"/>
                  <a:t>Cost</a:t>
                </a:r>
                <a:endParaRPr lang="en-US"/>
              </a:p>
            </c:rich>
          </c:tx>
          <c:overlay val="0"/>
          <c:spPr>
            <a:noFill/>
            <a:ln>
              <a:noFill/>
            </a:ln>
            <a:effectLst/>
          </c:spPr>
          <c:txPr>
            <a:bodyPr rot="-5400000" spcFirstLastPara="1" vertOverflow="ellipsis" vert="horz" wrap="square" anchor="ctr" anchorCtr="1"/>
            <a:lstStyle/>
            <a:p>
              <a:pPr algn="ctr" rtl="0">
                <a:defRPr lang="en-US" sz="1000" b="0" i="0" u="none" strike="noStrike" kern="1200" baseline="0">
                  <a:solidFill>
                    <a:schemeClr val="tx1"/>
                  </a:solidFill>
                  <a:latin typeface="+mn-lt"/>
                  <a:ea typeface="+mn-ea"/>
                  <a:cs typeface="+mn-cs"/>
                </a:defRPr>
              </a:pPr>
              <a:endParaRPr lang="en-US"/>
            </a:p>
          </c:txPr>
        </c:title>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978642879"/>
        <c:crosses val="autoZero"/>
        <c:crossBetween val="between"/>
      </c:valAx>
      <c:valAx>
        <c:axId val="293179264"/>
        <c:scaling>
          <c:orientation val="minMax"/>
        </c:scaling>
        <c:delete val="0"/>
        <c:axPos val="r"/>
        <c:title>
          <c:tx>
            <c:rich>
              <a:bodyPr rot="-5400000" spcFirstLastPara="1" vertOverflow="ellipsis" vert="horz" wrap="square" anchor="ctr" anchorCtr="1"/>
              <a:lstStyle/>
              <a:p>
                <a:pPr algn="ctr" rtl="0">
                  <a:defRPr lang="en-US" sz="1000" b="0" i="0" u="none" strike="noStrike" kern="1200" baseline="0">
                    <a:solidFill>
                      <a:schemeClr val="tx1"/>
                    </a:solidFill>
                    <a:latin typeface="+mn-lt"/>
                    <a:ea typeface="+mn-ea"/>
                    <a:cs typeface="+mn-cs"/>
                  </a:defRPr>
                </a:pPr>
                <a:r>
                  <a:rPr lang="en-US" err="1"/>
                  <a:t>Percentage</a:t>
                </a:r>
                <a:r>
                  <a:rPr lang="en-US"/>
                  <a:t> </a:t>
                </a:r>
                <a:r>
                  <a:rPr lang="en-US" err="1"/>
                  <a:t>of</a:t>
                </a:r>
                <a:r>
                  <a:rPr lang="en-US"/>
                  <a:t> Revenue </a:t>
                </a:r>
                <a:r>
                  <a:rPr lang="en-US" err="1"/>
                  <a:t>spent</a:t>
                </a:r>
                <a:r>
                  <a:rPr lang="en-US"/>
                  <a:t> on Advertising</a:t>
                </a:r>
              </a:p>
            </c:rich>
          </c:tx>
          <c:overlay val="0"/>
          <c:spPr>
            <a:noFill/>
            <a:ln>
              <a:noFill/>
            </a:ln>
            <a:effectLst/>
          </c:spPr>
          <c:txPr>
            <a:bodyPr rot="-5400000" spcFirstLastPara="1" vertOverflow="ellipsis" vert="horz" wrap="square" anchor="ctr" anchorCtr="1"/>
            <a:lstStyle/>
            <a:p>
              <a:pPr algn="ctr" rtl="0">
                <a:defRPr lang="en-US" sz="1000" b="0" i="0" u="none" strike="noStrike" kern="1200" baseline="0">
                  <a:solidFill>
                    <a:schemeClr val="tx1"/>
                  </a:solidFill>
                  <a:latin typeface="+mn-lt"/>
                  <a:ea typeface="+mn-ea"/>
                  <a:cs typeface="+mn-cs"/>
                </a:defRPr>
              </a:pPr>
              <a:endParaRPr lang="en-US"/>
            </a:p>
          </c:txPr>
        </c:title>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93185248"/>
        <c:crosses val="max"/>
        <c:crossBetween val="between"/>
      </c:valAx>
      <c:catAx>
        <c:axId val="293185248"/>
        <c:scaling>
          <c:orientation val="minMax"/>
        </c:scaling>
        <c:delete val="1"/>
        <c:axPos val="b"/>
        <c:numFmt formatCode="General" sourceLinked="1"/>
        <c:majorTickMark val="out"/>
        <c:minorTickMark val="none"/>
        <c:tickLblPos val="nextTo"/>
        <c:crossAx val="293179264"/>
        <c:crosses val="autoZero"/>
        <c:auto val="1"/>
        <c:lblAlgn val="ctr"/>
        <c:lblOffset val="100"/>
        <c:noMultiLvlLbl val="0"/>
      </c:catAx>
      <c:spPr>
        <a:noFill/>
        <a:ln>
          <a:noFill/>
        </a:ln>
        <a:effectLst/>
      </c:spPr>
    </c:plotArea>
    <c:legend>
      <c:legendPos val="b"/>
      <c:legendEntry>
        <c:idx val="2"/>
        <c:delete val="1"/>
      </c:legendEntry>
      <c:legendEntry>
        <c:idx val="3"/>
        <c:delete val="1"/>
      </c:legendEntry>
      <c:overlay val="0"/>
      <c:spPr>
        <a:noFill/>
        <a:ln>
          <a:noFill/>
        </a:ln>
        <a:effectLst/>
      </c:spPr>
      <c:txPr>
        <a:bodyPr rot="0" spcFirstLastPara="1" vertOverflow="ellipsis" vert="horz" wrap="square" anchor="ctr" anchorCtr="1"/>
        <a:lstStyle/>
        <a:p>
          <a:pPr>
            <a:defRPr lang="en-US"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0" i="0" u="none" strike="noStrike" kern="1200" spc="0" baseline="0">
                <a:solidFill>
                  <a:schemeClr val="tx1"/>
                </a:solidFill>
                <a:latin typeface="+mn-lt"/>
                <a:ea typeface="+mn-ea"/>
                <a:cs typeface="+mn-cs"/>
              </a:defRPr>
            </a:pPr>
            <a:r>
              <a:rPr lang="en-US"/>
              <a:t>Operational Cashflow in </a:t>
            </a:r>
            <a:r>
              <a:rPr lang="en-US" err="1"/>
              <a:t>million</a:t>
            </a:r>
            <a:r>
              <a:rPr lang="en-US"/>
              <a:t> $</a:t>
            </a:r>
          </a:p>
        </c:rich>
      </c:tx>
      <c:overlay val="0"/>
      <c:spPr>
        <a:noFill/>
        <a:ln>
          <a:noFill/>
        </a:ln>
        <a:effectLst/>
      </c:spPr>
      <c:txPr>
        <a:bodyPr rot="0" spcFirstLastPara="1" vertOverflow="ellipsis" vert="horz" wrap="square" anchor="ctr" anchorCtr="1"/>
        <a:lstStyle/>
        <a:p>
          <a:pPr>
            <a:defRPr lang="en-US" sz="14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Revenue!$AB$3</c:f>
              <c:strCache>
                <c:ptCount val="1"/>
                <c:pt idx="0">
                  <c:v>Uber</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venue!$AA$4:$AA$10</c:f>
              <c:numCache>
                <c:formatCode>General</c:formatCode>
                <c:ptCount val="7"/>
                <c:pt idx="0">
                  <c:v>2016</c:v>
                </c:pt>
                <c:pt idx="1">
                  <c:v>2017</c:v>
                </c:pt>
                <c:pt idx="2">
                  <c:v>2018</c:v>
                </c:pt>
                <c:pt idx="3">
                  <c:v>2019</c:v>
                </c:pt>
                <c:pt idx="4">
                  <c:v>2020</c:v>
                </c:pt>
                <c:pt idx="5">
                  <c:v>2021</c:v>
                </c:pt>
                <c:pt idx="6">
                  <c:v>2022</c:v>
                </c:pt>
              </c:numCache>
            </c:numRef>
          </c:cat>
          <c:val>
            <c:numRef>
              <c:f>Revenue!$AB$4:$AB$10</c:f>
              <c:numCache>
                <c:formatCode>_(* #,##0.00_);_(* \(#,##0.00\);_(* "-"??_);_(@_)</c:formatCode>
                <c:ptCount val="7"/>
                <c:pt idx="0">
                  <c:v>-2913</c:v>
                </c:pt>
                <c:pt idx="1">
                  <c:v>-1418</c:v>
                </c:pt>
                <c:pt idx="2">
                  <c:v>-1541</c:v>
                </c:pt>
                <c:pt idx="3">
                  <c:v>-4321</c:v>
                </c:pt>
                <c:pt idx="4">
                  <c:v>-2745</c:v>
                </c:pt>
                <c:pt idx="5">
                  <c:v>-445</c:v>
                </c:pt>
                <c:pt idx="6">
                  <c:v>642</c:v>
                </c:pt>
              </c:numCache>
            </c:numRef>
          </c:val>
          <c:extLst>
            <c:ext xmlns:c16="http://schemas.microsoft.com/office/drawing/2014/chart" uri="{C3380CC4-5D6E-409C-BE32-E72D297353CC}">
              <c16:uniqueId val="{00000000-3725-4193-A85F-6ACD975FEFB4}"/>
            </c:ext>
          </c:extLst>
        </c:ser>
        <c:ser>
          <c:idx val="1"/>
          <c:order val="1"/>
          <c:tx>
            <c:strRef>
              <c:f>Revenue!$AC$3</c:f>
              <c:strCache>
                <c:ptCount val="1"/>
                <c:pt idx="0">
                  <c:v>Lyft</c:v>
                </c:pt>
              </c:strCache>
            </c:strRef>
          </c:tx>
          <c:spPr>
            <a:solidFill>
              <a:schemeClr val="accent1"/>
            </a:solidFill>
            <a:ln>
              <a:noFill/>
            </a:ln>
            <a:effectLst/>
          </c:spPr>
          <c:invertIfNegative val="0"/>
          <c:dLbls>
            <c:dLbl>
              <c:idx val="0"/>
              <c:layout>
                <c:manualLayout>
                  <c:x val="0"/>
                  <c:y val="0.1096700672231213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25-4193-A85F-6ACD975FEFB4}"/>
                </c:ext>
              </c:extLst>
            </c:dLbl>
            <c:dLbl>
              <c:idx val="1"/>
              <c:layout>
                <c:manualLayout>
                  <c:x val="0"/>
                  <c:y val="9.806065234917231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725-4193-A85F-6ACD975FEFB4}"/>
                </c:ext>
              </c:extLst>
            </c:dLbl>
            <c:dLbl>
              <c:idx val="2"/>
              <c:layout>
                <c:manualLayout>
                  <c:x val="0"/>
                  <c:y val="8.406854454971422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725-4193-A85F-6ACD975FEFB4}"/>
                </c:ext>
              </c:extLst>
            </c:dLbl>
            <c:dLbl>
              <c:idx val="3"/>
              <c:layout>
                <c:manualLayout>
                  <c:x val="0"/>
                  <c:y val="5.92950361574318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725-4193-A85F-6ACD975FEFB4}"/>
                </c:ext>
              </c:extLst>
            </c:dLbl>
            <c:dLbl>
              <c:idx val="4"/>
              <c:layout>
                <c:manualLayout>
                  <c:x val="0"/>
                  <c:y val="0.2171535948306692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725-4193-A85F-6ACD975FEFB4}"/>
                </c:ext>
              </c:extLst>
            </c:dLbl>
            <c:dLbl>
              <c:idx val="5"/>
              <c:layout>
                <c:manualLayout>
                  <c:x val="0"/>
                  <c:y val="5.8801379619695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725-4193-A85F-6ACD975FEFB4}"/>
                </c:ext>
              </c:extLst>
            </c:dLbl>
            <c:dLbl>
              <c:idx val="6"/>
              <c:layout>
                <c:manualLayout>
                  <c:x val="0"/>
                  <c:y val="7.560946336673274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725-4193-A85F-6ACD975FEFB4}"/>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accent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Revenue!$AA$4:$AA$10</c:f>
              <c:numCache>
                <c:formatCode>General</c:formatCode>
                <c:ptCount val="7"/>
                <c:pt idx="0">
                  <c:v>2016</c:v>
                </c:pt>
                <c:pt idx="1">
                  <c:v>2017</c:v>
                </c:pt>
                <c:pt idx="2">
                  <c:v>2018</c:v>
                </c:pt>
                <c:pt idx="3">
                  <c:v>2019</c:v>
                </c:pt>
                <c:pt idx="4">
                  <c:v>2020</c:v>
                </c:pt>
                <c:pt idx="5">
                  <c:v>2021</c:v>
                </c:pt>
                <c:pt idx="6">
                  <c:v>2022</c:v>
                </c:pt>
              </c:numCache>
            </c:numRef>
          </c:cat>
          <c:val>
            <c:numRef>
              <c:f>Revenue!$AC$4:$AC$10</c:f>
              <c:numCache>
                <c:formatCode>_(* #,##0.00_);_(* \(#,##0.00\);_(* "-"??_);_(@_)</c:formatCode>
                <c:ptCount val="7"/>
                <c:pt idx="0">
                  <c:v>-487.16300000000001</c:v>
                </c:pt>
                <c:pt idx="1">
                  <c:v>-393.52600000000001</c:v>
                </c:pt>
                <c:pt idx="2">
                  <c:v>-280.673</c:v>
                </c:pt>
                <c:pt idx="3">
                  <c:v>-105.702</c:v>
                </c:pt>
                <c:pt idx="4">
                  <c:v>-1378.8989999999999</c:v>
                </c:pt>
                <c:pt idx="5">
                  <c:v>-101.721</c:v>
                </c:pt>
                <c:pt idx="6">
                  <c:v>-237.285</c:v>
                </c:pt>
              </c:numCache>
            </c:numRef>
          </c:val>
          <c:extLst>
            <c:ext xmlns:c16="http://schemas.microsoft.com/office/drawing/2014/chart" uri="{C3380CC4-5D6E-409C-BE32-E72D297353CC}">
              <c16:uniqueId val="{00000001-3725-4193-A85F-6ACD975FEFB4}"/>
            </c:ext>
          </c:extLst>
        </c:ser>
        <c:ser>
          <c:idx val="2"/>
          <c:order val="2"/>
          <c:tx>
            <c:strRef>
              <c:f>Revenue!$AD$3</c:f>
              <c:strCache>
                <c:ptCount val="1"/>
                <c:pt idx="0">
                  <c:v>Grab</c:v>
                </c:pt>
              </c:strCache>
            </c:strRef>
          </c:tx>
          <c:spPr>
            <a:solidFill>
              <a:schemeClr val="accent2"/>
            </a:solidFill>
            <a:ln>
              <a:solidFill>
                <a:schemeClr val="accent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venue!$AA$4:$AA$10</c:f>
              <c:numCache>
                <c:formatCode>General</c:formatCode>
                <c:ptCount val="7"/>
                <c:pt idx="0">
                  <c:v>2016</c:v>
                </c:pt>
                <c:pt idx="1">
                  <c:v>2017</c:v>
                </c:pt>
                <c:pt idx="2">
                  <c:v>2018</c:v>
                </c:pt>
                <c:pt idx="3">
                  <c:v>2019</c:v>
                </c:pt>
                <c:pt idx="4">
                  <c:v>2020</c:v>
                </c:pt>
                <c:pt idx="5">
                  <c:v>2021</c:v>
                </c:pt>
                <c:pt idx="6">
                  <c:v>2022</c:v>
                </c:pt>
              </c:numCache>
            </c:numRef>
          </c:cat>
          <c:val>
            <c:numRef>
              <c:f>Revenue!$AD$4:$AD$10</c:f>
              <c:numCache>
                <c:formatCode>General</c:formatCode>
                <c:ptCount val="7"/>
                <c:pt idx="3" formatCode="_(* #,##0.00_);_(* \(#,##0.00\);_(* &quot;-&quot;??_);_(@_)">
                  <c:v>-2112</c:v>
                </c:pt>
                <c:pt idx="4" formatCode="_(* #,##0.00_);_(* \(#,##0.00\);_(* &quot;-&quot;??_);_(@_)">
                  <c:v>-643</c:v>
                </c:pt>
                <c:pt idx="5" formatCode="_(* #,##0.00_);_(* \(#,##0.00\);_(* &quot;-&quot;??_);_(@_)">
                  <c:v>-954</c:v>
                </c:pt>
                <c:pt idx="6" formatCode="_(* #,##0.00_);_(* \(#,##0.00\);_(* &quot;-&quot;??_);_(@_)">
                  <c:v>-798</c:v>
                </c:pt>
              </c:numCache>
            </c:numRef>
          </c:val>
          <c:extLst>
            <c:ext xmlns:c16="http://schemas.microsoft.com/office/drawing/2014/chart" uri="{C3380CC4-5D6E-409C-BE32-E72D297353CC}">
              <c16:uniqueId val="{00000002-3725-4193-A85F-6ACD975FEFB4}"/>
            </c:ext>
          </c:extLst>
        </c:ser>
        <c:dLbls>
          <c:dLblPos val="outEnd"/>
          <c:showLegendKey val="0"/>
          <c:showVal val="1"/>
          <c:showCatName val="0"/>
          <c:showSerName val="0"/>
          <c:showPercent val="0"/>
          <c:showBubbleSize val="0"/>
        </c:dLbls>
        <c:gapWidth val="219"/>
        <c:overlap val="-27"/>
        <c:axId val="1978620575"/>
        <c:axId val="1978627647"/>
      </c:barChart>
      <c:catAx>
        <c:axId val="197862057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900" b="1" i="0" u="none" strike="noStrike" kern="1200" baseline="0">
                <a:solidFill>
                  <a:schemeClr val="tx1"/>
                </a:solidFill>
                <a:latin typeface="+mn-lt"/>
                <a:ea typeface="+mn-ea"/>
                <a:cs typeface="+mn-cs"/>
              </a:defRPr>
            </a:pPr>
            <a:endParaRPr lang="en-US"/>
          </a:p>
        </c:txPr>
        <c:crossAx val="1978627647"/>
        <c:crosses val="autoZero"/>
        <c:auto val="1"/>
        <c:lblAlgn val="ctr"/>
        <c:lblOffset val="100"/>
        <c:noMultiLvlLbl val="0"/>
      </c:catAx>
      <c:valAx>
        <c:axId val="1978627647"/>
        <c:scaling>
          <c:orientation val="minMax"/>
        </c:scaling>
        <c:delete val="0"/>
        <c:axPos val="l"/>
        <c:majorGridlines>
          <c:spPr>
            <a:ln w="9525" cap="flat" cmpd="sng" algn="ctr">
              <a:solidFill>
                <a:schemeClr val="accent2">
                  <a:lumMod val="20000"/>
                  <a:lumOff val="80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97862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563330282802432"/>
          <c:y val="5.6217383002350303E-2"/>
          <c:w val="0.78853878635585817"/>
          <c:h val="0.94378261699764965"/>
        </c:manualLayout>
      </c:layout>
      <c:barChart>
        <c:barDir val="bar"/>
        <c:grouping val="stacked"/>
        <c:varyColors val="0"/>
        <c:ser>
          <c:idx val="0"/>
          <c:order val="0"/>
          <c:tx>
            <c:strRef>
              <c:f>Bars_1!$B$1</c:f>
              <c:strCache>
                <c:ptCount val="1"/>
                <c:pt idx="0">
                  <c:v>Series 1</c:v>
                </c:pt>
              </c:strCache>
            </c:strRef>
          </c:tx>
          <c:spPr>
            <a:solidFill>
              <a:schemeClr val="accent1"/>
            </a:solidFill>
            <a:ln w="12700">
              <a:noFill/>
            </a:ln>
            <a:effectLst/>
          </c:spPr>
          <c:invertIfNegative val="0"/>
          <c:dPt>
            <c:idx val="0"/>
            <c:invertIfNegative val="0"/>
            <c:bubble3D val="0"/>
            <c:spPr>
              <a:solidFill>
                <a:schemeClr val="accent6"/>
              </a:solidFill>
              <a:ln w="12700">
                <a:noFill/>
              </a:ln>
              <a:effectLst/>
            </c:spPr>
            <c:extLst>
              <c:ext xmlns:c16="http://schemas.microsoft.com/office/drawing/2014/chart" uri="{C3380CC4-5D6E-409C-BE32-E72D297353CC}">
                <c16:uniqueId val="{00000001-AD34-406A-993E-7DBECE4DDBE1}"/>
              </c:ext>
            </c:extLst>
          </c:dPt>
          <c:dPt>
            <c:idx val="1"/>
            <c:invertIfNegative val="0"/>
            <c:bubble3D val="0"/>
            <c:spPr>
              <a:solidFill>
                <a:schemeClr val="accent5"/>
              </a:solidFill>
              <a:ln w="12700">
                <a:noFill/>
              </a:ln>
              <a:effectLst/>
            </c:spPr>
            <c:extLst>
              <c:ext xmlns:c16="http://schemas.microsoft.com/office/drawing/2014/chart" uri="{C3380CC4-5D6E-409C-BE32-E72D297353CC}">
                <c16:uniqueId val="{00000003-AD34-406A-993E-7DBECE4DDBE1}"/>
              </c:ext>
            </c:extLst>
          </c:dPt>
          <c:dPt>
            <c:idx val="2"/>
            <c:invertIfNegative val="0"/>
            <c:bubble3D val="0"/>
            <c:spPr>
              <a:solidFill>
                <a:schemeClr val="accent4"/>
              </a:solidFill>
              <a:ln w="12700">
                <a:noFill/>
              </a:ln>
              <a:effectLst/>
            </c:spPr>
            <c:extLst>
              <c:ext xmlns:c16="http://schemas.microsoft.com/office/drawing/2014/chart" uri="{C3380CC4-5D6E-409C-BE32-E72D297353CC}">
                <c16:uniqueId val="{00000005-AD34-406A-993E-7DBECE4DDBE1}"/>
              </c:ext>
            </c:extLst>
          </c:dPt>
          <c:dPt>
            <c:idx val="3"/>
            <c:invertIfNegative val="0"/>
            <c:bubble3D val="0"/>
            <c:spPr>
              <a:solidFill>
                <a:schemeClr val="accent3"/>
              </a:solidFill>
              <a:ln w="12700">
                <a:noFill/>
              </a:ln>
              <a:effectLst/>
            </c:spPr>
            <c:extLst>
              <c:ext xmlns:c16="http://schemas.microsoft.com/office/drawing/2014/chart" uri="{C3380CC4-5D6E-409C-BE32-E72D297353CC}">
                <c16:uniqueId val="{00000007-AD34-406A-993E-7DBECE4DDBE1}"/>
              </c:ext>
            </c:extLst>
          </c:dPt>
          <c:dPt>
            <c:idx val="4"/>
            <c:invertIfNegative val="0"/>
            <c:bubble3D val="0"/>
            <c:spPr>
              <a:solidFill>
                <a:schemeClr val="accent2"/>
              </a:solidFill>
              <a:ln w="12700">
                <a:noFill/>
              </a:ln>
              <a:effectLst/>
            </c:spPr>
            <c:extLst>
              <c:ext xmlns:c16="http://schemas.microsoft.com/office/drawing/2014/chart" uri="{C3380CC4-5D6E-409C-BE32-E72D297353CC}">
                <c16:uniqueId val="{00000009-AD34-406A-993E-7DBECE4DDBE1}"/>
              </c:ext>
            </c:extLst>
          </c:dPt>
          <c:dPt>
            <c:idx val="5"/>
            <c:invertIfNegative val="0"/>
            <c:bubble3D val="0"/>
            <c:extLst>
              <c:ext xmlns:c16="http://schemas.microsoft.com/office/drawing/2014/chart" uri="{C3380CC4-5D6E-409C-BE32-E72D297353CC}">
                <c16:uniqueId val="{0000000A-AD34-406A-993E-7DBECE4DDBE1}"/>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Bars_1!$A$2:$A$7</c:f>
              <c:strCache>
                <c:ptCount val="6"/>
                <c:pt idx="0">
                  <c:v>Government Policy and Regulatory Experience</c:v>
                </c:pt>
                <c:pt idx="1">
                  <c:v>Innovation, Technology, and High-Growth Experience</c:v>
                </c:pt>
                <c:pt idx="2">
                  <c:v>Consumer and Digital Experience</c:v>
                </c:pt>
                <c:pt idx="3">
                  <c:v>Sustainability and Human Capital Management</c:v>
                </c:pt>
                <c:pt idx="4">
                  <c:v>Global Company Leadership</c:v>
                </c:pt>
                <c:pt idx="5">
                  <c:v>Financial Expertise</c:v>
                </c:pt>
              </c:strCache>
            </c:strRef>
          </c:cat>
          <c:val>
            <c:numRef>
              <c:f>Bars_1!$B$2:$B$7</c:f>
              <c:numCache>
                <c:formatCode>General</c:formatCode>
                <c:ptCount val="6"/>
                <c:pt idx="0">
                  <c:v>5</c:v>
                </c:pt>
                <c:pt idx="1">
                  <c:v>7</c:v>
                </c:pt>
                <c:pt idx="2">
                  <c:v>8</c:v>
                </c:pt>
                <c:pt idx="3">
                  <c:v>9</c:v>
                </c:pt>
                <c:pt idx="4">
                  <c:v>9</c:v>
                </c:pt>
                <c:pt idx="5">
                  <c:v>10</c:v>
                </c:pt>
              </c:numCache>
            </c:numRef>
          </c:val>
          <c:extLst>
            <c:ext xmlns:c16="http://schemas.microsoft.com/office/drawing/2014/chart" uri="{C3380CC4-5D6E-409C-BE32-E72D297353CC}">
              <c16:uniqueId val="{0000000B-AD34-406A-993E-7DBECE4DDBE1}"/>
            </c:ext>
          </c:extLst>
        </c:ser>
        <c:dLbls>
          <c:showLegendKey val="0"/>
          <c:showVal val="0"/>
          <c:showCatName val="0"/>
          <c:showSerName val="0"/>
          <c:showPercent val="0"/>
          <c:showBubbleSize val="0"/>
        </c:dLbls>
        <c:gapWidth val="100"/>
        <c:overlap val="100"/>
        <c:axId val="506014336"/>
        <c:axId val="506002688"/>
      </c:barChart>
      <c:valAx>
        <c:axId val="506002688"/>
        <c:scaling>
          <c:orientation val="minMax"/>
        </c:scaling>
        <c:delete val="1"/>
        <c:axPos val="b"/>
        <c:numFmt formatCode="General" sourceLinked="1"/>
        <c:majorTickMark val="out"/>
        <c:minorTickMark val="none"/>
        <c:tickLblPos val="nextTo"/>
        <c:crossAx val="506014336"/>
        <c:crosses val="autoZero"/>
        <c:crossBetween val="between"/>
      </c:valAx>
      <c:catAx>
        <c:axId val="506014336"/>
        <c:scaling>
          <c:orientation val="minMax"/>
        </c:scaling>
        <c:delete val="0"/>
        <c:axPos val="l"/>
        <c:numFmt formatCode="General" sourceLinked="1"/>
        <c:majorTickMark val="none"/>
        <c:minorTickMark val="none"/>
        <c:tickLblPos val="nextTo"/>
        <c:spPr>
          <a:noFill/>
          <a:ln w="6350" cap="flat" cmpd="sng" algn="ctr">
            <a:solidFill>
              <a:schemeClr val="tx1"/>
            </a:solidFill>
            <a:prstDash val="solid"/>
            <a:round/>
          </a:ln>
          <a:effectLst/>
        </c:spPr>
        <c:txPr>
          <a:bodyPr rot="-60000000" spcFirstLastPara="1" vertOverflow="ellipsis" vert="horz" wrap="square" anchor="ctr" anchorCtr="0"/>
          <a:lstStyle/>
          <a:p>
            <a:pPr>
              <a:defRPr sz="700" b="0" i="0" u="none" strike="noStrike" kern="1200" baseline="0">
                <a:solidFill>
                  <a:schemeClr val="tx1"/>
                </a:solidFill>
                <a:latin typeface="+mn-lt"/>
                <a:ea typeface="+mn-ea"/>
                <a:cs typeface="+mn-cs"/>
              </a:defRPr>
            </a:pPr>
            <a:endParaRPr lang="en-US"/>
          </a:p>
        </c:txPr>
        <c:crossAx val="506002688"/>
        <c:crosses val="autoZero"/>
        <c:auto val="1"/>
        <c:lblAlgn val="ctr"/>
        <c:lblOffset val="100"/>
        <c:noMultiLvlLbl val="0"/>
      </c:cat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Revenue!$G$3</c:f>
              <c:strCache>
                <c:ptCount val="1"/>
                <c:pt idx="0">
                  <c:v>LatAm</c:v>
                </c:pt>
              </c:strCache>
            </c:strRef>
          </c:tx>
          <c:spPr>
            <a:ln w="28575" cap="rnd">
              <a:solidFill>
                <a:schemeClr val="accent2"/>
              </a:solidFill>
              <a:round/>
            </a:ln>
            <a:effectLst/>
          </c:spPr>
          <c:marker>
            <c:symbol val="none"/>
          </c:marker>
          <c:cat>
            <c:numRef>
              <c:f>Revenue!$B$6:$B$10</c:f>
              <c:numCache>
                <c:formatCode>General</c:formatCode>
                <c:ptCount val="5"/>
                <c:pt idx="0">
                  <c:v>2018</c:v>
                </c:pt>
                <c:pt idx="1">
                  <c:v>2019</c:v>
                </c:pt>
                <c:pt idx="2">
                  <c:v>2020</c:v>
                </c:pt>
                <c:pt idx="3">
                  <c:v>2021</c:v>
                </c:pt>
                <c:pt idx="4">
                  <c:v>2022</c:v>
                </c:pt>
              </c:numCache>
            </c:numRef>
          </c:cat>
          <c:val>
            <c:numRef>
              <c:f>Revenue!$H$6:$H$10</c:f>
              <c:numCache>
                <c:formatCode>0.0%</c:formatCode>
                <c:ptCount val="5"/>
                <c:pt idx="0">
                  <c:v>0.17763975155279504</c:v>
                </c:pt>
                <c:pt idx="1">
                  <c:v>0.13762635187672298</c:v>
                </c:pt>
                <c:pt idx="2">
                  <c:v>0.11625819193823503</c:v>
                </c:pt>
                <c:pt idx="3">
                  <c:v>8.1180177599541672E-2</c:v>
                </c:pt>
                <c:pt idx="4">
                  <c:v>6.2051008564168522E-2</c:v>
                </c:pt>
              </c:numCache>
            </c:numRef>
          </c:val>
          <c:smooth val="0"/>
          <c:extLst>
            <c:ext xmlns:c16="http://schemas.microsoft.com/office/drawing/2014/chart" uri="{C3380CC4-5D6E-409C-BE32-E72D297353CC}">
              <c16:uniqueId val="{00000000-3743-4974-8E6F-AE71AF77623C}"/>
            </c:ext>
          </c:extLst>
        </c:ser>
        <c:ser>
          <c:idx val="2"/>
          <c:order val="1"/>
          <c:tx>
            <c:strRef>
              <c:f>Revenue!$I$3</c:f>
              <c:strCache>
                <c:ptCount val="1"/>
                <c:pt idx="0">
                  <c:v>EMEA</c:v>
                </c:pt>
              </c:strCache>
            </c:strRef>
          </c:tx>
          <c:spPr>
            <a:ln w="28575" cap="rnd">
              <a:solidFill>
                <a:schemeClr val="accent3"/>
              </a:solidFill>
              <a:round/>
            </a:ln>
            <a:effectLst/>
          </c:spPr>
          <c:marker>
            <c:symbol val="none"/>
          </c:marker>
          <c:cat>
            <c:numRef>
              <c:f>Revenue!$B$6:$B$10</c:f>
              <c:numCache>
                <c:formatCode>General</c:formatCode>
                <c:ptCount val="5"/>
                <c:pt idx="0">
                  <c:v>2018</c:v>
                </c:pt>
                <c:pt idx="1">
                  <c:v>2019</c:v>
                </c:pt>
                <c:pt idx="2">
                  <c:v>2020</c:v>
                </c:pt>
                <c:pt idx="3">
                  <c:v>2021</c:v>
                </c:pt>
                <c:pt idx="4">
                  <c:v>2022</c:v>
                </c:pt>
              </c:numCache>
            </c:numRef>
          </c:cat>
          <c:val>
            <c:numRef>
              <c:f>Revenue!$J$6:$J$10</c:f>
              <c:numCache>
                <c:formatCode>0.0%</c:formatCode>
                <c:ptCount val="5"/>
                <c:pt idx="0">
                  <c:v>0.15270629991126886</c:v>
                </c:pt>
                <c:pt idx="1">
                  <c:v>0.15183431116137697</c:v>
                </c:pt>
                <c:pt idx="2">
                  <c:v>0.18726995241942723</c:v>
                </c:pt>
                <c:pt idx="3">
                  <c:v>0.18407333142366084</c:v>
                </c:pt>
                <c:pt idx="4">
                  <c:v>0.21783731216864824</c:v>
                </c:pt>
              </c:numCache>
            </c:numRef>
          </c:val>
          <c:smooth val="0"/>
          <c:extLst>
            <c:ext xmlns:c16="http://schemas.microsoft.com/office/drawing/2014/chart" uri="{C3380CC4-5D6E-409C-BE32-E72D297353CC}">
              <c16:uniqueId val="{00000001-3743-4974-8E6F-AE71AF77623C}"/>
            </c:ext>
          </c:extLst>
        </c:ser>
        <c:ser>
          <c:idx val="3"/>
          <c:order val="2"/>
          <c:tx>
            <c:strRef>
              <c:f>Revenue!$K$3</c:f>
              <c:strCache>
                <c:ptCount val="1"/>
                <c:pt idx="0">
                  <c:v>APAC</c:v>
                </c:pt>
              </c:strCache>
            </c:strRef>
          </c:tx>
          <c:spPr>
            <a:ln w="28575" cap="rnd">
              <a:solidFill>
                <a:schemeClr val="accent4"/>
              </a:solidFill>
              <a:round/>
            </a:ln>
            <a:effectLst/>
          </c:spPr>
          <c:marker>
            <c:symbol val="none"/>
          </c:marker>
          <c:cat>
            <c:numRef>
              <c:f>Revenue!$B$6:$B$10</c:f>
              <c:numCache>
                <c:formatCode>General</c:formatCode>
                <c:ptCount val="5"/>
                <c:pt idx="0">
                  <c:v>2018</c:v>
                </c:pt>
                <c:pt idx="1">
                  <c:v>2019</c:v>
                </c:pt>
                <c:pt idx="2">
                  <c:v>2020</c:v>
                </c:pt>
                <c:pt idx="3">
                  <c:v>2021</c:v>
                </c:pt>
                <c:pt idx="4">
                  <c:v>2022</c:v>
                </c:pt>
              </c:numCache>
            </c:numRef>
          </c:cat>
          <c:val>
            <c:numRef>
              <c:f>Revenue!$L$6:$L$10</c:f>
              <c:numCache>
                <c:formatCode>0.0%</c:formatCode>
                <c:ptCount val="5"/>
                <c:pt idx="0">
                  <c:v>9.1038154392191664E-2</c:v>
                </c:pt>
                <c:pt idx="1">
                  <c:v>8.8145896656534953E-2</c:v>
                </c:pt>
                <c:pt idx="2">
                  <c:v>0.10297154143100817</c:v>
                </c:pt>
                <c:pt idx="3">
                  <c:v>0.15645946720137496</c:v>
                </c:pt>
                <c:pt idx="4">
                  <c:v>0.10920099131034916</c:v>
                </c:pt>
              </c:numCache>
            </c:numRef>
          </c:val>
          <c:smooth val="0"/>
          <c:extLst>
            <c:ext xmlns:c16="http://schemas.microsoft.com/office/drawing/2014/chart" uri="{C3380CC4-5D6E-409C-BE32-E72D297353CC}">
              <c16:uniqueId val="{00000002-3743-4974-8E6F-AE71AF77623C}"/>
            </c:ext>
          </c:extLst>
        </c:ser>
        <c:dLbls>
          <c:showLegendKey val="0"/>
          <c:showVal val="0"/>
          <c:showCatName val="0"/>
          <c:showSerName val="0"/>
          <c:showPercent val="0"/>
          <c:showBubbleSize val="0"/>
        </c:dLbls>
        <c:smooth val="0"/>
        <c:axId val="203139312"/>
        <c:axId val="1604079504"/>
      </c:lineChart>
      <c:catAx>
        <c:axId val="203139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604079504"/>
        <c:crosses val="autoZero"/>
        <c:auto val="1"/>
        <c:lblAlgn val="ctr"/>
        <c:lblOffset val="100"/>
        <c:noMultiLvlLbl val="0"/>
      </c:catAx>
      <c:valAx>
        <c:axId val="1604079504"/>
        <c:scaling>
          <c:orientation val="minMax"/>
        </c:scaling>
        <c:delete val="0"/>
        <c:axPos val="l"/>
        <c:majorGridlines>
          <c:spPr>
            <a:ln w="9525" cap="flat" cmpd="sng" algn="ctr">
              <a:solidFill>
                <a:schemeClr val="accent2">
                  <a:lumMod val="20000"/>
                  <a:lumOff val="80000"/>
                </a:schemeClr>
              </a:solidFill>
              <a:round/>
            </a:ln>
            <a:effectLst/>
          </c:spPr>
        </c:majorGridlines>
        <c:title>
          <c:tx>
            <c:rich>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r>
                  <a:rPr lang="en-US"/>
                  <a:t>Revenue by Region</a:t>
                </a:r>
              </a:p>
            </c:rich>
          </c:tx>
          <c:layout>
            <c:manualLayout>
              <c:xMode val="edge"/>
              <c:yMode val="edge"/>
              <c:x val="4.0958836691635435E-2"/>
              <c:y val="0.10586013911963399"/>
            </c:manualLayout>
          </c:layout>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313931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lang="en-US"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0" i="0" u="none" strike="noStrike" kern="1200" spc="0" baseline="0">
                <a:solidFill>
                  <a:schemeClr val="tx1"/>
                </a:solidFill>
                <a:latin typeface="+mn-lt"/>
                <a:ea typeface="+mn-ea"/>
                <a:cs typeface="+mn-cs"/>
              </a:defRPr>
            </a:pPr>
            <a:r>
              <a:rPr lang="en-US"/>
              <a:t>Revenue by Businessunit </a:t>
            </a:r>
            <a:r>
              <a:rPr lang="en-US" err="1"/>
              <a:t>over</a:t>
            </a:r>
            <a:r>
              <a:rPr lang="en-US"/>
              <a:t> time</a:t>
            </a:r>
          </a:p>
        </c:rich>
      </c:tx>
      <c:overlay val="0"/>
      <c:spPr>
        <a:noFill/>
        <a:ln>
          <a:noFill/>
        </a:ln>
        <a:effectLst/>
      </c:spPr>
      <c:txPr>
        <a:bodyPr rot="0" spcFirstLastPara="1" vertOverflow="ellipsis" vert="horz" wrap="square" anchor="ctr" anchorCtr="1"/>
        <a:lstStyle/>
        <a:p>
          <a:pPr>
            <a:defRPr lang="en-US"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Revenue!$M$3</c:f>
              <c:strCache>
                <c:ptCount val="1"/>
                <c:pt idx="0">
                  <c:v>Uber</c:v>
                </c:pt>
              </c:strCache>
            </c:strRef>
          </c:tx>
          <c:spPr>
            <a:ln w="28575" cap="rnd">
              <a:solidFill>
                <a:schemeClr val="tx1"/>
              </a:solidFill>
              <a:round/>
            </a:ln>
            <a:effectLst/>
          </c:spPr>
          <c:marker>
            <c:symbol val="none"/>
          </c:marker>
          <c:cat>
            <c:numRef>
              <c:f>Revenue!$B$6:$B$10</c:f>
              <c:numCache>
                <c:formatCode>General</c:formatCode>
                <c:ptCount val="5"/>
                <c:pt idx="0">
                  <c:v>2018</c:v>
                </c:pt>
                <c:pt idx="1">
                  <c:v>2019</c:v>
                </c:pt>
                <c:pt idx="2">
                  <c:v>2020</c:v>
                </c:pt>
                <c:pt idx="3">
                  <c:v>2021</c:v>
                </c:pt>
                <c:pt idx="4">
                  <c:v>2022</c:v>
                </c:pt>
              </c:numCache>
            </c:numRef>
          </c:cat>
          <c:val>
            <c:numRef>
              <c:f>Revenue!$O$6:$O$10</c:f>
              <c:numCache>
                <c:formatCode>0.0%</c:formatCode>
                <c:ptCount val="5"/>
                <c:pt idx="0">
                  <c:v>0.83735581188997343</c:v>
                </c:pt>
                <c:pt idx="1">
                  <c:v>0.75952498762988618</c:v>
                </c:pt>
                <c:pt idx="2">
                  <c:v>0.54663793877367806</c:v>
                </c:pt>
                <c:pt idx="3">
                  <c:v>0.39833858493268404</c:v>
                </c:pt>
                <c:pt idx="4">
                  <c:v>0.44009787621168867</c:v>
                </c:pt>
              </c:numCache>
            </c:numRef>
          </c:val>
          <c:smooth val="0"/>
          <c:extLst>
            <c:ext xmlns:c16="http://schemas.microsoft.com/office/drawing/2014/chart" uri="{C3380CC4-5D6E-409C-BE32-E72D297353CC}">
              <c16:uniqueId val="{00000000-B535-4D25-A26E-110DC3FC2ECF}"/>
            </c:ext>
          </c:extLst>
        </c:ser>
        <c:ser>
          <c:idx val="1"/>
          <c:order val="1"/>
          <c:tx>
            <c:strRef>
              <c:f>Revenue!$P$3</c:f>
              <c:strCache>
                <c:ptCount val="1"/>
                <c:pt idx="0">
                  <c:v>Eats</c:v>
                </c:pt>
              </c:strCache>
            </c:strRef>
          </c:tx>
          <c:spPr>
            <a:ln w="28575" cap="rnd">
              <a:solidFill>
                <a:schemeClr val="accent1"/>
              </a:solidFill>
              <a:round/>
            </a:ln>
            <a:effectLst/>
          </c:spPr>
          <c:marker>
            <c:symbol val="none"/>
          </c:marker>
          <c:cat>
            <c:numRef>
              <c:f>Revenue!$B$6:$B$10</c:f>
              <c:numCache>
                <c:formatCode>General</c:formatCode>
                <c:ptCount val="5"/>
                <c:pt idx="0">
                  <c:v>2018</c:v>
                </c:pt>
                <c:pt idx="1">
                  <c:v>2019</c:v>
                </c:pt>
                <c:pt idx="2">
                  <c:v>2020</c:v>
                </c:pt>
                <c:pt idx="3">
                  <c:v>2021</c:v>
                </c:pt>
                <c:pt idx="4">
                  <c:v>2022</c:v>
                </c:pt>
              </c:numCache>
            </c:numRef>
          </c:cat>
          <c:val>
            <c:numRef>
              <c:f>Revenue!$R$6:$R$10</c:f>
              <c:numCache>
                <c:formatCode>0.0%</c:formatCode>
                <c:ptCount val="5"/>
                <c:pt idx="0">
                  <c:v>0.129547471162378</c:v>
                </c:pt>
                <c:pt idx="1">
                  <c:v>0.17742277514667421</c:v>
                </c:pt>
                <c:pt idx="2">
                  <c:v>0.35048029446090312</c:v>
                </c:pt>
                <c:pt idx="3">
                  <c:v>0.47906044113434548</c:v>
                </c:pt>
                <c:pt idx="4">
                  <c:v>0.34197069987765472</c:v>
                </c:pt>
              </c:numCache>
            </c:numRef>
          </c:val>
          <c:smooth val="0"/>
          <c:extLst>
            <c:ext xmlns:c16="http://schemas.microsoft.com/office/drawing/2014/chart" uri="{C3380CC4-5D6E-409C-BE32-E72D297353CC}">
              <c16:uniqueId val="{00000001-B535-4D25-A26E-110DC3FC2ECF}"/>
            </c:ext>
          </c:extLst>
        </c:ser>
        <c:ser>
          <c:idx val="2"/>
          <c:order val="2"/>
          <c:tx>
            <c:strRef>
              <c:f>Revenue!$S$3</c:f>
              <c:strCache>
                <c:ptCount val="1"/>
                <c:pt idx="0">
                  <c:v>Freight</c:v>
                </c:pt>
              </c:strCache>
            </c:strRef>
          </c:tx>
          <c:spPr>
            <a:ln w="28575" cap="rnd">
              <a:solidFill>
                <a:schemeClr val="accent6">
                  <a:lumMod val="60000"/>
                  <a:lumOff val="40000"/>
                </a:schemeClr>
              </a:solidFill>
              <a:round/>
            </a:ln>
            <a:effectLst/>
          </c:spPr>
          <c:marker>
            <c:symbol val="none"/>
          </c:marker>
          <c:cat>
            <c:numRef>
              <c:f>Revenue!$B$6:$B$10</c:f>
              <c:numCache>
                <c:formatCode>General</c:formatCode>
                <c:ptCount val="5"/>
                <c:pt idx="0">
                  <c:v>2018</c:v>
                </c:pt>
                <c:pt idx="1">
                  <c:v>2019</c:v>
                </c:pt>
                <c:pt idx="2">
                  <c:v>2020</c:v>
                </c:pt>
                <c:pt idx="3">
                  <c:v>2021</c:v>
                </c:pt>
                <c:pt idx="4">
                  <c:v>2022</c:v>
                </c:pt>
              </c:numCache>
            </c:numRef>
          </c:cat>
          <c:val>
            <c:numRef>
              <c:f>Revenue!$T$6:$T$10</c:f>
              <c:numCache>
                <c:formatCode>0.0%</c:formatCode>
                <c:ptCount val="5"/>
                <c:pt idx="0">
                  <c:v>3.1588287488908608E-2</c:v>
                </c:pt>
                <c:pt idx="1">
                  <c:v>5.1671732522796353E-2</c:v>
                </c:pt>
                <c:pt idx="2">
                  <c:v>9.0762186910853762E-2</c:v>
                </c:pt>
                <c:pt idx="3">
                  <c:v>0.12214265253509023</c:v>
                </c:pt>
                <c:pt idx="4">
                  <c:v>0.21793142391065659</c:v>
                </c:pt>
              </c:numCache>
            </c:numRef>
          </c:val>
          <c:smooth val="0"/>
          <c:extLst>
            <c:ext xmlns:c16="http://schemas.microsoft.com/office/drawing/2014/chart" uri="{C3380CC4-5D6E-409C-BE32-E72D297353CC}">
              <c16:uniqueId val="{00000002-B535-4D25-A26E-110DC3FC2ECF}"/>
            </c:ext>
          </c:extLst>
        </c:ser>
        <c:dLbls>
          <c:showLegendKey val="0"/>
          <c:showVal val="0"/>
          <c:showCatName val="0"/>
          <c:showSerName val="0"/>
          <c:showPercent val="0"/>
          <c:showBubbleSize val="0"/>
        </c:dLbls>
        <c:smooth val="0"/>
        <c:axId val="203139312"/>
        <c:axId val="1604079504"/>
      </c:lineChart>
      <c:catAx>
        <c:axId val="203139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604079504"/>
        <c:crosses val="autoZero"/>
        <c:auto val="1"/>
        <c:lblAlgn val="ctr"/>
        <c:lblOffset val="100"/>
        <c:noMultiLvlLbl val="0"/>
      </c:catAx>
      <c:valAx>
        <c:axId val="1604079504"/>
        <c:scaling>
          <c:orientation val="minMax"/>
        </c:scaling>
        <c:delete val="0"/>
        <c:axPos val="l"/>
        <c:majorGridlines>
          <c:spPr>
            <a:ln w="9525" cap="flat" cmpd="sng" algn="ctr">
              <a:solidFill>
                <a:schemeClr val="accent2">
                  <a:lumMod val="20000"/>
                  <a:lumOff val="80000"/>
                </a:schemeClr>
              </a:solidFill>
              <a:round/>
            </a:ln>
            <a:effectLst/>
          </c:spPr>
        </c:majorGridlines>
        <c:title>
          <c:tx>
            <c:rich>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r>
                  <a:rPr lang="en-US"/>
                  <a:t>Revenue</a:t>
                </a:r>
                <a:r>
                  <a:rPr lang="en-US" baseline="0"/>
                  <a:t> </a:t>
                </a:r>
                <a:r>
                  <a:rPr lang="en-US" baseline="0" err="1"/>
                  <a:t>share</a:t>
                </a:r>
                <a:endParaRPr lang="en-US"/>
              </a:p>
            </c:rich>
          </c:tx>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31393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080" b="0" i="0" u="none" strike="noStrike" kern="1200" spc="0" baseline="0">
                <a:solidFill>
                  <a:schemeClr val="tx1"/>
                </a:solidFill>
                <a:latin typeface="+mn-lt"/>
                <a:ea typeface="+mn-ea"/>
                <a:cs typeface="+mn-cs"/>
              </a:defRPr>
            </a:pPr>
            <a:r>
              <a:rPr lang="en-US" b="0"/>
              <a:t>Market </a:t>
            </a:r>
            <a:r>
              <a:rPr lang="en-US" b="0" err="1"/>
              <a:t>share</a:t>
            </a:r>
            <a:r>
              <a:rPr lang="en-US" b="0"/>
              <a:t> </a:t>
            </a:r>
            <a:r>
              <a:rPr lang="en-US" b="0" err="1"/>
              <a:t>meal</a:t>
            </a:r>
            <a:r>
              <a:rPr lang="en-US" b="0"/>
              <a:t> </a:t>
            </a:r>
            <a:r>
              <a:rPr lang="en-US" b="0" err="1"/>
              <a:t>delivery</a:t>
            </a:r>
            <a:r>
              <a:rPr lang="en-US" b="0"/>
              <a:t> US</a:t>
            </a:r>
          </a:p>
        </c:rich>
      </c:tx>
      <c:overlay val="0"/>
      <c:spPr>
        <a:noFill/>
        <a:ln>
          <a:noFill/>
        </a:ln>
        <a:effectLst/>
      </c:spPr>
      <c:txPr>
        <a:bodyPr rot="0" spcFirstLastPara="1" vertOverflow="ellipsis" vert="horz" wrap="square" anchor="ctr" anchorCtr="1"/>
        <a:lstStyle/>
        <a:p>
          <a:pPr>
            <a:defRPr lang="en-US" sz="1080"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398-486E-B4C9-D4C1E14DBF7D}"/>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3-3398-486E-B4C9-D4C1E14DBF7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398-486E-B4C9-D4C1E14DBF7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398-486E-B4C9-D4C1E14DBF7D}"/>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3398-486E-B4C9-D4C1E14DBF7D}"/>
              </c:ext>
            </c:extLst>
          </c:dPt>
          <c:dLbls>
            <c:dLbl>
              <c:idx val="0"/>
              <c:layout>
                <c:manualLayout>
                  <c:x val="-0.10803691954543602"/>
                  <c:y val="-6.9757256462075021E-2"/>
                </c:manualLayout>
              </c:layout>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398-486E-B4C9-D4C1E14DBF7D}"/>
                </c:ext>
              </c:extLst>
            </c:dLbl>
            <c:dLbl>
              <c:idx val="1"/>
              <c:layout>
                <c:manualLayout>
                  <c:x val="0.10406342649378736"/>
                  <c:y val="2.2304273591180819E-2"/>
                </c:manualLayout>
              </c:layout>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398-486E-B4C9-D4C1E14DBF7D}"/>
                </c:ext>
              </c:extLst>
            </c:dLbl>
            <c:dLbl>
              <c:idx val="2"/>
              <c:layout>
                <c:manualLayout>
                  <c:x val="5.9223572640077118E-2"/>
                  <c:y val="0.13540011693379259"/>
                </c:manualLayout>
              </c:layout>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398-486E-B4C9-D4C1E14DBF7D}"/>
                </c:ext>
              </c:extLst>
            </c:dLbl>
            <c:dLbl>
              <c:idx val="3"/>
              <c:delete val="1"/>
              <c:extLst>
                <c:ext xmlns:c15="http://schemas.microsoft.com/office/drawing/2012/chart" uri="{CE6537A1-D6FC-4f65-9D91-7224C49458BB}"/>
                <c:ext xmlns:c16="http://schemas.microsoft.com/office/drawing/2014/chart" uri="{C3380CC4-5D6E-409C-BE32-E72D297353CC}">
                  <c16:uniqueId val="{00000007-3398-486E-B4C9-D4C1E14DBF7D}"/>
                </c:ext>
              </c:extLst>
            </c:dLbl>
            <c:dLbl>
              <c:idx val="4"/>
              <c:delete val="1"/>
              <c:extLst>
                <c:ext xmlns:c15="http://schemas.microsoft.com/office/drawing/2012/chart" uri="{CE6537A1-D6FC-4f65-9D91-7224C49458BB}"/>
                <c:ext xmlns:c16="http://schemas.microsoft.com/office/drawing/2014/chart" uri="{C3380CC4-5D6E-409C-BE32-E72D297353CC}">
                  <c16:uniqueId val="{00000009-3398-486E-B4C9-D4C1E14DBF7D}"/>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extLst>
          </c:dLbls>
          <c:cat>
            <c:strRef>
              <c:f>Revenue!$K$134:$K$138</c:f>
              <c:strCache>
                <c:ptCount val="5"/>
                <c:pt idx="0">
                  <c:v>DoorDash</c:v>
                </c:pt>
                <c:pt idx="1">
                  <c:v>UberEats</c:v>
                </c:pt>
                <c:pt idx="2">
                  <c:v>Grubhub</c:v>
                </c:pt>
                <c:pt idx="3">
                  <c:v>Postmates</c:v>
                </c:pt>
                <c:pt idx="4">
                  <c:v>Other</c:v>
                </c:pt>
              </c:strCache>
            </c:strRef>
          </c:cat>
          <c:val>
            <c:numRef>
              <c:f>Revenue!$L$134:$L$138</c:f>
              <c:numCache>
                <c:formatCode>0%</c:formatCode>
                <c:ptCount val="5"/>
                <c:pt idx="0">
                  <c:v>0.65</c:v>
                </c:pt>
                <c:pt idx="1">
                  <c:v>0.23</c:v>
                </c:pt>
                <c:pt idx="2">
                  <c:v>0.09</c:v>
                </c:pt>
                <c:pt idx="3">
                  <c:v>0.02</c:v>
                </c:pt>
                <c:pt idx="4">
                  <c:v>0.01</c:v>
                </c:pt>
              </c:numCache>
            </c:numRef>
          </c:val>
          <c:extLst>
            <c:ext xmlns:c16="http://schemas.microsoft.com/office/drawing/2014/chart" uri="{C3380CC4-5D6E-409C-BE32-E72D297353CC}">
              <c16:uniqueId val="{0000000A-3398-486E-B4C9-D4C1E14DBF7D}"/>
            </c:ext>
          </c:extLst>
        </c:ser>
        <c:dLbls>
          <c:dLblPos val="ctr"/>
          <c:showLegendKey val="0"/>
          <c:showVal val="1"/>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Revenue!$L$150</c:f>
              <c:strCache>
                <c:ptCount val="1"/>
                <c:pt idx="0">
                  <c:v>Germany</c:v>
                </c:pt>
              </c:strCache>
            </c:strRef>
          </c:tx>
          <c:spPr>
            <a:solidFill>
              <a:schemeClr val="accent1"/>
            </a:solidFill>
            <a:ln>
              <a:noFill/>
            </a:ln>
            <a:effectLst/>
          </c:spPr>
          <c:invertIfNegative val="0"/>
          <c:dPt>
            <c:idx val="0"/>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4-95C9-494B-8B57-4CC9B54C958E}"/>
              </c:ext>
            </c:extLst>
          </c:dPt>
          <c:dPt>
            <c:idx val="1"/>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3-95C9-494B-8B57-4CC9B54C958E}"/>
              </c:ext>
            </c:extLst>
          </c:dPt>
          <c:dPt>
            <c:idx val="2"/>
            <c:invertIfNegative val="0"/>
            <c:bubble3D val="0"/>
            <c:spPr>
              <a:solidFill>
                <a:schemeClr val="tx1"/>
              </a:solidFill>
              <a:ln>
                <a:noFill/>
              </a:ln>
              <a:effectLst/>
            </c:spPr>
            <c:extLst>
              <c:ext xmlns:c16="http://schemas.microsoft.com/office/drawing/2014/chart" uri="{C3380CC4-5D6E-409C-BE32-E72D297353CC}">
                <c16:uniqueId val="{00000002-95C9-494B-8B57-4CC9B54C958E}"/>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95C9-494B-8B57-4CC9B54C958E}"/>
                </c:ext>
              </c:extLst>
            </c:dLbl>
            <c:dLbl>
              <c:idx val="1"/>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95C9-494B-8B57-4CC9B54C958E}"/>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venue!$K$151:$K$153</c:f>
              <c:strCache>
                <c:ptCount val="3"/>
                <c:pt idx="0">
                  <c:v>Lieferando</c:v>
                </c:pt>
                <c:pt idx="1">
                  <c:v>Dominos</c:v>
                </c:pt>
                <c:pt idx="2">
                  <c:v>Uber Eats</c:v>
                </c:pt>
              </c:strCache>
            </c:strRef>
          </c:cat>
          <c:val>
            <c:numRef>
              <c:f>Revenue!$L$151:$L$153</c:f>
              <c:numCache>
                <c:formatCode>0%</c:formatCode>
                <c:ptCount val="3"/>
                <c:pt idx="0">
                  <c:v>0.75</c:v>
                </c:pt>
                <c:pt idx="1">
                  <c:v>0.27</c:v>
                </c:pt>
                <c:pt idx="2">
                  <c:v>0.11</c:v>
                </c:pt>
              </c:numCache>
            </c:numRef>
          </c:val>
          <c:extLst>
            <c:ext xmlns:c16="http://schemas.microsoft.com/office/drawing/2014/chart" uri="{C3380CC4-5D6E-409C-BE32-E72D297353CC}">
              <c16:uniqueId val="{00000000-95C9-494B-8B57-4CC9B54C958E}"/>
            </c:ext>
          </c:extLst>
        </c:ser>
        <c:dLbls>
          <c:dLblPos val="outEnd"/>
          <c:showLegendKey val="0"/>
          <c:showVal val="1"/>
          <c:showCatName val="0"/>
          <c:showSerName val="0"/>
          <c:showPercent val="0"/>
          <c:showBubbleSize val="0"/>
        </c:dLbls>
        <c:gapWidth val="30"/>
        <c:overlap val="-100"/>
        <c:axId val="293298944"/>
        <c:axId val="293286976"/>
      </c:barChart>
      <c:catAx>
        <c:axId val="293298944"/>
        <c:scaling>
          <c:orientation val="minMax"/>
        </c:scaling>
        <c:delete val="0"/>
        <c:axPos val="l"/>
        <c:title>
          <c:tx>
            <c:rich>
              <a:bodyPr rot="-5400000" spcFirstLastPara="1" vertOverflow="ellipsis" vert="horz" wrap="square" anchor="ctr" anchorCtr="1"/>
              <a:lstStyle/>
              <a:p>
                <a:pPr>
                  <a:defRPr lang="en-US" sz="1000" b="1" i="0" u="none" strike="noStrike" kern="1200" baseline="0">
                    <a:solidFill>
                      <a:schemeClr val="tx1"/>
                    </a:solidFill>
                    <a:latin typeface="+mn-lt"/>
                    <a:ea typeface="+mn-ea"/>
                    <a:cs typeface="+mn-cs"/>
                  </a:defRPr>
                </a:pPr>
                <a:r>
                  <a:rPr lang="en-US" b="1">
                    <a:solidFill>
                      <a:schemeClr val="tx1"/>
                    </a:solidFill>
                  </a:rPr>
                  <a:t>Germany</a:t>
                </a:r>
              </a:p>
            </c:rich>
          </c:tx>
          <c:layout>
            <c:manualLayout>
              <c:xMode val="edge"/>
              <c:yMode val="edge"/>
              <c:x val="3.8314187804081154E-3"/>
              <c:y val="0.18117515080768298"/>
            </c:manualLayout>
          </c:layout>
          <c:overlay val="0"/>
          <c:spPr>
            <a:noFill/>
            <a:ln>
              <a:noFill/>
            </a:ln>
            <a:effectLst/>
          </c:spPr>
          <c:txPr>
            <a:bodyPr rot="-5400000" spcFirstLastPara="1" vertOverflow="ellipsis" vert="horz" wrap="square" anchor="ctr" anchorCtr="1"/>
            <a:lstStyle/>
            <a:p>
              <a:pPr>
                <a:defRPr lang="en-US" sz="10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93286976"/>
        <c:crosses val="autoZero"/>
        <c:auto val="1"/>
        <c:lblAlgn val="ctr"/>
        <c:lblOffset val="100"/>
        <c:noMultiLvlLbl val="0"/>
      </c:catAx>
      <c:valAx>
        <c:axId val="293286976"/>
        <c:scaling>
          <c:orientation val="minMax"/>
        </c:scaling>
        <c:delete val="1"/>
        <c:axPos val="b"/>
        <c:numFmt formatCode="0%" sourceLinked="1"/>
        <c:majorTickMark val="out"/>
        <c:minorTickMark val="none"/>
        <c:tickLblPos val="nextTo"/>
        <c:crossAx val="2932989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Revenue!$M$150</c:f>
              <c:strCache>
                <c:ptCount val="1"/>
                <c:pt idx="0">
                  <c:v>France</c:v>
                </c:pt>
              </c:strCache>
            </c:strRef>
          </c:tx>
          <c:spPr>
            <a:solidFill>
              <a:schemeClr val="accent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4-0E95-4369-83A6-F35C696A9C74}"/>
              </c:ext>
            </c:extLst>
          </c:dPt>
          <c:dPt>
            <c:idx val="1"/>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3-0E95-4369-83A6-F35C696A9C74}"/>
              </c:ext>
            </c:extLst>
          </c:dPt>
          <c:dPt>
            <c:idx val="2"/>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2-0E95-4369-83A6-F35C696A9C74}"/>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0E95-4369-83A6-F35C696A9C74}"/>
                </c:ext>
              </c:extLst>
            </c:dLbl>
            <c:dLbl>
              <c:idx val="1"/>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0E95-4369-83A6-F35C696A9C74}"/>
                </c:ext>
              </c:extLst>
            </c:dLbl>
            <c:dLbl>
              <c:idx val="2"/>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0E95-4369-83A6-F35C696A9C74}"/>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venue!$K$154:$K$156</c:f>
              <c:strCache>
                <c:ptCount val="3"/>
                <c:pt idx="0">
                  <c:v>Uber Eats</c:v>
                </c:pt>
                <c:pt idx="1">
                  <c:v>Deliveroo</c:v>
                </c:pt>
                <c:pt idx="2">
                  <c:v>JUST EAT</c:v>
                </c:pt>
              </c:strCache>
            </c:strRef>
          </c:cat>
          <c:val>
            <c:numRef>
              <c:f>Revenue!$M$154:$M$156</c:f>
              <c:numCache>
                <c:formatCode>0%</c:formatCode>
                <c:ptCount val="3"/>
                <c:pt idx="0">
                  <c:v>0.68</c:v>
                </c:pt>
                <c:pt idx="1">
                  <c:v>0.5</c:v>
                </c:pt>
                <c:pt idx="2">
                  <c:v>0.32</c:v>
                </c:pt>
              </c:numCache>
            </c:numRef>
          </c:val>
          <c:extLst>
            <c:ext xmlns:c16="http://schemas.microsoft.com/office/drawing/2014/chart" uri="{C3380CC4-5D6E-409C-BE32-E72D297353CC}">
              <c16:uniqueId val="{00000000-0E95-4369-83A6-F35C696A9C74}"/>
            </c:ext>
          </c:extLst>
        </c:ser>
        <c:dLbls>
          <c:showLegendKey val="0"/>
          <c:showVal val="0"/>
          <c:showCatName val="0"/>
          <c:showSerName val="0"/>
          <c:showPercent val="0"/>
          <c:showBubbleSize val="0"/>
        </c:dLbls>
        <c:gapWidth val="30"/>
        <c:overlap val="-100"/>
        <c:axId val="293298944"/>
        <c:axId val="293286976"/>
      </c:barChart>
      <c:catAx>
        <c:axId val="293298944"/>
        <c:scaling>
          <c:orientation val="minMax"/>
        </c:scaling>
        <c:delete val="0"/>
        <c:axPos val="l"/>
        <c:title>
          <c:tx>
            <c:rich>
              <a:bodyPr rot="-5400000" spcFirstLastPara="1" vertOverflow="ellipsis" vert="horz" wrap="square" anchor="ctr" anchorCtr="1"/>
              <a:lstStyle/>
              <a:p>
                <a:pPr>
                  <a:defRPr lang="en-US" sz="1000" b="1" i="0" u="none" strike="noStrike" kern="1200" baseline="0">
                    <a:solidFill>
                      <a:schemeClr val="tx1"/>
                    </a:solidFill>
                    <a:latin typeface="+mn-lt"/>
                    <a:ea typeface="+mn-ea"/>
                    <a:cs typeface="+mn-cs"/>
                  </a:defRPr>
                </a:pPr>
                <a:r>
                  <a:rPr lang="en-US" b="1">
                    <a:solidFill>
                      <a:schemeClr val="tx1"/>
                    </a:solidFill>
                  </a:rPr>
                  <a:t>France</a:t>
                </a:r>
              </a:p>
            </c:rich>
          </c:tx>
          <c:layout>
            <c:manualLayout>
              <c:xMode val="edge"/>
              <c:yMode val="edge"/>
              <c:x val="0"/>
              <c:y val="0.25678151032955832"/>
            </c:manualLayout>
          </c:layout>
          <c:overlay val="0"/>
          <c:spPr>
            <a:noFill/>
            <a:ln>
              <a:noFill/>
            </a:ln>
            <a:effectLst/>
          </c:spPr>
          <c:txPr>
            <a:bodyPr rot="-5400000" spcFirstLastPara="1" vertOverflow="ellipsis" vert="horz" wrap="square" anchor="ctr" anchorCtr="1"/>
            <a:lstStyle/>
            <a:p>
              <a:pPr>
                <a:defRPr lang="en-US" sz="10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93286976"/>
        <c:crosses val="autoZero"/>
        <c:auto val="1"/>
        <c:lblAlgn val="ctr"/>
        <c:lblOffset val="100"/>
        <c:noMultiLvlLbl val="0"/>
      </c:catAx>
      <c:valAx>
        <c:axId val="293286976"/>
        <c:scaling>
          <c:orientation val="minMax"/>
        </c:scaling>
        <c:delete val="1"/>
        <c:axPos val="b"/>
        <c:numFmt formatCode="0%" sourceLinked="1"/>
        <c:majorTickMark val="out"/>
        <c:minorTickMark val="none"/>
        <c:tickLblPos val="nextTo"/>
        <c:crossAx val="2932989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Revenue!$O$150</c:f>
              <c:strCache>
                <c:ptCount val="1"/>
                <c:pt idx="0">
                  <c:v>Japan</c:v>
                </c:pt>
              </c:strCache>
            </c:strRef>
          </c:tx>
          <c:spPr>
            <a:solidFill>
              <a:schemeClr val="accent1"/>
            </a:solidFill>
            <a:ln>
              <a:noFill/>
            </a:ln>
            <a:effectLst/>
          </c:spPr>
          <c:invertIfNegative val="0"/>
          <c:dPt>
            <c:idx val="0"/>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3-4D5E-41DC-B589-F41D576D652D}"/>
              </c:ext>
            </c:extLst>
          </c:dPt>
          <c:dPt>
            <c:idx val="1"/>
            <c:invertIfNegative val="0"/>
            <c:bubble3D val="0"/>
            <c:spPr>
              <a:solidFill>
                <a:schemeClr val="tx1"/>
              </a:solidFill>
              <a:ln>
                <a:noFill/>
              </a:ln>
              <a:effectLst/>
            </c:spPr>
            <c:extLst>
              <c:ext xmlns:c16="http://schemas.microsoft.com/office/drawing/2014/chart" uri="{C3380CC4-5D6E-409C-BE32-E72D297353CC}">
                <c16:uniqueId val="{00000002-4D5E-41DC-B589-F41D576D652D}"/>
              </c:ext>
            </c:extLst>
          </c:dPt>
          <c:dPt>
            <c:idx val="2"/>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1-4D5E-41DC-B589-F41D576D652D}"/>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4D5E-41DC-B589-F41D576D652D}"/>
                </c:ext>
              </c:extLst>
            </c:dLbl>
            <c:dLbl>
              <c:idx val="1"/>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4D5E-41DC-B589-F41D576D652D}"/>
                </c:ext>
              </c:extLst>
            </c:dLbl>
            <c:dLbl>
              <c:idx val="2"/>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4D5E-41DC-B589-F41D576D652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venue!$K$157:$K$159</c:f>
              <c:strCache>
                <c:ptCount val="3"/>
                <c:pt idx="0">
                  <c:v>DEMAE-CAN</c:v>
                </c:pt>
                <c:pt idx="1">
                  <c:v>Uber Eats</c:v>
                </c:pt>
                <c:pt idx="2">
                  <c:v>Dominos</c:v>
                </c:pt>
              </c:strCache>
            </c:strRef>
          </c:cat>
          <c:val>
            <c:numRef>
              <c:f>Revenue!$O$157:$O$159</c:f>
              <c:numCache>
                <c:formatCode>0%</c:formatCode>
                <c:ptCount val="3"/>
                <c:pt idx="0">
                  <c:v>0.62</c:v>
                </c:pt>
                <c:pt idx="1">
                  <c:v>0.61</c:v>
                </c:pt>
                <c:pt idx="2">
                  <c:v>0.34</c:v>
                </c:pt>
              </c:numCache>
            </c:numRef>
          </c:val>
          <c:extLst>
            <c:ext xmlns:c16="http://schemas.microsoft.com/office/drawing/2014/chart" uri="{C3380CC4-5D6E-409C-BE32-E72D297353CC}">
              <c16:uniqueId val="{00000000-4D5E-41DC-B589-F41D576D652D}"/>
            </c:ext>
          </c:extLst>
        </c:ser>
        <c:dLbls>
          <c:dLblPos val="outEnd"/>
          <c:showLegendKey val="0"/>
          <c:showVal val="1"/>
          <c:showCatName val="0"/>
          <c:showSerName val="0"/>
          <c:showPercent val="0"/>
          <c:showBubbleSize val="0"/>
        </c:dLbls>
        <c:gapWidth val="30"/>
        <c:axId val="293298944"/>
        <c:axId val="293286976"/>
      </c:barChart>
      <c:catAx>
        <c:axId val="293298944"/>
        <c:scaling>
          <c:orientation val="minMax"/>
        </c:scaling>
        <c:delete val="0"/>
        <c:axPos val="l"/>
        <c:title>
          <c:tx>
            <c:rich>
              <a:bodyPr rot="-5400000" spcFirstLastPara="1" vertOverflow="ellipsis" vert="horz" wrap="square" anchor="ctr" anchorCtr="1"/>
              <a:lstStyle/>
              <a:p>
                <a:pPr>
                  <a:defRPr lang="en-US" sz="1000" b="1" i="0" u="none" strike="noStrike" kern="1200" baseline="0">
                    <a:solidFill>
                      <a:schemeClr val="tx1"/>
                    </a:solidFill>
                    <a:latin typeface="+mn-lt"/>
                    <a:ea typeface="+mn-ea"/>
                    <a:cs typeface="+mn-cs"/>
                  </a:defRPr>
                </a:pPr>
                <a:r>
                  <a:rPr lang="en-US" b="1">
                    <a:solidFill>
                      <a:schemeClr val="tx1"/>
                    </a:solidFill>
                  </a:rPr>
                  <a:t>Japan</a:t>
                </a:r>
              </a:p>
            </c:rich>
          </c:tx>
          <c:layout>
            <c:manualLayout>
              <c:xMode val="edge"/>
              <c:yMode val="edge"/>
              <c:x val="4.4262090826158895E-2"/>
              <c:y val="0.28390982713150253"/>
            </c:manualLayout>
          </c:layout>
          <c:overlay val="0"/>
          <c:spPr>
            <a:noFill/>
            <a:ln>
              <a:noFill/>
            </a:ln>
            <a:effectLst/>
          </c:spPr>
          <c:txPr>
            <a:bodyPr rot="-5400000" spcFirstLastPara="1" vertOverflow="ellipsis" vert="horz" wrap="square" anchor="ctr" anchorCtr="1"/>
            <a:lstStyle/>
            <a:p>
              <a:pPr>
                <a:defRPr lang="en-US" sz="1000" b="1"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93286976"/>
        <c:crosses val="autoZero"/>
        <c:auto val="1"/>
        <c:lblAlgn val="ctr"/>
        <c:lblOffset val="100"/>
        <c:noMultiLvlLbl val="0"/>
      </c:catAx>
      <c:valAx>
        <c:axId val="293286976"/>
        <c:scaling>
          <c:orientation val="minMax"/>
        </c:scaling>
        <c:delete val="1"/>
        <c:axPos val="b"/>
        <c:numFmt formatCode="0%" sourceLinked="1"/>
        <c:majorTickMark val="none"/>
        <c:minorTickMark val="none"/>
        <c:tickLblPos val="nextTo"/>
        <c:crossAx val="2932989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v>DoorDash</c:v>
          </c:tx>
          <c:spPr>
            <a:solidFill>
              <a:schemeClr val="accent1"/>
            </a:solidFill>
            <a:ln>
              <a:noFill/>
            </a:ln>
            <a:effectLst/>
          </c:spPr>
          <c:invertIfNegative val="0"/>
          <c:cat>
            <c:numRef>
              <c:f>[KPI.xlsx]Revenue!$K$142:$K$146</c:f>
              <c:numCache>
                <c:formatCode>General</c:formatCode>
                <c:ptCount val="5"/>
                <c:pt idx="0">
                  <c:v>2018</c:v>
                </c:pt>
                <c:pt idx="1">
                  <c:v>2019</c:v>
                </c:pt>
                <c:pt idx="2">
                  <c:v>2020</c:v>
                </c:pt>
                <c:pt idx="3">
                  <c:v>2021</c:v>
                </c:pt>
                <c:pt idx="4">
                  <c:v>2022</c:v>
                </c:pt>
              </c:numCache>
            </c:numRef>
          </c:cat>
          <c:val>
            <c:numRef>
              <c:f>[KPI.xlsx]Revenue!$L$142:$L$146</c:f>
              <c:numCache>
                <c:formatCode>_(* #,##0.00_);_(* \(#,##0.00\);_(* "-"??_);_(@_)</c:formatCode>
                <c:ptCount val="5"/>
                <c:pt idx="0">
                  <c:v>291</c:v>
                </c:pt>
                <c:pt idx="1">
                  <c:v>885</c:v>
                </c:pt>
                <c:pt idx="2">
                  <c:v>2886</c:v>
                </c:pt>
                <c:pt idx="3">
                  <c:v>4888</c:v>
                </c:pt>
                <c:pt idx="4">
                  <c:v>6583</c:v>
                </c:pt>
              </c:numCache>
            </c:numRef>
          </c:val>
          <c:extLst>
            <c:ext xmlns:c16="http://schemas.microsoft.com/office/drawing/2014/chart" uri="{C3380CC4-5D6E-409C-BE32-E72D297353CC}">
              <c16:uniqueId val="{00000000-1253-4762-8D75-7AC9F103C760}"/>
            </c:ext>
          </c:extLst>
        </c:ser>
        <c:ser>
          <c:idx val="1"/>
          <c:order val="1"/>
          <c:tx>
            <c:v>UberEats</c:v>
          </c:tx>
          <c:spPr>
            <a:solidFill>
              <a:schemeClr val="tx1"/>
            </a:solidFill>
            <a:ln>
              <a:noFill/>
            </a:ln>
            <a:effectLst/>
          </c:spPr>
          <c:invertIfNegative val="0"/>
          <c:cat>
            <c:numRef>
              <c:f>[KPI.xlsx]Revenue!$K$142:$K$146</c:f>
              <c:numCache>
                <c:formatCode>General</c:formatCode>
                <c:ptCount val="5"/>
                <c:pt idx="0">
                  <c:v>2018</c:v>
                </c:pt>
                <c:pt idx="1">
                  <c:v>2019</c:v>
                </c:pt>
                <c:pt idx="2">
                  <c:v>2020</c:v>
                </c:pt>
                <c:pt idx="3">
                  <c:v>2021</c:v>
                </c:pt>
                <c:pt idx="4">
                  <c:v>2022</c:v>
                </c:pt>
              </c:numCache>
            </c:numRef>
          </c:cat>
          <c:val>
            <c:numRef>
              <c:f>[KPI.xlsx]Revenue!$M$142:$M$146</c:f>
              <c:numCache>
                <c:formatCode>_(* #,##0.00_);_(* \(#,##0.00\);_(* "-"??_);_(@_)</c:formatCode>
                <c:ptCount val="5"/>
                <c:pt idx="0">
                  <c:v>1460</c:v>
                </c:pt>
                <c:pt idx="1">
                  <c:v>2510</c:v>
                </c:pt>
                <c:pt idx="2">
                  <c:v>3904</c:v>
                </c:pt>
                <c:pt idx="3">
                  <c:v>8362</c:v>
                </c:pt>
                <c:pt idx="4">
                  <c:v>10901</c:v>
                </c:pt>
              </c:numCache>
            </c:numRef>
          </c:val>
          <c:extLst>
            <c:ext xmlns:c16="http://schemas.microsoft.com/office/drawing/2014/chart" uri="{C3380CC4-5D6E-409C-BE32-E72D297353CC}">
              <c16:uniqueId val="{00000001-1253-4762-8D75-7AC9F103C760}"/>
            </c:ext>
          </c:extLst>
        </c:ser>
        <c:dLbls>
          <c:showLegendKey val="0"/>
          <c:showVal val="0"/>
          <c:showCatName val="0"/>
          <c:showSerName val="0"/>
          <c:showPercent val="0"/>
          <c:showBubbleSize val="0"/>
        </c:dLbls>
        <c:gapWidth val="219"/>
        <c:overlap val="-27"/>
        <c:axId val="2128294703"/>
        <c:axId val="2128299055"/>
      </c:barChart>
      <c:catAx>
        <c:axId val="21282947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28299055"/>
        <c:crosses val="autoZero"/>
        <c:auto val="1"/>
        <c:lblAlgn val="ctr"/>
        <c:lblOffset val="100"/>
        <c:noMultiLvlLbl val="0"/>
      </c:catAx>
      <c:valAx>
        <c:axId val="2128299055"/>
        <c:scaling>
          <c:orientation val="minMax"/>
        </c:scaling>
        <c:delete val="0"/>
        <c:axPos val="l"/>
        <c:majorGridlines>
          <c:spPr>
            <a:ln w="9525" cap="flat" cmpd="sng" algn="ctr">
              <a:solidFill>
                <a:schemeClr val="accent2">
                  <a:lumMod val="20000"/>
                  <a:lumOff val="80000"/>
                </a:schemeClr>
              </a:solidFill>
              <a:round/>
            </a:ln>
            <a:effectLst/>
          </c:spPr>
        </c:majorGridlines>
        <c:title>
          <c:tx>
            <c:rich>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r>
                  <a:rPr lang="en-US"/>
                  <a:t>Revenue in </a:t>
                </a:r>
                <a:r>
                  <a:rPr lang="en-US" err="1"/>
                  <a:t>million</a:t>
                </a:r>
                <a:r>
                  <a:rPr lang="en-US"/>
                  <a:t> $</a:t>
                </a:r>
              </a:p>
            </c:rich>
          </c:tx>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title>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282947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en-US" sz="1200" b="0" i="0" u="none" strike="noStrike" kern="1200" spc="0" baseline="0">
                <a:solidFill>
                  <a:srgbClr val="0065AD"/>
                </a:solidFill>
                <a:latin typeface="+mn-lt"/>
                <a:ea typeface="+mn-ea"/>
                <a:cs typeface="+mn-cs"/>
              </a:defRPr>
            </a:pPr>
            <a:r>
              <a:rPr lang="en-US" sz="1200" b="0" i="0" u="none" strike="noStrike" kern="1200" spc="0" baseline="0">
                <a:solidFill>
                  <a:schemeClr val="tx1"/>
                </a:solidFill>
              </a:rPr>
              <a:t>Spending on </a:t>
            </a:r>
            <a:r>
              <a:rPr lang="en-US" sz="1200" b="0" i="0" u="none" strike="noStrike" kern="1200" spc="0" baseline="0" err="1">
                <a:solidFill>
                  <a:schemeClr val="tx1"/>
                </a:solidFill>
              </a:rPr>
              <a:t>Advertisement</a:t>
            </a:r>
            <a:endParaRPr lang="en-US" sz="1200" b="0" i="0" u="none" strike="noStrike" kern="1200" spc="0" baseline="0">
              <a:solidFill>
                <a:schemeClr val="tx1"/>
              </a:solidFill>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en-US" sz="1200" b="0" i="0" u="none" strike="noStrike" kern="1200" spc="0" baseline="0">
              <a:solidFill>
                <a:srgbClr val="0065AD"/>
              </a:solidFill>
              <a:latin typeface="+mn-lt"/>
              <a:ea typeface="+mn-ea"/>
              <a:cs typeface="+mn-cs"/>
            </a:defRPr>
          </a:pPr>
          <a:endParaRPr lang="en-US"/>
        </a:p>
      </c:txPr>
    </c:title>
    <c:autoTitleDeleted val="0"/>
    <c:plotArea>
      <c:layout/>
      <c:barChart>
        <c:barDir val="col"/>
        <c:grouping val="clustered"/>
        <c:varyColors val="0"/>
        <c:ser>
          <c:idx val="0"/>
          <c:order val="0"/>
          <c:tx>
            <c:v>Uber</c:v>
          </c:tx>
          <c:spPr>
            <a:solidFill>
              <a:schemeClr val="tx1"/>
            </a:solidFill>
            <a:ln>
              <a:noFill/>
            </a:ln>
            <a:effectLst/>
          </c:spPr>
          <c:invertIfNegative val="0"/>
          <c:dLbls>
            <c:dLbl>
              <c:idx val="5"/>
              <c:layout>
                <c:manualLayout>
                  <c:x val="0"/>
                  <c:y val="0.1423474108422528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5B2-47EC-8BD2-4F4CCC129EB9}"/>
                </c:ext>
              </c:extLst>
            </c:dLbl>
            <c:spPr>
              <a:noFill/>
              <a:ln>
                <a:noFill/>
              </a:ln>
              <a:effectLst/>
            </c:spPr>
            <c:txPr>
              <a:bodyPr rot="5400000" spcFirstLastPara="1" vertOverflow="ellipsis" wrap="square" lIns="38100" tIns="19050" rIns="38100" bIns="19050" anchor="ctr" anchorCtr="1">
                <a:spAutoFit/>
              </a:bodyPr>
              <a:lstStyle/>
              <a:p>
                <a:pPr>
                  <a:defRPr sz="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venue!$B$85:$B$90</c:f>
              <c:strCache>
                <c:ptCount val="6"/>
                <c:pt idx="0">
                  <c:v>2017</c:v>
                </c:pt>
                <c:pt idx="1">
                  <c:v>2018</c:v>
                </c:pt>
                <c:pt idx="2">
                  <c:v>2019</c:v>
                </c:pt>
                <c:pt idx="3">
                  <c:v>2020</c:v>
                </c:pt>
                <c:pt idx="4">
                  <c:v>2021</c:v>
                </c:pt>
                <c:pt idx="5">
                  <c:v>2022</c:v>
                </c:pt>
              </c:strCache>
            </c:strRef>
          </c:cat>
          <c:val>
            <c:numRef>
              <c:f>Revenue!$H$51:$H$56</c:f>
              <c:numCache>
                <c:formatCode>0.0%</c:formatCode>
                <c:ptCount val="6"/>
                <c:pt idx="0">
                  <c:v>0.31820474029248613</c:v>
                </c:pt>
                <c:pt idx="1">
                  <c:v>0.2795918367346939</c:v>
                </c:pt>
                <c:pt idx="2">
                  <c:v>0.32699512264084257</c:v>
                </c:pt>
                <c:pt idx="3">
                  <c:v>0.32166262680671515</c:v>
                </c:pt>
                <c:pt idx="4">
                  <c:v>0.27436264680607275</c:v>
                </c:pt>
                <c:pt idx="5">
                  <c:v>0.1491984816638956</c:v>
                </c:pt>
              </c:numCache>
            </c:numRef>
          </c:val>
          <c:extLst>
            <c:ext xmlns:c16="http://schemas.microsoft.com/office/drawing/2014/chart" uri="{C3380CC4-5D6E-409C-BE32-E72D297353CC}">
              <c16:uniqueId val="{00000000-08DE-4E41-8697-E3EE9E704DB3}"/>
            </c:ext>
          </c:extLst>
        </c:ser>
        <c:ser>
          <c:idx val="1"/>
          <c:order val="1"/>
          <c:tx>
            <c:v>Lyft</c:v>
          </c:tx>
          <c:spPr>
            <a:solidFill>
              <a:schemeClr val="accent1"/>
            </a:solidFill>
            <a:ln>
              <a:noFill/>
            </a:ln>
            <a:effectLst/>
          </c:spPr>
          <c:invertIfNegative val="0"/>
          <c:dLbls>
            <c:dLbl>
              <c:idx val="0"/>
              <c:layout>
                <c:manualLayout>
                  <c:x val="-4.694434996960907E-17"/>
                  <c:y val="0.2329414448267908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08DE-4E41-8697-E3EE9E704DB3}"/>
                </c:ext>
              </c:extLst>
            </c:dLbl>
            <c:dLbl>
              <c:idx val="2"/>
              <c:layout>
                <c:manualLayout>
                  <c:x val="-9.388869993921814E-17"/>
                  <c:y val="0.1356573147367157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08DE-4E41-8697-E3EE9E704DB3}"/>
                </c:ext>
              </c:extLst>
            </c:dLbl>
            <c:dLbl>
              <c:idx val="4"/>
              <c:layout>
                <c:manualLayout>
                  <c:x val="-9.388869993921814E-17"/>
                  <c:y val="0.1258812384618722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08DE-4E41-8697-E3EE9E704DB3}"/>
                </c:ext>
              </c:extLst>
            </c:dLbl>
            <c:dLbl>
              <c:idx val="5"/>
              <c:layout>
                <c:manualLayout>
                  <c:x val="0"/>
                  <c:y val="0.1387155439685364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5B2-47EC-8BD2-4F4CCC129EB9}"/>
                </c:ext>
              </c:extLst>
            </c:dLbl>
            <c:spPr>
              <a:noFill/>
              <a:ln>
                <a:noFill/>
              </a:ln>
              <a:effectLst/>
            </c:spPr>
            <c:txPr>
              <a:bodyPr rot="5400000" spcFirstLastPara="1" vertOverflow="ellipsis" wrap="square" lIns="38100" tIns="19050" rIns="38100" bIns="19050" anchor="ctr" anchorCtr="1">
                <a:spAutoFit/>
              </a:bodyPr>
              <a:lstStyle/>
              <a:p>
                <a:pPr>
                  <a:defRPr sz="6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venue!$B$85:$B$90</c:f>
              <c:strCache>
                <c:ptCount val="6"/>
                <c:pt idx="0">
                  <c:v>2017</c:v>
                </c:pt>
                <c:pt idx="1">
                  <c:v>2018</c:v>
                </c:pt>
                <c:pt idx="2">
                  <c:v>2019</c:v>
                </c:pt>
                <c:pt idx="3">
                  <c:v>2020</c:v>
                </c:pt>
                <c:pt idx="4">
                  <c:v>2021</c:v>
                </c:pt>
                <c:pt idx="5">
                  <c:v>2022</c:v>
                </c:pt>
              </c:strCache>
            </c:strRef>
          </c:cat>
          <c:val>
            <c:numRef>
              <c:f>Revenue!$H$68:$H$73</c:f>
              <c:numCache>
                <c:formatCode>0.0%</c:formatCode>
                <c:ptCount val="6"/>
                <c:pt idx="0">
                  <c:v>0.53497987038167494</c:v>
                </c:pt>
                <c:pt idx="1">
                  <c:v>0.37269082673966991</c:v>
                </c:pt>
                <c:pt idx="2">
                  <c:v>0.22514684896956824</c:v>
                </c:pt>
                <c:pt idx="3">
                  <c:v>0.17606222572939015</c:v>
                </c:pt>
                <c:pt idx="4">
                  <c:v>0.1282308545617134</c:v>
                </c:pt>
                <c:pt idx="5">
                  <c:v>0.1297910813685019</c:v>
                </c:pt>
              </c:numCache>
            </c:numRef>
          </c:val>
          <c:extLst>
            <c:ext xmlns:c16="http://schemas.microsoft.com/office/drawing/2014/chart" uri="{C3380CC4-5D6E-409C-BE32-E72D297353CC}">
              <c16:uniqueId val="{00000001-08DE-4E41-8697-E3EE9E704DB3}"/>
            </c:ext>
          </c:extLst>
        </c:ser>
        <c:dLbls>
          <c:dLblPos val="inEnd"/>
          <c:showLegendKey val="0"/>
          <c:showVal val="1"/>
          <c:showCatName val="0"/>
          <c:showSerName val="0"/>
          <c:showPercent val="0"/>
          <c:showBubbleSize val="0"/>
        </c:dLbls>
        <c:gapWidth val="219"/>
        <c:axId val="293185248"/>
        <c:axId val="293179264"/>
      </c:barChart>
      <c:lineChart>
        <c:grouping val="standard"/>
        <c:varyColors val="0"/>
        <c:ser>
          <c:idx val="2"/>
          <c:order val="2"/>
          <c:tx>
            <c:v>UberU</c:v>
          </c:tx>
          <c:spPr>
            <a:ln w="15875" cap="rnd">
              <a:solidFill>
                <a:schemeClr val="tx1"/>
              </a:solidFill>
              <a:round/>
            </a:ln>
            <a:effectLst/>
          </c:spPr>
          <c:marker>
            <c:symbol val="circle"/>
            <c:size val="5"/>
            <c:spPr>
              <a:solidFill>
                <a:schemeClr val="tx1"/>
              </a:solidFill>
              <a:ln w="9525">
                <a:solidFill>
                  <a:schemeClr val="accent3"/>
                </a:solidFill>
              </a:ln>
              <a:effectLst/>
            </c:spPr>
          </c:marker>
          <c:dLbls>
            <c:dLbl>
              <c:idx val="0"/>
              <c:layout>
                <c:manualLayout>
                  <c:x val="-8.9622067069969336E-2"/>
                  <c:y val="-3.783271725725140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8DE-4E41-8697-E3EE9E704DB3}"/>
                </c:ext>
              </c:extLst>
            </c:dLbl>
            <c:dLbl>
              <c:idx val="1"/>
              <c:layout>
                <c:manualLayout>
                  <c:x val="-7.9379545119115685E-2"/>
                  <c:y val="-4.86420650450375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8DE-4E41-8697-E3EE9E704DB3}"/>
                </c:ext>
              </c:extLst>
            </c:dLbl>
            <c:dLbl>
              <c:idx val="2"/>
              <c:layout>
                <c:manualLayout>
                  <c:x val="-5.3773240241981594E-2"/>
                  <c:y val="-4.86420650450375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8DE-4E41-8697-E3EE9E704DB3}"/>
                </c:ext>
              </c:extLst>
            </c:dLbl>
            <c:dLbl>
              <c:idx val="3"/>
              <c:layout>
                <c:manualLayout>
                  <c:x val="-4.8651979266554776E-2"/>
                  <c:y val="-4.86420650450375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08DE-4E41-8697-E3EE9E704DB3}"/>
                </c:ext>
              </c:extLst>
            </c:dLbl>
            <c:dLbl>
              <c:idx val="4"/>
              <c:layout>
                <c:manualLayout>
                  <c:x val="-5.1212609754268189E-2"/>
                  <c:y val="-4.86420650450375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8DE-4E41-8697-E3EE9E704DB3}"/>
                </c:ext>
              </c:extLst>
            </c:dLbl>
            <c:dLbl>
              <c:idx val="5"/>
              <c:layout>
                <c:manualLayout>
                  <c:x val="-4.8651979266554776E-2"/>
                  <c:y val="-4.86420650450375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08DE-4E41-8697-E3EE9E704DB3}"/>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venue!$B$192:$B$197</c:f>
              <c:numCache>
                <c:formatCode>General</c:formatCode>
                <c:ptCount val="6"/>
                <c:pt idx="0">
                  <c:v>2017</c:v>
                </c:pt>
                <c:pt idx="1">
                  <c:v>2018</c:v>
                </c:pt>
                <c:pt idx="2">
                  <c:v>2019</c:v>
                </c:pt>
                <c:pt idx="3">
                  <c:v>2020</c:v>
                </c:pt>
                <c:pt idx="4">
                  <c:v>2021</c:v>
                </c:pt>
                <c:pt idx="5">
                  <c:v>2022</c:v>
                </c:pt>
              </c:numCache>
            </c:numRef>
          </c:cat>
          <c:val>
            <c:numRef>
              <c:f>Revenue!$D$77:$D$82</c:f>
              <c:numCache>
                <c:formatCode>_("$"* #,##0.00_);_("$"* \(#,##0.00\);_("$"* "-"??_);_(@_)</c:formatCode>
                <c:ptCount val="6"/>
                <c:pt idx="0">
                  <c:v>37.117647058823529</c:v>
                </c:pt>
                <c:pt idx="1">
                  <c:v>34.626373626373628</c:v>
                </c:pt>
                <c:pt idx="2">
                  <c:v>45.576354679802954</c:v>
                </c:pt>
                <c:pt idx="3">
                  <c:v>45.64331210191083</c:v>
                </c:pt>
                <c:pt idx="4">
                  <c:v>44.967136150234744</c:v>
                </c:pt>
                <c:pt idx="5">
                  <c:v>38.666666666666664</c:v>
                </c:pt>
              </c:numCache>
            </c:numRef>
          </c:val>
          <c:smooth val="0"/>
          <c:extLst>
            <c:ext xmlns:c16="http://schemas.microsoft.com/office/drawing/2014/chart" uri="{C3380CC4-5D6E-409C-BE32-E72D297353CC}">
              <c16:uniqueId val="{00000002-08DE-4E41-8697-E3EE9E704DB3}"/>
            </c:ext>
          </c:extLst>
        </c:ser>
        <c:ser>
          <c:idx val="3"/>
          <c:order val="3"/>
          <c:tx>
            <c:v>LyftU</c:v>
          </c:tx>
          <c:spPr>
            <a:ln w="15875" cap="rnd">
              <a:solidFill>
                <a:schemeClr val="accent1"/>
              </a:solidFill>
              <a:round/>
            </a:ln>
            <a:effectLst/>
          </c:spPr>
          <c:marker>
            <c:symbol val="triangle"/>
            <c:size val="5"/>
            <c:spPr>
              <a:solidFill>
                <a:schemeClr val="accent1"/>
              </a:solidFill>
              <a:ln w="9525">
                <a:solidFill>
                  <a:schemeClr val="accent1"/>
                </a:solidFill>
              </a:ln>
              <a:effectLst/>
            </c:spPr>
          </c:marker>
          <c:dLbls>
            <c:dLbl>
              <c:idx val="0"/>
              <c:layout>
                <c:manualLayout>
                  <c:x val="-4.6091348778841391E-2"/>
                  <c:y val="-5.40467389389306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8DE-4E41-8697-E3EE9E704DB3}"/>
                </c:ext>
              </c:extLst>
            </c:dLbl>
            <c:dLbl>
              <c:idx val="1"/>
              <c:layout>
                <c:manualLayout>
                  <c:x val="-5.1212609754268189E-2"/>
                  <c:y val="-4.86420650450375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8DE-4E41-8697-E3EE9E704DB3}"/>
                </c:ext>
              </c:extLst>
            </c:dLbl>
            <c:dLbl>
              <c:idx val="2"/>
              <c:layout>
                <c:manualLayout>
                  <c:x val="-4.8651979266554776E-2"/>
                  <c:y val="-4.86420650450375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8DE-4E41-8697-E3EE9E704DB3}"/>
                </c:ext>
              </c:extLst>
            </c:dLbl>
            <c:dLbl>
              <c:idx val="3"/>
              <c:layout>
                <c:manualLayout>
                  <c:x val="-5.1212609754268189E-2"/>
                  <c:y val="-4.32373911511444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8DE-4E41-8697-E3EE9E704DB3}"/>
                </c:ext>
              </c:extLst>
            </c:dLbl>
            <c:dLbl>
              <c:idx val="4"/>
              <c:layout>
                <c:manualLayout>
                  <c:x val="-4.8651979266554776E-2"/>
                  <c:y val="-4.86420650450376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8DE-4E41-8697-E3EE9E704DB3}"/>
                </c:ext>
              </c:extLst>
            </c:dLbl>
            <c:dLbl>
              <c:idx val="5"/>
              <c:layout>
                <c:manualLayout>
                  <c:x val="-4.8651979266554776E-2"/>
                  <c:y val="-4.86420650450375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08DE-4E41-8697-E3EE9E704DB3}"/>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venue!$B$192:$B$197</c:f>
              <c:numCache>
                <c:formatCode>General</c:formatCode>
                <c:ptCount val="6"/>
                <c:pt idx="0">
                  <c:v>2017</c:v>
                </c:pt>
                <c:pt idx="1">
                  <c:v>2018</c:v>
                </c:pt>
                <c:pt idx="2">
                  <c:v>2019</c:v>
                </c:pt>
                <c:pt idx="3">
                  <c:v>2020</c:v>
                </c:pt>
                <c:pt idx="4">
                  <c:v>2021</c:v>
                </c:pt>
                <c:pt idx="5">
                  <c:v>2022</c:v>
                </c:pt>
              </c:numCache>
            </c:numRef>
          </c:cat>
          <c:val>
            <c:numRef>
              <c:f>Revenue!$D$85:$D$90</c:f>
              <c:numCache>
                <c:formatCode>_("$"* #,##0.00_);_("$"* \(#,##0.00\);_("$"* "-"??_);_(@_)</c:formatCode>
                <c:ptCount val="6"/>
                <c:pt idx="0">
                  <c:v>45.001190476190473</c:v>
                </c:pt>
                <c:pt idx="1">
                  <c:v>43.212419354838708</c:v>
                </c:pt>
                <c:pt idx="2">
                  <c:v>35.55117903930131</c:v>
                </c:pt>
                <c:pt idx="3">
                  <c:v>33.306480000000001</c:v>
                </c:pt>
                <c:pt idx="4">
                  <c:v>22.000320855614973</c:v>
                </c:pt>
                <c:pt idx="5">
                  <c:v>26.182857142857141</c:v>
                </c:pt>
              </c:numCache>
            </c:numRef>
          </c:val>
          <c:smooth val="0"/>
          <c:extLst>
            <c:ext xmlns:c16="http://schemas.microsoft.com/office/drawing/2014/chart" uri="{C3380CC4-5D6E-409C-BE32-E72D297353CC}">
              <c16:uniqueId val="{00000003-08DE-4E41-8697-E3EE9E704DB3}"/>
            </c:ext>
          </c:extLst>
        </c:ser>
        <c:ser>
          <c:idx val="4"/>
          <c:order val="4"/>
          <c:tx>
            <c:v>Ebay</c:v>
          </c:tx>
          <c:spPr>
            <a:ln w="15875" cap="rnd">
              <a:solidFill>
                <a:schemeClr val="accent2">
                  <a:lumMod val="40000"/>
                  <a:lumOff val="60000"/>
                </a:schemeClr>
              </a:solidFill>
              <a:round/>
            </a:ln>
            <a:effectLst/>
          </c:spPr>
          <c:marker>
            <c:symbol val="square"/>
            <c:size val="5"/>
            <c:spPr>
              <a:solidFill>
                <a:schemeClr val="accent2">
                  <a:lumMod val="40000"/>
                  <a:lumOff val="60000"/>
                </a:schemeClr>
              </a:solidFill>
              <a:ln w="9525">
                <a:solidFill>
                  <a:schemeClr val="accent2">
                    <a:lumMod val="40000"/>
                    <a:lumOff val="60000"/>
                  </a:schemeClr>
                </a:solidFill>
              </a:ln>
              <a:effectLst/>
            </c:spPr>
          </c:marker>
          <c:dLbls>
            <c:delete val="1"/>
          </c:dLbls>
          <c:cat>
            <c:numRef>
              <c:f>Revenue!$B$192:$B$197</c:f>
              <c:numCache>
                <c:formatCode>General</c:formatCode>
                <c:ptCount val="6"/>
                <c:pt idx="0">
                  <c:v>2017</c:v>
                </c:pt>
                <c:pt idx="1">
                  <c:v>2018</c:v>
                </c:pt>
                <c:pt idx="2">
                  <c:v>2019</c:v>
                </c:pt>
                <c:pt idx="3">
                  <c:v>2020</c:v>
                </c:pt>
                <c:pt idx="4">
                  <c:v>2021</c:v>
                </c:pt>
                <c:pt idx="5">
                  <c:v>2022</c:v>
                </c:pt>
              </c:numCache>
            </c:numRef>
          </c:cat>
          <c:val>
            <c:numRef>
              <c:f>Revenue!$E$192:$E$197</c:f>
              <c:numCache>
                <c:formatCode>_("$"* #,##0.00_);_("$"* \(#,##0.00\);_("$"* "-"??_);_(@_)</c:formatCode>
                <c:ptCount val="6"/>
                <c:pt idx="0">
                  <c:v>17.233532934131738</c:v>
                </c:pt>
                <c:pt idx="1">
                  <c:v>14.72</c:v>
                </c:pt>
                <c:pt idx="2">
                  <c:v>10.78612716763006</c:v>
                </c:pt>
                <c:pt idx="3">
                  <c:v>12.987577639751553</c:v>
                </c:pt>
                <c:pt idx="4">
                  <c:v>13.647798742138365</c:v>
                </c:pt>
                <c:pt idx="5">
                  <c:v>15.478260869565217</c:v>
                </c:pt>
              </c:numCache>
            </c:numRef>
          </c:val>
          <c:smooth val="0"/>
          <c:extLst>
            <c:ext xmlns:c16="http://schemas.microsoft.com/office/drawing/2014/chart" uri="{C3380CC4-5D6E-409C-BE32-E72D297353CC}">
              <c16:uniqueId val="{00000004-08DE-4E41-8697-E3EE9E704DB3}"/>
            </c:ext>
          </c:extLst>
        </c:ser>
        <c:ser>
          <c:idx val="5"/>
          <c:order val="5"/>
          <c:tx>
            <c:v>Etsy</c:v>
          </c:tx>
          <c:spPr>
            <a:ln w="15875" cap="rnd">
              <a:solidFill>
                <a:schemeClr val="accent5">
                  <a:lumMod val="40000"/>
                  <a:lumOff val="60000"/>
                </a:schemeClr>
              </a:solidFill>
              <a:round/>
            </a:ln>
            <a:effectLst/>
          </c:spPr>
          <c:marker>
            <c:symbol val="diamond"/>
            <c:size val="5"/>
            <c:spPr>
              <a:solidFill>
                <a:schemeClr val="accent5">
                  <a:lumMod val="40000"/>
                  <a:lumOff val="60000"/>
                </a:schemeClr>
              </a:solidFill>
              <a:ln w="9525">
                <a:solidFill>
                  <a:schemeClr val="accent5">
                    <a:lumMod val="40000"/>
                    <a:lumOff val="60000"/>
                  </a:schemeClr>
                </a:solidFill>
              </a:ln>
              <a:effectLst/>
            </c:spPr>
          </c:marker>
          <c:dLbls>
            <c:delete val="1"/>
          </c:dLbls>
          <c:val>
            <c:numRef>
              <c:f>Revenue!$E$215:$E$220</c:f>
              <c:numCache>
                <c:formatCode>_("$"* #,##0.00_);_("$"* \(#,##0.00\);_("$"* "-"??_);_(@_)</c:formatCode>
                <c:ptCount val="6"/>
                <c:pt idx="1">
                  <c:v>4.005069708491761</c:v>
                </c:pt>
                <c:pt idx="2">
                  <c:v>4.638619201725998</c:v>
                </c:pt>
                <c:pt idx="3">
                  <c:v>6.1050061050061046</c:v>
                </c:pt>
                <c:pt idx="4">
                  <c:v>6.7912772585669785</c:v>
                </c:pt>
                <c:pt idx="5">
                  <c:v>7.609860664523044</c:v>
                </c:pt>
              </c:numCache>
            </c:numRef>
          </c:val>
          <c:smooth val="0"/>
          <c:extLst>
            <c:ext xmlns:c16="http://schemas.microsoft.com/office/drawing/2014/chart" uri="{C3380CC4-5D6E-409C-BE32-E72D297353CC}">
              <c16:uniqueId val="{00000005-08DE-4E41-8697-E3EE9E704DB3}"/>
            </c:ext>
          </c:extLst>
        </c:ser>
        <c:dLbls>
          <c:showLegendKey val="0"/>
          <c:showVal val="1"/>
          <c:showCatName val="0"/>
          <c:showSerName val="0"/>
          <c:showPercent val="0"/>
          <c:showBubbleSize val="0"/>
        </c:dLbls>
        <c:marker val="1"/>
        <c:smooth val="0"/>
        <c:axId val="1978642879"/>
        <c:axId val="1978622751"/>
      </c:lineChart>
      <c:catAx>
        <c:axId val="1978642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978622751"/>
        <c:crosses val="autoZero"/>
        <c:auto val="1"/>
        <c:lblAlgn val="ctr"/>
        <c:lblOffset val="100"/>
        <c:noMultiLvlLbl val="0"/>
      </c:catAx>
      <c:valAx>
        <c:axId val="1978622751"/>
        <c:scaling>
          <c:orientation val="minMax"/>
        </c:scaling>
        <c:delete val="0"/>
        <c:axPos val="l"/>
        <c:majorGridlines>
          <c:spPr>
            <a:ln w="9525" cap="flat" cmpd="sng" algn="ctr">
              <a:solidFill>
                <a:schemeClr val="accent2">
                  <a:lumMod val="20000"/>
                  <a:lumOff val="80000"/>
                </a:schemeClr>
              </a:solidFill>
              <a:round/>
            </a:ln>
            <a:effectLst/>
          </c:spPr>
        </c:majorGridlines>
        <c:title>
          <c:tx>
            <c:rich>
              <a:bodyPr rot="-5400000" spcFirstLastPara="1" vertOverflow="ellipsis" vert="horz" wrap="square" anchor="ctr" anchorCtr="1"/>
              <a:lstStyle/>
              <a:p>
                <a:pPr>
                  <a:defRPr lang="en-US" sz="800" b="0" i="0" u="none" strike="noStrike" kern="1200" baseline="0">
                    <a:solidFill>
                      <a:schemeClr val="tx1"/>
                    </a:solidFill>
                    <a:latin typeface="+mn-lt"/>
                    <a:ea typeface="+mn-ea"/>
                    <a:cs typeface="+mn-cs"/>
                  </a:defRPr>
                </a:pPr>
                <a:r>
                  <a:rPr lang="en-US" sz="800" b="0" i="0" u="none" strike="noStrike" kern="1200" baseline="0">
                    <a:solidFill>
                      <a:srgbClr val="0065AD"/>
                    </a:solidFill>
                  </a:rPr>
                  <a:t>Customer Acquisition </a:t>
                </a:r>
                <a:r>
                  <a:rPr lang="en-US" sz="800" b="0" i="0" u="none" strike="noStrike" kern="1200" baseline="0" err="1">
                    <a:solidFill>
                      <a:srgbClr val="0065AD"/>
                    </a:solidFill>
                  </a:rPr>
                  <a:t>Cost</a:t>
                </a:r>
                <a:endParaRPr lang="en-US" sz="800" b="0" i="0" u="none" strike="noStrike" kern="1200" baseline="0">
                  <a:solidFill>
                    <a:srgbClr val="0065AD"/>
                  </a:solidFill>
                </a:endParaRPr>
              </a:p>
            </c:rich>
          </c:tx>
          <c:overlay val="0"/>
          <c:spPr>
            <a:noFill/>
            <a:ln>
              <a:noFill/>
            </a:ln>
            <a:effectLst/>
          </c:spPr>
          <c:txPr>
            <a:bodyPr rot="-5400000" spcFirstLastPara="1" vertOverflow="ellipsis" vert="horz" wrap="square" anchor="ctr" anchorCtr="1"/>
            <a:lstStyle/>
            <a:p>
              <a:pPr>
                <a:defRPr lang="en-US" sz="800" b="0" i="0" u="none" strike="noStrike" kern="1200" baseline="0">
                  <a:solidFill>
                    <a:schemeClr val="tx1"/>
                  </a:solidFill>
                  <a:latin typeface="+mn-lt"/>
                  <a:ea typeface="+mn-ea"/>
                  <a:cs typeface="+mn-cs"/>
                </a:defRPr>
              </a:pPr>
              <a:endParaRPr lang="en-US"/>
            </a:p>
          </c:txPr>
        </c:title>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978642879"/>
        <c:crosses val="autoZero"/>
        <c:crossBetween val="between"/>
      </c:valAx>
      <c:valAx>
        <c:axId val="293179264"/>
        <c:scaling>
          <c:orientation val="minMax"/>
        </c:scaling>
        <c:delete val="0"/>
        <c:axPos val="r"/>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en-US" sz="700" b="0" i="0" u="none" strike="noStrike" kern="1200" baseline="0">
                    <a:solidFill>
                      <a:srgbClr val="0065AD"/>
                    </a:solidFill>
                    <a:latin typeface="+mn-lt"/>
                    <a:ea typeface="+mn-ea"/>
                    <a:cs typeface="+mn-cs"/>
                  </a:defRPr>
                </a:pPr>
                <a:r>
                  <a:rPr lang="en-US" sz="700" b="0" i="0" u="none" strike="noStrike" kern="1200" baseline="0" err="1">
                    <a:solidFill>
                      <a:srgbClr val="0065AD"/>
                    </a:solidFill>
                  </a:rPr>
                  <a:t>Percentage</a:t>
                </a:r>
                <a:r>
                  <a:rPr lang="en-US" sz="700" b="0" i="0" u="none" strike="noStrike" kern="1200" baseline="0">
                    <a:solidFill>
                      <a:srgbClr val="0065AD"/>
                    </a:solidFill>
                  </a:rPr>
                  <a:t> </a:t>
                </a:r>
                <a:r>
                  <a:rPr lang="en-US" sz="700" b="0" i="0" u="none" strike="noStrike" kern="1200" baseline="0" err="1">
                    <a:solidFill>
                      <a:srgbClr val="0065AD"/>
                    </a:solidFill>
                  </a:rPr>
                  <a:t>of</a:t>
                </a:r>
                <a:r>
                  <a:rPr lang="en-US" sz="700" b="0" i="0" u="none" strike="noStrike" kern="1200" baseline="0">
                    <a:solidFill>
                      <a:srgbClr val="0065AD"/>
                    </a:solidFill>
                  </a:rPr>
                  <a:t> Revenue </a:t>
                </a:r>
                <a:r>
                  <a:rPr lang="en-US" sz="700" b="0" i="0" u="none" strike="noStrike" kern="1200" baseline="0" err="1">
                    <a:solidFill>
                      <a:srgbClr val="0065AD"/>
                    </a:solidFill>
                  </a:rPr>
                  <a:t>spent</a:t>
                </a:r>
                <a:r>
                  <a:rPr lang="en-US" sz="700" b="0" i="0" u="none" strike="noStrike" kern="1200" baseline="0">
                    <a:solidFill>
                      <a:srgbClr val="0065AD"/>
                    </a:solidFill>
                  </a:rPr>
                  <a:t> on Advertising</a:t>
                </a:r>
              </a:p>
              <a:p>
                <a:pPr marL="0" marR="0" lvl="0" indent="0" algn="ctr" defTabSz="914400" rtl="0" eaLnBrk="1" fontAlgn="auto" latinLnBrk="0" hangingPunct="1">
                  <a:lnSpc>
                    <a:spcPct val="100000"/>
                  </a:lnSpc>
                  <a:spcBef>
                    <a:spcPts val="0"/>
                  </a:spcBef>
                  <a:spcAft>
                    <a:spcPts val="0"/>
                  </a:spcAft>
                  <a:buClrTx/>
                  <a:buSzTx/>
                  <a:buFontTx/>
                  <a:buNone/>
                  <a:tabLst/>
                  <a:defRPr lang="en-US" sz="700">
                    <a:solidFill>
                      <a:srgbClr val="0065AD"/>
                    </a:solidFill>
                  </a:defRPr>
                </a:pPr>
                <a:endParaRPr lang="en-US" sz="700"/>
              </a:p>
            </c:rich>
          </c:tx>
          <c:layout>
            <c:manualLayout>
              <c:xMode val="edge"/>
              <c:yMode val="edge"/>
              <c:x val="0.92038999813699007"/>
              <c:y val="0.1332252114844639"/>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en-US" sz="700" b="0" i="0" u="none" strike="noStrike" kern="1200" baseline="0">
                  <a:solidFill>
                    <a:srgbClr val="0065AD"/>
                  </a:solidFill>
                  <a:latin typeface="+mn-lt"/>
                  <a:ea typeface="+mn-ea"/>
                  <a:cs typeface="+mn-cs"/>
                </a:defRPr>
              </a:pPr>
              <a:endParaRPr lang="en-US"/>
            </a:p>
          </c:txPr>
        </c:title>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93185248"/>
        <c:crosses val="max"/>
        <c:crossBetween val="between"/>
      </c:valAx>
      <c:catAx>
        <c:axId val="293185248"/>
        <c:scaling>
          <c:orientation val="minMax"/>
        </c:scaling>
        <c:delete val="1"/>
        <c:axPos val="b"/>
        <c:numFmt formatCode="General" sourceLinked="1"/>
        <c:majorTickMark val="out"/>
        <c:minorTickMark val="none"/>
        <c:tickLblPos val="nextTo"/>
        <c:crossAx val="293179264"/>
        <c:crosses val="autoZero"/>
        <c:auto val="1"/>
        <c:lblAlgn val="ctr"/>
        <c:lblOffset val="100"/>
        <c:noMultiLvlLbl val="0"/>
      </c:catAx>
      <c:spPr>
        <a:noFill/>
        <a:ln>
          <a:noFill/>
        </a:ln>
        <a:effectLst/>
      </c:spPr>
    </c:plotArea>
    <c:legend>
      <c:legendPos val="b"/>
      <c:legendEntry>
        <c:idx val="2"/>
        <c:delete val="1"/>
      </c:legendEntry>
      <c:legendEntry>
        <c:idx val="3"/>
        <c:delete val="1"/>
      </c:legendEntry>
      <c:overlay val="0"/>
      <c:spPr>
        <a:noFill/>
        <a:ln>
          <a:noFill/>
        </a:ln>
        <a:effectLst/>
      </c:spPr>
      <c:txPr>
        <a:bodyPr rot="0" spcFirstLastPara="1" vertOverflow="ellipsis" vert="horz" wrap="square" anchor="ctr" anchorCtr="1"/>
        <a:lstStyle/>
        <a:p>
          <a:pPr>
            <a:defRPr lang="en-US"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rot="5400000" vert="horz"/>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09_354AACB0.xml><?xml version="1.0" encoding="utf-8"?>
<p188:cmLst xmlns:a="http://schemas.openxmlformats.org/drawingml/2006/main" xmlns:r="http://schemas.openxmlformats.org/officeDocument/2006/relationships" xmlns:p188="http://schemas.microsoft.com/office/powerpoint/2018/8/main">
  <p188:cm id="{38DC8A6D-6ED8-44F0-9EA1-F557411D9F1A}" authorId="{C5638DD5-6479-7DD9-7906-25C5884088ED}" created="2023-11-29T12:47:56.173">
    <pc:sldMkLst xmlns:pc="http://schemas.microsoft.com/office/powerpoint/2013/main/command">
      <pc:docMk/>
      <pc:sldMk cId="894086320" sldId="265"/>
    </pc:sldMkLst>
    <p188:replyLst>
      <p188:reply id="{DDADF428-F62B-4077-8C9A-B87ABA1EE012}" authorId="{C5638DD5-6479-7DD9-7906-25C5884088ED}" created="2023-11-29T12:48:17.230">
        <p188:txBody>
          <a:bodyPr/>
          <a:lstStyle/>
          <a:p>
            <a:r>
              <a:rPr lang="de-DE"/>
              <a:t>Zusammenhang leadership styles und kultur fehlt
</a:t>
            </a:r>
          </a:p>
        </p188:txBody>
      </p188:reply>
    </p188:replyLst>
    <p188:txBody>
      <a:bodyPr/>
      <a:lstStyle/>
      <a:p>
        <a:r>
          <a:rPr lang="de-DE"/>
          <a:t>CEO performance fehlt, 6 Dimensionen</a:t>
        </a:r>
      </a:p>
    </p188:txBody>
  </p188:cm>
</p188:cmLst>
</file>

<file path=ppt/comments/modernComment_10D_90BFB40D.xml><?xml version="1.0" encoding="utf-8"?>
<p188:cmLst xmlns:a="http://schemas.openxmlformats.org/drawingml/2006/main" xmlns:r="http://schemas.openxmlformats.org/officeDocument/2006/relationships" xmlns:p188="http://schemas.microsoft.com/office/powerpoint/2018/8/main">
  <p188:cm id="{0C9B2A00-0D73-4397-AA77-DF5329DE6A3D}" authorId="{C5638DD5-6479-7DD9-7906-25C5884088ED}" created="2023-11-29T13:06:36.926">
    <pc:sldMkLst xmlns:pc="http://schemas.microsoft.com/office/powerpoint/2013/main/command">
      <pc:docMk/>
      <pc:sldMk cId="2428482573" sldId="269"/>
    </pc:sldMkLst>
    <p188:replyLst>
      <p188:reply id="{04A959A9-DD64-4FCC-9B8A-2650D8163EA7}" authorId="{C5638DD5-6479-7DD9-7906-25C5884088ED}" created="2023-11-29T13:06:52.611">
        <p188:txBody>
          <a:bodyPr/>
          <a:lstStyle/>
          <a:p>
            <a:r>
              <a:rPr lang="de-DE"/>
              <a:t>Was haben sie gemacht, um zu überleben</a:t>
            </a:r>
          </a:p>
        </p188:txBody>
      </p188:reply>
      <p188:reply id="{BA329688-0A34-403C-AB60-05AD33C45680}" authorId="{C5638DD5-6479-7DD9-7906-25C5884088ED}" created="2023-11-29T13:07:12.238">
        <p188:txBody>
          <a:bodyPr/>
          <a:lstStyle/>
          <a:p>
            <a:r>
              <a:rPr lang="de-DE"/>
              <a:t>Mehr auf Uber als Unternehmen beziehen</a:t>
            </a:r>
          </a:p>
        </p188:txBody>
      </p188:reply>
    </p188:replyLst>
    <p188:txBody>
      <a:bodyPr/>
      <a:lstStyle/>
      <a:p>
        <a:r>
          <a:rPr lang="de-DE"/>
          <a:t>Darstellung was hat das für Uber bedeutet, KPIs Finanzierungen</a:t>
        </a:r>
      </a:p>
    </p188:txBody>
  </p188:cm>
</p188:cmLst>
</file>

<file path=ppt/comments/modernComment_18D_EEBE9F9A.xml><?xml version="1.0" encoding="utf-8"?>
<p188:cmLst xmlns:a="http://schemas.openxmlformats.org/drawingml/2006/main" xmlns:r="http://schemas.openxmlformats.org/officeDocument/2006/relationships" xmlns:p188="http://schemas.microsoft.com/office/powerpoint/2018/8/main">
  <p188:cm id="{F819AD87-C4B0-4EC0-8842-31489EDB9E6A}" authorId="{C5638DD5-6479-7DD9-7906-25C5884088ED}" created="2023-11-29T12:45:36.907">
    <pc:sldMkLst xmlns:pc="http://schemas.microsoft.com/office/powerpoint/2013/main/command">
      <pc:docMk/>
      <pc:sldMk cId="4005470106" sldId="397"/>
    </pc:sldMkLst>
    <p188:txBody>
      <a:bodyPr/>
      <a:lstStyle/>
      <a:p>
        <a:r>
          <a:rPr lang="de-DE"/>
          <a:t>Zu basic, könnte raus</a:t>
        </a:r>
      </a:p>
    </p188:txBody>
  </p188:cm>
</p188:cmLst>
</file>

<file path=ppt/comments/modernComment_18F_2FAE70AF.xml><?xml version="1.0" encoding="utf-8"?>
<p188:cmLst xmlns:a="http://schemas.openxmlformats.org/drawingml/2006/main" xmlns:r="http://schemas.openxmlformats.org/officeDocument/2006/relationships" xmlns:p188="http://schemas.microsoft.com/office/powerpoint/2018/8/main">
  <p188:cm id="{B5AA5609-BAE5-4991-B5D3-E035B075E440}" authorId="{E891C52E-3C1E-986B-2C55-3E7E6206BE94}" created="2023-12-03T14:27:12.184">
    <ac:txMkLst xmlns:ac="http://schemas.microsoft.com/office/drawing/2013/main/command">
      <pc:docMk xmlns:pc="http://schemas.microsoft.com/office/powerpoint/2013/main/command"/>
      <pc:sldMk xmlns:pc="http://schemas.microsoft.com/office/powerpoint/2013/main/command" cId="799961263" sldId="399"/>
      <ac:graphicFrameMk id="11" creationId="{68F9DF56-4A47-3F8B-8E0E-F8BF6BDEBCAF}"/>
      <ac:tblMk/>
      <ac:tcMk rowId="2595948633" colId="522521680"/>
      <ac:txMk cp="0" len="24">
        <ac:context len="25" hash="2465873665"/>
      </ac:txMk>
    </ac:txMkLst>
    <p188:pos x="4910214" y="478136"/>
    <p188:txBody>
      <a:bodyPr/>
      <a:lstStyle/>
      <a:p>
        <a:r>
          <a:rPr lang="en-US"/>
          <a:t>Das ist Falsch laut Stauff?, Kalanick ist nicht Transactional sondern Autrocratic</a:t>
        </a:r>
      </a:p>
    </p188:txBody>
  </p188:cm>
</p188:cmLst>
</file>

<file path=ppt/comments/modernComment_191_DE9585A0.xml><?xml version="1.0" encoding="utf-8"?>
<p188:cmLst xmlns:a="http://schemas.openxmlformats.org/drawingml/2006/main" xmlns:r="http://schemas.openxmlformats.org/officeDocument/2006/relationships" xmlns:p188="http://schemas.microsoft.com/office/powerpoint/2018/8/main">
  <p188:cm id="{25A1124D-66EF-4490-8BB7-BF86834EF0B3}" authorId="{C5638DD5-6479-7DD9-7906-25C5884088ED}" created="2023-11-29T12:46:03.514">
    <pc:sldMkLst xmlns:pc="http://schemas.microsoft.com/office/powerpoint/2013/main/command">
      <pc:docMk/>
      <pc:sldMk cId="3734341024" sldId="401"/>
    </pc:sldMkLst>
    <p188:txBody>
      <a:bodyPr/>
      <a:lstStyle/>
      <a:p>
        <a:r>
          <a:rPr lang="de-DE"/>
          <a:t>Auch wiederholung</a:t>
        </a:r>
      </a:p>
    </p188:txBody>
  </p188:cm>
</p188:cmLst>
</file>

<file path=ppt/comments/modernComment_2FC_1AD06A2B.xml><?xml version="1.0" encoding="utf-8"?>
<p188:cmLst xmlns:a="http://schemas.openxmlformats.org/drawingml/2006/main" xmlns:r="http://schemas.openxmlformats.org/officeDocument/2006/relationships" xmlns:p188="http://schemas.microsoft.com/office/powerpoint/2018/8/main">
  <p188:cm id="{16D44ED6-2708-4553-BEF6-09C459B2ABFB}" authorId="{C5638DD5-6479-7DD9-7906-25C5884088ED}" created="2023-11-29T13:05:03.516">
    <pc:sldMkLst xmlns:pc="http://schemas.microsoft.com/office/powerpoint/2013/main/command">
      <pc:docMk/>
      <pc:sldMk cId="449866283" sldId="764"/>
    </pc:sldMkLst>
    <p188:replyLst>
      <p188:reply id="{16B8D4BC-4F98-43B0-A2A0-B1E20F433DFB}" authorId="{C5638DD5-6479-7DD9-7906-25C5884088ED}" created="2023-11-29T13:05:12.802">
        <p188:txBody>
          <a:bodyPr/>
          <a:lstStyle/>
          <a:p>
            <a:r>
              <a:rPr lang="de-DE"/>
              <a:t>mission</a:t>
            </a:r>
          </a:p>
        </p188:txBody>
      </p188:reply>
      <p188:reply id="{B2D0906D-E0EA-42FF-83D2-ACEEF5A81397}" authorId="{C5638DD5-6479-7DD9-7906-25C5884088ED}" created="2023-11-29T13:05:28.613">
        <p188:txBody>
          <a:bodyPr/>
          <a:lstStyle/>
          <a:p>
            <a:r>
              <a:rPr lang="de-DE"/>
              <a:t>Stakeholdermatrix bei guten Aussagen</a:t>
            </a:r>
          </a:p>
        </p188:txBody>
      </p188:reply>
    </p188:replyLst>
    <p188:txBody>
      <a:bodyPr/>
      <a:lstStyle/>
      <a:p>
        <a:r>
          <a:rPr lang="de-DE"/>
          <a:t>Primary und secondary nach rechts rücken</a:t>
        </a:r>
      </a:p>
    </p188:txBody>
  </p188:cm>
</p188:cmLst>
</file>

<file path=ppt/comments/modernComment_308_5E44A3E9.xml><?xml version="1.0" encoding="utf-8"?>
<p188:cmLst xmlns:a="http://schemas.openxmlformats.org/drawingml/2006/main" xmlns:r="http://schemas.openxmlformats.org/officeDocument/2006/relationships" xmlns:p188="http://schemas.microsoft.com/office/powerpoint/2018/8/main">
  <p188:cm id="{A5CBB10B-AFD3-4382-B356-347FBD76244C}" authorId="{E891C52E-3C1E-986B-2C55-3E7E6206BE94}" created="2023-11-23T12:25:59.724">
    <ac:deMkLst xmlns:ac="http://schemas.microsoft.com/office/drawing/2013/main/command">
      <pc:docMk xmlns:pc="http://schemas.microsoft.com/office/powerpoint/2013/main/command"/>
      <pc:sldMk xmlns:pc="http://schemas.microsoft.com/office/powerpoint/2013/main/command" cId="1581556713" sldId="776"/>
      <ac:spMk id="8" creationId="{33768A4B-C8A0-96B9-295B-8EFA5B50D52D}"/>
    </ac:deMkLst>
    <p188:txBody>
      <a:bodyPr/>
      <a:lstStyle/>
      <a:p>
        <a:r>
          <a:rPr lang="en-US"/>
          <a:t>Ist das richtig?</a:t>
        </a:r>
      </a:p>
    </p188:txBody>
  </p188:cm>
  <p188:cm id="{1BFDAA0D-6CB8-4070-BC01-466B9CAE423D}" authorId="{C5638DD5-6479-7DD9-7906-25C5884088ED}" created="2023-11-29T12:20:59.436">
    <pc:sldMkLst xmlns:pc="http://schemas.microsoft.com/office/powerpoint/2013/main/command">
      <pc:docMk/>
      <pc:sldMk cId="1581556713" sldId="776"/>
    </pc:sldMkLst>
    <p188:replyLst>
      <p188:reply id="{77CC4745-00C9-4140-A440-E61618745F0B}" authorId="{C5638DD5-6479-7DD9-7906-25C5884088ED}" created="2023-11-29T12:22:38.963">
        <p188:txBody>
          <a:bodyPr/>
          <a:lstStyle/>
          <a:p>
            <a:r>
              <a:rPr lang="de-DE"/>
              <a:t>Wachstum nicht als alleiniger Faktor, positiver Cash flow; Reifephase positiver net cash flow</a:t>
            </a:r>
          </a:p>
        </p188:txBody>
      </p188:reply>
      <p188:reply id="{3C9ADEE8-E0B5-440C-A411-B780A8E642DA}" authorId="{C5638DD5-6479-7DD9-7906-25C5884088ED}" created="2023-11-29T12:22:51.230">
        <p188:txBody>
          <a:bodyPr/>
          <a:lstStyle/>
          <a:p>
            <a:r>
              <a:rPr lang="de-DE"/>
              <a:t>Uber und Lyft nicht auf einer Stage</a:t>
            </a:r>
          </a:p>
        </p188:txBody>
      </p188:reply>
      <p188:reply id="{6A23E246-5A97-49E7-882A-F07AB1F6CBF9}" authorId="{C5638DD5-6479-7DD9-7906-25C5884088ED}" created="2023-11-29T12:23:39.678">
        <p188:txBody>
          <a:bodyPr/>
          <a:lstStyle/>
          <a:p>
            <a:r>
              <a:rPr lang="de-DE"/>
              <a:t>Ola und Grab zur Startup Stage</a:t>
            </a:r>
          </a:p>
        </p188:txBody>
      </p188:reply>
    </p188:replyLst>
    <p188:txBody>
      <a:bodyPr/>
      <a:lstStyle/>
      <a:p>
        <a:r>
          <a:rPr lang="de-DE"/>
          <a:t>Uber und Lyft in der Growth Stage</a:t>
        </a:r>
      </a:p>
    </p188:txBody>
  </p188:cm>
</p188:cmLst>
</file>

<file path=ppt/comments/modernComment_309_DB7969AE.xml><?xml version="1.0" encoding="utf-8"?>
<p188:cmLst xmlns:a="http://schemas.openxmlformats.org/drawingml/2006/main" xmlns:r="http://schemas.openxmlformats.org/officeDocument/2006/relationships" xmlns:p188="http://schemas.microsoft.com/office/powerpoint/2018/8/main">
  <p188:cm id="{EDE1567B-236A-46FD-8BC5-AEAC92F60824}" authorId="{C5638DD5-6479-7DD9-7906-25C5884088ED}" created="2023-11-29T12:29:30.590">
    <pc:sldMkLst xmlns:pc="http://schemas.microsoft.com/office/powerpoint/2013/main/command">
      <pc:docMk/>
      <pc:sldMk cId="3682167214" sldId="777"/>
    </pc:sldMkLst>
    <p188:replyLst>
      <p188:reply id="{95FEE751-D57A-4B49-BCAD-00AD419DC0E2}" authorId="{C5638DD5-6479-7DD9-7906-25C5884088ED}" created="2023-11-29T12:30:02.217">
        <p188:txBody>
          <a:bodyPr/>
          <a:lstStyle/>
          <a:p>
            <a:r>
              <a:rPr lang="de-DE"/>
              <a:t>Takeaway: Zahl der User steigt (Growth Stage)</a:t>
            </a:r>
          </a:p>
        </p188:txBody>
      </p188:reply>
      <p188:reply id="{277A3CE7-7338-4AB2-9E65-CDBBFE15BEAC}" authorId="{C5638DD5-6479-7DD9-7906-25C5884088ED}" created="2023-11-29T12:35:38.311">
        <p188:txBody>
          <a:bodyPr/>
          <a:lstStyle/>
          <a:p>
            <a:r>
              <a:rPr lang="de-DE"/>
              <a:t>Platform Business: Rider und Driver, beidseitig (Fahrbusiness), Angebot und Nachfrage (Fly Wheel)</a:t>
            </a:r>
          </a:p>
        </p188:txBody>
      </p188:reply>
      <p188:reply id="{AF438601-D2D4-4B24-B2F8-B86B8473C49E}" authorId="{C5638DD5-6479-7DD9-7906-25C5884088ED}" created="2023-11-29T12:39:24.232">
        <p188:txBody>
          <a:bodyPr/>
          <a:lstStyle/>
          <a:p>
            <a:r>
              <a:rPr lang="de-DE"/>
              <a:t>Wachstum prozentual der anderen Konkurrenten anschauen, andere zweiseitige Platform businesses anschauen (Ebay, etsy, Amazon marketplace)</a:t>
            </a:r>
          </a:p>
        </p188:txBody>
      </p188:reply>
    </p188:replyLst>
    <p188:txBody>
      <a:bodyPr/>
      <a:lstStyle/>
      <a:p>
        <a:r>
          <a:rPr lang="de-DE"/>
          <a:t>Diagramme mit vertikalen Strichen trennen, zur besseren Erkennung</a:t>
        </a:r>
      </a:p>
    </p188:txBody>
  </p188:cm>
</p188:cmLst>
</file>

<file path=ppt/comments/modernComment_30A_30A6C794.xml><?xml version="1.0" encoding="utf-8"?>
<p188:cmLst xmlns:a="http://schemas.openxmlformats.org/drawingml/2006/main" xmlns:r="http://schemas.openxmlformats.org/officeDocument/2006/relationships" xmlns:p188="http://schemas.microsoft.com/office/powerpoint/2018/8/main">
  <p188:cm id="{8A180F98-5C6C-4C1A-B3E3-75EA509B976E}" authorId="{C5638DD5-6479-7DD9-7906-25C5884088ED}" created="2023-11-29T12:27:19.766">
    <pc:sldMkLst xmlns:pc="http://schemas.microsoft.com/office/powerpoint/2013/main/command">
      <pc:docMk/>
      <pc:sldMk cId="816236436" sldId="778"/>
    </pc:sldMkLst>
    <p188:txBody>
      <a:bodyPr/>
      <a:lstStyle/>
      <a:p>
        <a:r>
          <a:rPr lang="de-DE"/>
          <a:t>Normalisieren ist gut, 2017 auf 100% setzen</a:t>
        </a:r>
      </a:p>
    </p188:txBody>
  </p188:cm>
</p188:cmLst>
</file>

<file path=ppt/comments/modernComment_30C_7880041B.xml><?xml version="1.0" encoding="utf-8"?>
<p188:cmLst xmlns:a="http://schemas.openxmlformats.org/drawingml/2006/main" xmlns:r="http://schemas.openxmlformats.org/officeDocument/2006/relationships" xmlns:p188="http://schemas.microsoft.com/office/powerpoint/2018/8/main">
  <p188:cm id="{C389E707-BF44-4FEC-9109-3F9E928F9F99}" authorId="{C5638DD5-6479-7DD9-7906-25C5884088ED}" status="resolved" created="2023-11-29T12:42:46.248" complete="100000">
    <pc:sldMkLst xmlns:pc="http://schemas.microsoft.com/office/powerpoint/2013/main/command">
      <pc:docMk/>
      <pc:sldMk cId="2021655579" sldId="780"/>
    </pc:sldMkLst>
    <p188:txBody>
      <a:bodyPr/>
      <a:lstStyle/>
      <a:p>
        <a:r>
          <a:rPr lang="de-DE"/>
          <a:t>Diese Folie und die vorherige kombinieren und mit einem anderen Unternehmen vergleichen</a:t>
        </a:r>
      </a:p>
    </p188:txBody>
    <p188:extLst>
      <p:ext xmlns:p="http://schemas.openxmlformats.org/presentationml/2006/main" uri="{57CB4572-C831-44C2-8A1C-0ADB6CCDFE69}">
        <p223:reactions xmlns:p223="http://schemas.microsoft.com/office/powerpoint/2022/03/main">
          <p223:rxn type="👍">
            <p223:instance time="2023-12-02T16:19:57.441" authorId="{E891C52E-3C1E-986B-2C55-3E7E6206BE94}"/>
          </p223:rxn>
        </p223:reactions>
      </p:ext>
    </p188:extLst>
  </p188:cm>
</p188:cmLst>
</file>

<file path=ppt/comments/modernComment_30E_8E610065.xml><?xml version="1.0" encoding="utf-8"?>
<p188:cmLst xmlns:a="http://schemas.openxmlformats.org/drawingml/2006/main" xmlns:r="http://schemas.openxmlformats.org/officeDocument/2006/relationships" xmlns:p188="http://schemas.microsoft.com/office/powerpoint/2018/8/main">
  <p188:cm id="{37ED8336-EF88-4757-9171-F318247DEA36}" authorId="{C5638DD5-6479-7DD9-7906-25C5884088ED}" created="2023-11-29T12:25:03.759">
    <pc:sldMkLst xmlns:pc="http://schemas.microsoft.com/office/powerpoint/2013/main/command">
      <pc:docMk/>
      <pc:sldMk cId="2388721765" sldId="782"/>
    </pc:sldMkLst>
    <p188:txBody>
      <a:bodyPr/>
      <a:lstStyle/>
      <a:p>
        <a:r>
          <a:rPr lang="de-DE"/>
          <a:t>Wichtige Informationen fett</a:t>
        </a:r>
      </a:p>
    </p188:txBody>
  </p188:cm>
</p188:cmLst>
</file>

<file path=ppt/comments/modernComment_31A_E3724F58.xml><?xml version="1.0" encoding="utf-8"?>
<p188:cmLst xmlns:a="http://schemas.openxmlformats.org/drawingml/2006/main" xmlns:r="http://schemas.openxmlformats.org/officeDocument/2006/relationships" xmlns:p188="http://schemas.microsoft.com/office/powerpoint/2018/8/main">
  <p188:cm id="{2BD4A895-427C-4ABC-94FE-6AEABE0682F3}" authorId="{C5638DD5-6479-7DD9-7906-25C5884088ED}" created="2023-11-29T13:00:11.789">
    <pc:sldMkLst xmlns:pc="http://schemas.microsoft.com/office/powerpoint/2013/main/command">
      <pc:docMk/>
      <pc:sldMk cId="3815919448" sldId="794"/>
    </pc:sldMkLst>
    <p188:txBody>
      <a:bodyPr/>
      <a:lstStyle/>
      <a:p>
        <a:r>
          <a:rPr lang="de-DE"/>
          <a:t>Auf einzelne Bereiche runterbrechen</a:t>
        </a:r>
      </a:p>
    </p188:txBody>
  </p188:cm>
</p188:cmLst>
</file>

<file path=ppt/comments/modernComment_31C_D3D640D4.xml><?xml version="1.0" encoding="utf-8"?>
<p188:cmLst xmlns:a="http://schemas.openxmlformats.org/drawingml/2006/main" xmlns:r="http://schemas.openxmlformats.org/officeDocument/2006/relationships" xmlns:p188="http://schemas.microsoft.com/office/powerpoint/2018/8/main">
  <p188:cm id="{C8974B1A-6E6F-409D-9502-96527DF036DB}" authorId="{C5638DD5-6479-7DD9-7906-25C5884088ED}" created="2023-11-29T12:46:47.643">
    <pc:sldMkLst xmlns:pc="http://schemas.microsoft.com/office/powerpoint/2013/main/command">
      <pc:docMk/>
      <pc:sldMk cId="3554033876" sldId="796"/>
    </pc:sldMkLst>
    <p188:replyLst>
      <p188:reply id="{D52B2BEE-CF68-4474-95F1-F0FC83E9F37E}" authorId="{C5638DD5-6479-7DD9-7906-25C5884088ED}" created="2023-11-29T12:46:55.796">
        <p188:txBody>
          <a:bodyPr/>
          <a:lstStyle/>
          <a:p>
            <a:r>
              <a:rPr lang="de-DE"/>
              <a:t>Mit der Strategie matchen</a:t>
            </a:r>
          </a:p>
        </p188:txBody>
      </p188:reply>
    </p188:replyLst>
    <p188:txBody>
      <a:bodyPr/>
      <a:lstStyle/>
      <a:p>
        <a:r>
          <a:rPr lang="de-DE"/>
          <a:t>Competenzen auswählen und begründen, warum diese besonders wichtig sind </a:t>
        </a:r>
      </a:p>
    </p188:txBody>
  </p188:cm>
</p188:cmLst>
</file>

<file path=ppt/comments/modernComment_484_13B97F92.xml><?xml version="1.0" encoding="utf-8"?>
<p188:cmLst xmlns:a="http://schemas.openxmlformats.org/drawingml/2006/main" xmlns:r="http://schemas.openxmlformats.org/officeDocument/2006/relationships" xmlns:p188="http://schemas.microsoft.com/office/powerpoint/2018/8/main">
  <p188:cm id="{BF99C6C8-A219-4025-8B7B-DF33F3BD60F6}" authorId="{C5638DD5-6479-7DD9-7906-25C5884088ED}" created="2023-11-29T12:47:32.807">
    <pc:sldMkLst xmlns:pc="http://schemas.microsoft.com/office/powerpoint/2013/main/command">
      <pc:docMk/>
      <pc:sldMk cId="330923922" sldId="1156"/>
    </pc:sldMkLst>
    <p188:txBody>
      <a:bodyPr/>
      <a:lstStyle/>
      <a:p>
        <a:r>
          <a:rPr lang="de-DE"/>
          <a:t>"Beweise" fehlen, mehr untermauern</a:t>
        </a:r>
      </a:p>
    </p188:txBody>
  </p188:cm>
</p188:cmLst>
</file>

<file path=ppt/comments/modernComment_495_D2AC7FAB.xml><?xml version="1.0" encoding="utf-8"?>
<p188:cmLst xmlns:a="http://schemas.openxmlformats.org/drawingml/2006/main" xmlns:r="http://schemas.openxmlformats.org/officeDocument/2006/relationships" xmlns:p188="http://schemas.microsoft.com/office/powerpoint/2018/8/main">
  <p188:cm id="{803E4FC6-1CFC-4403-A9D7-180FBCEDA8EB}" authorId="{C5638DD5-6479-7DD9-7906-25C5884088ED}" status="resolved" created="2023-11-29T13:00:11.789" complete="100000">
    <pc:sldMkLst xmlns:pc="http://schemas.microsoft.com/office/powerpoint/2013/main/command">
      <pc:docMk/>
      <pc:sldMk cId="3815919448" sldId="794"/>
    </pc:sldMkLst>
    <p188:txBody>
      <a:bodyPr/>
      <a:lstStyle/>
      <a:p>
        <a:r>
          <a:rPr lang="de-DE"/>
          <a:t>Auf einzelne Bereiche runterbrechen</a:t>
        </a:r>
      </a:p>
    </p188:txBody>
  </p188:cm>
</p188:cmLst>
</file>

<file path=ppt/comments/modernComment_49C_8CE12516.xml><?xml version="1.0" encoding="utf-8"?>
<p188:cmLst xmlns:a="http://schemas.openxmlformats.org/drawingml/2006/main" xmlns:r="http://schemas.openxmlformats.org/officeDocument/2006/relationships" xmlns:p188="http://schemas.microsoft.com/office/powerpoint/2018/8/main">
  <p188:cm id="{62CDF153-3462-4498-85F0-30D8960636D0}" authorId="{C5638DD5-6479-7DD9-7906-25C5884088ED}" created="2023-11-29T12:45:07.155">
    <pc:sldMkLst xmlns:pc="http://schemas.microsoft.com/office/powerpoint/2013/main/command">
      <pc:docMk/>
      <pc:sldMk cId="3310491922" sldId="1154"/>
    </pc:sldMkLst>
    <p188:replyLst>
      <p188:reply id="{65E1064A-A3C5-4757-B5FE-611A8443AFBE}" authorId="{AD335BA8-4F4F-1ADB-3A9F-0A6BDFF5E3FA}" created="2023-12-03T12:13:50.399">
        <p188:txBody>
          <a:bodyPr/>
          <a:lstStyle/>
          <a:p>
            <a:r>
              <a:rPr lang="de-DE"/>
              <a:t>Zusammengefasst auf 17, rest im Anhang</a:t>
            </a:r>
          </a:p>
        </p188:txBody>
      </p188:reply>
    </p188:replyLst>
    <p188:txBody>
      <a:bodyPr/>
      <a:lstStyle/>
      <a:p>
        <a:r>
          <a:rPr lang="de-DE"/>
          <a:t>Darstellung verändern, haben die beiden Folien einen Mehrwert, um eine Frage zu beantworten</a:t>
        </a:r>
      </a:p>
    </p188:txBody>
  </p188:cm>
</p188:cmLst>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C0D726-F606-4610-B4DF-8CDE36C6CDB1}" type="doc">
      <dgm:prSet loTypeId="urn:microsoft.com/office/officeart/2005/8/layout/matrix1" loCatId="matrix" qsTypeId="urn:microsoft.com/office/officeart/2005/8/quickstyle/simple1" qsCatId="simple" csTypeId="urn:microsoft.com/office/officeart/2005/8/colors/accent2_2" csCatId="accent2" phldr="1"/>
      <dgm:spPr/>
      <dgm:t>
        <a:bodyPr/>
        <a:lstStyle/>
        <a:p>
          <a:endParaRPr lang="de-DE"/>
        </a:p>
      </dgm:t>
    </dgm:pt>
    <dgm:pt modelId="{49066D59-9A7B-4C9D-851A-68B55CC614CA}">
      <dgm:prSet phldrT="[Text]"/>
      <dgm:spPr/>
      <dgm:t>
        <a:bodyPr/>
        <a:lstStyle/>
        <a:p>
          <a:r>
            <a:rPr lang="en-US"/>
            <a:t>SWOT</a:t>
          </a:r>
        </a:p>
      </dgm:t>
    </dgm:pt>
    <dgm:pt modelId="{C482C30F-1826-40D0-A7A1-E24AD1ACC918}" type="parTrans" cxnId="{A8721025-CACB-4362-93D5-C9D83F531E20}">
      <dgm:prSet/>
      <dgm:spPr/>
      <dgm:t>
        <a:bodyPr/>
        <a:lstStyle/>
        <a:p>
          <a:endParaRPr lang="de-DE"/>
        </a:p>
      </dgm:t>
    </dgm:pt>
    <dgm:pt modelId="{D4456050-D84B-425C-BB98-43F47E67C432}" type="sibTrans" cxnId="{A8721025-CACB-4362-93D5-C9D83F531E20}">
      <dgm:prSet/>
      <dgm:spPr/>
      <dgm:t>
        <a:bodyPr/>
        <a:lstStyle/>
        <a:p>
          <a:endParaRPr lang="de-DE"/>
        </a:p>
      </dgm:t>
    </dgm:pt>
    <dgm:pt modelId="{F58E38FC-9EA4-4210-8BB7-9131B498F2CC}">
      <dgm:prSet phldrT="[Text]" custT="1"/>
      <dgm:spPr/>
      <dgm:t>
        <a:bodyPr/>
        <a:lstStyle/>
        <a:p>
          <a:pPr>
            <a:buNone/>
          </a:pPr>
          <a:r>
            <a:rPr lang="en-US" sz="1600" b="1" err="1"/>
            <a:t>Stärken</a:t>
          </a:r>
          <a:endParaRPr lang="en-US" sz="1600" b="1"/>
        </a:p>
      </dgm:t>
    </dgm:pt>
    <dgm:pt modelId="{996C1A89-35BA-4900-929A-BFD90A3F5234}" type="parTrans" cxnId="{3421607F-E724-4ACC-97AB-946E2D8F61F6}">
      <dgm:prSet/>
      <dgm:spPr/>
      <dgm:t>
        <a:bodyPr/>
        <a:lstStyle/>
        <a:p>
          <a:endParaRPr lang="de-DE"/>
        </a:p>
      </dgm:t>
    </dgm:pt>
    <dgm:pt modelId="{1E83A60A-7D3C-469C-A1F8-8E0576675F8A}" type="sibTrans" cxnId="{3421607F-E724-4ACC-97AB-946E2D8F61F6}">
      <dgm:prSet/>
      <dgm:spPr/>
      <dgm:t>
        <a:bodyPr/>
        <a:lstStyle/>
        <a:p>
          <a:endParaRPr lang="de-DE"/>
        </a:p>
      </dgm:t>
    </dgm:pt>
    <dgm:pt modelId="{9F173F87-52D3-41F0-B207-34BE4FB54C5B}">
      <dgm:prSet phldrT="[Text]" custT="1"/>
      <dgm:spPr/>
      <dgm:t>
        <a:bodyPr/>
        <a:lstStyle/>
        <a:p>
          <a:pPr algn="r">
            <a:buNone/>
          </a:pPr>
          <a:r>
            <a:rPr lang="en-US" sz="1600" b="1" err="1"/>
            <a:t>Schwächen</a:t>
          </a:r>
          <a:endParaRPr lang="en-US" sz="1600" b="1"/>
        </a:p>
      </dgm:t>
    </dgm:pt>
    <dgm:pt modelId="{42C989ED-BBAF-44D2-9E9F-135B84EFF9A3}" type="parTrans" cxnId="{1AADC1CA-7B96-4C90-83B6-2F8658A1BC78}">
      <dgm:prSet/>
      <dgm:spPr/>
      <dgm:t>
        <a:bodyPr/>
        <a:lstStyle/>
        <a:p>
          <a:endParaRPr lang="de-DE"/>
        </a:p>
      </dgm:t>
    </dgm:pt>
    <dgm:pt modelId="{E8FEB595-72A8-4348-8530-9F5E69318B60}" type="sibTrans" cxnId="{1AADC1CA-7B96-4C90-83B6-2F8658A1BC78}">
      <dgm:prSet/>
      <dgm:spPr/>
      <dgm:t>
        <a:bodyPr/>
        <a:lstStyle/>
        <a:p>
          <a:endParaRPr lang="de-DE"/>
        </a:p>
      </dgm:t>
    </dgm:pt>
    <dgm:pt modelId="{B28651AE-E1CB-4451-B895-66B5D461E0B5}">
      <dgm:prSet phldrT="[Text]" custT="1"/>
      <dgm:spPr/>
      <dgm:t>
        <a:bodyPr anchor="b" anchorCtr="1"/>
        <a:lstStyle/>
        <a:p>
          <a:pPr>
            <a:buNone/>
          </a:pPr>
          <a:r>
            <a:rPr lang="en-US" sz="1600" b="1" err="1"/>
            <a:t>Chancen</a:t>
          </a:r>
          <a:r>
            <a:rPr lang="en-US" sz="1600" b="1"/>
            <a:t> </a:t>
          </a:r>
        </a:p>
      </dgm:t>
    </dgm:pt>
    <dgm:pt modelId="{9BFFD8A4-5884-40F5-BEFA-71D67E7622F4}" type="parTrans" cxnId="{6A18D71D-D569-4B07-AF21-B38DEE34BBAA}">
      <dgm:prSet/>
      <dgm:spPr/>
      <dgm:t>
        <a:bodyPr/>
        <a:lstStyle/>
        <a:p>
          <a:endParaRPr lang="de-DE"/>
        </a:p>
      </dgm:t>
    </dgm:pt>
    <dgm:pt modelId="{097DFB3E-182F-4C85-AD1D-853E452FFB80}" type="sibTrans" cxnId="{6A18D71D-D569-4B07-AF21-B38DEE34BBAA}">
      <dgm:prSet/>
      <dgm:spPr/>
      <dgm:t>
        <a:bodyPr/>
        <a:lstStyle/>
        <a:p>
          <a:endParaRPr lang="de-DE"/>
        </a:p>
      </dgm:t>
    </dgm:pt>
    <dgm:pt modelId="{83F2A2E2-02F0-4584-A1C3-DD0F0EB2276A}">
      <dgm:prSet phldrT="[Text]" custT="1"/>
      <dgm:spPr/>
      <dgm:t>
        <a:bodyPr anchor="b"/>
        <a:lstStyle/>
        <a:p>
          <a:pPr algn="r">
            <a:buNone/>
          </a:pPr>
          <a:r>
            <a:rPr lang="en-US" sz="1600" b="1" err="1"/>
            <a:t>Risiken</a:t>
          </a:r>
          <a:endParaRPr lang="en-US" sz="1600" b="1"/>
        </a:p>
      </dgm:t>
    </dgm:pt>
    <dgm:pt modelId="{5AE6D5E1-E3C9-4E43-B922-7B5C05D75FB9}" type="parTrans" cxnId="{7CCE4C2E-6481-46D6-BD84-B500C0DB2AE0}">
      <dgm:prSet/>
      <dgm:spPr/>
      <dgm:t>
        <a:bodyPr/>
        <a:lstStyle/>
        <a:p>
          <a:endParaRPr lang="de-DE"/>
        </a:p>
      </dgm:t>
    </dgm:pt>
    <dgm:pt modelId="{F20474CB-A8E4-43B8-A83F-9E8208BBB82F}" type="sibTrans" cxnId="{7CCE4C2E-6481-46D6-BD84-B500C0DB2AE0}">
      <dgm:prSet/>
      <dgm:spPr/>
      <dgm:t>
        <a:bodyPr/>
        <a:lstStyle/>
        <a:p>
          <a:endParaRPr lang="de-DE"/>
        </a:p>
      </dgm:t>
    </dgm:pt>
    <dgm:pt modelId="{F2459990-52D2-4FF9-8113-9607970C4FFE}">
      <dgm:prSet custT="1"/>
      <dgm:spPr/>
      <dgm:t>
        <a:bodyPr/>
        <a:lstStyle/>
        <a:p>
          <a:pPr>
            <a:buFont typeface="Arial" panose="020B0604020202020204" pitchFamily="34" charset="0"/>
            <a:buChar char="•"/>
          </a:pPr>
          <a:r>
            <a:rPr lang="en-US" sz="1200" b="1" err="1"/>
            <a:t>Globale</a:t>
          </a:r>
          <a:r>
            <a:rPr lang="en-US" sz="1200" b="1"/>
            <a:t> </a:t>
          </a:r>
          <a:r>
            <a:rPr lang="en-US" sz="1200" b="1" err="1"/>
            <a:t>Präsenz</a:t>
          </a:r>
          <a:r>
            <a:rPr lang="en-US" sz="1200" b="1"/>
            <a:t> und </a:t>
          </a:r>
          <a:r>
            <a:rPr lang="en-US" sz="1200" b="1" err="1"/>
            <a:t>Reichweite</a:t>
          </a:r>
          <a:r>
            <a:rPr lang="en-US" sz="1200" b="1"/>
            <a:t>: </a:t>
          </a:r>
          <a:r>
            <a:rPr lang="en-US" sz="1200" err="1"/>
            <a:t>hohe</a:t>
          </a:r>
          <a:r>
            <a:rPr lang="en-US" sz="1200"/>
            <a:t> </a:t>
          </a:r>
          <a:r>
            <a:rPr lang="en-US" sz="1200" err="1"/>
            <a:t>Marktdurchdringung</a:t>
          </a:r>
          <a:r>
            <a:rPr lang="en-US" sz="1200"/>
            <a:t> </a:t>
          </a:r>
          <a:r>
            <a:rPr lang="en-US" sz="1200" err="1"/>
            <a:t>durch</a:t>
          </a:r>
          <a:r>
            <a:rPr lang="en-US" sz="1200"/>
            <a:t> </a:t>
          </a:r>
          <a:r>
            <a:rPr lang="en-US" sz="1200" err="1"/>
            <a:t>Präsenz</a:t>
          </a:r>
          <a:r>
            <a:rPr lang="en-US" sz="1200"/>
            <a:t> in </a:t>
          </a:r>
          <a:r>
            <a:rPr lang="en-US" sz="1200" err="1"/>
            <a:t>vielen</a:t>
          </a:r>
          <a:r>
            <a:rPr lang="en-US" sz="1200"/>
            <a:t> </a:t>
          </a:r>
          <a:r>
            <a:rPr lang="en-US" sz="1200" err="1"/>
            <a:t>Ländern</a:t>
          </a:r>
          <a:r>
            <a:rPr lang="en-US" sz="1200"/>
            <a:t> </a:t>
          </a:r>
          <a:r>
            <a:rPr lang="en-US" sz="1200" err="1"/>
            <a:t>weltweit</a:t>
          </a:r>
          <a:endParaRPr lang="en-US" sz="1200"/>
        </a:p>
      </dgm:t>
    </dgm:pt>
    <dgm:pt modelId="{499EC944-5EF0-43CF-8A2A-3BCA7518B27F}" type="parTrans" cxnId="{23D99F01-E5B0-4B1D-A91C-93E8F2322128}">
      <dgm:prSet/>
      <dgm:spPr/>
      <dgm:t>
        <a:bodyPr/>
        <a:lstStyle/>
        <a:p>
          <a:endParaRPr lang="de-DE"/>
        </a:p>
      </dgm:t>
    </dgm:pt>
    <dgm:pt modelId="{F4126D8E-6EDF-4484-978B-B5A6FE88A482}" type="sibTrans" cxnId="{23D99F01-E5B0-4B1D-A91C-93E8F2322128}">
      <dgm:prSet/>
      <dgm:spPr/>
      <dgm:t>
        <a:bodyPr/>
        <a:lstStyle/>
        <a:p>
          <a:endParaRPr lang="de-DE"/>
        </a:p>
      </dgm:t>
    </dgm:pt>
    <dgm:pt modelId="{AE1CF93D-7D4C-4C9A-8D82-7729A993994A}">
      <dgm:prSet custT="1"/>
      <dgm:spPr/>
      <dgm:t>
        <a:bodyPr/>
        <a:lstStyle/>
        <a:p>
          <a:r>
            <a:rPr lang="en-US" sz="1200" b="1"/>
            <a:t>Innovative </a:t>
          </a:r>
          <a:r>
            <a:rPr lang="en-US" sz="1200" b="1" err="1"/>
            <a:t>Technologien</a:t>
          </a:r>
          <a:r>
            <a:rPr lang="en-US" sz="1200" b="1"/>
            <a:t>:</a:t>
          </a:r>
          <a:r>
            <a:rPr lang="en-US" sz="1200"/>
            <a:t> </a:t>
          </a:r>
          <a:r>
            <a:rPr lang="en-US" sz="1200" err="1"/>
            <a:t>z.B.</a:t>
          </a:r>
          <a:r>
            <a:rPr lang="en-US" sz="1200"/>
            <a:t> mobile Apps, um </a:t>
          </a:r>
          <a:r>
            <a:rPr lang="en-US" sz="1200" err="1"/>
            <a:t>eine</a:t>
          </a:r>
          <a:r>
            <a:rPr lang="en-US" sz="1200"/>
            <a:t> </a:t>
          </a:r>
          <a:r>
            <a:rPr lang="en-US" sz="1200" err="1"/>
            <a:t>nahtlose</a:t>
          </a:r>
          <a:r>
            <a:rPr lang="en-US" sz="1200"/>
            <a:t> </a:t>
          </a:r>
          <a:r>
            <a:rPr lang="en-US" sz="1200" err="1"/>
            <a:t>Vermittlung</a:t>
          </a:r>
          <a:r>
            <a:rPr lang="en-US" sz="1200"/>
            <a:t> </a:t>
          </a:r>
          <a:r>
            <a:rPr lang="en-US" sz="1200" err="1"/>
            <a:t>zwischen</a:t>
          </a:r>
          <a:r>
            <a:rPr lang="en-US" sz="1200"/>
            <a:t> </a:t>
          </a:r>
          <a:r>
            <a:rPr lang="en-US" sz="1200" err="1"/>
            <a:t>Fahrern</a:t>
          </a:r>
          <a:r>
            <a:rPr lang="en-US" sz="1200"/>
            <a:t> und </a:t>
          </a:r>
          <a:r>
            <a:rPr lang="en-US" sz="1200" err="1"/>
            <a:t>Kunden</a:t>
          </a:r>
          <a:r>
            <a:rPr lang="en-US" sz="1200"/>
            <a:t> </a:t>
          </a:r>
          <a:r>
            <a:rPr lang="en-US" sz="1200" err="1"/>
            <a:t>zu</a:t>
          </a:r>
          <a:r>
            <a:rPr lang="en-US" sz="1200"/>
            <a:t> </a:t>
          </a:r>
          <a:r>
            <a:rPr lang="en-US" sz="1200" err="1"/>
            <a:t>ermöglichen</a:t>
          </a:r>
          <a:endParaRPr lang="en-US" sz="1200"/>
        </a:p>
      </dgm:t>
    </dgm:pt>
    <dgm:pt modelId="{52F8016A-66D6-4F99-AC0E-1FD9B6A3723A}" type="parTrans" cxnId="{8DACA3F1-3928-4C07-873E-989523937CA8}">
      <dgm:prSet/>
      <dgm:spPr/>
      <dgm:t>
        <a:bodyPr/>
        <a:lstStyle/>
        <a:p>
          <a:endParaRPr lang="de-DE"/>
        </a:p>
      </dgm:t>
    </dgm:pt>
    <dgm:pt modelId="{4E785780-734C-4DDC-8411-E7BD928105D0}" type="sibTrans" cxnId="{8DACA3F1-3928-4C07-873E-989523937CA8}">
      <dgm:prSet/>
      <dgm:spPr/>
      <dgm:t>
        <a:bodyPr/>
        <a:lstStyle/>
        <a:p>
          <a:endParaRPr lang="de-DE"/>
        </a:p>
      </dgm:t>
    </dgm:pt>
    <dgm:pt modelId="{A41CF633-7E5C-4A4D-8F23-C351B840F0DF}">
      <dgm:prSet custT="1"/>
      <dgm:spPr/>
      <dgm:t>
        <a:bodyPr/>
        <a:lstStyle/>
        <a:p>
          <a:r>
            <a:rPr lang="en-US" sz="1200" b="1" err="1"/>
            <a:t>Diversifizierte</a:t>
          </a:r>
          <a:r>
            <a:rPr lang="en-US" sz="1200" b="1"/>
            <a:t> </a:t>
          </a:r>
          <a:r>
            <a:rPr lang="en-US" sz="1200" b="1" err="1"/>
            <a:t>Dienstleistungen</a:t>
          </a:r>
          <a:r>
            <a:rPr lang="en-US" sz="1200" b="1"/>
            <a:t>: </a:t>
          </a:r>
          <a:r>
            <a:rPr lang="en-US" sz="1200" b="0" err="1"/>
            <a:t>z.B.</a:t>
          </a:r>
          <a:r>
            <a:rPr lang="en-US" sz="1200" b="0"/>
            <a:t> </a:t>
          </a:r>
          <a:r>
            <a:rPr lang="en-US" sz="1200"/>
            <a:t>Ride-Hailing, </a:t>
          </a:r>
          <a:r>
            <a:rPr lang="en-US" sz="1200" err="1"/>
            <a:t>Essenslieferungen</a:t>
          </a:r>
          <a:r>
            <a:rPr lang="en-US" sz="1200"/>
            <a:t> (UberEats) und </a:t>
          </a:r>
          <a:r>
            <a:rPr lang="en-US" sz="1200" err="1"/>
            <a:t>Frachttransport</a:t>
          </a:r>
          <a:r>
            <a:rPr lang="en-US" sz="1200"/>
            <a:t> (Uber Freight)</a:t>
          </a:r>
        </a:p>
      </dgm:t>
    </dgm:pt>
    <dgm:pt modelId="{3CAF92F4-7E24-4695-B762-0CDBE28DEA70}" type="parTrans" cxnId="{6CDC4704-EE17-45F1-BEA2-0A327901A0A0}">
      <dgm:prSet/>
      <dgm:spPr/>
      <dgm:t>
        <a:bodyPr/>
        <a:lstStyle/>
        <a:p>
          <a:endParaRPr lang="de-DE"/>
        </a:p>
      </dgm:t>
    </dgm:pt>
    <dgm:pt modelId="{08BF1F5B-A81E-4F6C-8351-830EFE88E56C}" type="sibTrans" cxnId="{6CDC4704-EE17-45F1-BEA2-0A327901A0A0}">
      <dgm:prSet/>
      <dgm:spPr/>
      <dgm:t>
        <a:bodyPr/>
        <a:lstStyle/>
        <a:p>
          <a:endParaRPr lang="de-DE"/>
        </a:p>
      </dgm:t>
    </dgm:pt>
    <dgm:pt modelId="{5E68167C-086C-4CD0-A75A-1D2F36CC6BA4}">
      <dgm:prSet custT="1"/>
      <dgm:spPr/>
      <dgm:t>
        <a:bodyPr/>
        <a:lstStyle/>
        <a:p>
          <a:pPr algn="l">
            <a:buFont typeface="Arial" panose="020B0604020202020204" pitchFamily="34" charset="0"/>
            <a:buChar char="•"/>
          </a:pPr>
          <a:r>
            <a:rPr lang="en-US" sz="1200" b="1" err="1"/>
            <a:t>Abhängigkeit</a:t>
          </a:r>
          <a:r>
            <a:rPr lang="en-US" sz="1200" b="1"/>
            <a:t> von </a:t>
          </a:r>
          <a:r>
            <a:rPr lang="en-US" sz="1200" b="1" err="1"/>
            <a:t>externen</a:t>
          </a:r>
          <a:r>
            <a:rPr lang="en-US" sz="1200" b="1"/>
            <a:t> </a:t>
          </a:r>
          <a:r>
            <a:rPr lang="en-US" sz="1200" b="1" err="1"/>
            <a:t>Fahrern</a:t>
          </a:r>
          <a:r>
            <a:rPr lang="en-US" sz="1200" b="1"/>
            <a:t>:</a:t>
          </a:r>
          <a:r>
            <a:rPr lang="en-US" sz="1200"/>
            <a:t> </a:t>
          </a:r>
          <a:r>
            <a:rPr lang="en-US" sz="1200" err="1"/>
            <a:t>führt</a:t>
          </a:r>
          <a:r>
            <a:rPr lang="en-US" sz="1200"/>
            <a:t> </a:t>
          </a:r>
          <a:r>
            <a:rPr lang="en-US" sz="1200" err="1"/>
            <a:t>zu</a:t>
          </a:r>
          <a:r>
            <a:rPr lang="en-US" sz="1200"/>
            <a:t> </a:t>
          </a:r>
          <a:r>
            <a:rPr lang="en-US" sz="1200" err="1"/>
            <a:t>potenziellen</a:t>
          </a:r>
          <a:r>
            <a:rPr lang="en-US" sz="1200"/>
            <a:t> </a:t>
          </a:r>
          <a:r>
            <a:rPr lang="en-US" sz="1200" err="1"/>
            <a:t>Problemen</a:t>
          </a:r>
          <a:r>
            <a:rPr lang="en-US" sz="1200"/>
            <a:t> </a:t>
          </a:r>
          <a:r>
            <a:rPr lang="en-US" sz="1200" err="1"/>
            <a:t>bei</a:t>
          </a:r>
          <a:r>
            <a:rPr lang="en-US" sz="1200"/>
            <a:t> der </a:t>
          </a:r>
          <a:r>
            <a:rPr lang="en-US" sz="1200" err="1"/>
            <a:t>Fahrerverfügbarkeit</a:t>
          </a:r>
          <a:r>
            <a:rPr lang="en-US" sz="1200"/>
            <a:t> und der </a:t>
          </a:r>
          <a:r>
            <a:rPr lang="en-US" sz="1200" err="1"/>
            <a:t>Qualität</a:t>
          </a:r>
          <a:r>
            <a:rPr lang="en-US" sz="1200"/>
            <a:t> der </a:t>
          </a:r>
          <a:r>
            <a:rPr lang="en-US" sz="1200" err="1"/>
            <a:t>Dienstleistungen</a:t>
          </a:r>
          <a:endParaRPr lang="en-US" sz="1200"/>
        </a:p>
      </dgm:t>
    </dgm:pt>
    <dgm:pt modelId="{6E43A9A9-C6EE-46EE-891E-6BA1908BE77B}" type="parTrans" cxnId="{AB80014C-C950-492F-BFE4-FA22D2715263}">
      <dgm:prSet/>
      <dgm:spPr/>
      <dgm:t>
        <a:bodyPr/>
        <a:lstStyle/>
        <a:p>
          <a:endParaRPr lang="de-DE"/>
        </a:p>
      </dgm:t>
    </dgm:pt>
    <dgm:pt modelId="{65F8248D-81C9-4F63-942B-32309763E058}" type="sibTrans" cxnId="{AB80014C-C950-492F-BFE4-FA22D2715263}">
      <dgm:prSet/>
      <dgm:spPr/>
      <dgm:t>
        <a:bodyPr/>
        <a:lstStyle/>
        <a:p>
          <a:endParaRPr lang="de-DE"/>
        </a:p>
      </dgm:t>
    </dgm:pt>
    <dgm:pt modelId="{89C943CC-0A82-4D02-B8CC-BD789CC2F58D}">
      <dgm:prSet custT="1"/>
      <dgm:spPr/>
      <dgm:t>
        <a:bodyPr/>
        <a:lstStyle/>
        <a:p>
          <a:pPr algn="l"/>
          <a:r>
            <a:rPr lang="en-US" sz="1200" b="1" err="1"/>
            <a:t>Regulatorische</a:t>
          </a:r>
          <a:r>
            <a:rPr lang="en-US" sz="1200" b="1"/>
            <a:t> </a:t>
          </a:r>
          <a:r>
            <a:rPr lang="en-US" sz="1200" b="1" err="1"/>
            <a:t>Herausforderungen</a:t>
          </a:r>
          <a:r>
            <a:rPr lang="en-US" sz="1200" b="1"/>
            <a:t>: </a:t>
          </a:r>
          <a:r>
            <a:rPr lang="en-US" sz="1200"/>
            <a:t>in </a:t>
          </a:r>
          <a:r>
            <a:rPr lang="en-US" sz="1200" err="1"/>
            <a:t>vielen</a:t>
          </a:r>
          <a:r>
            <a:rPr lang="en-US" sz="1200"/>
            <a:t> </a:t>
          </a:r>
          <a:r>
            <a:rPr lang="en-US" sz="1200" err="1"/>
            <a:t>Märkten</a:t>
          </a:r>
          <a:r>
            <a:rPr lang="en-US" sz="1200"/>
            <a:t> </a:t>
          </a:r>
          <a:r>
            <a:rPr lang="en-US" sz="1200" err="1"/>
            <a:t>gibt</a:t>
          </a:r>
          <a:r>
            <a:rPr lang="en-US" sz="1200"/>
            <a:t> es  </a:t>
          </a:r>
          <a:r>
            <a:rPr lang="en-US" sz="1200" err="1"/>
            <a:t>regulatorischen</a:t>
          </a:r>
          <a:r>
            <a:rPr lang="en-US" sz="1200"/>
            <a:t> </a:t>
          </a:r>
          <a:r>
            <a:rPr lang="en-US" sz="1200" err="1"/>
            <a:t>Einschränkungen</a:t>
          </a:r>
          <a:r>
            <a:rPr lang="en-US" sz="1200"/>
            <a:t> und </a:t>
          </a:r>
          <a:r>
            <a:rPr lang="en-US" sz="1200" err="1"/>
            <a:t>rechtliche</a:t>
          </a:r>
          <a:r>
            <a:rPr lang="en-US" sz="1200"/>
            <a:t> </a:t>
          </a:r>
          <a:r>
            <a:rPr lang="en-US" sz="1200" err="1"/>
            <a:t>Auseinandersetzungen</a:t>
          </a:r>
          <a:endParaRPr lang="en-US" sz="1200"/>
        </a:p>
      </dgm:t>
    </dgm:pt>
    <dgm:pt modelId="{3DD9F681-9602-431D-B7F6-214106A40FA9}" type="parTrans" cxnId="{E21EA430-81A4-4D5A-879C-950DEC8F1C6A}">
      <dgm:prSet/>
      <dgm:spPr/>
      <dgm:t>
        <a:bodyPr/>
        <a:lstStyle/>
        <a:p>
          <a:endParaRPr lang="de-DE"/>
        </a:p>
      </dgm:t>
    </dgm:pt>
    <dgm:pt modelId="{F5E07A69-8576-49A3-85E5-0F8AD113F719}" type="sibTrans" cxnId="{E21EA430-81A4-4D5A-879C-950DEC8F1C6A}">
      <dgm:prSet/>
      <dgm:spPr/>
      <dgm:t>
        <a:bodyPr/>
        <a:lstStyle/>
        <a:p>
          <a:endParaRPr lang="de-DE"/>
        </a:p>
      </dgm:t>
    </dgm:pt>
    <dgm:pt modelId="{FCE9DF05-4FF5-4307-81A3-942EA00B6409}">
      <dgm:prSet custT="1"/>
      <dgm:spPr/>
      <dgm:t>
        <a:bodyPr/>
        <a:lstStyle/>
        <a:p>
          <a:pPr algn="l"/>
          <a:r>
            <a:rPr lang="en-US" sz="1200" b="1" err="1"/>
            <a:t>Finanzielle</a:t>
          </a:r>
          <a:r>
            <a:rPr lang="en-US" sz="1200" b="1"/>
            <a:t> </a:t>
          </a:r>
          <a:r>
            <a:rPr lang="en-US" sz="1200" b="1" err="1"/>
            <a:t>Herausforderungen</a:t>
          </a:r>
          <a:r>
            <a:rPr lang="en-US" sz="1200" b="1"/>
            <a:t>: </a:t>
          </a:r>
          <a:r>
            <a:rPr lang="en-US" sz="1200" err="1"/>
            <a:t>hohe</a:t>
          </a:r>
          <a:r>
            <a:rPr lang="en-US" sz="1200"/>
            <a:t> </a:t>
          </a:r>
          <a:r>
            <a:rPr lang="en-US" sz="1200" err="1"/>
            <a:t>Verluste</a:t>
          </a:r>
          <a:r>
            <a:rPr lang="en-US" sz="1200"/>
            <a:t> </a:t>
          </a:r>
          <a:r>
            <a:rPr lang="en-US" sz="1200" err="1"/>
            <a:t>können</a:t>
          </a:r>
          <a:r>
            <a:rPr lang="en-US" sz="1200"/>
            <a:t> </a:t>
          </a:r>
          <a:r>
            <a:rPr lang="en-US" sz="1200" err="1"/>
            <a:t>aufgrund</a:t>
          </a:r>
          <a:r>
            <a:rPr lang="en-US" sz="1200"/>
            <a:t> von </a:t>
          </a:r>
          <a:r>
            <a:rPr lang="en-US" sz="1200" err="1"/>
            <a:t>zukünftigen</a:t>
          </a:r>
          <a:r>
            <a:rPr lang="en-US" sz="1200"/>
            <a:t> </a:t>
          </a:r>
          <a:r>
            <a:rPr lang="en-US" sz="1200" err="1"/>
            <a:t>Investitionen</a:t>
          </a:r>
          <a:r>
            <a:rPr lang="en-US" sz="1200"/>
            <a:t> in </a:t>
          </a:r>
          <a:r>
            <a:rPr lang="en-US" sz="1200" err="1"/>
            <a:t>neue</a:t>
          </a:r>
          <a:r>
            <a:rPr lang="en-US" sz="1200"/>
            <a:t> </a:t>
          </a:r>
          <a:r>
            <a:rPr lang="en-US" sz="1200" err="1"/>
            <a:t>Technologien</a:t>
          </a:r>
          <a:r>
            <a:rPr lang="en-US" sz="1200"/>
            <a:t> und </a:t>
          </a:r>
          <a:r>
            <a:rPr lang="en-US" sz="1200" err="1"/>
            <a:t>Marktexpansionen</a:t>
          </a:r>
          <a:r>
            <a:rPr lang="en-US" sz="1200"/>
            <a:t> </a:t>
          </a:r>
          <a:r>
            <a:rPr lang="en-US" sz="1200" err="1"/>
            <a:t>zu</a:t>
          </a:r>
          <a:r>
            <a:rPr lang="en-US" sz="1200"/>
            <a:t> </a:t>
          </a:r>
          <a:r>
            <a:rPr lang="en-US" sz="1200" err="1"/>
            <a:t>finanziellem</a:t>
          </a:r>
          <a:r>
            <a:rPr lang="en-US" sz="1200"/>
            <a:t> </a:t>
          </a:r>
          <a:r>
            <a:rPr lang="en-US" sz="1200" err="1"/>
            <a:t>Druck</a:t>
          </a:r>
          <a:r>
            <a:rPr lang="en-US" sz="1200"/>
            <a:t> </a:t>
          </a:r>
          <a:r>
            <a:rPr lang="en-US" sz="1200" err="1"/>
            <a:t>führen</a:t>
          </a:r>
          <a:endParaRPr lang="en-US" sz="1200"/>
        </a:p>
      </dgm:t>
    </dgm:pt>
    <dgm:pt modelId="{9D7B17BF-0965-457D-B1DD-A2A8C08CED32}" type="parTrans" cxnId="{F41421B9-B8D8-44E6-BC71-15F3FF28F3D4}">
      <dgm:prSet/>
      <dgm:spPr/>
      <dgm:t>
        <a:bodyPr/>
        <a:lstStyle/>
        <a:p>
          <a:endParaRPr lang="de-DE"/>
        </a:p>
      </dgm:t>
    </dgm:pt>
    <dgm:pt modelId="{D24F5A7C-F1FB-45AB-8C0F-749771DD20E6}" type="sibTrans" cxnId="{F41421B9-B8D8-44E6-BC71-15F3FF28F3D4}">
      <dgm:prSet/>
      <dgm:spPr/>
      <dgm:t>
        <a:bodyPr/>
        <a:lstStyle/>
        <a:p>
          <a:endParaRPr lang="de-DE"/>
        </a:p>
      </dgm:t>
    </dgm:pt>
    <dgm:pt modelId="{6A26F27B-E22E-4A63-A885-957E6C5340B2}">
      <dgm:prSet custT="1"/>
      <dgm:spPr/>
      <dgm:t>
        <a:bodyPr anchor="b" anchorCtr="1"/>
        <a:lstStyle/>
        <a:p>
          <a:pPr>
            <a:buFont typeface="Arial" panose="020B0604020202020204" pitchFamily="34" charset="0"/>
            <a:buChar char="•"/>
          </a:pPr>
          <a:r>
            <a:rPr lang="en-US" sz="1200" b="1" err="1"/>
            <a:t>Autonome</a:t>
          </a:r>
          <a:r>
            <a:rPr lang="en-US" sz="1200" b="1"/>
            <a:t> </a:t>
          </a:r>
          <a:r>
            <a:rPr lang="en-US" sz="1200" b="1" err="1"/>
            <a:t>Fahrzeuge</a:t>
          </a:r>
          <a:r>
            <a:rPr lang="en-US" sz="1200" b="1"/>
            <a:t>:</a:t>
          </a:r>
          <a:r>
            <a:rPr lang="en-US" sz="1200"/>
            <a:t> </a:t>
          </a:r>
          <a:r>
            <a:rPr lang="en-US" sz="1200" err="1"/>
            <a:t>Investitionen</a:t>
          </a:r>
          <a:r>
            <a:rPr lang="en-US" sz="1200"/>
            <a:t> </a:t>
          </a:r>
          <a:r>
            <a:rPr lang="en-US" sz="1200" err="1"/>
            <a:t>können</a:t>
          </a:r>
          <a:r>
            <a:rPr lang="en-US" sz="1200"/>
            <a:t> </a:t>
          </a:r>
          <a:r>
            <a:rPr lang="en-US" sz="1200" err="1"/>
            <a:t>langfristig</a:t>
          </a:r>
          <a:r>
            <a:rPr lang="en-US" sz="1200"/>
            <a:t> die </a:t>
          </a:r>
          <a:r>
            <a:rPr lang="en-US" sz="1200" err="1"/>
            <a:t>Betriebskosten</a:t>
          </a:r>
          <a:r>
            <a:rPr lang="en-US" sz="1200"/>
            <a:t> </a:t>
          </a:r>
          <a:r>
            <a:rPr lang="en-US" sz="1200" err="1"/>
            <a:t>senken</a:t>
          </a:r>
          <a:r>
            <a:rPr lang="en-US" sz="1200"/>
            <a:t> und die </a:t>
          </a:r>
          <a:r>
            <a:rPr lang="en-US" sz="1200" err="1"/>
            <a:t>Effizienz</a:t>
          </a:r>
          <a:r>
            <a:rPr lang="en-US" sz="1200"/>
            <a:t> </a:t>
          </a:r>
          <a:r>
            <a:rPr lang="en-US" sz="1200" err="1"/>
            <a:t>steigern</a:t>
          </a:r>
          <a:endParaRPr lang="en-US" sz="1200"/>
        </a:p>
      </dgm:t>
    </dgm:pt>
    <dgm:pt modelId="{734D4DB4-2079-45E9-8F58-C456663BCD8F}" type="parTrans" cxnId="{7B6F8463-F95C-4A6E-ADC0-19202089E3FD}">
      <dgm:prSet/>
      <dgm:spPr/>
      <dgm:t>
        <a:bodyPr/>
        <a:lstStyle/>
        <a:p>
          <a:endParaRPr lang="de-DE"/>
        </a:p>
      </dgm:t>
    </dgm:pt>
    <dgm:pt modelId="{52AA1051-1A78-436D-BD0D-4EEDF4B94354}" type="sibTrans" cxnId="{7B6F8463-F95C-4A6E-ADC0-19202089E3FD}">
      <dgm:prSet/>
      <dgm:spPr/>
      <dgm:t>
        <a:bodyPr/>
        <a:lstStyle/>
        <a:p>
          <a:endParaRPr lang="de-DE"/>
        </a:p>
      </dgm:t>
    </dgm:pt>
    <dgm:pt modelId="{EB00DD54-0B9B-4BA1-87A2-CBA3D4FC3616}">
      <dgm:prSet custT="1"/>
      <dgm:spPr/>
      <dgm:t>
        <a:bodyPr anchor="b" anchorCtr="1"/>
        <a:lstStyle/>
        <a:p>
          <a:r>
            <a:rPr lang="en-US" sz="1200" b="1" err="1"/>
            <a:t>Marktwachstum</a:t>
          </a:r>
          <a:r>
            <a:rPr lang="en-US" sz="1200" b="1"/>
            <a:t>:</a:t>
          </a:r>
          <a:r>
            <a:rPr lang="en-US" sz="1200"/>
            <a:t> Die </a:t>
          </a:r>
          <a:r>
            <a:rPr lang="en-US" sz="1200" err="1"/>
            <a:t>Nachfrage</a:t>
          </a:r>
          <a:r>
            <a:rPr lang="en-US" sz="1200"/>
            <a:t> </a:t>
          </a:r>
          <a:r>
            <a:rPr lang="en-US" sz="1200" err="1"/>
            <a:t>nach</a:t>
          </a:r>
          <a:r>
            <a:rPr lang="en-US" sz="1200"/>
            <a:t> Ride-Hailing und </a:t>
          </a:r>
          <a:r>
            <a:rPr lang="en-US" sz="1200" err="1"/>
            <a:t>Lieferdiensten</a:t>
          </a:r>
          <a:r>
            <a:rPr lang="en-US" sz="1200"/>
            <a:t> </a:t>
          </a:r>
          <a:r>
            <a:rPr lang="en-US" sz="1200" err="1"/>
            <a:t>nimmt</a:t>
          </a:r>
          <a:r>
            <a:rPr lang="en-US" sz="1200"/>
            <a:t> </a:t>
          </a:r>
          <a:r>
            <a:rPr lang="en-US" sz="1200" err="1"/>
            <a:t>weltweit</a:t>
          </a:r>
          <a:r>
            <a:rPr lang="en-US" sz="1200"/>
            <a:t> </a:t>
          </a:r>
          <a:r>
            <a:rPr lang="en-US" sz="1200" err="1"/>
            <a:t>zu</a:t>
          </a:r>
          <a:r>
            <a:rPr lang="en-US" sz="1200"/>
            <a:t>, was </a:t>
          </a:r>
          <a:r>
            <a:rPr lang="en-US" sz="1200" err="1"/>
            <a:t>Chancen</a:t>
          </a:r>
          <a:r>
            <a:rPr lang="en-US" sz="1200"/>
            <a:t> für </a:t>
          </a:r>
          <a:r>
            <a:rPr lang="en-US" sz="1200" err="1"/>
            <a:t>Wachstum</a:t>
          </a:r>
          <a:r>
            <a:rPr lang="en-US" sz="1200"/>
            <a:t> und Expansion </a:t>
          </a:r>
          <a:r>
            <a:rPr lang="en-US" sz="1200" err="1"/>
            <a:t>bietet</a:t>
          </a:r>
          <a:endParaRPr lang="en-US" sz="1200"/>
        </a:p>
      </dgm:t>
    </dgm:pt>
    <dgm:pt modelId="{8FE5770E-89AB-44B1-AD82-9F350F25DA79}" type="parTrans" cxnId="{1AA86E87-07E6-42C6-A119-BDD92B8386D9}">
      <dgm:prSet/>
      <dgm:spPr/>
      <dgm:t>
        <a:bodyPr/>
        <a:lstStyle/>
        <a:p>
          <a:endParaRPr lang="de-DE"/>
        </a:p>
      </dgm:t>
    </dgm:pt>
    <dgm:pt modelId="{627FB062-FFFC-48F5-8EBB-59760E5E9896}" type="sibTrans" cxnId="{1AA86E87-07E6-42C6-A119-BDD92B8386D9}">
      <dgm:prSet/>
      <dgm:spPr/>
      <dgm:t>
        <a:bodyPr/>
        <a:lstStyle/>
        <a:p>
          <a:endParaRPr lang="de-DE"/>
        </a:p>
      </dgm:t>
    </dgm:pt>
    <dgm:pt modelId="{0179229E-75E8-4CBE-9501-026C70772D08}">
      <dgm:prSet custT="1"/>
      <dgm:spPr/>
      <dgm:t>
        <a:bodyPr anchor="b" anchorCtr="1"/>
        <a:lstStyle/>
        <a:p>
          <a:r>
            <a:rPr lang="en-US" sz="1200" b="1" err="1"/>
            <a:t>Diversifizierung</a:t>
          </a:r>
          <a:r>
            <a:rPr lang="en-US" sz="1200" b="1"/>
            <a:t> der </a:t>
          </a:r>
          <a:r>
            <a:rPr lang="en-US" sz="1200" b="1" err="1"/>
            <a:t>Dienstleistungen</a:t>
          </a:r>
          <a:r>
            <a:rPr lang="en-US" sz="1200" b="1"/>
            <a:t>:</a:t>
          </a:r>
          <a:r>
            <a:rPr lang="en-US" sz="1200"/>
            <a:t> Eine </a:t>
          </a:r>
          <a:r>
            <a:rPr lang="en-US" sz="1200" err="1"/>
            <a:t>weitere</a:t>
          </a:r>
          <a:r>
            <a:rPr lang="en-US" sz="1200"/>
            <a:t> </a:t>
          </a:r>
          <a:r>
            <a:rPr lang="en-US" sz="1200" err="1"/>
            <a:t>Diversifizierung</a:t>
          </a:r>
          <a:r>
            <a:rPr lang="en-US" sz="1200"/>
            <a:t> </a:t>
          </a:r>
          <a:r>
            <a:rPr lang="en-US" sz="1200" err="1"/>
            <a:t>oder</a:t>
          </a:r>
          <a:r>
            <a:rPr lang="en-US" sz="1200"/>
            <a:t> </a:t>
          </a:r>
          <a:r>
            <a:rPr lang="en-US" sz="1200" err="1"/>
            <a:t>Verbesserung</a:t>
          </a:r>
          <a:r>
            <a:rPr lang="en-US" sz="1200"/>
            <a:t> </a:t>
          </a:r>
          <a:r>
            <a:rPr lang="en-US" sz="1200" err="1"/>
            <a:t>bestehender</a:t>
          </a:r>
          <a:r>
            <a:rPr lang="en-US" sz="1200"/>
            <a:t> </a:t>
          </a:r>
          <a:r>
            <a:rPr lang="en-US" sz="1200" err="1"/>
            <a:t>Dienstleistungen</a:t>
          </a:r>
          <a:r>
            <a:rPr lang="en-US" sz="1200"/>
            <a:t> </a:t>
          </a:r>
          <a:r>
            <a:rPr lang="en-US" sz="1200" err="1"/>
            <a:t>kann</a:t>
          </a:r>
          <a:r>
            <a:rPr lang="en-US" sz="1200"/>
            <a:t> </a:t>
          </a:r>
          <a:r>
            <a:rPr lang="en-US" sz="1200" err="1"/>
            <a:t>neue</a:t>
          </a:r>
          <a:r>
            <a:rPr lang="en-US" sz="1200"/>
            <a:t> </a:t>
          </a:r>
          <a:r>
            <a:rPr lang="en-US" sz="1200" err="1"/>
            <a:t>Marktsegmente</a:t>
          </a:r>
          <a:r>
            <a:rPr lang="en-US" sz="1200"/>
            <a:t> </a:t>
          </a:r>
          <a:r>
            <a:rPr lang="en-US" sz="1200" err="1"/>
            <a:t>erschließen</a:t>
          </a:r>
          <a:endParaRPr lang="en-US" sz="1200"/>
        </a:p>
      </dgm:t>
    </dgm:pt>
    <dgm:pt modelId="{E5B45FC7-1E69-46FE-A46F-D9D0C8C2810D}" type="parTrans" cxnId="{2810B776-477B-4F44-9DCF-454D19EB27BE}">
      <dgm:prSet/>
      <dgm:spPr/>
      <dgm:t>
        <a:bodyPr/>
        <a:lstStyle/>
        <a:p>
          <a:endParaRPr lang="de-DE"/>
        </a:p>
      </dgm:t>
    </dgm:pt>
    <dgm:pt modelId="{FEBCED6A-CF04-420B-BAC5-8BFBF929F613}" type="sibTrans" cxnId="{2810B776-477B-4F44-9DCF-454D19EB27BE}">
      <dgm:prSet/>
      <dgm:spPr/>
      <dgm:t>
        <a:bodyPr/>
        <a:lstStyle/>
        <a:p>
          <a:endParaRPr lang="de-DE"/>
        </a:p>
      </dgm:t>
    </dgm:pt>
    <dgm:pt modelId="{C4F83C04-3137-4855-ACB6-B1F8431F5417}">
      <dgm:prSet custT="1"/>
      <dgm:spPr/>
      <dgm:t>
        <a:bodyPr anchor="b"/>
        <a:lstStyle/>
        <a:p>
          <a:pPr algn="l">
            <a:buFont typeface="Arial" panose="020B0604020202020204" pitchFamily="34" charset="0"/>
            <a:buChar char="•"/>
          </a:pPr>
          <a:r>
            <a:rPr lang="en-US" sz="1200" b="1" err="1"/>
            <a:t>Wettbewerb</a:t>
          </a:r>
          <a:r>
            <a:rPr lang="en-US" sz="1200" b="1"/>
            <a:t>:</a:t>
          </a:r>
          <a:r>
            <a:rPr lang="en-US" sz="1200"/>
            <a:t> </a:t>
          </a:r>
          <a:r>
            <a:rPr lang="en-US" sz="1200" err="1"/>
            <a:t>Konkurrenz</a:t>
          </a:r>
          <a:r>
            <a:rPr lang="en-US" sz="1200"/>
            <a:t> von </a:t>
          </a:r>
          <a:r>
            <a:rPr lang="en-US" sz="1200" err="1"/>
            <a:t>anderen</a:t>
          </a:r>
          <a:r>
            <a:rPr lang="en-US" sz="1200"/>
            <a:t> Ride-Hailing-</a:t>
          </a:r>
          <a:r>
            <a:rPr lang="en-US" sz="1200" err="1"/>
            <a:t>Diensten</a:t>
          </a:r>
          <a:r>
            <a:rPr lang="en-US" sz="1200"/>
            <a:t>, </a:t>
          </a:r>
          <a:r>
            <a:rPr lang="en-US" sz="1200" err="1"/>
            <a:t>Lieferdiensten</a:t>
          </a:r>
          <a:r>
            <a:rPr lang="en-US" sz="1200"/>
            <a:t> und </a:t>
          </a:r>
          <a:r>
            <a:rPr lang="en-US" sz="1200" err="1"/>
            <a:t>potenziell</a:t>
          </a:r>
          <a:r>
            <a:rPr lang="en-US" sz="1200"/>
            <a:t> von </a:t>
          </a:r>
          <a:r>
            <a:rPr lang="en-US" sz="1200" err="1"/>
            <a:t>aufkommenden</a:t>
          </a:r>
          <a:r>
            <a:rPr lang="en-US" sz="1200"/>
            <a:t> </a:t>
          </a:r>
          <a:r>
            <a:rPr lang="en-US" sz="1200" err="1"/>
            <a:t>Technologien</a:t>
          </a:r>
          <a:r>
            <a:rPr lang="en-US" sz="1200"/>
            <a:t> </a:t>
          </a:r>
          <a:r>
            <a:rPr lang="en-US" sz="1200" err="1"/>
            <a:t>oder</a:t>
          </a:r>
          <a:r>
            <a:rPr lang="en-US" sz="1200"/>
            <a:t> </a:t>
          </a:r>
          <a:r>
            <a:rPr lang="en-US" sz="1200" err="1"/>
            <a:t>Branchenakteuren</a:t>
          </a:r>
          <a:endParaRPr lang="en-US" sz="1200"/>
        </a:p>
      </dgm:t>
    </dgm:pt>
    <dgm:pt modelId="{DA64C258-BB4C-46C3-8134-6AAC0D192645}" type="parTrans" cxnId="{99C958FF-072A-40F3-A9DE-CC438BC27097}">
      <dgm:prSet/>
      <dgm:spPr/>
      <dgm:t>
        <a:bodyPr/>
        <a:lstStyle/>
        <a:p>
          <a:endParaRPr lang="de-DE"/>
        </a:p>
      </dgm:t>
    </dgm:pt>
    <dgm:pt modelId="{872EC6CF-E109-4E59-9C08-9E5C117632B1}" type="sibTrans" cxnId="{99C958FF-072A-40F3-A9DE-CC438BC27097}">
      <dgm:prSet/>
      <dgm:spPr/>
      <dgm:t>
        <a:bodyPr/>
        <a:lstStyle/>
        <a:p>
          <a:endParaRPr lang="de-DE"/>
        </a:p>
      </dgm:t>
    </dgm:pt>
    <dgm:pt modelId="{61CF29F4-9F7A-4CF0-8E28-0C04BD749652}">
      <dgm:prSet custT="1"/>
      <dgm:spPr/>
      <dgm:t>
        <a:bodyPr anchor="b"/>
        <a:lstStyle/>
        <a:p>
          <a:pPr algn="l"/>
          <a:r>
            <a:rPr lang="en-US" sz="1200" b="1" err="1"/>
            <a:t>Technologische</a:t>
          </a:r>
          <a:r>
            <a:rPr lang="en-US" sz="1200" b="1"/>
            <a:t> </a:t>
          </a:r>
          <a:r>
            <a:rPr lang="en-US" sz="1200" b="1" err="1"/>
            <a:t>Störungen</a:t>
          </a:r>
          <a:r>
            <a:rPr lang="en-US" sz="1200" b="1"/>
            <a:t>:</a:t>
          </a:r>
          <a:r>
            <a:rPr lang="en-US" sz="1200"/>
            <a:t> </a:t>
          </a:r>
          <a:r>
            <a:rPr lang="en-US" sz="1200" err="1"/>
            <a:t>Abhängigkeit</a:t>
          </a:r>
          <a:r>
            <a:rPr lang="en-US" sz="1200"/>
            <a:t> von </a:t>
          </a:r>
          <a:r>
            <a:rPr lang="en-US" sz="1200" err="1"/>
            <a:t>Technologie</a:t>
          </a:r>
          <a:r>
            <a:rPr lang="en-US" sz="1200"/>
            <a:t> </a:t>
          </a:r>
          <a:r>
            <a:rPr lang="en-US" sz="1200" err="1"/>
            <a:t>birgt</a:t>
          </a:r>
          <a:r>
            <a:rPr lang="en-US" sz="1200"/>
            <a:t> das </a:t>
          </a:r>
          <a:r>
            <a:rPr lang="en-US" sz="1200" err="1"/>
            <a:t>Risiko</a:t>
          </a:r>
          <a:r>
            <a:rPr lang="en-US" sz="1200"/>
            <a:t> von </a:t>
          </a:r>
          <a:r>
            <a:rPr lang="en-US" sz="1200" err="1"/>
            <a:t>Sicherheitsproblemen</a:t>
          </a:r>
          <a:r>
            <a:rPr lang="en-US" sz="1200"/>
            <a:t>, </a:t>
          </a:r>
          <a:r>
            <a:rPr lang="en-US" sz="1200" err="1"/>
            <a:t>Datenschutzverletzungen</a:t>
          </a:r>
          <a:r>
            <a:rPr lang="en-US" sz="1200"/>
            <a:t> </a:t>
          </a:r>
          <a:r>
            <a:rPr lang="en-US" sz="1200" err="1"/>
            <a:t>oder</a:t>
          </a:r>
          <a:r>
            <a:rPr lang="en-US" sz="1200"/>
            <a:t> </a:t>
          </a:r>
          <a:r>
            <a:rPr lang="en-US" sz="1200" err="1"/>
            <a:t>Fehlfunktionen</a:t>
          </a:r>
          <a:endParaRPr lang="en-US" sz="1200"/>
        </a:p>
      </dgm:t>
    </dgm:pt>
    <dgm:pt modelId="{5711CFE0-48A6-4949-BB00-E7A2EFE42130}" type="parTrans" cxnId="{DEBDCA25-8FF8-4B7D-8AFE-872A60CEB983}">
      <dgm:prSet/>
      <dgm:spPr/>
      <dgm:t>
        <a:bodyPr/>
        <a:lstStyle/>
        <a:p>
          <a:endParaRPr lang="de-DE"/>
        </a:p>
      </dgm:t>
    </dgm:pt>
    <dgm:pt modelId="{B5EBB0D1-F012-4CA3-9065-42A560EBE7DD}" type="sibTrans" cxnId="{DEBDCA25-8FF8-4B7D-8AFE-872A60CEB983}">
      <dgm:prSet/>
      <dgm:spPr/>
      <dgm:t>
        <a:bodyPr/>
        <a:lstStyle/>
        <a:p>
          <a:endParaRPr lang="de-DE"/>
        </a:p>
      </dgm:t>
    </dgm:pt>
    <dgm:pt modelId="{B4D1AAF8-DDB5-4022-8569-26F3DDF0CF3C}">
      <dgm:prSet custT="1"/>
      <dgm:spPr/>
      <dgm:t>
        <a:bodyPr anchor="b"/>
        <a:lstStyle/>
        <a:p>
          <a:pPr algn="l"/>
          <a:r>
            <a:rPr lang="en-US" sz="1200" b="1" err="1"/>
            <a:t>Öffentliche</a:t>
          </a:r>
          <a:r>
            <a:rPr lang="en-US" sz="1200" b="1"/>
            <a:t> </a:t>
          </a:r>
          <a:r>
            <a:rPr lang="en-US" sz="1200" b="1" err="1"/>
            <a:t>Wahrnehmung</a:t>
          </a:r>
          <a:r>
            <a:rPr lang="en-US" sz="1200" b="1"/>
            <a:t>:</a:t>
          </a:r>
          <a:r>
            <a:rPr lang="en-US" sz="1200"/>
            <a:t> Negative </a:t>
          </a:r>
          <a:r>
            <a:rPr lang="en-US" sz="1200" err="1"/>
            <a:t>öffentliche</a:t>
          </a:r>
          <a:r>
            <a:rPr lang="en-US" sz="1200"/>
            <a:t> </a:t>
          </a:r>
          <a:r>
            <a:rPr lang="en-US" sz="1200" err="1"/>
            <a:t>Wahrnehmung</a:t>
          </a:r>
          <a:r>
            <a:rPr lang="en-US" sz="1200"/>
            <a:t> </a:t>
          </a:r>
          <a:r>
            <a:rPr lang="en-US" sz="1200" err="1"/>
            <a:t>aufgrund</a:t>
          </a:r>
          <a:r>
            <a:rPr lang="en-US" sz="1200"/>
            <a:t> von </a:t>
          </a:r>
          <a:r>
            <a:rPr lang="en-US" sz="1200" err="1"/>
            <a:t>Sicherheitsbedenken</a:t>
          </a:r>
          <a:r>
            <a:rPr lang="en-US" sz="1200"/>
            <a:t>, </a:t>
          </a:r>
          <a:r>
            <a:rPr lang="en-US" sz="1200" err="1"/>
            <a:t>Arbeitsbedingungen</a:t>
          </a:r>
          <a:r>
            <a:rPr lang="en-US" sz="1200"/>
            <a:t> der </a:t>
          </a:r>
          <a:r>
            <a:rPr lang="en-US" sz="1200" err="1"/>
            <a:t>Fahrer</a:t>
          </a:r>
          <a:r>
            <a:rPr lang="en-US" sz="1200"/>
            <a:t> </a:t>
          </a:r>
          <a:r>
            <a:rPr lang="en-US" sz="1200" err="1"/>
            <a:t>oder</a:t>
          </a:r>
          <a:r>
            <a:rPr lang="en-US" sz="1200"/>
            <a:t> </a:t>
          </a:r>
          <a:r>
            <a:rPr lang="en-US" sz="1200" err="1"/>
            <a:t>ethischen</a:t>
          </a:r>
          <a:r>
            <a:rPr lang="en-US" sz="1200"/>
            <a:t> </a:t>
          </a:r>
          <a:r>
            <a:rPr lang="en-US" sz="1200" err="1"/>
            <a:t>Fragen</a:t>
          </a:r>
          <a:r>
            <a:rPr lang="en-US" sz="1200"/>
            <a:t> </a:t>
          </a:r>
          <a:r>
            <a:rPr lang="en-US" sz="1200" err="1"/>
            <a:t>kann</a:t>
          </a:r>
          <a:r>
            <a:rPr lang="en-US" sz="1200"/>
            <a:t> das Image von Uber </a:t>
          </a:r>
          <a:r>
            <a:rPr lang="en-US" sz="1200" err="1"/>
            <a:t>beeinträchtigen</a:t>
          </a:r>
          <a:endParaRPr lang="en-US" sz="1200"/>
        </a:p>
      </dgm:t>
    </dgm:pt>
    <dgm:pt modelId="{D2A9FFB0-6988-48C2-925A-22EA237573EC}" type="parTrans" cxnId="{CDBAE80B-E242-408D-8F0D-C674874E69F3}">
      <dgm:prSet/>
      <dgm:spPr/>
      <dgm:t>
        <a:bodyPr/>
        <a:lstStyle/>
        <a:p>
          <a:endParaRPr lang="de-DE"/>
        </a:p>
      </dgm:t>
    </dgm:pt>
    <dgm:pt modelId="{C22DD075-047A-40E0-90AA-219337D7AF16}" type="sibTrans" cxnId="{CDBAE80B-E242-408D-8F0D-C674874E69F3}">
      <dgm:prSet/>
      <dgm:spPr/>
      <dgm:t>
        <a:bodyPr/>
        <a:lstStyle/>
        <a:p>
          <a:endParaRPr lang="de-DE"/>
        </a:p>
      </dgm:t>
    </dgm:pt>
    <dgm:pt modelId="{FC20A83D-3065-4539-832B-FCBFC6F6E8E6}" type="pres">
      <dgm:prSet presAssocID="{7CC0D726-F606-4610-B4DF-8CDE36C6CDB1}" presName="diagram" presStyleCnt="0">
        <dgm:presLayoutVars>
          <dgm:chMax val="1"/>
          <dgm:dir/>
          <dgm:animLvl val="ctr"/>
          <dgm:resizeHandles val="exact"/>
        </dgm:presLayoutVars>
      </dgm:prSet>
      <dgm:spPr/>
    </dgm:pt>
    <dgm:pt modelId="{9F1E152A-9D72-4FF2-90B6-E73BD4E0C6FD}" type="pres">
      <dgm:prSet presAssocID="{7CC0D726-F606-4610-B4DF-8CDE36C6CDB1}" presName="matrix" presStyleCnt="0"/>
      <dgm:spPr/>
    </dgm:pt>
    <dgm:pt modelId="{2517A22B-3679-46AD-BB99-F7C8716442B6}" type="pres">
      <dgm:prSet presAssocID="{7CC0D726-F606-4610-B4DF-8CDE36C6CDB1}" presName="tile1" presStyleLbl="node1" presStyleIdx="0" presStyleCnt="4"/>
      <dgm:spPr/>
    </dgm:pt>
    <dgm:pt modelId="{A7A36528-1BA5-4B28-8260-D23447EC57FF}" type="pres">
      <dgm:prSet presAssocID="{7CC0D726-F606-4610-B4DF-8CDE36C6CDB1}" presName="tile1text" presStyleLbl="node1" presStyleIdx="0" presStyleCnt="4">
        <dgm:presLayoutVars>
          <dgm:chMax val="0"/>
          <dgm:chPref val="0"/>
          <dgm:bulletEnabled val="1"/>
        </dgm:presLayoutVars>
      </dgm:prSet>
      <dgm:spPr/>
    </dgm:pt>
    <dgm:pt modelId="{F2DF3EF7-6F61-4D3E-9C67-014040746221}" type="pres">
      <dgm:prSet presAssocID="{7CC0D726-F606-4610-B4DF-8CDE36C6CDB1}" presName="tile2" presStyleLbl="node1" presStyleIdx="1" presStyleCnt="4"/>
      <dgm:spPr/>
    </dgm:pt>
    <dgm:pt modelId="{60299546-752E-4589-AF56-E23DCF60FB53}" type="pres">
      <dgm:prSet presAssocID="{7CC0D726-F606-4610-B4DF-8CDE36C6CDB1}" presName="tile2text" presStyleLbl="node1" presStyleIdx="1" presStyleCnt="4">
        <dgm:presLayoutVars>
          <dgm:chMax val="0"/>
          <dgm:chPref val="0"/>
          <dgm:bulletEnabled val="1"/>
        </dgm:presLayoutVars>
      </dgm:prSet>
      <dgm:spPr/>
    </dgm:pt>
    <dgm:pt modelId="{1BA91992-3056-4442-AADF-5CF4272CD82A}" type="pres">
      <dgm:prSet presAssocID="{7CC0D726-F606-4610-B4DF-8CDE36C6CDB1}" presName="tile3" presStyleLbl="node1" presStyleIdx="2" presStyleCnt="4"/>
      <dgm:spPr/>
    </dgm:pt>
    <dgm:pt modelId="{E3CA1EB3-67E2-4496-B4F2-749E3E7AC9D4}" type="pres">
      <dgm:prSet presAssocID="{7CC0D726-F606-4610-B4DF-8CDE36C6CDB1}" presName="tile3text" presStyleLbl="node1" presStyleIdx="2" presStyleCnt="4">
        <dgm:presLayoutVars>
          <dgm:chMax val="0"/>
          <dgm:chPref val="0"/>
          <dgm:bulletEnabled val="1"/>
        </dgm:presLayoutVars>
      </dgm:prSet>
      <dgm:spPr/>
    </dgm:pt>
    <dgm:pt modelId="{DF902699-A8F7-4E2E-B14E-C634DCE04CB3}" type="pres">
      <dgm:prSet presAssocID="{7CC0D726-F606-4610-B4DF-8CDE36C6CDB1}" presName="tile4" presStyleLbl="node1" presStyleIdx="3" presStyleCnt="4"/>
      <dgm:spPr/>
    </dgm:pt>
    <dgm:pt modelId="{D873572A-7C5D-48F8-B282-A2B7E6AA2F04}" type="pres">
      <dgm:prSet presAssocID="{7CC0D726-F606-4610-B4DF-8CDE36C6CDB1}" presName="tile4text" presStyleLbl="node1" presStyleIdx="3" presStyleCnt="4">
        <dgm:presLayoutVars>
          <dgm:chMax val="0"/>
          <dgm:chPref val="0"/>
          <dgm:bulletEnabled val="1"/>
        </dgm:presLayoutVars>
      </dgm:prSet>
      <dgm:spPr/>
    </dgm:pt>
    <dgm:pt modelId="{AE57FA91-BF31-44C0-9468-E0BD9FABB91D}" type="pres">
      <dgm:prSet presAssocID="{7CC0D726-F606-4610-B4DF-8CDE36C6CDB1}" presName="centerTile" presStyleLbl="fgShp" presStyleIdx="0" presStyleCnt="1" custScaleX="67984" custScaleY="42003">
        <dgm:presLayoutVars>
          <dgm:chMax val="0"/>
          <dgm:chPref val="0"/>
        </dgm:presLayoutVars>
      </dgm:prSet>
      <dgm:spPr/>
    </dgm:pt>
  </dgm:ptLst>
  <dgm:cxnLst>
    <dgm:cxn modelId="{23D99F01-E5B0-4B1D-A91C-93E8F2322128}" srcId="{F58E38FC-9EA4-4210-8BB7-9131B498F2CC}" destId="{F2459990-52D2-4FF9-8113-9607970C4FFE}" srcOrd="0" destOrd="0" parTransId="{499EC944-5EF0-43CF-8A2A-3BCA7518B27F}" sibTransId="{F4126D8E-6EDF-4484-978B-B5A6FE88A482}"/>
    <dgm:cxn modelId="{6CDC4704-EE17-45F1-BEA2-0A327901A0A0}" srcId="{F58E38FC-9EA4-4210-8BB7-9131B498F2CC}" destId="{A41CF633-7E5C-4A4D-8F23-C351B840F0DF}" srcOrd="2" destOrd="0" parTransId="{3CAF92F4-7E24-4695-B762-0CDBE28DEA70}" sibTransId="{08BF1F5B-A81E-4F6C-8351-830EFE88E56C}"/>
    <dgm:cxn modelId="{CDBAE80B-E242-408D-8F0D-C674874E69F3}" srcId="{83F2A2E2-02F0-4584-A1C3-DD0F0EB2276A}" destId="{B4D1AAF8-DDB5-4022-8569-26F3DDF0CF3C}" srcOrd="2" destOrd="0" parTransId="{D2A9FFB0-6988-48C2-925A-22EA237573EC}" sibTransId="{C22DD075-047A-40E0-90AA-219337D7AF16}"/>
    <dgm:cxn modelId="{300CA11C-218C-45AE-B678-077BDCE66814}" type="presOf" srcId="{C4F83C04-3137-4855-ACB6-B1F8431F5417}" destId="{D873572A-7C5D-48F8-B282-A2B7E6AA2F04}" srcOrd="1" destOrd="1" presId="urn:microsoft.com/office/officeart/2005/8/layout/matrix1"/>
    <dgm:cxn modelId="{6A18D71D-D569-4B07-AF21-B38DEE34BBAA}" srcId="{49066D59-9A7B-4C9D-851A-68B55CC614CA}" destId="{B28651AE-E1CB-4451-B895-66B5D461E0B5}" srcOrd="2" destOrd="0" parTransId="{9BFFD8A4-5884-40F5-BEFA-71D67E7622F4}" sibTransId="{097DFB3E-182F-4C85-AD1D-853E452FFB80}"/>
    <dgm:cxn modelId="{A8721025-CACB-4362-93D5-C9D83F531E20}" srcId="{7CC0D726-F606-4610-B4DF-8CDE36C6CDB1}" destId="{49066D59-9A7B-4C9D-851A-68B55CC614CA}" srcOrd="0" destOrd="0" parTransId="{C482C30F-1826-40D0-A7A1-E24AD1ACC918}" sibTransId="{D4456050-D84B-425C-BB98-43F47E67C432}"/>
    <dgm:cxn modelId="{DEBDCA25-8FF8-4B7D-8AFE-872A60CEB983}" srcId="{83F2A2E2-02F0-4584-A1C3-DD0F0EB2276A}" destId="{61CF29F4-9F7A-4CF0-8E28-0C04BD749652}" srcOrd="1" destOrd="0" parTransId="{5711CFE0-48A6-4949-BB00-E7A2EFE42130}" sibTransId="{B5EBB0D1-F012-4CA3-9065-42A560EBE7DD}"/>
    <dgm:cxn modelId="{F9A97829-E933-4780-ABC7-D57FAA5C9837}" type="presOf" srcId="{5E68167C-086C-4CD0-A75A-1D2F36CC6BA4}" destId="{F2DF3EF7-6F61-4D3E-9C67-014040746221}" srcOrd="0" destOrd="1" presId="urn:microsoft.com/office/officeart/2005/8/layout/matrix1"/>
    <dgm:cxn modelId="{D1C7C12A-3747-4895-AA3F-8C5463C6064B}" type="presOf" srcId="{B28651AE-E1CB-4451-B895-66B5D461E0B5}" destId="{E3CA1EB3-67E2-4496-B4F2-749E3E7AC9D4}" srcOrd="1" destOrd="0" presId="urn:microsoft.com/office/officeart/2005/8/layout/matrix1"/>
    <dgm:cxn modelId="{48F4F32A-DC14-41EE-AB68-FEB60DD173DB}" type="presOf" srcId="{83F2A2E2-02F0-4584-A1C3-DD0F0EB2276A}" destId="{DF902699-A8F7-4E2E-B14E-C634DCE04CB3}" srcOrd="0" destOrd="0" presId="urn:microsoft.com/office/officeart/2005/8/layout/matrix1"/>
    <dgm:cxn modelId="{7CCE4C2E-6481-46D6-BD84-B500C0DB2AE0}" srcId="{49066D59-9A7B-4C9D-851A-68B55CC614CA}" destId="{83F2A2E2-02F0-4584-A1C3-DD0F0EB2276A}" srcOrd="3" destOrd="0" parTransId="{5AE6D5E1-E3C9-4E43-B922-7B5C05D75FB9}" sibTransId="{F20474CB-A8E4-43B8-A83F-9E8208BBB82F}"/>
    <dgm:cxn modelId="{E21EA430-81A4-4D5A-879C-950DEC8F1C6A}" srcId="{9F173F87-52D3-41F0-B207-34BE4FB54C5B}" destId="{89C943CC-0A82-4D02-B8CC-BD789CC2F58D}" srcOrd="1" destOrd="0" parTransId="{3DD9F681-9602-431D-B7F6-214106A40FA9}" sibTransId="{F5E07A69-8576-49A3-85E5-0F8AD113F719}"/>
    <dgm:cxn modelId="{D845C730-6D3F-47BA-9FDE-C2BED3BD7C66}" type="presOf" srcId="{B4D1AAF8-DDB5-4022-8569-26F3DDF0CF3C}" destId="{DF902699-A8F7-4E2E-B14E-C634DCE04CB3}" srcOrd="0" destOrd="3" presId="urn:microsoft.com/office/officeart/2005/8/layout/matrix1"/>
    <dgm:cxn modelId="{10D0FD32-47C3-4D3B-9853-3EE709F56F93}" type="presOf" srcId="{B28651AE-E1CB-4451-B895-66B5D461E0B5}" destId="{1BA91992-3056-4442-AADF-5CF4272CD82A}" srcOrd="0" destOrd="0" presId="urn:microsoft.com/office/officeart/2005/8/layout/matrix1"/>
    <dgm:cxn modelId="{A2022639-0EDB-490B-89F1-5E895D38DD87}" type="presOf" srcId="{6A26F27B-E22E-4A63-A885-957E6C5340B2}" destId="{E3CA1EB3-67E2-4496-B4F2-749E3E7AC9D4}" srcOrd="1" destOrd="1" presId="urn:microsoft.com/office/officeart/2005/8/layout/matrix1"/>
    <dgm:cxn modelId="{E019665E-AC15-4605-A699-1236ED4AE996}" type="presOf" srcId="{A41CF633-7E5C-4A4D-8F23-C351B840F0DF}" destId="{A7A36528-1BA5-4B28-8260-D23447EC57FF}" srcOrd="1" destOrd="3" presId="urn:microsoft.com/office/officeart/2005/8/layout/matrix1"/>
    <dgm:cxn modelId="{7B6F8463-F95C-4A6E-ADC0-19202089E3FD}" srcId="{B28651AE-E1CB-4451-B895-66B5D461E0B5}" destId="{6A26F27B-E22E-4A63-A885-957E6C5340B2}" srcOrd="0" destOrd="0" parTransId="{734D4DB4-2079-45E9-8F58-C456663BCD8F}" sibTransId="{52AA1051-1A78-436D-BD0D-4EEDF4B94354}"/>
    <dgm:cxn modelId="{644FCD46-76E8-4DEF-91EB-B56AFB0C271B}" type="presOf" srcId="{AE1CF93D-7D4C-4C9A-8D82-7729A993994A}" destId="{2517A22B-3679-46AD-BB99-F7C8716442B6}" srcOrd="0" destOrd="2" presId="urn:microsoft.com/office/officeart/2005/8/layout/matrix1"/>
    <dgm:cxn modelId="{8D371D4B-5D9E-46F7-9930-DBF2B91CE51E}" type="presOf" srcId="{AE1CF93D-7D4C-4C9A-8D82-7729A993994A}" destId="{A7A36528-1BA5-4B28-8260-D23447EC57FF}" srcOrd="1" destOrd="2" presId="urn:microsoft.com/office/officeart/2005/8/layout/matrix1"/>
    <dgm:cxn modelId="{AB80014C-C950-492F-BFE4-FA22D2715263}" srcId="{9F173F87-52D3-41F0-B207-34BE4FB54C5B}" destId="{5E68167C-086C-4CD0-A75A-1D2F36CC6BA4}" srcOrd="0" destOrd="0" parTransId="{6E43A9A9-C6EE-46EE-891E-6BA1908BE77B}" sibTransId="{65F8248D-81C9-4F63-942B-32309763E058}"/>
    <dgm:cxn modelId="{E55EBD6E-D8A5-4409-8CF9-0F3251D4AA05}" type="presOf" srcId="{B4D1AAF8-DDB5-4022-8569-26F3DDF0CF3C}" destId="{D873572A-7C5D-48F8-B282-A2B7E6AA2F04}" srcOrd="1" destOrd="3" presId="urn:microsoft.com/office/officeart/2005/8/layout/matrix1"/>
    <dgm:cxn modelId="{54308F50-1D5D-4AF4-A077-B04299DAEE4B}" type="presOf" srcId="{EB00DD54-0B9B-4BA1-87A2-CBA3D4FC3616}" destId="{1BA91992-3056-4442-AADF-5CF4272CD82A}" srcOrd="0" destOrd="2" presId="urn:microsoft.com/office/officeart/2005/8/layout/matrix1"/>
    <dgm:cxn modelId="{927C3051-11C8-4C19-8EA0-EB35C5E7D1C2}" type="presOf" srcId="{C4F83C04-3137-4855-ACB6-B1F8431F5417}" destId="{DF902699-A8F7-4E2E-B14E-C634DCE04CB3}" srcOrd="0" destOrd="1" presId="urn:microsoft.com/office/officeart/2005/8/layout/matrix1"/>
    <dgm:cxn modelId="{2810B776-477B-4F44-9DCF-454D19EB27BE}" srcId="{B28651AE-E1CB-4451-B895-66B5D461E0B5}" destId="{0179229E-75E8-4CBE-9501-026C70772D08}" srcOrd="2" destOrd="0" parTransId="{E5B45FC7-1E69-46FE-A46F-D9D0C8C2810D}" sibTransId="{FEBCED6A-CF04-420B-BAC5-8BFBF929F613}"/>
    <dgm:cxn modelId="{D147A677-A8C8-4529-B740-D59BA82A5A43}" type="presOf" srcId="{F58E38FC-9EA4-4210-8BB7-9131B498F2CC}" destId="{2517A22B-3679-46AD-BB99-F7C8716442B6}" srcOrd="0" destOrd="0" presId="urn:microsoft.com/office/officeart/2005/8/layout/matrix1"/>
    <dgm:cxn modelId="{BC9B127D-3B39-43F2-AA98-0C4DE820FCC7}" type="presOf" srcId="{49066D59-9A7B-4C9D-851A-68B55CC614CA}" destId="{AE57FA91-BF31-44C0-9468-E0BD9FABB91D}" srcOrd="0" destOrd="0" presId="urn:microsoft.com/office/officeart/2005/8/layout/matrix1"/>
    <dgm:cxn modelId="{3421607F-E724-4ACC-97AB-946E2D8F61F6}" srcId="{49066D59-9A7B-4C9D-851A-68B55CC614CA}" destId="{F58E38FC-9EA4-4210-8BB7-9131B498F2CC}" srcOrd="0" destOrd="0" parTransId="{996C1A89-35BA-4900-929A-BFD90A3F5234}" sibTransId="{1E83A60A-7D3C-469C-A1F8-8E0576675F8A}"/>
    <dgm:cxn modelId="{1AA86E87-07E6-42C6-A119-BDD92B8386D9}" srcId="{B28651AE-E1CB-4451-B895-66B5D461E0B5}" destId="{EB00DD54-0B9B-4BA1-87A2-CBA3D4FC3616}" srcOrd="1" destOrd="0" parTransId="{8FE5770E-89AB-44B1-AD82-9F350F25DA79}" sibTransId="{627FB062-FFFC-48F5-8EBB-59760E5E9896}"/>
    <dgm:cxn modelId="{EE23668E-46E4-4EC9-AB12-C518A9BD3AA8}" type="presOf" srcId="{5E68167C-086C-4CD0-A75A-1D2F36CC6BA4}" destId="{60299546-752E-4589-AF56-E23DCF60FB53}" srcOrd="1" destOrd="1" presId="urn:microsoft.com/office/officeart/2005/8/layout/matrix1"/>
    <dgm:cxn modelId="{011E7494-17DC-4554-9074-9E55075A150D}" type="presOf" srcId="{89C943CC-0A82-4D02-B8CC-BD789CC2F58D}" destId="{60299546-752E-4589-AF56-E23DCF60FB53}" srcOrd="1" destOrd="2" presId="urn:microsoft.com/office/officeart/2005/8/layout/matrix1"/>
    <dgm:cxn modelId="{AA92B394-DE53-4881-859D-14B854936757}" type="presOf" srcId="{A41CF633-7E5C-4A4D-8F23-C351B840F0DF}" destId="{2517A22B-3679-46AD-BB99-F7C8716442B6}" srcOrd="0" destOrd="3" presId="urn:microsoft.com/office/officeart/2005/8/layout/matrix1"/>
    <dgm:cxn modelId="{041676A4-8D90-44C7-B8B0-2F0F7717D3DC}" type="presOf" srcId="{F58E38FC-9EA4-4210-8BB7-9131B498F2CC}" destId="{A7A36528-1BA5-4B28-8260-D23447EC57FF}" srcOrd="1" destOrd="0" presId="urn:microsoft.com/office/officeart/2005/8/layout/matrix1"/>
    <dgm:cxn modelId="{2DC871A7-14E3-460F-97CA-CFE4DEADD3B5}" type="presOf" srcId="{9F173F87-52D3-41F0-B207-34BE4FB54C5B}" destId="{60299546-752E-4589-AF56-E23DCF60FB53}" srcOrd="1" destOrd="0" presId="urn:microsoft.com/office/officeart/2005/8/layout/matrix1"/>
    <dgm:cxn modelId="{DF3EA2AC-6A5C-4C53-806C-47148652172A}" type="presOf" srcId="{7CC0D726-F606-4610-B4DF-8CDE36C6CDB1}" destId="{FC20A83D-3065-4539-832B-FCBFC6F6E8E6}" srcOrd="0" destOrd="0" presId="urn:microsoft.com/office/officeart/2005/8/layout/matrix1"/>
    <dgm:cxn modelId="{F41421B9-B8D8-44E6-BC71-15F3FF28F3D4}" srcId="{9F173F87-52D3-41F0-B207-34BE4FB54C5B}" destId="{FCE9DF05-4FF5-4307-81A3-942EA00B6409}" srcOrd="2" destOrd="0" parTransId="{9D7B17BF-0965-457D-B1DD-A2A8C08CED32}" sibTransId="{D24F5A7C-F1FB-45AB-8C0F-749771DD20E6}"/>
    <dgm:cxn modelId="{F7F769C4-C8A4-4A59-A13B-4A86B06C969F}" type="presOf" srcId="{9F173F87-52D3-41F0-B207-34BE4FB54C5B}" destId="{F2DF3EF7-6F61-4D3E-9C67-014040746221}" srcOrd="0" destOrd="0" presId="urn:microsoft.com/office/officeart/2005/8/layout/matrix1"/>
    <dgm:cxn modelId="{5A5AD4C7-8D3B-4A6E-9096-004E8239F579}" type="presOf" srcId="{EB00DD54-0B9B-4BA1-87A2-CBA3D4FC3616}" destId="{E3CA1EB3-67E2-4496-B4F2-749E3E7AC9D4}" srcOrd="1" destOrd="2" presId="urn:microsoft.com/office/officeart/2005/8/layout/matrix1"/>
    <dgm:cxn modelId="{EAF919CA-FDE2-48B6-8451-91D6A55F1104}" type="presOf" srcId="{0179229E-75E8-4CBE-9501-026C70772D08}" destId="{1BA91992-3056-4442-AADF-5CF4272CD82A}" srcOrd="0" destOrd="3" presId="urn:microsoft.com/office/officeart/2005/8/layout/matrix1"/>
    <dgm:cxn modelId="{DF297DCA-7490-493C-9C80-0CA4B38D573C}" type="presOf" srcId="{89C943CC-0A82-4D02-B8CC-BD789CC2F58D}" destId="{F2DF3EF7-6F61-4D3E-9C67-014040746221}" srcOrd="0" destOrd="2" presId="urn:microsoft.com/office/officeart/2005/8/layout/matrix1"/>
    <dgm:cxn modelId="{1AADC1CA-7B96-4C90-83B6-2F8658A1BC78}" srcId="{49066D59-9A7B-4C9D-851A-68B55CC614CA}" destId="{9F173F87-52D3-41F0-B207-34BE4FB54C5B}" srcOrd="1" destOrd="0" parTransId="{42C989ED-BBAF-44D2-9E9F-135B84EFF9A3}" sibTransId="{E8FEB595-72A8-4348-8530-9F5E69318B60}"/>
    <dgm:cxn modelId="{65753CD3-9F84-422E-8B33-E2E750B838A0}" type="presOf" srcId="{F2459990-52D2-4FF9-8113-9607970C4FFE}" destId="{A7A36528-1BA5-4B28-8260-D23447EC57FF}" srcOrd="1" destOrd="1" presId="urn:microsoft.com/office/officeart/2005/8/layout/matrix1"/>
    <dgm:cxn modelId="{87E3B3DA-B05F-4EBD-90E8-A10DAEB1372C}" type="presOf" srcId="{FCE9DF05-4FF5-4307-81A3-942EA00B6409}" destId="{F2DF3EF7-6F61-4D3E-9C67-014040746221}" srcOrd="0" destOrd="3" presId="urn:microsoft.com/office/officeart/2005/8/layout/matrix1"/>
    <dgm:cxn modelId="{91FBEFDC-044B-477F-9123-08645DC6F87C}" type="presOf" srcId="{F2459990-52D2-4FF9-8113-9607970C4FFE}" destId="{2517A22B-3679-46AD-BB99-F7C8716442B6}" srcOrd="0" destOrd="1" presId="urn:microsoft.com/office/officeart/2005/8/layout/matrix1"/>
    <dgm:cxn modelId="{86DD9CEA-E252-4A4F-A950-17D63248BF44}" type="presOf" srcId="{61CF29F4-9F7A-4CF0-8E28-0C04BD749652}" destId="{D873572A-7C5D-48F8-B282-A2B7E6AA2F04}" srcOrd="1" destOrd="2" presId="urn:microsoft.com/office/officeart/2005/8/layout/matrix1"/>
    <dgm:cxn modelId="{254AA0EC-28E1-4FFA-83B4-7676EC152474}" type="presOf" srcId="{61CF29F4-9F7A-4CF0-8E28-0C04BD749652}" destId="{DF902699-A8F7-4E2E-B14E-C634DCE04CB3}" srcOrd="0" destOrd="2" presId="urn:microsoft.com/office/officeart/2005/8/layout/matrix1"/>
    <dgm:cxn modelId="{3EE839EE-EE67-43FE-A41C-AC9091F438D8}" type="presOf" srcId="{0179229E-75E8-4CBE-9501-026C70772D08}" destId="{E3CA1EB3-67E2-4496-B4F2-749E3E7AC9D4}" srcOrd="1" destOrd="3" presId="urn:microsoft.com/office/officeart/2005/8/layout/matrix1"/>
    <dgm:cxn modelId="{3F5F63EF-76D5-4903-A1B0-6327F3EFAEA5}" type="presOf" srcId="{FCE9DF05-4FF5-4307-81A3-942EA00B6409}" destId="{60299546-752E-4589-AF56-E23DCF60FB53}" srcOrd="1" destOrd="3" presId="urn:microsoft.com/office/officeart/2005/8/layout/matrix1"/>
    <dgm:cxn modelId="{8DACA3F1-3928-4C07-873E-989523937CA8}" srcId="{F58E38FC-9EA4-4210-8BB7-9131B498F2CC}" destId="{AE1CF93D-7D4C-4C9A-8D82-7729A993994A}" srcOrd="1" destOrd="0" parTransId="{52F8016A-66D6-4F99-AC0E-1FD9B6A3723A}" sibTransId="{4E785780-734C-4DDC-8411-E7BD928105D0}"/>
    <dgm:cxn modelId="{B7F5EBF2-B9C3-4FDB-8316-7695A7501408}" type="presOf" srcId="{6A26F27B-E22E-4A63-A885-957E6C5340B2}" destId="{1BA91992-3056-4442-AADF-5CF4272CD82A}" srcOrd="0" destOrd="1" presId="urn:microsoft.com/office/officeart/2005/8/layout/matrix1"/>
    <dgm:cxn modelId="{D18FFBF2-53DE-4135-989D-4BD3251C87DF}" type="presOf" srcId="{83F2A2E2-02F0-4584-A1C3-DD0F0EB2276A}" destId="{D873572A-7C5D-48F8-B282-A2B7E6AA2F04}" srcOrd="1" destOrd="0" presId="urn:microsoft.com/office/officeart/2005/8/layout/matrix1"/>
    <dgm:cxn modelId="{99C958FF-072A-40F3-A9DE-CC438BC27097}" srcId="{83F2A2E2-02F0-4584-A1C3-DD0F0EB2276A}" destId="{C4F83C04-3137-4855-ACB6-B1F8431F5417}" srcOrd="0" destOrd="0" parTransId="{DA64C258-BB4C-46C3-8134-6AAC0D192645}" sibTransId="{872EC6CF-E109-4E59-9C08-9E5C117632B1}"/>
    <dgm:cxn modelId="{FE1A25A2-3CF8-4EC4-810D-996AD7016A11}" type="presParOf" srcId="{FC20A83D-3065-4539-832B-FCBFC6F6E8E6}" destId="{9F1E152A-9D72-4FF2-90B6-E73BD4E0C6FD}" srcOrd="0" destOrd="0" presId="urn:microsoft.com/office/officeart/2005/8/layout/matrix1"/>
    <dgm:cxn modelId="{EE01E174-BF34-424C-8272-90CD9CB3D545}" type="presParOf" srcId="{9F1E152A-9D72-4FF2-90B6-E73BD4E0C6FD}" destId="{2517A22B-3679-46AD-BB99-F7C8716442B6}" srcOrd="0" destOrd="0" presId="urn:microsoft.com/office/officeart/2005/8/layout/matrix1"/>
    <dgm:cxn modelId="{0E4E2749-8FB4-425F-8EFB-BC7E0E0910DE}" type="presParOf" srcId="{9F1E152A-9D72-4FF2-90B6-E73BD4E0C6FD}" destId="{A7A36528-1BA5-4B28-8260-D23447EC57FF}" srcOrd="1" destOrd="0" presId="urn:microsoft.com/office/officeart/2005/8/layout/matrix1"/>
    <dgm:cxn modelId="{34AE2F53-A1D4-4997-B4B7-9101D843EBB2}" type="presParOf" srcId="{9F1E152A-9D72-4FF2-90B6-E73BD4E0C6FD}" destId="{F2DF3EF7-6F61-4D3E-9C67-014040746221}" srcOrd="2" destOrd="0" presId="urn:microsoft.com/office/officeart/2005/8/layout/matrix1"/>
    <dgm:cxn modelId="{8DEE8CBA-248D-4691-8EE2-29D5C5215546}" type="presParOf" srcId="{9F1E152A-9D72-4FF2-90B6-E73BD4E0C6FD}" destId="{60299546-752E-4589-AF56-E23DCF60FB53}" srcOrd="3" destOrd="0" presId="urn:microsoft.com/office/officeart/2005/8/layout/matrix1"/>
    <dgm:cxn modelId="{409F4B32-975D-445A-A836-0985181CC074}" type="presParOf" srcId="{9F1E152A-9D72-4FF2-90B6-E73BD4E0C6FD}" destId="{1BA91992-3056-4442-AADF-5CF4272CD82A}" srcOrd="4" destOrd="0" presId="urn:microsoft.com/office/officeart/2005/8/layout/matrix1"/>
    <dgm:cxn modelId="{D0C55316-13AD-4863-BA6A-0D2EC5A804D0}" type="presParOf" srcId="{9F1E152A-9D72-4FF2-90B6-E73BD4E0C6FD}" destId="{E3CA1EB3-67E2-4496-B4F2-749E3E7AC9D4}" srcOrd="5" destOrd="0" presId="urn:microsoft.com/office/officeart/2005/8/layout/matrix1"/>
    <dgm:cxn modelId="{248D2376-9738-4E9C-95D4-5E3A6F120C1D}" type="presParOf" srcId="{9F1E152A-9D72-4FF2-90B6-E73BD4E0C6FD}" destId="{DF902699-A8F7-4E2E-B14E-C634DCE04CB3}" srcOrd="6" destOrd="0" presId="urn:microsoft.com/office/officeart/2005/8/layout/matrix1"/>
    <dgm:cxn modelId="{2DAAB9F2-D316-4090-BBD9-C8786E2CF693}" type="presParOf" srcId="{9F1E152A-9D72-4FF2-90B6-E73BD4E0C6FD}" destId="{D873572A-7C5D-48F8-B282-A2B7E6AA2F04}" srcOrd="7" destOrd="0" presId="urn:microsoft.com/office/officeart/2005/8/layout/matrix1"/>
    <dgm:cxn modelId="{7FBD1DDF-3B80-4FAB-A42B-3435763C881C}" type="presParOf" srcId="{FC20A83D-3065-4539-832B-FCBFC6F6E8E6}" destId="{AE57FA91-BF31-44C0-9468-E0BD9FABB91D}" srcOrd="1" destOrd="0" presId="urn:microsoft.com/office/officeart/2005/8/layout/matrix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0AB2879-4AA4-46A2-9E8E-CDD488799277}"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de-DE"/>
        </a:p>
      </dgm:t>
    </dgm:pt>
    <dgm:pt modelId="{4C7F381D-69BC-47E9-B787-04D47A7C4167}">
      <dgm:prSet phldrT="[Text]" custT="1"/>
      <dgm:spPr/>
      <dgm:t>
        <a:bodyPr/>
        <a:lstStyle/>
        <a:p>
          <a:r>
            <a:rPr lang="en-US" sz="1800" err="1"/>
            <a:t>Finanzielle</a:t>
          </a:r>
          <a:r>
            <a:rPr lang="en-US" sz="1800"/>
            <a:t> </a:t>
          </a:r>
          <a:r>
            <a:rPr lang="en-US" sz="1800" err="1"/>
            <a:t>Unterstützung</a:t>
          </a:r>
          <a:r>
            <a:rPr lang="en-US" sz="1800"/>
            <a:t> für </a:t>
          </a:r>
          <a:r>
            <a:rPr lang="en-US" sz="1800" err="1"/>
            <a:t>Fahrer</a:t>
          </a:r>
          <a:endParaRPr lang="en-US" sz="1800"/>
        </a:p>
      </dgm:t>
    </dgm:pt>
    <dgm:pt modelId="{6AFC73C5-145D-4553-BB8E-728451F451F1}" type="parTrans" cxnId="{E3568F20-2ACD-43F7-8698-F8C9EB431878}">
      <dgm:prSet/>
      <dgm:spPr/>
      <dgm:t>
        <a:bodyPr/>
        <a:lstStyle/>
        <a:p>
          <a:endParaRPr lang="de-DE" sz="1800"/>
        </a:p>
      </dgm:t>
    </dgm:pt>
    <dgm:pt modelId="{5FDEB308-120F-4688-AD77-C3C83C5D60A4}" type="sibTrans" cxnId="{E3568F20-2ACD-43F7-8698-F8C9EB431878}">
      <dgm:prSet/>
      <dgm:spPr/>
      <dgm:t>
        <a:bodyPr/>
        <a:lstStyle/>
        <a:p>
          <a:endParaRPr lang="de-DE" sz="1800"/>
        </a:p>
      </dgm:t>
    </dgm:pt>
    <dgm:pt modelId="{69439695-9525-4C99-870F-D7AA7ADC6CB1}">
      <dgm:prSet phldrT="[Text]" custT="1"/>
      <dgm:spPr/>
      <dgm:t>
        <a:bodyPr/>
        <a:lstStyle/>
        <a:p>
          <a:r>
            <a:rPr lang="en-US" sz="1800" err="1"/>
            <a:t>Einführung</a:t>
          </a:r>
          <a:r>
            <a:rPr lang="en-US" sz="1800"/>
            <a:t> von </a:t>
          </a:r>
          <a:r>
            <a:rPr lang="en-US" sz="1800" err="1"/>
            <a:t>Programmen</a:t>
          </a:r>
          <a:r>
            <a:rPr lang="en-US" sz="1800"/>
            <a:t>, um </a:t>
          </a:r>
          <a:r>
            <a:rPr lang="en-US" sz="1800" err="1"/>
            <a:t>Fahrern</a:t>
          </a:r>
          <a:r>
            <a:rPr lang="en-US" sz="1800"/>
            <a:t> </a:t>
          </a:r>
          <a:r>
            <a:rPr lang="en-US" sz="1800" err="1"/>
            <a:t>finanziell</a:t>
          </a:r>
          <a:r>
            <a:rPr lang="en-US" sz="1800"/>
            <a:t> </a:t>
          </a:r>
          <a:r>
            <a:rPr lang="en-US" sz="1800" err="1"/>
            <a:t>zu</a:t>
          </a:r>
          <a:r>
            <a:rPr lang="en-US" sz="1800"/>
            <a:t> </a:t>
          </a:r>
          <a:r>
            <a:rPr lang="en-US" sz="1800" err="1"/>
            <a:t>unterstützen</a:t>
          </a:r>
          <a:r>
            <a:rPr lang="en-US" sz="1800"/>
            <a:t>, </a:t>
          </a:r>
          <a:r>
            <a:rPr lang="en-US" sz="1800" err="1"/>
            <a:t>wegen</a:t>
          </a:r>
          <a:r>
            <a:rPr lang="en-US" sz="1800"/>
            <a:t> </a:t>
          </a:r>
          <a:r>
            <a:rPr lang="en-US" sz="1800" err="1"/>
            <a:t>Einkommenseinbußen</a:t>
          </a:r>
          <a:r>
            <a:rPr lang="en-US" sz="1800"/>
            <a:t> von </a:t>
          </a:r>
          <a:r>
            <a:rPr lang="en-US" sz="1800" err="1"/>
            <a:t>reduzierter</a:t>
          </a:r>
          <a:r>
            <a:rPr lang="en-US" sz="1800"/>
            <a:t> </a:t>
          </a:r>
          <a:r>
            <a:rPr lang="en-US" sz="1800" err="1"/>
            <a:t>Fahrtätigkeit</a:t>
          </a:r>
          <a:endParaRPr lang="en-US" sz="1800"/>
        </a:p>
      </dgm:t>
    </dgm:pt>
    <dgm:pt modelId="{E3DA80D8-58D0-4DDC-8AEF-9FAA1FE1B730}" type="parTrans" cxnId="{89127698-BA67-460E-9211-40C1314CC2F2}">
      <dgm:prSet/>
      <dgm:spPr/>
      <dgm:t>
        <a:bodyPr/>
        <a:lstStyle/>
        <a:p>
          <a:endParaRPr lang="de-DE" sz="1800"/>
        </a:p>
      </dgm:t>
    </dgm:pt>
    <dgm:pt modelId="{D1B8EE5E-DB15-4BDA-80A8-3AACE1EB9CFD}" type="sibTrans" cxnId="{89127698-BA67-460E-9211-40C1314CC2F2}">
      <dgm:prSet/>
      <dgm:spPr/>
      <dgm:t>
        <a:bodyPr/>
        <a:lstStyle/>
        <a:p>
          <a:endParaRPr lang="de-DE" sz="1800"/>
        </a:p>
      </dgm:t>
    </dgm:pt>
    <dgm:pt modelId="{F3AF27FB-5402-4EF4-B78F-2648BA0277AB}">
      <dgm:prSet phldrT="[Text]" custT="1"/>
      <dgm:spPr/>
      <dgm:t>
        <a:bodyPr/>
        <a:lstStyle/>
        <a:p>
          <a:r>
            <a:rPr lang="en-US" sz="1800" err="1"/>
            <a:t>Sicherheitsmaßnahmen</a:t>
          </a:r>
          <a:r>
            <a:rPr lang="en-US" sz="1800"/>
            <a:t> für </a:t>
          </a:r>
          <a:r>
            <a:rPr lang="en-US" sz="1800" err="1"/>
            <a:t>Kunden</a:t>
          </a:r>
          <a:endParaRPr lang="en-US" sz="1800"/>
        </a:p>
      </dgm:t>
    </dgm:pt>
    <dgm:pt modelId="{BC895BFA-F88C-4212-865F-E31DEA9EA34F}" type="parTrans" cxnId="{4D317FB4-9B07-4343-9F0D-95090AA1D2BD}">
      <dgm:prSet/>
      <dgm:spPr/>
      <dgm:t>
        <a:bodyPr/>
        <a:lstStyle/>
        <a:p>
          <a:endParaRPr lang="de-DE" sz="1800"/>
        </a:p>
      </dgm:t>
    </dgm:pt>
    <dgm:pt modelId="{D826CF39-7D22-4D8B-A393-8FE13814C99C}" type="sibTrans" cxnId="{4D317FB4-9B07-4343-9F0D-95090AA1D2BD}">
      <dgm:prSet/>
      <dgm:spPr/>
      <dgm:t>
        <a:bodyPr/>
        <a:lstStyle/>
        <a:p>
          <a:endParaRPr lang="de-DE" sz="1800"/>
        </a:p>
      </dgm:t>
    </dgm:pt>
    <dgm:pt modelId="{65B816FA-911C-4FE0-9702-AD9EAB8256CA}">
      <dgm:prSet phldrT="[Text]" custT="1"/>
      <dgm:spPr/>
      <dgm:t>
        <a:bodyPr/>
        <a:lstStyle/>
        <a:p>
          <a:r>
            <a:rPr lang="en-US" sz="1800" err="1"/>
            <a:t>Implementierung</a:t>
          </a:r>
          <a:r>
            <a:rPr lang="en-US" sz="1800"/>
            <a:t> </a:t>
          </a:r>
          <a:r>
            <a:rPr lang="en-US" sz="1800" err="1"/>
            <a:t>strenger</a:t>
          </a:r>
          <a:r>
            <a:rPr lang="en-US" sz="1800"/>
            <a:t> </a:t>
          </a:r>
          <a:r>
            <a:rPr lang="en-US" sz="1800" err="1"/>
            <a:t>Sicherheitsrichtlinien</a:t>
          </a:r>
          <a:r>
            <a:rPr lang="en-US" sz="1800"/>
            <a:t> für </a:t>
          </a:r>
          <a:r>
            <a:rPr lang="en-US" sz="1800" err="1"/>
            <a:t>Fahrer</a:t>
          </a:r>
          <a:r>
            <a:rPr lang="en-US" sz="1800"/>
            <a:t> und </a:t>
          </a:r>
          <a:r>
            <a:rPr lang="en-US" sz="1800" err="1"/>
            <a:t>Fahrgäste</a:t>
          </a:r>
          <a:r>
            <a:rPr lang="en-US" sz="1800"/>
            <a:t>, um </a:t>
          </a:r>
          <a:r>
            <a:rPr lang="en-US" sz="1800" err="1"/>
            <a:t>Virusübertragung</a:t>
          </a:r>
          <a:r>
            <a:rPr lang="en-US" sz="1800"/>
            <a:t> </a:t>
          </a:r>
          <a:r>
            <a:rPr lang="en-US" sz="1800" err="1"/>
            <a:t>zu</a:t>
          </a:r>
          <a:r>
            <a:rPr lang="en-US" sz="1800"/>
            <a:t> </a:t>
          </a:r>
          <a:r>
            <a:rPr lang="en-US" sz="1800" err="1"/>
            <a:t>vermeiden</a:t>
          </a:r>
          <a:endParaRPr lang="en-US" sz="1800"/>
        </a:p>
      </dgm:t>
    </dgm:pt>
    <dgm:pt modelId="{2E7B9FB8-AADF-4CCB-BC79-8E7F3D0EDE4A}" type="parTrans" cxnId="{3FD2D92F-78D4-43D3-8272-36BADBD4DEA4}">
      <dgm:prSet/>
      <dgm:spPr/>
      <dgm:t>
        <a:bodyPr/>
        <a:lstStyle/>
        <a:p>
          <a:endParaRPr lang="de-DE" sz="1800"/>
        </a:p>
      </dgm:t>
    </dgm:pt>
    <dgm:pt modelId="{BCE3B2AB-B326-412A-A1E3-E79DAF3C8219}" type="sibTrans" cxnId="{3FD2D92F-78D4-43D3-8272-36BADBD4DEA4}">
      <dgm:prSet/>
      <dgm:spPr/>
      <dgm:t>
        <a:bodyPr/>
        <a:lstStyle/>
        <a:p>
          <a:endParaRPr lang="de-DE" sz="1800"/>
        </a:p>
      </dgm:t>
    </dgm:pt>
    <dgm:pt modelId="{40CFBF85-C27C-4F18-811E-7868073149C3}">
      <dgm:prSet phldrT="[Text]" custT="1"/>
      <dgm:spPr/>
      <dgm:t>
        <a:bodyPr/>
        <a:lstStyle/>
        <a:p>
          <a:r>
            <a:rPr lang="en-US" sz="1800" err="1"/>
            <a:t>Initiativen</a:t>
          </a:r>
          <a:r>
            <a:rPr lang="en-US" sz="1800"/>
            <a:t> für </a:t>
          </a:r>
          <a:r>
            <a:rPr lang="en-US" sz="1800" err="1"/>
            <a:t>lokale</a:t>
          </a:r>
          <a:r>
            <a:rPr lang="en-US" sz="1800"/>
            <a:t> </a:t>
          </a:r>
          <a:r>
            <a:rPr lang="en-US" sz="1800" err="1"/>
            <a:t>Gemeinschaften</a:t>
          </a:r>
          <a:endParaRPr lang="en-US" sz="1800"/>
        </a:p>
      </dgm:t>
    </dgm:pt>
    <dgm:pt modelId="{C9D09213-4D3B-47A5-BFB1-A0656639842A}" type="parTrans" cxnId="{0E38EA49-557F-4727-B489-10251211CD20}">
      <dgm:prSet/>
      <dgm:spPr/>
      <dgm:t>
        <a:bodyPr/>
        <a:lstStyle/>
        <a:p>
          <a:endParaRPr lang="de-DE" sz="1800"/>
        </a:p>
      </dgm:t>
    </dgm:pt>
    <dgm:pt modelId="{E79C2F03-3003-48C5-921A-F6CCC0FF10F9}" type="sibTrans" cxnId="{0E38EA49-557F-4727-B489-10251211CD20}">
      <dgm:prSet/>
      <dgm:spPr/>
      <dgm:t>
        <a:bodyPr/>
        <a:lstStyle/>
        <a:p>
          <a:endParaRPr lang="de-DE" sz="1800"/>
        </a:p>
      </dgm:t>
    </dgm:pt>
    <dgm:pt modelId="{8B55F2C3-252A-4E91-A8CE-EBDB65BB6E06}">
      <dgm:prSet phldrT="[Text]" custT="1"/>
      <dgm:spPr/>
      <dgm:t>
        <a:bodyPr/>
        <a:lstStyle/>
        <a:p>
          <a:r>
            <a:rPr lang="en-US" sz="1800" err="1"/>
            <a:t>Startete</a:t>
          </a:r>
          <a:r>
            <a:rPr lang="en-US" sz="1800"/>
            <a:t> </a:t>
          </a:r>
          <a:r>
            <a:rPr lang="en-US" sz="1800" err="1"/>
            <a:t>lokale</a:t>
          </a:r>
          <a:r>
            <a:rPr lang="en-US" sz="1800"/>
            <a:t> </a:t>
          </a:r>
          <a:r>
            <a:rPr lang="en-US" sz="1800" err="1"/>
            <a:t>Initiativen</a:t>
          </a:r>
          <a:r>
            <a:rPr lang="en-US" sz="1800"/>
            <a:t>, um </a:t>
          </a:r>
          <a:r>
            <a:rPr lang="en-US" sz="1800" err="1"/>
            <a:t>Gemeinschaften</a:t>
          </a:r>
          <a:r>
            <a:rPr lang="en-US" sz="1800"/>
            <a:t> </a:t>
          </a:r>
          <a:r>
            <a:rPr lang="en-US" sz="1800" err="1"/>
            <a:t>während</a:t>
          </a:r>
          <a:r>
            <a:rPr lang="en-US" sz="1800"/>
            <a:t> der </a:t>
          </a:r>
          <a:r>
            <a:rPr lang="en-US" sz="1800" err="1"/>
            <a:t>Pandemie</a:t>
          </a:r>
          <a:r>
            <a:rPr lang="en-US" sz="1800"/>
            <a:t> </a:t>
          </a:r>
          <a:r>
            <a:rPr lang="en-US" sz="1800" err="1"/>
            <a:t>zu</a:t>
          </a:r>
          <a:r>
            <a:rPr lang="en-US" sz="1800"/>
            <a:t> </a:t>
          </a:r>
          <a:r>
            <a:rPr lang="en-US" sz="1800" err="1"/>
            <a:t>unterstützen</a:t>
          </a:r>
          <a:endParaRPr lang="en-US" sz="1800"/>
        </a:p>
      </dgm:t>
    </dgm:pt>
    <dgm:pt modelId="{C232CF6A-A1C7-4417-885D-5E61DF0D6AB0}" type="parTrans" cxnId="{D704BB6F-E41A-4689-81DA-AB30414DC60C}">
      <dgm:prSet/>
      <dgm:spPr/>
      <dgm:t>
        <a:bodyPr/>
        <a:lstStyle/>
        <a:p>
          <a:endParaRPr lang="de-DE" sz="1800"/>
        </a:p>
      </dgm:t>
    </dgm:pt>
    <dgm:pt modelId="{D392DF42-397E-4946-AAD6-D716DACA3B91}" type="sibTrans" cxnId="{D704BB6F-E41A-4689-81DA-AB30414DC60C}">
      <dgm:prSet/>
      <dgm:spPr/>
      <dgm:t>
        <a:bodyPr/>
        <a:lstStyle/>
        <a:p>
          <a:endParaRPr lang="de-DE" sz="1800"/>
        </a:p>
      </dgm:t>
    </dgm:pt>
    <dgm:pt modelId="{62462BF0-E7B9-49EE-9851-FEE246B918F2}">
      <dgm:prSet phldrT="[Text]" custT="1"/>
      <dgm:spPr/>
      <dgm:t>
        <a:bodyPr/>
        <a:lstStyle/>
        <a:p>
          <a:r>
            <a:rPr lang="en-US" sz="1800"/>
            <a:t>Fonds für </a:t>
          </a:r>
          <a:r>
            <a:rPr lang="en-US" sz="1800" err="1"/>
            <a:t>Fahrer</a:t>
          </a:r>
          <a:r>
            <a:rPr lang="en-US" sz="1800"/>
            <a:t>, die </a:t>
          </a:r>
          <a:r>
            <a:rPr lang="en-US" sz="1800" err="1"/>
            <a:t>positiv</a:t>
          </a:r>
          <a:r>
            <a:rPr lang="en-US" sz="1800"/>
            <a:t> auf Covid-19 </a:t>
          </a:r>
          <a:r>
            <a:rPr lang="en-US" sz="1800" err="1"/>
            <a:t>getestet</a:t>
          </a:r>
          <a:r>
            <a:rPr lang="en-US" sz="1800"/>
            <a:t> </a:t>
          </a:r>
          <a:r>
            <a:rPr lang="en-US" sz="1800" err="1"/>
            <a:t>wurden</a:t>
          </a:r>
          <a:endParaRPr lang="en-US" sz="1800"/>
        </a:p>
      </dgm:t>
    </dgm:pt>
    <dgm:pt modelId="{246ECFA1-6D17-4B81-A876-5486FAF06419}" type="parTrans" cxnId="{C0544E3A-D827-43AF-BDBB-35E738AAC203}">
      <dgm:prSet/>
      <dgm:spPr/>
      <dgm:t>
        <a:bodyPr/>
        <a:lstStyle/>
        <a:p>
          <a:endParaRPr lang="de-DE" sz="1800"/>
        </a:p>
      </dgm:t>
    </dgm:pt>
    <dgm:pt modelId="{D3E27062-5B54-405D-87DD-AC8D6C43EAF2}" type="sibTrans" cxnId="{C0544E3A-D827-43AF-BDBB-35E738AAC203}">
      <dgm:prSet/>
      <dgm:spPr/>
      <dgm:t>
        <a:bodyPr/>
        <a:lstStyle/>
        <a:p>
          <a:endParaRPr lang="de-DE" sz="1800"/>
        </a:p>
      </dgm:t>
    </dgm:pt>
    <dgm:pt modelId="{0D8079B8-5382-4C9C-A423-99DD011DE632}">
      <dgm:prSet phldrT="[Text]" custT="1"/>
      <dgm:spPr/>
      <dgm:t>
        <a:bodyPr/>
        <a:lstStyle/>
        <a:p>
          <a:r>
            <a:rPr lang="en-US" sz="1800" err="1"/>
            <a:t>Richtlinien</a:t>
          </a:r>
          <a:r>
            <a:rPr lang="en-US" sz="1800"/>
            <a:t> für das </a:t>
          </a:r>
          <a:r>
            <a:rPr lang="en-US" sz="1800" err="1"/>
            <a:t>Tragen</a:t>
          </a:r>
          <a:r>
            <a:rPr lang="en-US" sz="1800"/>
            <a:t> von </a:t>
          </a:r>
          <a:r>
            <a:rPr lang="en-US" sz="1800" err="1"/>
            <a:t>Masken</a:t>
          </a:r>
          <a:r>
            <a:rPr lang="en-US" sz="1800"/>
            <a:t>, </a:t>
          </a:r>
          <a:r>
            <a:rPr lang="en-US" sz="1800" err="1"/>
            <a:t>Desinfektion</a:t>
          </a:r>
          <a:r>
            <a:rPr lang="en-US" sz="1800"/>
            <a:t> von </a:t>
          </a:r>
          <a:r>
            <a:rPr lang="en-US" sz="1800" err="1"/>
            <a:t>Fahrzeugen</a:t>
          </a:r>
          <a:r>
            <a:rPr lang="en-US" sz="1800"/>
            <a:t> und </a:t>
          </a:r>
          <a:r>
            <a:rPr lang="en-US" sz="1800" err="1"/>
            <a:t>kontaktlose</a:t>
          </a:r>
          <a:r>
            <a:rPr lang="en-US" sz="1800"/>
            <a:t> </a:t>
          </a:r>
          <a:r>
            <a:rPr lang="en-US" sz="1800" err="1"/>
            <a:t>Transaktionen</a:t>
          </a:r>
          <a:endParaRPr lang="en-US" sz="1800"/>
        </a:p>
      </dgm:t>
    </dgm:pt>
    <dgm:pt modelId="{FA47A35D-F967-4C18-A8A4-1F75646BAF13}" type="parTrans" cxnId="{C3C14494-EAFC-45EA-9DC9-BCCB263B5264}">
      <dgm:prSet/>
      <dgm:spPr/>
      <dgm:t>
        <a:bodyPr/>
        <a:lstStyle/>
        <a:p>
          <a:endParaRPr lang="de-DE" sz="1800"/>
        </a:p>
      </dgm:t>
    </dgm:pt>
    <dgm:pt modelId="{46A097F1-5979-4DB8-BE18-7640AD48CBDB}" type="sibTrans" cxnId="{C3C14494-EAFC-45EA-9DC9-BCCB263B5264}">
      <dgm:prSet/>
      <dgm:spPr/>
      <dgm:t>
        <a:bodyPr/>
        <a:lstStyle/>
        <a:p>
          <a:endParaRPr lang="de-DE" sz="1800"/>
        </a:p>
      </dgm:t>
    </dgm:pt>
    <dgm:pt modelId="{84584FE5-8BDE-4E53-BF61-160FBC89D6C6}">
      <dgm:prSet phldrT="[Text]" custT="1"/>
      <dgm:spPr/>
      <dgm:t>
        <a:bodyPr/>
        <a:lstStyle/>
        <a:p>
          <a:pPr>
            <a:buFont typeface="Arial" panose="020B0604020202020204" pitchFamily="34" charset="0"/>
            <a:buChar char="•"/>
          </a:pPr>
          <a:r>
            <a:rPr lang="en-US" sz="1800" err="1"/>
            <a:t>Partnerschaften</a:t>
          </a:r>
          <a:r>
            <a:rPr lang="en-US" sz="1800"/>
            <a:t> mit Restaurants und </a:t>
          </a:r>
          <a:r>
            <a:rPr lang="en-US" sz="1800" err="1"/>
            <a:t>lokalen</a:t>
          </a:r>
          <a:r>
            <a:rPr lang="en-US" sz="1800"/>
            <a:t> </a:t>
          </a:r>
          <a:r>
            <a:rPr lang="en-US" sz="1800" err="1"/>
            <a:t>Geschäften</a:t>
          </a:r>
          <a:r>
            <a:rPr lang="en-US" sz="1800"/>
            <a:t>, um </a:t>
          </a:r>
          <a:r>
            <a:rPr lang="en-US" sz="1800" err="1"/>
            <a:t>ihre</a:t>
          </a:r>
          <a:r>
            <a:rPr lang="en-US" sz="1800"/>
            <a:t> </a:t>
          </a:r>
          <a:r>
            <a:rPr lang="en-US" sz="1800" err="1"/>
            <a:t>Sichtbarkeit</a:t>
          </a:r>
          <a:r>
            <a:rPr lang="en-US" sz="1800"/>
            <a:t> </a:t>
          </a:r>
          <a:r>
            <a:rPr lang="en-US" sz="1800" err="1"/>
            <a:t>zu</a:t>
          </a:r>
          <a:r>
            <a:rPr lang="en-US" sz="1800"/>
            <a:t> </a:t>
          </a:r>
          <a:r>
            <a:rPr lang="en-US" sz="1800" err="1"/>
            <a:t>erhöhen</a:t>
          </a:r>
          <a:endParaRPr lang="en-US" sz="1800"/>
        </a:p>
      </dgm:t>
    </dgm:pt>
    <dgm:pt modelId="{32AA9113-D4C0-4F00-A24C-EC3C3B340AB7}" type="parTrans" cxnId="{C9CE7ECF-E6CE-4EB8-8B52-D78928E8AB35}">
      <dgm:prSet/>
      <dgm:spPr/>
      <dgm:t>
        <a:bodyPr/>
        <a:lstStyle/>
        <a:p>
          <a:endParaRPr lang="de-DE" sz="1800"/>
        </a:p>
      </dgm:t>
    </dgm:pt>
    <dgm:pt modelId="{6A65620D-488E-43FF-BEAD-AB8D59680BE0}" type="sibTrans" cxnId="{C9CE7ECF-E6CE-4EB8-8B52-D78928E8AB35}">
      <dgm:prSet/>
      <dgm:spPr/>
      <dgm:t>
        <a:bodyPr/>
        <a:lstStyle/>
        <a:p>
          <a:endParaRPr lang="de-DE" sz="1800"/>
        </a:p>
      </dgm:t>
    </dgm:pt>
    <dgm:pt modelId="{75B45808-7382-4A0F-92B3-50C79EBB15D1}" type="pres">
      <dgm:prSet presAssocID="{80AB2879-4AA4-46A2-9E8E-CDD488799277}" presName="linear" presStyleCnt="0">
        <dgm:presLayoutVars>
          <dgm:animLvl val="lvl"/>
          <dgm:resizeHandles val="exact"/>
        </dgm:presLayoutVars>
      </dgm:prSet>
      <dgm:spPr/>
    </dgm:pt>
    <dgm:pt modelId="{E2C6614A-F1D1-41A9-AA59-5377704DEBE3}" type="pres">
      <dgm:prSet presAssocID="{4C7F381D-69BC-47E9-B787-04D47A7C4167}" presName="parentText" presStyleLbl="node1" presStyleIdx="0" presStyleCnt="3">
        <dgm:presLayoutVars>
          <dgm:chMax val="0"/>
          <dgm:bulletEnabled val="1"/>
        </dgm:presLayoutVars>
      </dgm:prSet>
      <dgm:spPr/>
    </dgm:pt>
    <dgm:pt modelId="{52EB617B-72AE-4293-826C-146B838D221C}" type="pres">
      <dgm:prSet presAssocID="{4C7F381D-69BC-47E9-B787-04D47A7C4167}" presName="childText" presStyleLbl="revTx" presStyleIdx="0" presStyleCnt="3">
        <dgm:presLayoutVars>
          <dgm:bulletEnabled val="1"/>
        </dgm:presLayoutVars>
      </dgm:prSet>
      <dgm:spPr/>
    </dgm:pt>
    <dgm:pt modelId="{D4F754B9-D957-436B-8332-3D4509128270}" type="pres">
      <dgm:prSet presAssocID="{F3AF27FB-5402-4EF4-B78F-2648BA0277AB}" presName="parentText" presStyleLbl="node1" presStyleIdx="1" presStyleCnt="3">
        <dgm:presLayoutVars>
          <dgm:chMax val="0"/>
          <dgm:bulletEnabled val="1"/>
        </dgm:presLayoutVars>
      </dgm:prSet>
      <dgm:spPr/>
    </dgm:pt>
    <dgm:pt modelId="{AD2961DC-D112-4DC8-8358-26748A7E7F7A}" type="pres">
      <dgm:prSet presAssocID="{F3AF27FB-5402-4EF4-B78F-2648BA0277AB}" presName="childText" presStyleLbl="revTx" presStyleIdx="1" presStyleCnt="3">
        <dgm:presLayoutVars>
          <dgm:bulletEnabled val="1"/>
        </dgm:presLayoutVars>
      </dgm:prSet>
      <dgm:spPr/>
    </dgm:pt>
    <dgm:pt modelId="{C60E2016-B0CD-4F3C-8C33-46E9CDC75457}" type="pres">
      <dgm:prSet presAssocID="{40CFBF85-C27C-4F18-811E-7868073149C3}" presName="parentText" presStyleLbl="node1" presStyleIdx="2" presStyleCnt="3">
        <dgm:presLayoutVars>
          <dgm:chMax val="0"/>
          <dgm:bulletEnabled val="1"/>
        </dgm:presLayoutVars>
      </dgm:prSet>
      <dgm:spPr/>
    </dgm:pt>
    <dgm:pt modelId="{BCC80B85-B328-4F39-8248-D9DEF643BFF6}" type="pres">
      <dgm:prSet presAssocID="{40CFBF85-C27C-4F18-811E-7868073149C3}" presName="childText" presStyleLbl="revTx" presStyleIdx="2" presStyleCnt="3">
        <dgm:presLayoutVars>
          <dgm:bulletEnabled val="1"/>
        </dgm:presLayoutVars>
      </dgm:prSet>
      <dgm:spPr/>
    </dgm:pt>
  </dgm:ptLst>
  <dgm:cxnLst>
    <dgm:cxn modelId="{8D520B0E-1E57-46DB-9CD3-9072C644E279}" type="presOf" srcId="{84584FE5-8BDE-4E53-BF61-160FBC89D6C6}" destId="{BCC80B85-B328-4F39-8248-D9DEF643BFF6}" srcOrd="0" destOrd="1" presId="urn:microsoft.com/office/officeart/2005/8/layout/vList2"/>
    <dgm:cxn modelId="{B24EB910-3F0F-4CEF-B26B-321A4F3E6F2F}" type="presOf" srcId="{62462BF0-E7B9-49EE-9851-FEE246B918F2}" destId="{52EB617B-72AE-4293-826C-146B838D221C}" srcOrd="0" destOrd="1" presId="urn:microsoft.com/office/officeart/2005/8/layout/vList2"/>
    <dgm:cxn modelId="{91E26311-2F4B-4D0C-9332-5AA43009D982}" type="presOf" srcId="{69439695-9525-4C99-870F-D7AA7ADC6CB1}" destId="{52EB617B-72AE-4293-826C-146B838D221C}" srcOrd="0" destOrd="0" presId="urn:microsoft.com/office/officeart/2005/8/layout/vList2"/>
    <dgm:cxn modelId="{7E407C19-68CC-45A2-BD7D-83CDEA1A9AC0}" type="presOf" srcId="{F3AF27FB-5402-4EF4-B78F-2648BA0277AB}" destId="{D4F754B9-D957-436B-8332-3D4509128270}" srcOrd="0" destOrd="0" presId="urn:microsoft.com/office/officeart/2005/8/layout/vList2"/>
    <dgm:cxn modelId="{E3568F20-2ACD-43F7-8698-F8C9EB431878}" srcId="{80AB2879-4AA4-46A2-9E8E-CDD488799277}" destId="{4C7F381D-69BC-47E9-B787-04D47A7C4167}" srcOrd="0" destOrd="0" parTransId="{6AFC73C5-145D-4553-BB8E-728451F451F1}" sibTransId="{5FDEB308-120F-4688-AD77-C3C83C5D60A4}"/>
    <dgm:cxn modelId="{BDF55425-D9C3-43C5-911B-18D7B711F80E}" type="presOf" srcId="{65B816FA-911C-4FE0-9702-AD9EAB8256CA}" destId="{AD2961DC-D112-4DC8-8358-26748A7E7F7A}" srcOrd="0" destOrd="0" presId="urn:microsoft.com/office/officeart/2005/8/layout/vList2"/>
    <dgm:cxn modelId="{3FD2D92F-78D4-43D3-8272-36BADBD4DEA4}" srcId="{F3AF27FB-5402-4EF4-B78F-2648BA0277AB}" destId="{65B816FA-911C-4FE0-9702-AD9EAB8256CA}" srcOrd="0" destOrd="0" parTransId="{2E7B9FB8-AADF-4CCB-BC79-8E7F3D0EDE4A}" sibTransId="{BCE3B2AB-B326-412A-A1E3-E79DAF3C8219}"/>
    <dgm:cxn modelId="{C0544E3A-D827-43AF-BDBB-35E738AAC203}" srcId="{4C7F381D-69BC-47E9-B787-04D47A7C4167}" destId="{62462BF0-E7B9-49EE-9851-FEE246B918F2}" srcOrd="1" destOrd="0" parTransId="{246ECFA1-6D17-4B81-A876-5486FAF06419}" sibTransId="{D3E27062-5B54-405D-87DD-AC8D6C43EAF2}"/>
    <dgm:cxn modelId="{257B643D-2271-4431-87E6-25D9CCC3A1A2}" type="presOf" srcId="{0D8079B8-5382-4C9C-A423-99DD011DE632}" destId="{AD2961DC-D112-4DC8-8358-26748A7E7F7A}" srcOrd="0" destOrd="1" presId="urn:microsoft.com/office/officeart/2005/8/layout/vList2"/>
    <dgm:cxn modelId="{0E38EA49-557F-4727-B489-10251211CD20}" srcId="{80AB2879-4AA4-46A2-9E8E-CDD488799277}" destId="{40CFBF85-C27C-4F18-811E-7868073149C3}" srcOrd="2" destOrd="0" parTransId="{C9D09213-4D3B-47A5-BFB1-A0656639842A}" sibTransId="{E79C2F03-3003-48C5-921A-F6CCC0FF10F9}"/>
    <dgm:cxn modelId="{D704BB6F-E41A-4689-81DA-AB30414DC60C}" srcId="{40CFBF85-C27C-4F18-811E-7868073149C3}" destId="{8B55F2C3-252A-4E91-A8CE-EBDB65BB6E06}" srcOrd="0" destOrd="0" parTransId="{C232CF6A-A1C7-4417-885D-5E61DF0D6AB0}" sibTransId="{D392DF42-397E-4946-AAD6-D716DACA3B91}"/>
    <dgm:cxn modelId="{C3C14494-EAFC-45EA-9DC9-BCCB263B5264}" srcId="{F3AF27FB-5402-4EF4-B78F-2648BA0277AB}" destId="{0D8079B8-5382-4C9C-A423-99DD011DE632}" srcOrd="1" destOrd="0" parTransId="{FA47A35D-F967-4C18-A8A4-1F75646BAF13}" sibTransId="{46A097F1-5979-4DB8-BE18-7640AD48CBDB}"/>
    <dgm:cxn modelId="{89127698-BA67-460E-9211-40C1314CC2F2}" srcId="{4C7F381D-69BC-47E9-B787-04D47A7C4167}" destId="{69439695-9525-4C99-870F-D7AA7ADC6CB1}" srcOrd="0" destOrd="0" parTransId="{E3DA80D8-58D0-4DDC-8AEF-9FAA1FE1B730}" sibTransId="{D1B8EE5E-DB15-4BDA-80A8-3AACE1EB9CFD}"/>
    <dgm:cxn modelId="{4D317FB4-9B07-4343-9F0D-95090AA1D2BD}" srcId="{80AB2879-4AA4-46A2-9E8E-CDD488799277}" destId="{F3AF27FB-5402-4EF4-B78F-2648BA0277AB}" srcOrd="1" destOrd="0" parTransId="{BC895BFA-F88C-4212-865F-E31DEA9EA34F}" sibTransId="{D826CF39-7D22-4D8B-A393-8FE13814C99C}"/>
    <dgm:cxn modelId="{BE64C0B5-2E07-4392-BB67-31716F83CC25}" type="presOf" srcId="{4C7F381D-69BC-47E9-B787-04D47A7C4167}" destId="{E2C6614A-F1D1-41A9-AA59-5377704DEBE3}" srcOrd="0" destOrd="0" presId="urn:microsoft.com/office/officeart/2005/8/layout/vList2"/>
    <dgm:cxn modelId="{C9CE7ECF-E6CE-4EB8-8B52-D78928E8AB35}" srcId="{40CFBF85-C27C-4F18-811E-7868073149C3}" destId="{84584FE5-8BDE-4E53-BF61-160FBC89D6C6}" srcOrd="1" destOrd="0" parTransId="{32AA9113-D4C0-4F00-A24C-EC3C3B340AB7}" sibTransId="{6A65620D-488E-43FF-BEAD-AB8D59680BE0}"/>
    <dgm:cxn modelId="{DFF144E7-9248-4C15-B424-9D26E9C79F59}" type="presOf" srcId="{40CFBF85-C27C-4F18-811E-7868073149C3}" destId="{C60E2016-B0CD-4F3C-8C33-46E9CDC75457}" srcOrd="0" destOrd="0" presId="urn:microsoft.com/office/officeart/2005/8/layout/vList2"/>
    <dgm:cxn modelId="{34AFF9E7-4D2C-402D-90A2-F9F6BF1CAD30}" type="presOf" srcId="{80AB2879-4AA4-46A2-9E8E-CDD488799277}" destId="{75B45808-7382-4A0F-92B3-50C79EBB15D1}" srcOrd="0" destOrd="0" presId="urn:microsoft.com/office/officeart/2005/8/layout/vList2"/>
    <dgm:cxn modelId="{010B82EB-4CE7-4469-87B1-5A8B963D367D}" type="presOf" srcId="{8B55F2C3-252A-4E91-A8CE-EBDB65BB6E06}" destId="{BCC80B85-B328-4F39-8248-D9DEF643BFF6}" srcOrd="0" destOrd="0" presId="urn:microsoft.com/office/officeart/2005/8/layout/vList2"/>
    <dgm:cxn modelId="{E7DE7722-E651-4A0E-BDC4-2E9836E82229}" type="presParOf" srcId="{75B45808-7382-4A0F-92B3-50C79EBB15D1}" destId="{E2C6614A-F1D1-41A9-AA59-5377704DEBE3}" srcOrd="0" destOrd="0" presId="urn:microsoft.com/office/officeart/2005/8/layout/vList2"/>
    <dgm:cxn modelId="{D9ACA018-5E2C-4352-9785-8B7A8D4387D5}" type="presParOf" srcId="{75B45808-7382-4A0F-92B3-50C79EBB15D1}" destId="{52EB617B-72AE-4293-826C-146B838D221C}" srcOrd="1" destOrd="0" presId="urn:microsoft.com/office/officeart/2005/8/layout/vList2"/>
    <dgm:cxn modelId="{37BE24B4-D8EA-479F-B212-32393C1BF0D2}" type="presParOf" srcId="{75B45808-7382-4A0F-92B3-50C79EBB15D1}" destId="{D4F754B9-D957-436B-8332-3D4509128270}" srcOrd="2" destOrd="0" presId="urn:microsoft.com/office/officeart/2005/8/layout/vList2"/>
    <dgm:cxn modelId="{2DAC1746-338D-4007-B50B-E2E05DB4B3F0}" type="presParOf" srcId="{75B45808-7382-4A0F-92B3-50C79EBB15D1}" destId="{AD2961DC-D112-4DC8-8358-26748A7E7F7A}" srcOrd="3" destOrd="0" presId="urn:microsoft.com/office/officeart/2005/8/layout/vList2"/>
    <dgm:cxn modelId="{11B477F8-A11E-43A3-BC82-C352E7BC49F6}" type="presParOf" srcId="{75B45808-7382-4A0F-92B3-50C79EBB15D1}" destId="{C60E2016-B0CD-4F3C-8C33-46E9CDC75457}" srcOrd="4" destOrd="0" presId="urn:microsoft.com/office/officeart/2005/8/layout/vList2"/>
    <dgm:cxn modelId="{29669491-CA75-4229-AC10-0F0985CC0328}" type="presParOf" srcId="{75B45808-7382-4A0F-92B3-50C79EBB15D1}" destId="{BCC80B85-B328-4F39-8248-D9DEF643BFF6}"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115B380-B2B3-49D5-8B07-5E2107D47C5D}"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de-DE"/>
        </a:p>
      </dgm:t>
    </dgm:pt>
    <dgm:pt modelId="{C56563E6-721A-48B7-AD2E-62F13F2E11B8}">
      <dgm:prSet phldrT="[Text]" custT="1"/>
      <dgm:spPr/>
      <dgm:t>
        <a:bodyPr/>
        <a:lstStyle/>
        <a:p>
          <a:r>
            <a:rPr lang="en-US" sz="2000" err="1"/>
            <a:t>Umsatzrückgang</a:t>
          </a:r>
          <a:r>
            <a:rPr lang="en-US" sz="2000"/>
            <a:t> </a:t>
          </a:r>
          <a:r>
            <a:rPr lang="en-US" sz="2000" err="1"/>
            <a:t>im</a:t>
          </a:r>
          <a:r>
            <a:rPr lang="en-US" sz="2000"/>
            <a:t> </a:t>
          </a:r>
          <a:r>
            <a:rPr lang="en-US" sz="2000" err="1"/>
            <a:t>Fahrdienst</a:t>
          </a:r>
          <a:endParaRPr lang="en-US" sz="2000"/>
        </a:p>
      </dgm:t>
    </dgm:pt>
    <dgm:pt modelId="{B40D9F5C-7F3D-4170-BF1F-EEEE15E39A9F}" type="parTrans" cxnId="{C678ADA7-5E3C-47D5-96BE-D56F4C9DE6DA}">
      <dgm:prSet/>
      <dgm:spPr/>
      <dgm:t>
        <a:bodyPr/>
        <a:lstStyle/>
        <a:p>
          <a:endParaRPr lang="de-DE" sz="2000"/>
        </a:p>
      </dgm:t>
    </dgm:pt>
    <dgm:pt modelId="{CAFEF9CE-466E-493A-972B-D84E47770C40}" type="sibTrans" cxnId="{C678ADA7-5E3C-47D5-96BE-D56F4C9DE6DA}">
      <dgm:prSet/>
      <dgm:spPr/>
      <dgm:t>
        <a:bodyPr/>
        <a:lstStyle/>
        <a:p>
          <a:endParaRPr lang="de-DE" sz="2000"/>
        </a:p>
      </dgm:t>
    </dgm:pt>
    <dgm:pt modelId="{BD882022-B68A-41CE-BBD6-9431F260A716}">
      <dgm:prSet phldrT="[Text]" custT="1"/>
      <dgm:spPr/>
      <dgm:t>
        <a:bodyPr/>
        <a:lstStyle/>
        <a:p>
          <a:r>
            <a:rPr lang="en-US" sz="2000" err="1"/>
            <a:t>Rückgang</a:t>
          </a:r>
          <a:r>
            <a:rPr lang="en-US" sz="2000"/>
            <a:t> der </a:t>
          </a:r>
          <a:r>
            <a:rPr lang="en-US" sz="2000" err="1"/>
            <a:t>Nachfrage</a:t>
          </a:r>
          <a:r>
            <a:rPr lang="en-US" sz="2000"/>
            <a:t> an </a:t>
          </a:r>
          <a:r>
            <a:rPr lang="en-US" sz="2000" err="1"/>
            <a:t>Fahrdiensten</a:t>
          </a:r>
          <a:r>
            <a:rPr lang="en-US" sz="2000"/>
            <a:t> </a:t>
          </a:r>
          <a:r>
            <a:rPr lang="en-US" sz="2000" err="1"/>
            <a:t>führte</a:t>
          </a:r>
          <a:r>
            <a:rPr lang="en-US" sz="2000"/>
            <a:t> </a:t>
          </a:r>
          <a:r>
            <a:rPr lang="en-US" sz="2000" err="1"/>
            <a:t>zum</a:t>
          </a:r>
          <a:r>
            <a:rPr lang="en-US" sz="2000"/>
            <a:t> </a:t>
          </a:r>
          <a:r>
            <a:rPr lang="en-US" sz="2000" err="1"/>
            <a:t>Umsatzrückgang</a:t>
          </a:r>
          <a:endParaRPr lang="en-US" sz="2000"/>
        </a:p>
      </dgm:t>
    </dgm:pt>
    <dgm:pt modelId="{F42F28B5-0595-4C31-A2B9-0841BA8A05C1}" type="parTrans" cxnId="{3D3D6AA2-3CE9-4CC7-A7BE-0BD934DB676B}">
      <dgm:prSet/>
      <dgm:spPr/>
      <dgm:t>
        <a:bodyPr/>
        <a:lstStyle/>
        <a:p>
          <a:endParaRPr lang="de-DE" sz="2000"/>
        </a:p>
      </dgm:t>
    </dgm:pt>
    <dgm:pt modelId="{AE5602C3-81F2-4AB0-A89D-43AA5A2B0F00}" type="sibTrans" cxnId="{3D3D6AA2-3CE9-4CC7-A7BE-0BD934DB676B}">
      <dgm:prSet/>
      <dgm:spPr/>
      <dgm:t>
        <a:bodyPr/>
        <a:lstStyle/>
        <a:p>
          <a:endParaRPr lang="de-DE" sz="2000"/>
        </a:p>
      </dgm:t>
    </dgm:pt>
    <dgm:pt modelId="{8825CC7D-6A29-4F07-96D4-09947633FA42}">
      <dgm:prSet phldrT="[Text]" custT="1"/>
      <dgm:spPr/>
      <dgm:t>
        <a:bodyPr/>
        <a:lstStyle/>
        <a:p>
          <a:r>
            <a:rPr lang="en-US" sz="2000" err="1"/>
            <a:t>Kosteneinsparungen</a:t>
          </a:r>
          <a:endParaRPr lang="en-US" sz="2000"/>
        </a:p>
      </dgm:t>
    </dgm:pt>
    <dgm:pt modelId="{9579CD5A-9D5E-45CF-BF1C-2ADAF0226BC3}" type="parTrans" cxnId="{4F6DFEC8-A508-4A4D-A3D2-BF798ADF8305}">
      <dgm:prSet/>
      <dgm:spPr/>
      <dgm:t>
        <a:bodyPr/>
        <a:lstStyle/>
        <a:p>
          <a:endParaRPr lang="de-DE" sz="2000"/>
        </a:p>
      </dgm:t>
    </dgm:pt>
    <dgm:pt modelId="{117ED13C-AA8D-489A-B95C-511B8755FB20}" type="sibTrans" cxnId="{4F6DFEC8-A508-4A4D-A3D2-BF798ADF8305}">
      <dgm:prSet/>
      <dgm:spPr/>
      <dgm:t>
        <a:bodyPr/>
        <a:lstStyle/>
        <a:p>
          <a:endParaRPr lang="de-DE" sz="2000"/>
        </a:p>
      </dgm:t>
    </dgm:pt>
    <dgm:pt modelId="{A5C2C46C-F3A4-47D6-9A7C-D19CAE33BE5D}">
      <dgm:prSet phldrT="[Text]" custT="1"/>
      <dgm:spPr/>
      <dgm:t>
        <a:bodyPr/>
        <a:lstStyle/>
        <a:p>
          <a:r>
            <a:rPr lang="en-US" sz="2000" err="1"/>
            <a:t>Reduzierung</a:t>
          </a:r>
          <a:r>
            <a:rPr lang="en-US" sz="2000"/>
            <a:t> von Personal und </a:t>
          </a:r>
          <a:r>
            <a:rPr lang="en-US" sz="2000" err="1"/>
            <a:t>anderen</a:t>
          </a:r>
          <a:r>
            <a:rPr lang="en-US" sz="2000"/>
            <a:t> </a:t>
          </a:r>
          <a:r>
            <a:rPr lang="en-US" sz="2000" err="1"/>
            <a:t>operativen</a:t>
          </a:r>
          <a:r>
            <a:rPr lang="en-US" sz="2000"/>
            <a:t> </a:t>
          </a:r>
          <a:r>
            <a:rPr lang="en-US" sz="2000" err="1"/>
            <a:t>Anpassungen</a:t>
          </a:r>
          <a:endParaRPr lang="en-US" sz="2000"/>
        </a:p>
      </dgm:t>
    </dgm:pt>
    <dgm:pt modelId="{C33839A7-9D3A-4048-BBFF-3324A137AB33}" type="parTrans" cxnId="{A20D652F-1F4C-4833-A20E-99DA67B21D28}">
      <dgm:prSet/>
      <dgm:spPr/>
      <dgm:t>
        <a:bodyPr/>
        <a:lstStyle/>
        <a:p>
          <a:endParaRPr lang="de-DE" sz="2000"/>
        </a:p>
      </dgm:t>
    </dgm:pt>
    <dgm:pt modelId="{A601DDD6-9E77-4979-8F3A-6C378BF8831D}" type="sibTrans" cxnId="{A20D652F-1F4C-4833-A20E-99DA67B21D28}">
      <dgm:prSet/>
      <dgm:spPr/>
      <dgm:t>
        <a:bodyPr/>
        <a:lstStyle/>
        <a:p>
          <a:endParaRPr lang="de-DE" sz="2000"/>
        </a:p>
      </dgm:t>
    </dgm:pt>
    <dgm:pt modelId="{9F6CFE46-728D-49CF-A3ED-45F38E08A393}">
      <dgm:prSet phldrT="[Text]" custT="1"/>
      <dgm:spPr/>
      <dgm:t>
        <a:bodyPr/>
        <a:lstStyle/>
        <a:p>
          <a:r>
            <a:rPr lang="en-US" sz="2000" err="1"/>
            <a:t>Umsatzsteigerung</a:t>
          </a:r>
          <a:r>
            <a:rPr lang="en-US" sz="2000"/>
            <a:t> </a:t>
          </a:r>
          <a:r>
            <a:rPr lang="en-US" sz="2000" err="1"/>
            <a:t>bei</a:t>
          </a:r>
          <a:r>
            <a:rPr lang="en-US" sz="2000"/>
            <a:t> </a:t>
          </a:r>
          <a:r>
            <a:rPr lang="en-US" sz="2000" err="1"/>
            <a:t>Lieferdiensten</a:t>
          </a:r>
          <a:endParaRPr lang="en-US" sz="2000"/>
        </a:p>
      </dgm:t>
    </dgm:pt>
    <dgm:pt modelId="{1F26F48C-3739-41E6-A9E7-7274EF700CC3}" type="parTrans" cxnId="{84632500-9CB7-4DAC-A454-3F2ECDB31B2B}">
      <dgm:prSet/>
      <dgm:spPr/>
      <dgm:t>
        <a:bodyPr/>
        <a:lstStyle/>
        <a:p>
          <a:endParaRPr lang="de-DE" sz="2000"/>
        </a:p>
      </dgm:t>
    </dgm:pt>
    <dgm:pt modelId="{992D6E90-621F-40DB-8565-C83FEA5D48D4}" type="sibTrans" cxnId="{84632500-9CB7-4DAC-A454-3F2ECDB31B2B}">
      <dgm:prSet/>
      <dgm:spPr/>
      <dgm:t>
        <a:bodyPr/>
        <a:lstStyle/>
        <a:p>
          <a:endParaRPr lang="de-DE" sz="2000"/>
        </a:p>
      </dgm:t>
    </dgm:pt>
    <dgm:pt modelId="{69E93A43-8000-4C3D-812C-0BA6A755F906}">
      <dgm:prSet phldrT="[Text]" custT="1"/>
      <dgm:spPr/>
      <dgm:t>
        <a:bodyPr/>
        <a:lstStyle/>
        <a:p>
          <a:r>
            <a:rPr lang="en-US" sz="2000" err="1"/>
            <a:t>Verstärkte</a:t>
          </a:r>
          <a:r>
            <a:rPr lang="en-US" sz="2000"/>
            <a:t> </a:t>
          </a:r>
          <a:r>
            <a:rPr lang="en-US" sz="2000" err="1"/>
            <a:t>Nachfrage</a:t>
          </a:r>
          <a:r>
            <a:rPr lang="en-US" sz="2000"/>
            <a:t> an </a:t>
          </a:r>
          <a:r>
            <a:rPr lang="en-US" sz="2000" err="1"/>
            <a:t>Lieferdiensten</a:t>
          </a:r>
          <a:r>
            <a:rPr lang="en-US" sz="2000"/>
            <a:t> (UberEats) </a:t>
          </a:r>
          <a:r>
            <a:rPr lang="en-US" sz="2000" err="1"/>
            <a:t>führte</a:t>
          </a:r>
          <a:r>
            <a:rPr lang="en-US" sz="2000"/>
            <a:t> </a:t>
          </a:r>
          <a:r>
            <a:rPr lang="en-US" sz="2000" err="1"/>
            <a:t>zur</a:t>
          </a:r>
          <a:r>
            <a:rPr lang="en-US" sz="2000"/>
            <a:t> </a:t>
          </a:r>
          <a:r>
            <a:rPr lang="en-US" sz="2000" err="1"/>
            <a:t>Umsatzsteigerung</a:t>
          </a:r>
          <a:endParaRPr lang="en-US" sz="2000"/>
        </a:p>
      </dgm:t>
    </dgm:pt>
    <dgm:pt modelId="{9A6B960C-EB9C-4F7E-AFAE-C3F14D34D478}" type="parTrans" cxnId="{D4FD6D85-EA95-4C43-B884-6AE03E796FE9}">
      <dgm:prSet/>
      <dgm:spPr/>
      <dgm:t>
        <a:bodyPr/>
        <a:lstStyle/>
        <a:p>
          <a:endParaRPr lang="de-DE" sz="2000"/>
        </a:p>
      </dgm:t>
    </dgm:pt>
    <dgm:pt modelId="{5720E2DA-9279-4DFB-9C29-E2E7A82655B6}" type="sibTrans" cxnId="{D4FD6D85-EA95-4C43-B884-6AE03E796FE9}">
      <dgm:prSet/>
      <dgm:spPr/>
      <dgm:t>
        <a:bodyPr/>
        <a:lstStyle/>
        <a:p>
          <a:endParaRPr lang="de-DE" sz="2000"/>
        </a:p>
      </dgm:t>
    </dgm:pt>
    <dgm:pt modelId="{E98F55E0-2FD4-4074-A8E4-6BE9757C3818}">
      <dgm:prSet phldrT="[Text]" custT="1"/>
      <dgm:spPr/>
      <dgm:t>
        <a:bodyPr/>
        <a:lstStyle/>
        <a:p>
          <a:r>
            <a:rPr lang="en-US" sz="2000" err="1"/>
            <a:t>Maßnahmen</a:t>
          </a:r>
          <a:r>
            <a:rPr lang="en-US" sz="2000"/>
            <a:t> </a:t>
          </a:r>
          <a:r>
            <a:rPr lang="en-US" sz="2000" err="1"/>
            <a:t>zur</a:t>
          </a:r>
          <a:r>
            <a:rPr lang="en-US" sz="2000"/>
            <a:t> </a:t>
          </a:r>
          <a:r>
            <a:rPr lang="en-US" sz="2000" err="1"/>
            <a:t>Kosteneinsparung</a:t>
          </a:r>
          <a:endParaRPr lang="en-US" sz="2000"/>
        </a:p>
      </dgm:t>
    </dgm:pt>
    <dgm:pt modelId="{88632FD0-0E30-4DB8-A615-BD47D52CC812}" type="parTrans" cxnId="{B31C1908-FCDE-4E85-8D9A-318D56F1E3E1}">
      <dgm:prSet/>
      <dgm:spPr/>
      <dgm:t>
        <a:bodyPr/>
        <a:lstStyle/>
        <a:p>
          <a:endParaRPr lang="de-DE" sz="2000"/>
        </a:p>
      </dgm:t>
    </dgm:pt>
    <dgm:pt modelId="{BF5B4E53-B447-4E8F-81B5-E0A4FFC5C437}" type="sibTrans" cxnId="{B31C1908-FCDE-4E85-8D9A-318D56F1E3E1}">
      <dgm:prSet/>
      <dgm:spPr/>
      <dgm:t>
        <a:bodyPr/>
        <a:lstStyle/>
        <a:p>
          <a:endParaRPr lang="de-DE" sz="2000"/>
        </a:p>
      </dgm:t>
    </dgm:pt>
    <dgm:pt modelId="{BFF5C934-2384-4A6A-8FC5-A4770255D096}" type="pres">
      <dgm:prSet presAssocID="{9115B380-B2B3-49D5-8B07-5E2107D47C5D}" presName="linear" presStyleCnt="0">
        <dgm:presLayoutVars>
          <dgm:animLvl val="lvl"/>
          <dgm:resizeHandles val="exact"/>
        </dgm:presLayoutVars>
      </dgm:prSet>
      <dgm:spPr/>
    </dgm:pt>
    <dgm:pt modelId="{93CFC981-BFB9-4D82-9659-512178A00358}" type="pres">
      <dgm:prSet presAssocID="{C56563E6-721A-48B7-AD2E-62F13F2E11B8}" presName="parentText" presStyleLbl="node1" presStyleIdx="0" presStyleCnt="3">
        <dgm:presLayoutVars>
          <dgm:chMax val="0"/>
          <dgm:bulletEnabled val="1"/>
        </dgm:presLayoutVars>
      </dgm:prSet>
      <dgm:spPr/>
    </dgm:pt>
    <dgm:pt modelId="{65546F03-7EA9-49E9-B138-248CE96BD6C4}" type="pres">
      <dgm:prSet presAssocID="{C56563E6-721A-48B7-AD2E-62F13F2E11B8}" presName="childText" presStyleLbl="revTx" presStyleIdx="0" presStyleCnt="3">
        <dgm:presLayoutVars>
          <dgm:bulletEnabled val="1"/>
        </dgm:presLayoutVars>
      </dgm:prSet>
      <dgm:spPr/>
    </dgm:pt>
    <dgm:pt modelId="{7914E82F-967A-46F8-BCE6-F3237B632724}" type="pres">
      <dgm:prSet presAssocID="{9F6CFE46-728D-49CF-A3ED-45F38E08A393}" presName="parentText" presStyleLbl="node1" presStyleIdx="1" presStyleCnt="3">
        <dgm:presLayoutVars>
          <dgm:chMax val="0"/>
          <dgm:bulletEnabled val="1"/>
        </dgm:presLayoutVars>
      </dgm:prSet>
      <dgm:spPr/>
    </dgm:pt>
    <dgm:pt modelId="{CA013621-BE69-4B50-AC78-BAC02D6D805D}" type="pres">
      <dgm:prSet presAssocID="{9F6CFE46-728D-49CF-A3ED-45F38E08A393}" presName="childText" presStyleLbl="revTx" presStyleIdx="1" presStyleCnt="3">
        <dgm:presLayoutVars>
          <dgm:bulletEnabled val="1"/>
        </dgm:presLayoutVars>
      </dgm:prSet>
      <dgm:spPr/>
    </dgm:pt>
    <dgm:pt modelId="{8CFD4B9D-887C-408A-8355-77E74FDD7664}" type="pres">
      <dgm:prSet presAssocID="{8825CC7D-6A29-4F07-96D4-09947633FA42}" presName="parentText" presStyleLbl="node1" presStyleIdx="2" presStyleCnt="3">
        <dgm:presLayoutVars>
          <dgm:chMax val="0"/>
          <dgm:bulletEnabled val="1"/>
        </dgm:presLayoutVars>
      </dgm:prSet>
      <dgm:spPr/>
    </dgm:pt>
    <dgm:pt modelId="{478B1198-761F-4142-967D-3CF97649E9DC}" type="pres">
      <dgm:prSet presAssocID="{8825CC7D-6A29-4F07-96D4-09947633FA42}" presName="childText" presStyleLbl="revTx" presStyleIdx="2" presStyleCnt="3">
        <dgm:presLayoutVars>
          <dgm:bulletEnabled val="1"/>
        </dgm:presLayoutVars>
      </dgm:prSet>
      <dgm:spPr/>
    </dgm:pt>
  </dgm:ptLst>
  <dgm:cxnLst>
    <dgm:cxn modelId="{84632500-9CB7-4DAC-A454-3F2ECDB31B2B}" srcId="{9115B380-B2B3-49D5-8B07-5E2107D47C5D}" destId="{9F6CFE46-728D-49CF-A3ED-45F38E08A393}" srcOrd="1" destOrd="0" parTransId="{1F26F48C-3739-41E6-A9E7-7274EF700CC3}" sibTransId="{992D6E90-621F-40DB-8565-C83FEA5D48D4}"/>
    <dgm:cxn modelId="{B31C1908-FCDE-4E85-8D9A-318D56F1E3E1}" srcId="{8825CC7D-6A29-4F07-96D4-09947633FA42}" destId="{E98F55E0-2FD4-4074-A8E4-6BE9757C3818}" srcOrd="0" destOrd="0" parTransId="{88632FD0-0E30-4DB8-A615-BD47D52CC812}" sibTransId="{BF5B4E53-B447-4E8F-81B5-E0A4FFC5C437}"/>
    <dgm:cxn modelId="{214EDE1C-3BE0-4EB6-8BC6-42C20CA03CA1}" type="presOf" srcId="{69E93A43-8000-4C3D-812C-0BA6A755F906}" destId="{CA013621-BE69-4B50-AC78-BAC02D6D805D}" srcOrd="0" destOrd="0" presId="urn:microsoft.com/office/officeart/2005/8/layout/vList2"/>
    <dgm:cxn modelId="{7FB6FC20-FAAF-4269-814A-C9CCD60A9257}" type="presOf" srcId="{A5C2C46C-F3A4-47D6-9A7C-D19CAE33BE5D}" destId="{478B1198-761F-4142-967D-3CF97649E9DC}" srcOrd="0" destOrd="1" presId="urn:microsoft.com/office/officeart/2005/8/layout/vList2"/>
    <dgm:cxn modelId="{A20D652F-1F4C-4833-A20E-99DA67B21D28}" srcId="{8825CC7D-6A29-4F07-96D4-09947633FA42}" destId="{A5C2C46C-F3A4-47D6-9A7C-D19CAE33BE5D}" srcOrd="1" destOrd="0" parTransId="{C33839A7-9D3A-4048-BBFF-3324A137AB33}" sibTransId="{A601DDD6-9E77-4979-8F3A-6C378BF8831D}"/>
    <dgm:cxn modelId="{DC14D04F-E220-4179-B321-A8B1606B2F36}" type="presOf" srcId="{BD882022-B68A-41CE-BBD6-9431F260A716}" destId="{65546F03-7EA9-49E9-B138-248CE96BD6C4}" srcOrd="0" destOrd="0" presId="urn:microsoft.com/office/officeart/2005/8/layout/vList2"/>
    <dgm:cxn modelId="{D4FD6D85-EA95-4C43-B884-6AE03E796FE9}" srcId="{9F6CFE46-728D-49CF-A3ED-45F38E08A393}" destId="{69E93A43-8000-4C3D-812C-0BA6A755F906}" srcOrd="0" destOrd="0" parTransId="{9A6B960C-EB9C-4F7E-AFAE-C3F14D34D478}" sibTransId="{5720E2DA-9279-4DFB-9C29-E2E7A82655B6}"/>
    <dgm:cxn modelId="{0572528A-9573-42A6-80BF-EDC2B5057ED3}" type="presOf" srcId="{8825CC7D-6A29-4F07-96D4-09947633FA42}" destId="{8CFD4B9D-887C-408A-8355-77E74FDD7664}" srcOrd="0" destOrd="0" presId="urn:microsoft.com/office/officeart/2005/8/layout/vList2"/>
    <dgm:cxn modelId="{3D3D6AA2-3CE9-4CC7-A7BE-0BD934DB676B}" srcId="{C56563E6-721A-48B7-AD2E-62F13F2E11B8}" destId="{BD882022-B68A-41CE-BBD6-9431F260A716}" srcOrd="0" destOrd="0" parTransId="{F42F28B5-0595-4C31-A2B9-0841BA8A05C1}" sibTransId="{AE5602C3-81F2-4AB0-A89D-43AA5A2B0F00}"/>
    <dgm:cxn modelId="{C678ADA7-5E3C-47D5-96BE-D56F4C9DE6DA}" srcId="{9115B380-B2B3-49D5-8B07-5E2107D47C5D}" destId="{C56563E6-721A-48B7-AD2E-62F13F2E11B8}" srcOrd="0" destOrd="0" parTransId="{B40D9F5C-7F3D-4170-BF1F-EEEE15E39A9F}" sibTransId="{CAFEF9CE-466E-493A-972B-D84E47770C40}"/>
    <dgm:cxn modelId="{0A38DBBA-72F8-4601-8D3D-CA4E4D3A66C7}" type="presOf" srcId="{9115B380-B2B3-49D5-8B07-5E2107D47C5D}" destId="{BFF5C934-2384-4A6A-8FC5-A4770255D096}" srcOrd="0" destOrd="0" presId="urn:microsoft.com/office/officeart/2005/8/layout/vList2"/>
    <dgm:cxn modelId="{B32E02C3-4642-41D8-B0FB-6D1D50BC13BC}" type="presOf" srcId="{9F6CFE46-728D-49CF-A3ED-45F38E08A393}" destId="{7914E82F-967A-46F8-BCE6-F3237B632724}" srcOrd="0" destOrd="0" presId="urn:microsoft.com/office/officeart/2005/8/layout/vList2"/>
    <dgm:cxn modelId="{4F6DFEC8-A508-4A4D-A3D2-BF798ADF8305}" srcId="{9115B380-B2B3-49D5-8B07-5E2107D47C5D}" destId="{8825CC7D-6A29-4F07-96D4-09947633FA42}" srcOrd="2" destOrd="0" parTransId="{9579CD5A-9D5E-45CF-BF1C-2ADAF0226BC3}" sibTransId="{117ED13C-AA8D-489A-B95C-511B8755FB20}"/>
    <dgm:cxn modelId="{D48FFCCC-D687-4F1B-A784-F3458AD2455C}" type="presOf" srcId="{C56563E6-721A-48B7-AD2E-62F13F2E11B8}" destId="{93CFC981-BFB9-4D82-9659-512178A00358}" srcOrd="0" destOrd="0" presId="urn:microsoft.com/office/officeart/2005/8/layout/vList2"/>
    <dgm:cxn modelId="{883784DE-D746-4C74-B105-0B6D781C726B}" type="presOf" srcId="{E98F55E0-2FD4-4074-A8E4-6BE9757C3818}" destId="{478B1198-761F-4142-967D-3CF97649E9DC}" srcOrd="0" destOrd="0" presId="urn:microsoft.com/office/officeart/2005/8/layout/vList2"/>
    <dgm:cxn modelId="{FA871B41-B81A-45A5-8453-FECD3A55B6BF}" type="presParOf" srcId="{BFF5C934-2384-4A6A-8FC5-A4770255D096}" destId="{93CFC981-BFB9-4D82-9659-512178A00358}" srcOrd="0" destOrd="0" presId="urn:microsoft.com/office/officeart/2005/8/layout/vList2"/>
    <dgm:cxn modelId="{713946A1-6F8B-4B28-BBEC-5A894836166A}" type="presParOf" srcId="{BFF5C934-2384-4A6A-8FC5-A4770255D096}" destId="{65546F03-7EA9-49E9-B138-248CE96BD6C4}" srcOrd="1" destOrd="0" presId="urn:microsoft.com/office/officeart/2005/8/layout/vList2"/>
    <dgm:cxn modelId="{1DF23336-A09A-4C75-93E2-C1BAE714A1E1}" type="presParOf" srcId="{BFF5C934-2384-4A6A-8FC5-A4770255D096}" destId="{7914E82F-967A-46F8-BCE6-F3237B632724}" srcOrd="2" destOrd="0" presId="urn:microsoft.com/office/officeart/2005/8/layout/vList2"/>
    <dgm:cxn modelId="{091B4F96-60B1-42BD-9FBE-91BB8EB3624F}" type="presParOf" srcId="{BFF5C934-2384-4A6A-8FC5-A4770255D096}" destId="{CA013621-BE69-4B50-AC78-BAC02D6D805D}" srcOrd="3" destOrd="0" presId="urn:microsoft.com/office/officeart/2005/8/layout/vList2"/>
    <dgm:cxn modelId="{2E01A285-8233-4D40-80E9-71B116838B92}" type="presParOf" srcId="{BFF5C934-2384-4A6A-8FC5-A4770255D096}" destId="{8CFD4B9D-887C-408A-8355-77E74FDD7664}" srcOrd="4" destOrd="0" presId="urn:microsoft.com/office/officeart/2005/8/layout/vList2"/>
    <dgm:cxn modelId="{A8D7F4A1-744D-4707-BA5A-63151F581DD8}" type="presParOf" srcId="{BFF5C934-2384-4A6A-8FC5-A4770255D096}" destId="{478B1198-761F-4142-967D-3CF97649E9DC}"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1750C1E-E972-4C7A-9C65-5FE1924401C2}"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de-DE"/>
        </a:p>
      </dgm:t>
    </dgm:pt>
    <dgm:pt modelId="{43B22E5A-7BCE-41C6-9E3F-4184CCAF08CD}">
      <dgm:prSet phldrT="[Text]" custT="1"/>
      <dgm:spPr/>
      <dgm:t>
        <a:bodyPr/>
        <a:lstStyle/>
        <a:p>
          <a:r>
            <a:rPr lang="en-US" sz="2000" err="1"/>
            <a:t>Betonung</a:t>
          </a:r>
          <a:r>
            <a:rPr lang="en-US" sz="2000"/>
            <a:t> auf </a:t>
          </a:r>
          <a:r>
            <a:rPr lang="en-US" sz="2000" err="1"/>
            <a:t>Diversifizierung</a:t>
          </a:r>
          <a:endParaRPr lang="en-US" sz="2000"/>
        </a:p>
      </dgm:t>
    </dgm:pt>
    <dgm:pt modelId="{1B4C79AA-BF78-44C6-8408-18DDC3A506B5}" type="parTrans" cxnId="{A3B9A529-D122-4A53-86D5-DD54402E90ED}">
      <dgm:prSet/>
      <dgm:spPr/>
      <dgm:t>
        <a:bodyPr/>
        <a:lstStyle/>
        <a:p>
          <a:endParaRPr lang="de-DE" sz="2000"/>
        </a:p>
      </dgm:t>
    </dgm:pt>
    <dgm:pt modelId="{D0F8375D-DA13-420F-ACB6-664E8779C768}" type="sibTrans" cxnId="{A3B9A529-D122-4A53-86D5-DD54402E90ED}">
      <dgm:prSet/>
      <dgm:spPr/>
      <dgm:t>
        <a:bodyPr/>
        <a:lstStyle/>
        <a:p>
          <a:endParaRPr lang="de-DE" sz="2000"/>
        </a:p>
      </dgm:t>
    </dgm:pt>
    <dgm:pt modelId="{5646E579-75EE-4BC3-8CA3-3D5EFE3C7EB2}">
      <dgm:prSet phldrT="[Text]" custT="1"/>
      <dgm:spPr/>
      <dgm:t>
        <a:bodyPr/>
        <a:lstStyle/>
        <a:p>
          <a:r>
            <a:rPr lang="en-US" sz="2000" err="1"/>
            <a:t>Wichtigkeit</a:t>
          </a:r>
          <a:r>
            <a:rPr lang="en-US" sz="2000"/>
            <a:t> der </a:t>
          </a:r>
          <a:r>
            <a:rPr lang="en-US" sz="2000" err="1"/>
            <a:t>Diversifizierung</a:t>
          </a:r>
          <a:r>
            <a:rPr lang="en-US" sz="2000"/>
            <a:t> des </a:t>
          </a:r>
          <a:r>
            <a:rPr lang="en-US" sz="2000" err="1"/>
            <a:t>Geschäftsmodells</a:t>
          </a:r>
          <a:r>
            <a:rPr lang="en-US" sz="2000"/>
            <a:t> von Uber (</a:t>
          </a:r>
          <a:r>
            <a:rPr lang="en-US" sz="2000" err="1"/>
            <a:t>z.B.</a:t>
          </a:r>
          <a:r>
            <a:rPr lang="en-US" sz="2000"/>
            <a:t> UberEats)</a:t>
          </a:r>
        </a:p>
      </dgm:t>
    </dgm:pt>
    <dgm:pt modelId="{D1ECF50B-A562-4EE1-AF64-1789225D930A}" type="parTrans" cxnId="{B08CB49B-C3A6-4B92-A4B4-28F5A6F79C9F}">
      <dgm:prSet/>
      <dgm:spPr/>
      <dgm:t>
        <a:bodyPr/>
        <a:lstStyle/>
        <a:p>
          <a:endParaRPr lang="de-DE" sz="2000"/>
        </a:p>
      </dgm:t>
    </dgm:pt>
    <dgm:pt modelId="{DE78F765-0E0F-4F84-9A29-05D74B4FD053}" type="sibTrans" cxnId="{B08CB49B-C3A6-4B92-A4B4-28F5A6F79C9F}">
      <dgm:prSet/>
      <dgm:spPr/>
      <dgm:t>
        <a:bodyPr/>
        <a:lstStyle/>
        <a:p>
          <a:endParaRPr lang="de-DE" sz="2000"/>
        </a:p>
      </dgm:t>
    </dgm:pt>
    <dgm:pt modelId="{396AB132-0E79-4211-BA74-AC4C202A83AA}">
      <dgm:prSet phldrT="[Text]" custT="1"/>
      <dgm:spPr/>
      <dgm:t>
        <a:bodyPr/>
        <a:lstStyle/>
        <a:p>
          <a:r>
            <a:rPr lang="en-US" sz="2000" err="1"/>
            <a:t>Anpassungsfähigkeit</a:t>
          </a:r>
          <a:r>
            <a:rPr lang="en-US" sz="2000"/>
            <a:t> und </a:t>
          </a:r>
          <a:r>
            <a:rPr lang="en-US" sz="2000" err="1"/>
            <a:t>Flexibilität</a:t>
          </a:r>
          <a:endParaRPr lang="en-US" sz="2000"/>
        </a:p>
      </dgm:t>
    </dgm:pt>
    <dgm:pt modelId="{FE9FBE51-8EAF-48A2-831D-F0D2AA3C8721}" type="parTrans" cxnId="{42F0950E-C6CA-42DE-A31F-D8BA1FC52D09}">
      <dgm:prSet/>
      <dgm:spPr/>
      <dgm:t>
        <a:bodyPr/>
        <a:lstStyle/>
        <a:p>
          <a:endParaRPr lang="de-DE" sz="2000"/>
        </a:p>
      </dgm:t>
    </dgm:pt>
    <dgm:pt modelId="{B3049485-555D-4248-84B0-75FB265BF42A}" type="sibTrans" cxnId="{42F0950E-C6CA-42DE-A31F-D8BA1FC52D09}">
      <dgm:prSet/>
      <dgm:spPr/>
      <dgm:t>
        <a:bodyPr/>
        <a:lstStyle/>
        <a:p>
          <a:endParaRPr lang="de-DE" sz="2000"/>
        </a:p>
      </dgm:t>
    </dgm:pt>
    <dgm:pt modelId="{540C41D8-3C31-4D78-94B7-F0D1A144CFCA}">
      <dgm:prSet phldrT="[Text]" custT="1"/>
      <dgm:spPr/>
      <dgm:t>
        <a:bodyPr/>
        <a:lstStyle/>
        <a:p>
          <a:r>
            <a:rPr lang="en-US" sz="2000" err="1"/>
            <a:t>Notwendigkeit</a:t>
          </a:r>
          <a:r>
            <a:rPr lang="en-US" sz="2000"/>
            <a:t> von Uber, flexible und </a:t>
          </a:r>
          <a:r>
            <a:rPr lang="en-US" sz="2000" err="1"/>
            <a:t>anpassungsfähig</a:t>
          </a:r>
          <a:r>
            <a:rPr lang="en-US" sz="2000"/>
            <a:t> </a:t>
          </a:r>
          <a:r>
            <a:rPr lang="en-US" sz="2000" err="1"/>
            <a:t>reagieren</a:t>
          </a:r>
          <a:r>
            <a:rPr lang="en-US" sz="2000"/>
            <a:t> </a:t>
          </a:r>
          <a:r>
            <a:rPr lang="en-US" sz="2000" err="1"/>
            <a:t>zu</a:t>
          </a:r>
          <a:r>
            <a:rPr lang="en-US" sz="2000"/>
            <a:t> </a:t>
          </a:r>
          <a:r>
            <a:rPr lang="en-US" sz="2000" err="1"/>
            <a:t>können</a:t>
          </a:r>
          <a:endParaRPr lang="en-US" sz="2000"/>
        </a:p>
      </dgm:t>
    </dgm:pt>
    <dgm:pt modelId="{10C99A43-F811-455D-8096-C422265F2FA0}" type="parTrans" cxnId="{8294E4A7-B94F-4682-82EB-9E46D3AD5539}">
      <dgm:prSet/>
      <dgm:spPr/>
      <dgm:t>
        <a:bodyPr/>
        <a:lstStyle/>
        <a:p>
          <a:endParaRPr lang="de-DE" sz="2000"/>
        </a:p>
      </dgm:t>
    </dgm:pt>
    <dgm:pt modelId="{EF191F2D-90CD-44C4-85AF-5DBCC93E149E}" type="sibTrans" cxnId="{8294E4A7-B94F-4682-82EB-9E46D3AD5539}">
      <dgm:prSet/>
      <dgm:spPr/>
      <dgm:t>
        <a:bodyPr/>
        <a:lstStyle/>
        <a:p>
          <a:endParaRPr lang="de-DE" sz="2000"/>
        </a:p>
      </dgm:t>
    </dgm:pt>
    <dgm:pt modelId="{CDD765BF-4608-408A-AF23-050A52554C6B}">
      <dgm:prSet phldrT="[Text]" custT="1"/>
      <dgm:spPr/>
      <dgm:t>
        <a:bodyPr/>
        <a:lstStyle/>
        <a:p>
          <a:pPr>
            <a:buFont typeface="Arial" panose="020B0604020202020204" pitchFamily="34" charset="0"/>
            <a:buChar char="•"/>
          </a:pPr>
          <a:r>
            <a:rPr lang="en-US" sz="2000" err="1"/>
            <a:t>langfristige</a:t>
          </a:r>
          <a:r>
            <a:rPr lang="en-US" sz="2000"/>
            <a:t> </a:t>
          </a:r>
          <a:r>
            <a:rPr lang="en-US" sz="2000" err="1"/>
            <a:t>Auswirkungen</a:t>
          </a:r>
          <a:r>
            <a:rPr lang="en-US" sz="2000"/>
            <a:t> auf die </a:t>
          </a:r>
          <a:r>
            <a:rPr lang="en-US" sz="2000" err="1"/>
            <a:t>strategische</a:t>
          </a:r>
          <a:r>
            <a:rPr lang="en-US" sz="2000"/>
            <a:t> </a:t>
          </a:r>
          <a:r>
            <a:rPr lang="en-US" sz="2000" err="1"/>
            <a:t>Ausrichtung</a:t>
          </a:r>
          <a:r>
            <a:rPr lang="en-US" sz="2000"/>
            <a:t> von Uber</a:t>
          </a:r>
        </a:p>
      </dgm:t>
    </dgm:pt>
    <dgm:pt modelId="{2D47E663-7F70-4AA6-B898-4052FABEC3EC}" type="parTrans" cxnId="{F82EC00E-FA70-41B0-BCDA-60BA761FB173}">
      <dgm:prSet/>
      <dgm:spPr/>
      <dgm:t>
        <a:bodyPr/>
        <a:lstStyle/>
        <a:p>
          <a:endParaRPr lang="de-DE" sz="2000"/>
        </a:p>
      </dgm:t>
    </dgm:pt>
    <dgm:pt modelId="{5C99C1F8-998F-47F1-84BB-AD90AD32E0D1}" type="sibTrans" cxnId="{F82EC00E-FA70-41B0-BCDA-60BA761FB173}">
      <dgm:prSet/>
      <dgm:spPr/>
      <dgm:t>
        <a:bodyPr/>
        <a:lstStyle/>
        <a:p>
          <a:endParaRPr lang="de-DE" sz="2000"/>
        </a:p>
      </dgm:t>
    </dgm:pt>
    <dgm:pt modelId="{FC9E2675-8949-4A3B-AE86-6FB2D9A33E15}">
      <dgm:prSet phldrT="[Text]" custT="1"/>
      <dgm:spPr/>
      <dgm:t>
        <a:bodyPr/>
        <a:lstStyle/>
        <a:p>
          <a:r>
            <a:rPr lang="en-US" sz="2000"/>
            <a:t>Auf </a:t>
          </a:r>
          <a:r>
            <a:rPr lang="en-US" sz="2000" err="1"/>
            <a:t>unvorhersehbare</a:t>
          </a:r>
          <a:r>
            <a:rPr lang="en-US" sz="2000"/>
            <a:t> </a:t>
          </a:r>
          <a:r>
            <a:rPr lang="en-US" sz="2000" err="1"/>
            <a:t>Herausforderungen</a:t>
          </a:r>
          <a:r>
            <a:rPr lang="en-US" sz="2000"/>
            <a:t> muss </a:t>
          </a:r>
          <a:r>
            <a:rPr lang="en-US" sz="2000" err="1"/>
            <a:t>reagiert</a:t>
          </a:r>
          <a:r>
            <a:rPr lang="en-US" sz="2000"/>
            <a:t> </a:t>
          </a:r>
          <a:r>
            <a:rPr lang="en-US" sz="2000" err="1"/>
            <a:t>werden</a:t>
          </a:r>
          <a:r>
            <a:rPr lang="en-US" sz="2000"/>
            <a:t> </a:t>
          </a:r>
          <a:r>
            <a:rPr lang="en-US" sz="2000" err="1"/>
            <a:t>können</a:t>
          </a:r>
          <a:endParaRPr lang="en-US" sz="2000"/>
        </a:p>
      </dgm:t>
    </dgm:pt>
    <dgm:pt modelId="{129DF9F1-D774-4658-81BA-B268366BAA13}" type="parTrans" cxnId="{55DFC1D4-6134-49CA-A318-859767C3EED7}">
      <dgm:prSet/>
      <dgm:spPr/>
      <dgm:t>
        <a:bodyPr/>
        <a:lstStyle/>
        <a:p>
          <a:endParaRPr lang="de-DE" sz="2000"/>
        </a:p>
      </dgm:t>
    </dgm:pt>
    <dgm:pt modelId="{1C3BF3DC-8F74-4B3B-9C30-7DEF9FB229B0}" type="sibTrans" cxnId="{55DFC1D4-6134-49CA-A318-859767C3EED7}">
      <dgm:prSet/>
      <dgm:spPr/>
      <dgm:t>
        <a:bodyPr/>
        <a:lstStyle/>
        <a:p>
          <a:endParaRPr lang="de-DE" sz="2000"/>
        </a:p>
      </dgm:t>
    </dgm:pt>
    <dgm:pt modelId="{45B0BB06-5A6D-48CC-86C9-F02E28C1161E}" type="pres">
      <dgm:prSet presAssocID="{91750C1E-E972-4C7A-9C65-5FE1924401C2}" presName="linear" presStyleCnt="0">
        <dgm:presLayoutVars>
          <dgm:animLvl val="lvl"/>
          <dgm:resizeHandles val="exact"/>
        </dgm:presLayoutVars>
      </dgm:prSet>
      <dgm:spPr/>
    </dgm:pt>
    <dgm:pt modelId="{35B913EC-9650-487F-BBF2-0B16EAF87046}" type="pres">
      <dgm:prSet presAssocID="{43B22E5A-7BCE-41C6-9E3F-4184CCAF08CD}" presName="parentText" presStyleLbl="node1" presStyleIdx="0" presStyleCnt="2">
        <dgm:presLayoutVars>
          <dgm:chMax val="0"/>
          <dgm:bulletEnabled val="1"/>
        </dgm:presLayoutVars>
      </dgm:prSet>
      <dgm:spPr/>
    </dgm:pt>
    <dgm:pt modelId="{A62D38DB-E028-49E9-98B2-C5205DCC0B2C}" type="pres">
      <dgm:prSet presAssocID="{43B22E5A-7BCE-41C6-9E3F-4184CCAF08CD}" presName="childText" presStyleLbl="revTx" presStyleIdx="0" presStyleCnt="2">
        <dgm:presLayoutVars>
          <dgm:bulletEnabled val="1"/>
        </dgm:presLayoutVars>
      </dgm:prSet>
      <dgm:spPr/>
    </dgm:pt>
    <dgm:pt modelId="{E7ACB1D9-9580-4DA3-8E6F-B108E6FF3C3C}" type="pres">
      <dgm:prSet presAssocID="{396AB132-0E79-4211-BA74-AC4C202A83AA}" presName="parentText" presStyleLbl="node1" presStyleIdx="1" presStyleCnt="2">
        <dgm:presLayoutVars>
          <dgm:chMax val="0"/>
          <dgm:bulletEnabled val="1"/>
        </dgm:presLayoutVars>
      </dgm:prSet>
      <dgm:spPr/>
    </dgm:pt>
    <dgm:pt modelId="{68B38FE7-10E0-4333-B071-6414C964A230}" type="pres">
      <dgm:prSet presAssocID="{396AB132-0E79-4211-BA74-AC4C202A83AA}" presName="childText" presStyleLbl="revTx" presStyleIdx="1" presStyleCnt="2">
        <dgm:presLayoutVars>
          <dgm:bulletEnabled val="1"/>
        </dgm:presLayoutVars>
      </dgm:prSet>
      <dgm:spPr/>
    </dgm:pt>
  </dgm:ptLst>
  <dgm:cxnLst>
    <dgm:cxn modelId="{42F0950E-C6CA-42DE-A31F-D8BA1FC52D09}" srcId="{91750C1E-E972-4C7A-9C65-5FE1924401C2}" destId="{396AB132-0E79-4211-BA74-AC4C202A83AA}" srcOrd="1" destOrd="0" parTransId="{FE9FBE51-8EAF-48A2-831D-F0D2AA3C8721}" sibTransId="{B3049485-555D-4248-84B0-75FB265BF42A}"/>
    <dgm:cxn modelId="{F82EC00E-FA70-41B0-BCDA-60BA761FB173}" srcId="{43B22E5A-7BCE-41C6-9E3F-4184CCAF08CD}" destId="{CDD765BF-4608-408A-AF23-050A52554C6B}" srcOrd="1" destOrd="0" parTransId="{2D47E663-7F70-4AA6-B898-4052FABEC3EC}" sibTransId="{5C99C1F8-998F-47F1-84BB-AD90AD32E0D1}"/>
    <dgm:cxn modelId="{26F3C31D-D75E-4631-90F2-7046412E3B43}" type="presOf" srcId="{540C41D8-3C31-4D78-94B7-F0D1A144CFCA}" destId="{68B38FE7-10E0-4333-B071-6414C964A230}" srcOrd="0" destOrd="0" presId="urn:microsoft.com/office/officeart/2005/8/layout/vList2"/>
    <dgm:cxn modelId="{A3B9A529-D122-4A53-86D5-DD54402E90ED}" srcId="{91750C1E-E972-4C7A-9C65-5FE1924401C2}" destId="{43B22E5A-7BCE-41C6-9E3F-4184CCAF08CD}" srcOrd="0" destOrd="0" parTransId="{1B4C79AA-BF78-44C6-8408-18DDC3A506B5}" sibTransId="{D0F8375D-DA13-420F-ACB6-664E8779C768}"/>
    <dgm:cxn modelId="{C6E8218C-DDEB-4289-8A24-E517D7FF0C8B}" type="presOf" srcId="{396AB132-0E79-4211-BA74-AC4C202A83AA}" destId="{E7ACB1D9-9580-4DA3-8E6F-B108E6FF3C3C}" srcOrd="0" destOrd="0" presId="urn:microsoft.com/office/officeart/2005/8/layout/vList2"/>
    <dgm:cxn modelId="{B08CB49B-C3A6-4B92-A4B4-28F5A6F79C9F}" srcId="{43B22E5A-7BCE-41C6-9E3F-4184CCAF08CD}" destId="{5646E579-75EE-4BC3-8CA3-3D5EFE3C7EB2}" srcOrd="0" destOrd="0" parTransId="{D1ECF50B-A562-4EE1-AF64-1789225D930A}" sibTransId="{DE78F765-0E0F-4F84-9A29-05D74B4FD053}"/>
    <dgm:cxn modelId="{F261AC9F-49ED-42B6-B1C7-22AE22FCD7AD}" type="presOf" srcId="{5646E579-75EE-4BC3-8CA3-3D5EFE3C7EB2}" destId="{A62D38DB-E028-49E9-98B2-C5205DCC0B2C}" srcOrd="0" destOrd="0" presId="urn:microsoft.com/office/officeart/2005/8/layout/vList2"/>
    <dgm:cxn modelId="{8294E4A7-B94F-4682-82EB-9E46D3AD5539}" srcId="{396AB132-0E79-4211-BA74-AC4C202A83AA}" destId="{540C41D8-3C31-4D78-94B7-F0D1A144CFCA}" srcOrd="0" destOrd="0" parTransId="{10C99A43-F811-455D-8096-C422265F2FA0}" sibTransId="{EF191F2D-90CD-44C4-85AF-5DBCC93E149E}"/>
    <dgm:cxn modelId="{E70B83BA-2FBF-40EB-B08A-5F9565E426AB}" type="presOf" srcId="{CDD765BF-4608-408A-AF23-050A52554C6B}" destId="{A62D38DB-E028-49E9-98B2-C5205DCC0B2C}" srcOrd="0" destOrd="1" presId="urn:microsoft.com/office/officeart/2005/8/layout/vList2"/>
    <dgm:cxn modelId="{55DFC1D4-6134-49CA-A318-859767C3EED7}" srcId="{396AB132-0E79-4211-BA74-AC4C202A83AA}" destId="{FC9E2675-8949-4A3B-AE86-6FB2D9A33E15}" srcOrd="1" destOrd="0" parTransId="{129DF9F1-D774-4658-81BA-B268366BAA13}" sibTransId="{1C3BF3DC-8F74-4B3B-9C30-7DEF9FB229B0}"/>
    <dgm:cxn modelId="{72CB55DA-8AD6-4B54-A07B-1DF17B345761}" type="presOf" srcId="{FC9E2675-8949-4A3B-AE86-6FB2D9A33E15}" destId="{68B38FE7-10E0-4333-B071-6414C964A230}" srcOrd="0" destOrd="1" presId="urn:microsoft.com/office/officeart/2005/8/layout/vList2"/>
    <dgm:cxn modelId="{ADF1F6E4-24D1-436C-8D4F-005B528CFF7D}" type="presOf" srcId="{43B22E5A-7BCE-41C6-9E3F-4184CCAF08CD}" destId="{35B913EC-9650-487F-BBF2-0B16EAF87046}" srcOrd="0" destOrd="0" presId="urn:microsoft.com/office/officeart/2005/8/layout/vList2"/>
    <dgm:cxn modelId="{6DCFBEE9-FA26-416D-95EE-D26CCC98B11F}" type="presOf" srcId="{91750C1E-E972-4C7A-9C65-5FE1924401C2}" destId="{45B0BB06-5A6D-48CC-86C9-F02E28C1161E}" srcOrd="0" destOrd="0" presId="urn:microsoft.com/office/officeart/2005/8/layout/vList2"/>
    <dgm:cxn modelId="{F05F9C5C-2E4F-466D-9F73-478846AB6AE9}" type="presParOf" srcId="{45B0BB06-5A6D-48CC-86C9-F02E28C1161E}" destId="{35B913EC-9650-487F-BBF2-0B16EAF87046}" srcOrd="0" destOrd="0" presId="urn:microsoft.com/office/officeart/2005/8/layout/vList2"/>
    <dgm:cxn modelId="{04F697D4-1CB8-4F4F-B16B-2F7568D3E092}" type="presParOf" srcId="{45B0BB06-5A6D-48CC-86C9-F02E28C1161E}" destId="{A62D38DB-E028-49E9-98B2-C5205DCC0B2C}" srcOrd="1" destOrd="0" presId="urn:microsoft.com/office/officeart/2005/8/layout/vList2"/>
    <dgm:cxn modelId="{24B1CCD4-36CB-48FA-AF42-C54BF39C6ABC}" type="presParOf" srcId="{45B0BB06-5A6D-48CC-86C9-F02E28C1161E}" destId="{E7ACB1D9-9580-4DA3-8E6F-B108E6FF3C3C}" srcOrd="2" destOrd="0" presId="urn:microsoft.com/office/officeart/2005/8/layout/vList2"/>
    <dgm:cxn modelId="{48514DDF-5232-4223-94C3-0FD4DA6A10B7}" type="presParOf" srcId="{45B0BB06-5A6D-48CC-86C9-F02E28C1161E}" destId="{68B38FE7-10E0-4333-B071-6414C964A23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8823BCC-AF79-4C7F-8CE9-B86C35BC9023}"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de-DE"/>
        </a:p>
      </dgm:t>
    </dgm:pt>
    <dgm:pt modelId="{2491EDBB-33D9-45AE-9E1C-BBA5E5271700}">
      <dgm:prSet phldrT="[Text]" custT="1"/>
      <dgm:spPr/>
      <dgm:t>
        <a:bodyPr/>
        <a:lstStyle/>
        <a:p>
          <a:pPr>
            <a:buFont typeface="Arial" panose="020B0604020202020204" pitchFamily="34" charset="0"/>
            <a:buChar char="•"/>
          </a:pPr>
          <a:r>
            <a:rPr lang="en-US" sz="1600" b="1" err="1"/>
            <a:t>Agilität</a:t>
          </a:r>
          <a:r>
            <a:rPr lang="en-US" sz="1600" b="1"/>
            <a:t> und </a:t>
          </a:r>
          <a:r>
            <a:rPr lang="en-US" sz="1600" b="1" err="1"/>
            <a:t>Anpassungsfähigkeit</a:t>
          </a:r>
          <a:endParaRPr lang="en-US" sz="1600"/>
        </a:p>
      </dgm:t>
    </dgm:pt>
    <dgm:pt modelId="{83FD8B35-0D44-49C7-8634-F2EDBC46F624}" type="parTrans" cxnId="{5203A78D-29DD-432F-9FDC-730265C6743D}">
      <dgm:prSet/>
      <dgm:spPr/>
      <dgm:t>
        <a:bodyPr/>
        <a:lstStyle/>
        <a:p>
          <a:endParaRPr lang="de-DE" sz="1600"/>
        </a:p>
      </dgm:t>
    </dgm:pt>
    <dgm:pt modelId="{1A3F2A76-859B-48CA-800F-6DA05825C92B}" type="sibTrans" cxnId="{5203A78D-29DD-432F-9FDC-730265C6743D}">
      <dgm:prSet/>
      <dgm:spPr/>
      <dgm:t>
        <a:bodyPr/>
        <a:lstStyle/>
        <a:p>
          <a:endParaRPr lang="de-DE" sz="1600"/>
        </a:p>
      </dgm:t>
    </dgm:pt>
    <dgm:pt modelId="{CAAB3C58-46EA-443E-AB14-7812CD935D17}">
      <dgm:prSet custT="1"/>
      <dgm:spPr/>
      <dgm:t>
        <a:bodyPr/>
        <a:lstStyle/>
        <a:p>
          <a:r>
            <a:rPr lang="en-US" sz="1600" b="1" err="1"/>
            <a:t>Digitalisierung</a:t>
          </a:r>
          <a:endParaRPr lang="en-US" sz="1600"/>
        </a:p>
      </dgm:t>
    </dgm:pt>
    <dgm:pt modelId="{B762256F-B2F3-461D-B8ED-39F9FC8DADA6}" type="parTrans" cxnId="{25661F56-0356-425E-9948-F38AD46BB9B6}">
      <dgm:prSet/>
      <dgm:spPr/>
      <dgm:t>
        <a:bodyPr/>
        <a:lstStyle/>
        <a:p>
          <a:endParaRPr lang="de-DE" sz="1600"/>
        </a:p>
      </dgm:t>
    </dgm:pt>
    <dgm:pt modelId="{09B4B3C0-76EB-4209-840D-1DD71A070ED3}" type="sibTrans" cxnId="{25661F56-0356-425E-9948-F38AD46BB9B6}">
      <dgm:prSet/>
      <dgm:spPr/>
      <dgm:t>
        <a:bodyPr/>
        <a:lstStyle/>
        <a:p>
          <a:endParaRPr lang="de-DE" sz="1600"/>
        </a:p>
      </dgm:t>
    </dgm:pt>
    <dgm:pt modelId="{31546C75-6170-4A08-B3DF-3CEB4189481F}">
      <dgm:prSet custT="1"/>
      <dgm:spPr/>
      <dgm:t>
        <a:bodyPr/>
        <a:lstStyle/>
        <a:p>
          <a:r>
            <a:rPr lang="en-US" sz="1600" b="1" err="1"/>
            <a:t>Kundenbindung</a:t>
          </a:r>
          <a:r>
            <a:rPr lang="en-US" sz="1600" b="1"/>
            <a:t> und </a:t>
          </a:r>
          <a:r>
            <a:rPr lang="en-US" sz="1600" b="1" err="1"/>
            <a:t>soziale</a:t>
          </a:r>
          <a:r>
            <a:rPr lang="en-US" sz="1600" b="1"/>
            <a:t> </a:t>
          </a:r>
          <a:r>
            <a:rPr lang="en-US" sz="1600" b="1" err="1"/>
            <a:t>Verantwortung</a:t>
          </a:r>
          <a:endParaRPr lang="en-US" sz="1600"/>
        </a:p>
      </dgm:t>
    </dgm:pt>
    <dgm:pt modelId="{A7569649-F31C-4636-AB98-FC44DF00CE69}" type="parTrans" cxnId="{B8D280FF-C975-4F56-83AB-94D9C46BEC15}">
      <dgm:prSet/>
      <dgm:spPr/>
      <dgm:t>
        <a:bodyPr/>
        <a:lstStyle/>
        <a:p>
          <a:endParaRPr lang="de-DE" sz="1600"/>
        </a:p>
      </dgm:t>
    </dgm:pt>
    <dgm:pt modelId="{9917350B-31D9-4B85-87A6-4EB7366AEB28}" type="sibTrans" cxnId="{B8D280FF-C975-4F56-83AB-94D9C46BEC15}">
      <dgm:prSet/>
      <dgm:spPr/>
      <dgm:t>
        <a:bodyPr/>
        <a:lstStyle/>
        <a:p>
          <a:endParaRPr lang="de-DE" sz="1600"/>
        </a:p>
      </dgm:t>
    </dgm:pt>
    <dgm:pt modelId="{7CB9A137-1816-4B23-8C9C-8B6C7A9BF8A2}">
      <dgm:prSet phldrT="[Text]" custT="1"/>
      <dgm:spPr/>
      <dgm:t>
        <a:bodyPr/>
        <a:lstStyle/>
        <a:p>
          <a:pPr>
            <a:buFont typeface="Arial" panose="020B0604020202020204" pitchFamily="34" charset="0"/>
            <a:buChar char="•"/>
          </a:pPr>
          <a:r>
            <a:rPr lang="en-US" sz="1600"/>
            <a:t>Die </a:t>
          </a:r>
          <a:r>
            <a:rPr lang="en-US" sz="1600" err="1"/>
            <a:t>Pandemie</a:t>
          </a:r>
          <a:r>
            <a:rPr lang="en-US" sz="1600"/>
            <a:t> hat die </a:t>
          </a:r>
          <a:r>
            <a:rPr lang="en-US" sz="1600" err="1"/>
            <a:t>Bedeutung</a:t>
          </a:r>
          <a:r>
            <a:rPr lang="en-US" sz="1600"/>
            <a:t> von </a:t>
          </a:r>
          <a:r>
            <a:rPr lang="en-US" sz="1600" err="1"/>
            <a:t>Agilität</a:t>
          </a:r>
          <a:r>
            <a:rPr lang="en-US" sz="1600"/>
            <a:t> und </a:t>
          </a:r>
          <a:r>
            <a:rPr lang="en-US" sz="1600" err="1"/>
            <a:t>schnellen</a:t>
          </a:r>
          <a:r>
            <a:rPr lang="en-US" sz="1600"/>
            <a:t> </a:t>
          </a:r>
          <a:r>
            <a:rPr lang="en-US" sz="1600" err="1"/>
            <a:t>Anpassungen</a:t>
          </a:r>
          <a:r>
            <a:rPr lang="en-US" sz="1600"/>
            <a:t> an </a:t>
          </a:r>
          <a:r>
            <a:rPr lang="en-US" sz="1600" err="1"/>
            <a:t>sich</a:t>
          </a:r>
          <a:r>
            <a:rPr lang="en-US" sz="1600"/>
            <a:t> </a:t>
          </a:r>
          <a:r>
            <a:rPr lang="en-US" sz="1600" err="1"/>
            <a:t>verändernde</a:t>
          </a:r>
          <a:r>
            <a:rPr lang="en-US" sz="1600"/>
            <a:t> </a:t>
          </a:r>
          <a:r>
            <a:rPr lang="en-US" sz="1600" err="1"/>
            <a:t>Umstände</a:t>
          </a:r>
          <a:r>
            <a:rPr lang="en-US" sz="1600"/>
            <a:t> </a:t>
          </a:r>
          <a:r>
            <a:rPr lang="en-US" sz="1600" err="1"/>
            <a:t>betont</a:t>
          </a:r>
          <a:endParaRPr lang="en-US" sz="1600"/>
        </a:p>
      </dgm:t>
    </dgm:pt>
    <dgm:pt modelId="{94ED8097-B7ED-4204-93A4-988021814FF3}" type="parTrans" cxnId="{3A67FF53-6CED-4A10-B846-5B677CEF1ECA}">
      <dgm:prSet/>
      <dgm:spPr/>
      <dgm:t>
        <a:bodyPr/>
        <a:lstStyle/>
        <a:p>
          <a:endParaRPr lang="de-DE" sz="1600"/>
        </a:p>
      </dgm:t>
    </dgm:pt>
    <dgm:pt modelId="{FAF320F5-F15E-4F12-90E4-71EACA2DA742}" type="sibTrans" cxnId="{3A67FF53-6CED-4A10-B846-5B677CEF1ECA}">
      <dgm:prSet/>
      <dgm:spPr/>
      <dgm:t>
        <a:bodyPr/>
        <a:lstStyle/>
        <a:p>
          <a:endParaRPr lang="de-DE" sz="1600"/>
        </a:p>
      </dgm:t>
    </dgm:pt>
    <dgm:pt modelId="{E1B7A028-C619-452A-B8BD-5B51C929A4AA}">
      <dgm:prSet custT="1"/>
      <dgm:spPr/>
      <dgm:t>
        <a:bodyPr/>
        <a:lstStyle/>
        <a:p>
          <a:r>
            <a:rPr lang="en-US" sz="1600"/>
            <a:t>Die </a:t>
          </a:r>
          <a:r>
            <a:rPr lang="en-US" sz="1600" err="1"/>
            <a:t>verstärkte</a:t>
          </a:r>
          <a:r>
            <a:rPr lang="en-US" sz="1600"/>
            <a:t> </a:t>
          </a:r>
          <a:r>
            <a:rPr lang="en-US" sz="1600" err="1"/>
            <a:t>Nutzung</a:t>
          </a:r>
          <a:r>
            <a:rPr lang="en-US" sz="1600"/>
            <a:t> von </a:t>
          </a:r>
          <a:r>
            <a:rPr lang="en-US" sz="1600" err="1"/>
            <a:t>Lieferdiensten</a:t>
          </a:r>
          <a:r>
            <a:rPr lang="en-US" sz="1600"/>
            <a:t> </a:t>
          </a:r>
          <a:r>
            <a:rPr lang="en-US" sz="1600" err="1"/>
            <a:t>verdeutlicht</a:t>
          </a:r>
          <a:r>
            <a:rPr lang="en-US" sz="1600"/>
            <a:t> die </a:t>
          </a:r>
          <a:r>
            <a:rPr lang="en-US" sz="1600" err="1"/>
            <a:t>wachsende</a:t>
          </a:r>
          <a:r>
            <a:rPr lang="en-US" sz="1600"/>
            <a:t> </a:t>
          </a:r>
          <a:r>
            <a:rPr lang="en-US" sz="1600" err="1"/>
            <a:t>Bedeutung</a:t>
          </a:r>
          <a:r>
            <a:rPr lang="en-US" sz="1600"/>
            <a:t> der </a:t>
          </a:r>
          <a:r>
            <a:rPr lang="en-US" sz="1600" err="1"/>
            <a:t>Digitalisierung</a:t>
          </a:r>
          <a:r>
            <a:rPr lang="en-US" sz="1600"/>
            <a:t> und des E-Commerce in </a:t>
          </a:r>
          <a:r>
            <a:rPr lang="en-US" sz="1600" err="1"/>
            <a:t>Zeiten</a:t>
          </a:r>
          <a:r>
            <a:rPr lang="en-US" sz="1600"/>
            <a:t> von </a:t>
          </a:r>
          <a:r>
            <a:rPr lang="en-US" sz="1600" err="1"/>
            <a:t>Krisen</a:t>
          </a:r>
          <a:endParaRPr lang="en-US" sz="1600"/>
        </a:p>
      </dgm:t>
    </dgm:pt>
    <dgm:pt modelId="{E3B1E9BF-0612-41CB-B162-BABDB1184A7F}" type="parTrans" cxnId="{5911AEF2-DBD2-4AD9-AA67-75A585947431}">
      <dgm:prSet/>
      <dgm:spPr/>
      <dgm:t>
        <a:bodyPr/>
        <a:lstStyle/>
        <a:p>
          <a:endParaRPr lang="de-DE" sz="1600"/>
        </a:p>
      </dgm:t>
    </dgm:pt>
    <dgm:pt modelId="{37CF8B64-D02F-40AC-9272-37DC1C000FFC}" type="sibTrans" cxnId="{5911AEF2-DBD2-4AD9-AA67-75A585947431}">
      <dgm:prSet/>
      <dgm:spPr/>
      <dgm:t>
        <a:bodyPr/>
        <a:lstStyle/>
        <a:p>
          <a:endParaRPr lang="de-DE" sz="1600"/>
        </a:p>
      </dgm:t>
    </dgm:pt>
    <dgm:pt modelId="{56966FF4-572E-4A1A-8F38-02728711B3E5}">
      <dgm:prSet custT="1"/>
      <dgm:spPr/>
      <dgm:t>
        <a:bodyPr/>
        <a:lstStyle/>
        <a:p>
          <a:r>
            <a:rPr lang="en-US" sz="1600"/>
            <a:t>Die </a:t>
          </a:r>
          <a:r>
            <a:rPr lang="en-US" sz="1600" err="1"/>
            <a:t>Unterstützung</a:t>
          </a:r>
          <a:r>
            <a:rPr lang="en-US" sz="1600"/>
            <a:t> von </a:t>
          </a:r>
          <a:r>
            <a:rPr lang="en-US" sz="1600" err="1"/>
            <a:t>Fahrern</a:t>
          </a:r>
          <a:r>
            <a:rPr lang="en-US" sz="1600"/>
            <a:t> und </a:t>
          </a:r>
          <a:r>
            <a:rPr lang="en-US" sz="1600" err="1"/>
            <a:t>lokalen</a:t>
          </a:r>
          <a:r>
            <a:rPr lang="en-US" sz="1600"/>
            <a:t> </a:t>
          </a:r>
          <a:r>
            <a:rPr lang="en-US" sz="1600" err="1"/>
            <a:t>Gemeinschaften</a:t>
          </a:r>
          <a:r>
            <a:rPr lang="en-US" sz="1600"/>
            <a:t> </a:t>
          </a:r>
          <a:r>
            <a:rPr lang="en-US" sz="1600" err="1"/>
            <a:t>zeigt</a:t>
          </a:r>
          <a:r>
            <a:rPr lang="en-US" sz="1600"/>
            <a:t> die </a:t>
          </a:r>
          <a:r>
            <a:rPr lang="en-US" sz="1600" err="1"/>
            <a:t>Bedeutung</a:t>
          </a:r>
          <a:r>
            <a:rPr lang="en-US" sz="1600"/>
            <a:t> </a:t>
          </a:r>
          <a:r>
            <a:rPr lang="en-US" sz="1600" err="1"/>
            <a:t>einer</a:t>
          </a:r>
          <a:r>
            <a:rPr lang="en-US" sz="1600"/>
            <a:t> starken </a:t>
          </a:r>
          <a:r>
            <a:rPr lang="en-US" sz="1600" err="1"/>
            <a:t>Kundenbindung</a:t>
          </a:r>
          <a:r>
            <a:rPr lang="en-US" sz="1600"/>
            <a:t> und </a:t>
          </a:r>
          <a:r>
            <a:rPr lang="en-US" sz="1600" err="1"/>
            <a:t>sozialen</a:t>
          </a:r>
          <a:r>
            <a:rPr lang="en-US" sz="1600"/>
            <a:t> </a:t>
          </a:r>
          <a:r>
            <a:rPr lang="en-US" sz="1600" err="1"/>
            <a:t>Verantwortung</a:t>
          </a:r>
          <a:endParaRPr lang="en-US" sz="1600"/>
        </a:p>
      </dgm:t>
    </dgm:pt>
    <dgm:pt modelId="{ACC3B3C7-5409-4A1C-8A2D-3B9C13FEB057}" type="parTrans" cxnId="{C35A29C4-4EEB-43EF-80E7-9B2C7442FD36}">
      <dgm:prSet/>
      <dgm:spPr/>
      <dgm:t>
        <a:bodyPr/>
        <a:lstStyle/>
        <a:p>
          <a:endParaRPr lang="de-DE" sz="1600"/>
        </a:p>
      </dgm:t>
    </dgm:pt>
    <dgm:pt modelId="{60EC63DF-10F5-4EB1-9E26-C51E7548D5D8}" type="sibTrans" cxnId="{C35A29C4-4EEB-43EF-80E7-9B2C7442FD36}">
      <dgm:prSet/>
      <dgm:spPr/>
      <dgm:t>
        <a:bodyPr/>
        <a:lstStyle/>
        <a:p>
          <a:endParaRPr lang="de-DE" sz="1600"/>
        </a:p>
      </dgm:t>
    </dgm:pt>
    <dgm:pt modelId="{A43BB5BE-BFA7-4249-9ADC-161DCDAFE74C}" type="pres">
      <dgm:prSet presAssocID="{D8823BCC-AF79-4C7F-8CE9-B86C35BC9023}" presName="linear" presStyleCnt="0">
        <dgm:presLayoutVars>
          <dgm:animLvl val="lvl"/>
          <dgm:resizeHandles val="exact"/>
        </dgm:presLayoutVars>
      </dgm:prSet>
      <dgm:spPr/>
    </dgm:pt>
    <dgm:pt modelId="{57EA0D68-7010-40B2-913F-2C332EDB5B32}" type="pres">
      <dgm:prSet presAssocID="{2491EDBB-33D9-45AE-9E1C-BBA5E5271700}" presName="parentText" presStyleLbl="node1" presStyleIdx="0" presStyleCnt="3">
        <dgm:presLayoutVars>
          <dgm:chMax val="0"/>
          <dgm:bulletEnabled val="1"/>
        </dgm:presLayoutVars>
      </dgm:prSet>
      <dgm:spPr/>
    </dgm:pt>
    <dgm:pt modelId="{42320B2A-9D42-4020-8AB1-3645392E95A4}" type="pres">
      <dgm:prSet presAssocID="{2491EDBB-33D9-45AE-9E1C-BBA5E5271700}" presName="childText" presStyleLbl="revTx" presStyleIdx="0" presStyleCnt="3">
        <dgm:presLayoutVars>
          <dgm:bulletEnabled val="1"/>
        </dgm:presLayoutVars>
      </dgm:prSet>
      <dgm:spPr/>
    </dgm:pt>
    <dgm:pt modelId="{BCCADC90-414A-49D5-8F58-EA1C37DA6718}" type="pres">
      <dgm:prSet presAssocID="{CAAB3C58-46EA-443E-AB14-7812CD935D17}" presName="parentText" presStyleLbl="node1" presStyleIdx="1" presStyleCnt="3">
        <dgm:presLayoutVars>
          <dgm:chMax val="0"/>
          <dgm:bulletEnabled val="1"/>
        </dgm:presLayoutVars>
      </dgm:prSet>
      <dgm:spPr/>
    </dgm:pt>
    <dgm:pt modelId="{79229664-C205-4D42-8322-C2B1CC56A87C}" type="pres">
      <dgm:prSet presAssocID="{CAAB3C58-46EA-443E-AB14-7812CD935D17}" presName="childText" presStyleLbl="revTx" presStyleIdx="1" presStyleCnt="3">
        <dgm:presLayoutVars>
          <dgm:bulletEnabled val="1"/>
        </dgm:presLayoutVars>
      </dgm:prSet>
      <dgm:spPr/>
    </dgm:pt>
    <dgm:pt modelId="{D59AD07F-75F9-49BB-9F6A-182C91765DF4}" type="pres">
      <dgm:prSet presAssocID="{31546C75-6170-4A08-B3DF-3CEB4189481F}" presName="parentText" presStyleLbl="node1" presStyleIdx="2" presStyleCnt="3">
        <dgm:presLayoutVars>
          <dgm:chMax val="0"/>
          <dgm:bulletEnabled val="1"/>
        </dgm:presLayoutVars>
      </dgm:prSet>
      <dgm:spPr/>
    </dgm:pt>
    <dgm:pt modelId="{79598328-7F66-4A37-B10F-2D6A25503F4F}" type="pres">
      <dgm:prSet presAssocID="{31546C75-6170-4A08-B3DF-3CEB4189481F}" presName="childText" presStyleLbl="revTx" presStyleIdx="2" presStyleCnt="3">
        <dgm:presLayoutVars>
          <dgm:bulletEnabled val="1"/>
        </dgm:presLayoutVars>
      </dgm:prSet>
      <dgm:spPr/>
    </dgm:pt>
  </dgm:ptLst>
  <dgm:cxnLst>
    <dgm:cxn modelId="{BEE61D10-ED3F-42C4-9272-236D1C8BAE1A}" type="presOf" srcId="{31546C75-6170-4A08-B3DF-3CEB4189481F}" destId="{D59AD07F-75F9-49BB-9F6A-182C91765DF4}" srcOrd="0" destOrd="0" presId="urn:microsoft.com/office/officeart/2005/8/layout/vList2"/>
    <dgm:cxn modelId="{6E6AD028-EB06-467F-ABF2-569C5FA80668}" type="presOf" srcId="{CAAB3C58-46EA-443E-AB14-7812CD935D17}" destId="{BCCADC90-414A-49D5-8F58-EA1C37DA6718}" srcOrd="0" destOrd="0" presId="urn:microsoft.com/office/officeart/2005/8/layout/vList2"/>
    <dgm:cxn modelId="{26009437-D190-446C-98DF-EA1990EF8D54}" type="presOf" srcId="{7CB9A137-1816-4B23-8C9C-8B6C7A9BF8A2}" destId="{42320B2A-9D42-4020-8AB1-3645392E95A4}" srcOrd="0" destOrd="0" presId="urn:microsoft.com/office/officeart/2005/8/layout/vList2"/>
    <dgm:cxn modelId="{3A67FF53-6CED-4A10-B846-5B677CEF1ECA}" srcId="{2491EDBB-33D9-45AE-9E1C-BBA5E5271700}" destId="{7CB9A137-1816-4B23-8C9C-8B6C7A9BF8A2}" srcOrd="0" destOrd="0" parTransId="{94ED8097-B7ED-4204-93A4-988021814FF3}" sibTransId="{FAF320F5-F15E-4F12-90E4-71EACA2DA742}"/>
    <dgm:cxn modelId="{25661F56-0356-425E-9948-F38AD46BB9B6}" srcId="{D8823BCC-AF79-4C7F-8CE9-B86C35BC9023}" destId="{CAAB3C58-46EA-443E-AB14-7812CD935D17}" srcOrd="1" destOrd="0" parTransId="{B762256F-B2F3-461D-B8ED-39F9FC8DADA6}" sibTransId="{09B4B3C0-76EB-4209-840D-1DD71A070ED3}"/>
    <dgm:cxn modelId="{EFE13A76-1D5B-419A-AB83-C09B9F203736}" type="presOf" srcId="{E1B7A028-C619-452A-B8BD-5B51C929A4AA}" destId="{79229664-C205-4D42-8322-C2B1CC56A87C}" srcOrd="0" destOrd="0" presId="urn:microsoft.com/office/officeart/2005/8/layout/vList2"/>
    <dgm:cxn modelId="{5203A78D-29DD-432F-9FDC-730265C6743D}" srcId="{D8823BCC-AF79-4C7F-8CE9-B86C35BC9023}" destId="{2491EDBB-33D9-45AE-9E1C-BBA5E5271700}" srcOrd="0" destOrd="0" parTransId="{83FD8B35-0D44-49C7-8634-F2EDBC46F624}" sibTransId="{1A3F2A76-859B-48CA-800F-6DA05825C92B}"/>
    <dgm:cxn modelId="{DB6B66A8-32D2-4413-BD20-1B477DBAF321}" type="presOf" srcId="{D8823BCC-AF79-4C7F-8CE9-B86C35BC9023}" destId="{A43BB5BE-BFA7-4249-9ADC-161DCDAFE74C}" srcOrd="0" destOrd="0" presId="urn:microsoft.com/office/officeart/2005/8/layout/vList2"/>
    <dgm:cxn modelId="{C35A29C4-4EEB-43EF-80E7-9B2C7442FD36}" srcId="{31546C75-6170-4A08-B3DF-3CEB4189481F}" destId="{56966FF4-572E-4A1A-8F38-02728711B3E5}" srcOrd="0" destOrd="0" parTransId="{ACC3B3C7-5409-4A1C-8A2D-3B9C13FEB057}" sibTransId="{60EC63DF-10F5-4EB1-9E26-C51E7548D5D8}"/>
    <dgm:cxn modelId="{EC916DDA-5986-4C0B-A67E-46B005763823}" type="presOf" srcId="{2491EDBB-33D9-45AE-9E1C-BBA5E5271700}" destId="{57EA0D68-7010-40B2-913F-2C332EDB5B32}" srcOrd="0" destOrd="0" presId="urn:microsoft.com/office/officeart/2005/8/layout/vList2"/>
    <dgm:cxn modelId="{525AC9E4-25A4-4685-9D92-7C7751476A62}" type="presOf" srcId="{56966FF4-572E-4A1A-8F38-02728711B3E5}" destId="{79598328-7F66-4A37-B10F-2D6A25503F4F}" srcOrd="0" destOrd="0" presId="urn:microsoft.com/office/officeart/2005/8/layout/vList2"/>
    <dgm:cxn modelId="{5911AEF2-DBD2-4AD9-AA67-75A585947431}" srcId="{CAAB3C58-46EA-443E-AB14-7812CD935D17}" destId="{E1B7A028-C619-452A-B8BD-5B51C929A4AA}" srcOrd="0" destOrd="0" parTransId="{E3B1E9BF-0612-41CB-B162-BABDB1184A7F}" sibTransId="{37CF8B64-D02F-40AC-9272-37DC1C000FFC}"/>
    <dgm:cxn modelId="{B8D280FF-C975-4F56-83AB-94D9C46BEC15}" srcId="{D8823BCC-AF79-4C7F-8CE9-B86C35BC9023}" destId="{31546C75-6170-4A08-B3DF-3CEB4189481F}" srcOrd="2" destOrd="0" parTransId="{A7569649-F31C-4636-AB98-FC44DF00CE69}" sibTransId="{9917350B-31D9-4B85-87A6-4EB7366AEB28}"/>
    <dgm:cxn modelId="{2B8C4BAD-9E6C-4D7B-A6ED-13F071587499}" type="presParOf" srcId="{A43BB5BE-BFA7-4249-9ADC-161DCDAFE74C}" destId="{57EA0D68-7010-40B2-913F-2C332EDB5B32}" srcOrd="0" destOrd="0" presId="urn:microsoft.com/office/officeart/2005/8/layout/vList2"/>
    <dgm:cxn modelId="{5BAB44F3-6EEB-46A5-8F95-634B53AF4D89}" type="presParOf" srcId="{A43BB5BE-BFA7-4249-9ADC-161DCDAFE74C}" destId="{42320B2A-9D42-4020-8AB1-3645392E95A4}" srcOrd="1" destOrd="0" presId="urn:microsoft.com/office/officeart/2005/8/layout/vList2"/>
    <dgm:cxn modelId="{4D8F5C9B-FA94-4BF8-BB91-07298CDA2599}" type="presParOf" srcId="{A43BB5BE-BFA7-4249-9ADC-161DCDAFE74C}" destId="{BCCADC90-414A-49D5-8F58-EA1C37DA6718}" srcOrd="2" destOrd="0" presId="urn:microsoft.com/office/officeart/2005/8/layout/vList2"/>
    <dgm:cxn modelId="{D8CDABEF-7A0D-4C6D-A858-17573124B478}" type="presParOf" srcId="{A43BB5BE-BFA7-4249-9ADC-161DCDAFE74C}" destId="{79229664-C205-4D42-8322-C2B1CC56A87C}" srcOrd="3" destOrd="0" presId="urn:microsoft.com/office/officeart/2005/8/layout/vList2"/>
    <dgm:cxn modelId="{52FE6A50-6FAF-4A7C-A167-453529CC0608}" type="presParOf" srcId="{A43BB5BE-BFA7-4249-9ADC-161DCDAFE74C}" destId="{D59AD07F-75F9-49BB-9F6A-182C91765DF4}" srcOrd="4" destOrd="0" presId="urn:microsoft.com/office/officeart/2005/8/layout/vList2"/>
    <dgm:cxn modelId="{BC5A0178-1D01-479D-9EB8-C0C2DFD705E9}" type="presParOf" srcId="{A43BB5BE-BFA7-4249-9ADC-161DCDAFE74C}" destId="{79598328-7F66-4A37-B10F-2D6A25503F4F}"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0D4330F-1EFF-4BC3-97B5-49F1DD3DFE08}" type="doc">
      <dgm:prSet loTypeId="urn:microsoft.com/office/officeart/2005/8/layout/matrix3" loCatId="matrix" qsTypeId="urn:microsoft.com/office/officeart/2005/8/quickstyle/simple1" qsCatId="simple" csTypeId="urn:microsoft.com/office/officeart/2005/8/colors/accent5_2" csCatId="accent5" phldr="1"/>
      <dgm:spPr/>
      <dgm:t>
        <a:bodyPr/>
        <a:lstStyle/>
        <a:p>
          <a:endParaRPr lang="de-DE"/>
        </a:p>
      </dgm:t>
    </dgm:pt>
    <dgm:pt modelId="{110D2C7D-7A37-4A3B-A37D-3CECAAF58BF6}">
      <dgm:prSet phldrT="[Text]" custT="1"/>
      <dgm:spPr/>
      <dgm:t>
        <a:bodyPr/>
        <a:lstStyle/>
        <a:p>
          <a:r>
            <a:rPr lang="en-US" sz="1200" b="1" err="1"/>
            <a:t>Stärken</a:t>
          </a:r>
          <a:endParaRPr lang="en-US" sz="1200" b="1"/>
        </a:p>
      </dgm:t>
    </dgm:pt>
    <dgm:pt modelId="{64B265EF-E062-4000-8DFD-93E7AE0A52B5}" type="parTrans" cxnId="{592EE139-1BC3-4A5A-AAC5-7020F1AE2E7E}">
      <dgm:prSet/>
      <dgm:spPr/>
      <dgm:t>
        <a:bodyPr/>
        <a:lstStyle/>
        <a:p>
          <a:endParaRPr lang="de-DE"/>
        </a:p>
      </dgm:t>
    </dgm:pt>
    <dgm:pt modelId="{A9FC4507-EA19-47B1-9629-0161CBC05F10}" type="sibTrans" cxnId="{592EE139-1BC3-4A5A-AAC5-7020F1AE2E7E}">
      <dgm:prSet/>
      <dgm:spPr/>
      <dgm:t>
        <a:bodyPr/>
        <a:lstStyle/>
        <a:p>
          <a:endParaRPr lang="de-DE"/>
        </a:p>
      </dgm:t>
    </dgm:pt>
    <dgm:pt modelId="{CC94106E-5DBF-4DDF-AD1C-4F951457F89B}">
      <dgm:prSet phldrT="[Text]" custT="1"/>
      <dgm:spPr/>
      <dgm:t>
        <a:bodyPr/>
        <a:lstStyle/>
        <a:p>
          <a:r>
            <a:rPr lang="en-US" sz="1200" b="1" err="1"/>
            <a:t>Schwächen</a:t>
          </a:r>
          <a:r>
            <a:rPr lang="en-US" sz="1200" b="1"/>
            <a:t> </a:t>
          </a:r>
        </a:p>
      </dgm:t>
    </dgm:pt>
    <dgm:pt modelId="{EF4ACE71-8149-4536-8307-B60A9BA9B303}" type="parTrans" cxnId="{24D17D42-2CCD-4C8B-A992-542D282ED786}">
      <dgm:prSet/>
      <dgm:spPr/>
      <dgm:t>
        <a:bodyPr/>
        <a:lstStyle/>
        <a:p>
          <a:endParaRPr lang="de-DE"/>
        </a:p>
      </dgm:t>
    </dgm:pt>
    <dgm:pt modelId="{7AB24C88-4FA3-47DC-8EE6-955F0E86CE90}" type="sibTrans" cxnId="{24D17D42-2CCD-4C8B-A992-542D282ED786}">
      <dgm:prSet/>
      <dgm:spPr/>
      <dgm:t>
        <a:bodyPr/>
        <a:lstStyle/>
        <a:p>
          <a:endParaRPr lang="de-DE"/>
        </a:p>
      </dgm:t>
    </dgm:pt>
    <dgm:pt modelId="{D729F637-9C50-4971-AEAB-2EA25466EB82}">
      <dgm:prSet phldrT="[Text]" custT="1"/>
      <dgm:spPr/>
      <dgm:t>
        <a:bodyPr/>
        <a:lstStyle/>
        <a:p>
          <a:r>
            <a:rPr lang="en-US" sz="1200" b="1" err="1"/>
            <a:t>Verbesserungen</a:t>
          </a:r>
          <a:endParaRPr lang="en-US" sz="1200" b="1"/>
        </a:p>
      </dgm:t>
    </dgm:pt>
    <dgm:pt modelId="{162D3E78-B700-410B-93C2-60D5C1F75E88}" type="parTrans" cxnId="{CB3018EB-92F0-4B03-9DF5-491660FFBDA6}">
      <dgm:prSet/>
      <dgm:spPr/>
      <dgm:t>
        <a:bodyPr/>
        <a:lstStyle/>
        <a:p>
          <a:endParaRPr lang="de-DE"/>
        </a:p>
      </dgm:t>
    </dgm:pt>
    <dgm:pt modelId="{9AD18E43-19BA-4C23-AF91-D152D9EAFEA2}" type="sibTrans" cxnId="{CB3018EB-92F0-4B03-9DF5-491660FFBDA6}">
      <dgm:prSet/>
      <dgm:spPr/>
      <dgm:t>
        <a:bodyPr/>
        <a:lstStyle/>
        <a:p>
          <a:endParaRPr lang="de-DE"/>
        </a:p>
      </dgm:t>
    </dgm:pt>
    <dgm:pt modelId="{82691897-C44C-46C0-AFA5-B128B8194FDE}">
      <dgm:prSet phldrT="[Text]" custT="1"/>
      <dgm:spPr/>
      <dgm:t>
        <a:bodyPr/>
        <a:lstStyle/>
        <a:p>
          <a:r>
            <a:rPr lang="en-US" sz="1200" b="1" err="1"/>
            <a:t>Störungen</a:t>
          </a:r>
          <a:endParaRPr lang="en-US" sz="1200" b="1"/>
        </a:p>
      </dgm:t>
    </dgm:pt>
    <dgm:pt modelId="{1F46FEFA-7203-4E3D-97BC-D5CAC55CC833}" type="parTrans" cxnId="{ED3BDE82-90E8-4680-AEFC-5CEDBDC02290}">
      <dgm:prSet/>
      <dgm:spPr/>
      <dgm:t>
        <a:bodyPr/>
        <a:lstStyle/>
        <a:p>
          <a:endParaRPr lang="de-DE"/>
        </a:p>
      </dgm:t>
    </dgm:pt>
    <dgm:pt modelId="{C7DD1E3C-B088-48A5-8BC3-0ED3FE3B05AE}" type="sibTrans" cxnId="{ED3BDE82-90E8-4680-AEFC-5CEDBDC02290}">
      <dgm:prSet/>
      <dgm:spPr/>
      <dgm:t>
        <a:bodyPr/>
        <a:lstStyle/>
        <a:p>
          <a:endParaRPr lang="de-DE"/>
        </a:p>
      </dgm:t>
    </dgm:pt>
    <dgm:pt modelId="{34358516-50D0-4DF3-9F1F-BA3CFD13312E}">
      <dgm:prSet phldrT="[Text]" custT="1"/>
      <dgm:spPr/>
      <dgm:t>
        <a:bodyPr/>
        <a:lstStyle/>
        <a:p>
          <a:r>
            <a:rPr lang="en-US" sz="1200" err="1"/>
            <a:t>globale</a:t>
          </a:r>
          <a:r>
            <a:rPr lang="en-US" sz="1200"/>
            <a:t> </a:t>
          </a:r>
          <a:r>
            <a:rPr lang="en-US" sz="1200" err="1"/>
            <a:t>Präsenz</a:t>
          </a:r>
          <a:endParaRPr lang="en-US" sz="1200"/>
        </a:p>
      </dgm:t>
    </dgm:pt>
    <dgm:pt modelId="{A72B72A6-A428-48AB-BA00-BA61B3419638}" type="parTrans" cxnId="{D9B1C595-9FE2-4B46-BF3E-8323F60E7BC6}">
      <dgm:prSet/>
      <dgm:spPr/>
      <dgm:t>
        <a:bodyPr/>
        <a:lstStyle/>
        <a:p>
          <a:endParaRPr lang="de-DE"/>
        </a:p>
      </dgm:t>
    </dgm:pt>
    <dgm:pt modelId="{C3370CA2-51ED-4AC2-BE69-2AD883BF809A}" type="sibTrans" cxnId="{D9B1C595-9FE2-4B46-BF3E-8323F60E7BC6}">
      <dgm:prSet/>
      <dgm:spPr/>
      <dgm:t>
        <a:bodyPr/>
        <a:lstStyle/>
        <a:p>
          <a:endParaRPr lang="de-DE"/>
        </a:p>
      </dgm:t>
    </dgm:pt>
    <dgm:pt modelId="{DE884BD7-CAA8-4F5B-8102-6A07C1A7F3B3}">
      <dgm:prSet phldrT="[Text]" custT="1"/>
      <dgm:spPr/>
      <dgm:t>
        <a:bodyPr/>
        <a:lstStyle/>
        <a:p>
          <a:r>
            <a:rPr lang="en-US" sz="1200" err="1"/>
            <a:t>rechtliche</a:t>
          </a:r>
          <a:r>
            <a:rPr lang="en-US" sz="1200"/>
            <a:t> und </a:t>
          </a:r>
          <a:r>
            <a:rPr lang="en-US" sz="1200" err="1"/>
            <a:t>regulatorische</a:t>
          </a:r>
          <a:r>
            <a:rPr lang="en-US" sz="1200"/>
            <a:t>  </a:t>
          </a:r>
          <a:r>
            <a:rPr lang="en-US" sz="1200" err="1"/>
            <a:t>Herausforderungen</a:t>
          </a:r>
          <a:endParaRPr lang="en-US" sz="1200"/>
        </a:p>
      </dgm:t>
    </dgm:pt>
    <dgm:pt modelId="{0679E0CB-A863-4FD2-B597-311C9F7B86BB}" type="parTrans" cxnId="{8F341321-C5E1-45CA-96F6-420DD385535D}">
      <dgm:prSet/>
      <dgm:spPr/>
      <dgm:t>
        <a:bodyPr/>
        <a:lstStyle/>
        <a:p>
          <a:endParaRPr lang="de-DE"/>
        </a:p>
      </dgm:t>
    </dgm:pt>
    <dgm:pt modelId="{80EEA14E-AD79-4235-A07D-0A16A3416F6C}" type="sibTrans" cxnId="{8F341321-C5E1-45CA-96F6-420DD385535D}">
      <dgm:prSet/>
      <dgm:spPr/>
      <dgm:t>
        <a:bodyPr/>
        <a:lstStyle/>
        <a:p>
          <a:endParaRPr lang="de-DE"/>
        </a:p>
      </dgm:t>
    </dgm:pt>
    <dgm:pt modelId="{526F3775-6B9A-470F-95FB-A624783884E1}">
      <dgm:prSet phldrT="[Text]" custT="1"/>
      <dgm:spPr/>
      <dgm:t>
        <a:bodyPr/>
        <a:lstStyle/>
        <a:p>
          <a:r>
            <a:rPr lang="en-US" sz="1200" err="1"/>
            <a:t>regulatorische</a:t>
          </a:r>
          <a:r>
            <a:rPr lang="en-US" sz="1200"/>
            <a:t> </a:t>
          </a:r>
          <a:r>
            <a:rPr lang="en-US" sz="1200" err="1"/>
            <a:t>Veränderungen</a:t>
          </a:r>
          <a:endParaRPr lang="en-US" sz="1200"/>
        </a:p>
      </dgm:t>
    </dgm:pt>
    <dgm:pt modelId="{A7B135DA-8D0C-4584-8DFA-F8E4E055A204}" type="parTrans" cxnId="{3D3DDB0E-8915-46CC-83AE-54CDDF80A42E}">
      <dgm:prSet/>
      <dgm:spPr/>
      <dgm:t>
        <a:bodyPr/>
        <a:lstStyle/>
        <a:p>
          <a:endParaRPr lang="de-DE"/>
        </a:p>
      </dgm:t>
    </dgm:pt>
    <dgm:pt modelId="{A68178B5-D355-4024-BD2D-BBA752B749F0}" type="sibTrans" cxnId="{3D3DDB0E-8915-46CC-83AE-54CDDF80A42E}">
      <dgm:prSet/>
      <dgm:spPr/>
      <dgm:t>
        <a:bodyPr/>
        <a:lstStyle/>
        <a:p>
          <a:endParaRPr lang="de-DE"/>
        </a:p>
      </dgm:t>
    </dgm:pt>
    <dgm:pt modelId="{2AC55054-3B5E-4231-8A8A-D51D96C0EA94}">
      <dgm:prSet phldrT="[Text]" custT="1"/>
      <dgm:spPr/>
      <dgm:t>
        <a:bodyPr/>
        <a:lstStyle/>
        <a:p>
          <a:r>
            <a:rPr lang="en-US" sz="1200" err="1"/>
            <a:t>Nutzung</a:t>
          </a:r>
          <a:r>
            <a:rPr lang="en-US" sz="1200"/>
            <a:t> </a:t>
          </a:r>
          <a:r>
            <a:rPr lang="en-US" sz="1200" err="1"/>
            <a:t>innovativer</a:t>
          </a:r>
          <a:r>
            <a:rPr lang="en-US" sz="1200"/>
            <a:t> </a:t>
          </a:r>
          <a:r>
            <a:rPr lang="en-US" sz="1200" err="1"/>
            <a:t>Technologien</a:t>
          </a:r>
          <a:endParaRPr lang="en-US" sz="1200"/>
        </a:p>
      </dgm:t>
    </dgm:pt>
    <dgm:pt modelId="{EF89E779-0E6A-40EC-9D8F-F4A9459DED3E}" type="parTrans" cxnId="{D5BBAA09-DBB7-4620-8BFA-7BD6E8F48E95}">
      <dgm:prSet/>
      <dgm:spPr/>
      <dgm:t>
        <a:bodyPr/>
        <a:lstStyle/>
        <a:p>
          <a:endParaRPr lang="de-DE"/>
        </a:p>
      </dgm:t>
    </dgm:pt>
    <dgm:pt modelId="{E7B60E09-4ABA-451A-9ACA-F6308D85714E}" type="sibTrans" cxnId="{D5BBAA09-DBB7-4620-8BFA-7BD6E8F48E95}">
      <dgm:prSet/>
      <dgm:spPr/>
      <dgm:t>
        <a:bodyPr/>
        <a:lstStyle/>
        <a:p>
          <a:endParaRPr lang="de-DE"/>
        </a:p>
      </dgm:t>
    </dgm:pt>
    <dgm:pt modelId="{468B0FE1-8DF1-4020-BDDF-34DD868CA50C}">
      <dgm:prSet phldrT="[Text]" custT="1"/>
      <dgm:spPr/>
      <dgm:t>
        <a:bodyPr/>
        <a:lstStyle/>
        <a:p>
          <a:r>
            <a:rPr lang="en-US" sz="1200" err="1"/>
            <a:t>breite</a:t>
          </a:r>
          <a:r>
            <a:rPr lang="en-US" sz="1200"/>
            <a:t> </a:t>
          </a:r>
          <a:r>
            <a:rPr lang="en-US" sz="1200" err="1"/>
            <a:t>Verfügbarkeit</a:t>
          </a:r>
          <a:r>
            <a:rPr lang="en-US" sz="1200"/>
            <a:t> </a:t>
          </a:r>
          <a:r>
            <a:rPr lang="en-US" sz="1200" err="1"/>
            <a:t>verschiedener</a:t>
          </a:r>
          <a:r>
            <a:rPr lang="en-US" sz="1200"/>
            <a:t> </a:t>
          </a:r>
          <a:r>
            <a:rPr lang="en-US" sz="1200" err="1"/>
            <a:t>Dienste</a:t>
          </a:r>
          <a:endParaRPr lang="en-US" sz="1200"/>
        </a:p>
      </dgm:t>
    </dgm:pt>
    <dgm:pt modelId="{DB9EE88C-1781-4AE7-B64D-FCDA92D01149}" type="parTrans" cxnId="{2282EC21-A52A-4DFD-B402-9D15E3939D2E}">
      <dgm:prSet/>
      <dgm:spPr/>
      <dgm:t>
        <a:bodyPr/>
        <a:lstStyle/>
        <a:p>
          <a:endParaRPr lang="de-DE"/>
        </a:p>
      </dgm:t>
    </dgm:pt>
    <dgm:pt modelId="{033E5F45-C116-4326-9535-FA0D1F16BCC6}" type="sibTrans" cxnId="{2282EC21-A52A-4DFD-B402-9D15E3939D2E}">
      <dgm:prSet/>
      <dgm:spPr/>
      <dgm:t>
        <a:bodyPr/>
        <a:lstStyle/>
        <a:p>
          <a:endParaRPr lang="de-DE"/>
        </a:p>
      </dgm:t>
    </dgm:pt>
    <dgm:pt modelId="{97C7E6C1-0845-4369-8E13-772B7F8CC21A}">
      <dgm:prSet phldrT="[Text]" custT="1"/>
      <dgm:spPr/>
      <dgm:t>
        <a:bodyPr/>
        <a:lstStyle/>
        <a:p>
          <a:r>
            <a:rPr lang="en-US" sz="1200" err="1"/>
            <a:t>Abhängigkeit</a:t>
          </a:r>
          <a:r>
            <a:rPr lang="en-US" sz="1200"/>
            <a:t> von </a:t>
          </a:r>
          <a:r>
            <a:rPr lang="en-US" sz="1200" err="1"/>
            <a:t>externen</a:t>
          </a:r>
          <a:r>
            <a:rPr lang="en-US" sz="1200"/>
            <a:t> </a:t>
          </a:r>
          <a:r>
            <a:rPr lang="en-US" sz="1200" err="1"/>
            <a:t>Fahrern</a:t>
          </a:r>
          <a:endParaRPr lang="en-US" sz="1200"/>
        </a:p>
      </dgm:t>
    </dgm:pt>
    <dgm:pt modelId="{2DB5B3F4-FFED-4A77-B1E0-7F2181009F0D}" type="parTrans" cxnId="{1805DF26-F363-4CF8-80E8-102E6E4BCF50}">
      <dgm:prSet/>
      <dgm:spPr/>
      <dgm:t>
        <a:bodyPr/>
        <a:lstStyle/>
        <a:p>
          <a:endParaRPr lang="de-DE"/>
        </a:p>
      </dgm:t>
    </dgm:pt>
    <dgm:pt modelId="{83EC94E4-C05D-4F68-865E-D6A9A03C86EB}" type="sibTrans" cxnId="{1805DF26-F363-4CF8-80E8-102E6E4BCF50}">
      <dgm:prSet/>
      <dgm:spPr/>
      <dgm:t>
        <a:bodyPr/>
        <a:lstStyle/>
        <a:p>
          <a:endParaRPr lang="de-DE"/>
        </a:p>
      </dgm:t>
    </dgm:pt>
    <dgm:pt modelId="{6C0A728A-0099-4904-BD38-27550FCB980A}">
      <dgm:prSet phldrT="[Text]" custT="1"/>
      <dgm:spPr/>
      <dgm:t>
        <a:bodyPr/>
        <a:lstStyle/>
        <a:p>
          <a:r>
            <a:rPr lang="en-US" sz="1200" err="1"/>
            <a:t>Reputationsschäden</a:t>
          </a:r>
          <a:endParaRPr lang="en-US" sz="1200"/>
        </a:p>
      </dgm:t>
    </dgm:pt>
    <dgm:pt modelId="{59DD13CB-55B6-4907-BB74-0484B3210C96}" type="parTrans" cxnId="{14F743DB-34B1-4EA3-9109-A09D41F07A4B}">
      <dgm:prSet/>
      <dgm:spPr/>
      <dgm:t>
        <a:bodyPr/>
        <a:lstStyle/>
        <a:p>
          <a:endParaRPr lang="de-DE"/>
        </a:p>
      </dgm:t>
    </dgm:pt>
    <dgm:pt modelId="{7080D67D-932C-468A-909E-84431473CA3C}" type="sibTrans" cxnId="{14F743DB-34B1-4EA3-9109-A09D41F07A4B}">
      <dgm:prSet/>
      <dgm:spPr/>
      <dgm:t>
        <a:bodyPr/>
        <a:lstStyle/>
        <a:p>
          <a:endParaRPr lang="de-DE"/>
        </a:p>
      </dgm:t>
    </dgm:pt>
    <dgm:pt modelId="{22FB2C9C-2AD4-4587-BC48-D5A50AFEDC46}">
      <dgm:prSet phldrT="[Text]" custT="1"/>
      <dgm:spPr/>
      <dgm:t>
        <a:bodyPr/>
        <a:lstStyle/>
        <a:p>
          <a:r>
            <a:rPr lang="en-US" sz="1200" err="1"/>
            <a:t>verstärkte</a:t>
          </a:r>
          <a:r>
            <a:rPr lang="en-US" sz="1200"/>
            <a:t> </a:t>
          </a:r>
          <a:r>
            <a:rPr lang="en-US" sz="1200" err="1"/>
            <a:t>Investitionen</a:t>
          </a:r>
          <a:r>
            <a:rPr lang="en-US" sz="1200"/>
            <a:t> in </a:t>
          </a:r>
          <a:r>
            <a:rPr lang="en-US" sz="1200" err="1"/>
            <a:t>autonome</a:t>
          </a:r>
          <a:r>
            <a:rPr lang="en-US" sz="1200"/>
            <a:t> </a:t>
          </a:r>
          <a:r>
            <a:rPr lang="en-US" sz="1200" err="1"/>
            <a:t>Technologien</a:t>
          </a:r>
          <a:endParaRPr lang="en-US" sz="1200"/>
        </a:p>
      </dgm:t>
    </dgm:pt>
    <dgm:pt modelId="{F0D9573A-C9E6-44AF-B6C4-CDD3AB155A76}" type="parTrans" cxnId="{681DCD4B-07FB-4C99-98DF-43B363DE0217}">
      <dgm:prSet/>
      <dgm:spPr/>
      <dgm:t>
        <a:bodyPr/>
        <a:lstStyle/>
        <a:p>
          <a:endParaRPr lang="de-DE"/>
        </a:p>
      </dgm:t>
    </dgm:pt>
    <dgm:pt modelId="{0F8D881D-7A7C-49F8-842A-6DD43D30F7CA}" type="sibTrans" cxnId="{681DCD4B-07FB-4C99-98DF-43B363DE0217}">
      <dgm:prSet/>
      <dgm:spPr/>
      <dgm:t>
        <a:bodyPr/>
        <a:lstStyle/>
        <a:p>
          <a:endParaRPr lang="de-DE"/>
        </a:p>
      </dgm:t>
    </dgm:pt>
    <dgm:pt modelId="{D06D1BB5-9500-4091-84B3-65A09BF93D36}">
      <dgm:prSet phldrT="[Text]" custT="1"/>
      <dgm:spPr/>
      <dgm:t>
        <a:bodyPr/>
        <a:lstStyle/>
        <a:p>
          <a:r>
            <a:rPr lang="en-US" sz="1200" err="1"/>
            <a:t>diversifizierte</a:t>
          </a:r>
          <a:r>
            <a:rPr lang="en-US" sz="1200"/>
            <a:t> </a:t>
          </a:r>
          <a:r>
            <a:rPr lang="en-US" sz="1200" err="1"/>
            <a:t>Dienstleistungen</a:t>
          </a:r>
          <a:endParaRPr lang="en-US" sz="1200"/>
        </a:p>
      </dgm:t>
    </dgm:pt>
    <dgm:pt modelId="{FBBB0EB1-3C04-43C6-B985-F481C83ABD52}" type="parTrans" cxnId="{110F6165-F47E-40B9-BD0A-666435E29C00}">
      <dgm:prSet/>
      <dgm:spPr/>
      <dgm:t>
        <a:bodyPr/>
        <a:lstStyle/>
        <a:p>
          <a:endParaRPr lang="de-DE"/>
        </a:p>
      </dgm:t>
    </dgm:pt>
    <dgm:pt modelId="{F67AB009-AB68-4EA5-BFBF-9EE239A587D7}" type="sibTrans" cxnId="{110F6165-F47E-40B9-BD0A-666435E29C00}">
      <dgm:prSet/>
      <dgm:spPr/>
      <dgm:t>
        <a:bodyPr/>
        <a:lstStyle/>
        <a:p>
          <a:endParaRPr lang="de-DE"/>
        </a:p>
      </dgm:t>
    </dgm:pt>
    <dgm:pt modelId="{E95BC8C9-C739-48BE-9251-1AAACA811CD7}">
      <dgm:prSet phldrT="[Text]" custT="1"/>
      <dgm:spPr/>
      <dgm:t>
        <a:bodyPr/>
        <a:lstStyle/>
        <a:p>
          <a:r>
            <a:rPr lang="en-US" sz="1200" err="1"/>
            <a:t>verbesserte</a:t>
          </a:r>
          <a:r>
            <a:rPr lang="en-US" sz="1200"/>
            <a:t> </a:t>
          </a:r>
          <a:r>
            <a:rPr lang="en-US" sz="1200" err="1"/>
            <a:t>Fahrer-Kunden-Beziehung</a:t>
          </a:r>
          <a:endParaRPr lang="en-US" sz="1200"/>
        </a:p>
      </dgm:t>
    </dgm:pt>
    <dgm:pt modelId="{84DF32E3-1793-4D3F-BFD3-BB59EDFF130F}" type="parTrans" cxnId="{CF165780-765A-4A4F-BF52-A41AFC5F0466}">
      <dgm:prSet/>
      <dgm:spPr/>
      <dgm:t>
        <a:bodyPr/>
        <a:lstStyle/>
        <a:p>
          <a:endParaRPr lang="de-DE"/>
        </a:p>
      </dgm:t>
    </dgm:pt>
    <dgm:pt modelId="{3B09C8EE-FAAD-4DFE-AF1A-15D0DA02415B}" type="sibTrans" cxnId="{CF165780-765A-4A4F-BF52-A41AFC5F0466}">
      <dgm:prSet/>
      <dgm:spPr/>
      <dgm:t>
        <a:bodyPr/>
        <a:lstStyle/>
        <a:p>
          <a:endParaRPr lang="de-DE"/>
        </a:p>
      </dgm:t>
    </dgm:pt>
    <dgm:pt modelId="{25B1197D-DB90-478B-A58A-B860D8EC6479}">
      <dgm:prSet phldrT="[Text]" custT="1"/>
      <dgm:spPr/>
      <dgm:t>
        <a:bodyPr/>
        <a:lstStyle/>
        <a:p>
          <a:r>
            <a:rPr lang="en-US" sz="1200" err="1"/>
            <a:t>Wettbewerb</a:t>
          </a:r>
          <a:r>
            <a:rPr lang="en-US" sz="1200"/>
            <a:t> &amp; </a:t>
          </a:r>
          <a:r>
            <a:rPr lang="en-US" sz="1200" err="1"/>
            <a:t>Konkurrenzdruck</a:t>
          </a:r>
          <a:endParaRPr lang="en-US" sz="1200"/>
        </a:p>
      </dgm:t>
    </dgm:pt>
    <dgm:pt modelId="{D373B159-1EC8-4E2C-ABA7-EC51D6A3DE4A}" type="parTrans" cxnId="{CB2A378E-9BAF-4BE6-A3BF-A27845A90EF6}">
      <dgm:prSet/>
      <dgm:spPr/>
      <dgm:t>
        <a:bodyPr/>
        <a:lstStyle/>
        <a:p>
          <a:endParaRPr lang="de-DE"/>
        </a:p>
      </dgm:t>
    </dgm:pt>
    <dgm:pt modelId="{0AC26E81-4E14-4C9E-BF9D-0DB08D879A7F}" type="sibTrans" cxnId="{CB2A378E-9BAF-4BE6-A3BF-A27845A90EF6}">
      <dgm:prSet/>
      <dgm:spPr/>
      <dgm:t>
        <a:bodyPr/>
        <a:lstStyle/>
        <a:p>
          <a:endParaRPr lang="de-DE"/>
        </a:p>
      </dgm:t>
    </dgm:pt>
    <dgm:pt modelId="{DBEFF54C-FC9E-4F6A-B77D-AC485D8B972D}">
      <dgm:prSet phldrT="[Text]" custT="1"/>
      <dgm:spPr/>
      <dgm:t>
        <a:bodyPr/>
        <a:lstStyle/>
        <a:p>
          <a:r>
            <a:rPr lang="en-US" sz="1200" err="1"/>
            <a:t>technologische</a:t>
          </a:r>
          <a:r>
            <a:rPr lang="en-US" sz="1200"/>
            <a:t> Disruption </a:t>
          </a:r>
        </a:p>
      </dgm:t>
    </dgm:pt>
    <dgm:pt modelId="{1F9A4F37-B141-4377-BB45-0DB7F1C6CA55}" type="parTrans" cxnId="{EE6D0C7A-E24C-4080-A92F-BFD54CBD1BDC}">
      <dgm:prSet/>
      <dgm:spPr/>
      <dgm:t>
        <a:bodyPr/>
        <a:lstStyle/>
        <a:p>
          <a:endParaRPr lang="de-DE"/>
        </a:p>
      </dgm:t>
    </dgm:pt>
    <dgm:pt modelId="{A433F933-B896-4F11-AE9F-7705AC4F8381}" type="sibTrans" cxnId="{EE6D0C7A-E24C-4080-A92F-BFD54CBD1BDC}">
      <dgm:prSet/>
      <dgm:spPr/>
      <dgm:t>
        <a:bodyPr/>
        <a:lstStyle/>
        <a:p>
          <a:endParaRPr lang="de-DE"/>
        </a:p>
      </dgm:t>
    </dgm:pt>
    <dgm:pt modelId="{C8869947-ECFF-41EF-BA81-B1E19FA8A54B}" type="pres">
      <dgm:prSet presAssocID="{E0D4330F-1EFF-4BC3-97B5-49F1DD3DFE08}" presName="matrix" presStyleCnt="0">
        <dgm:presLayoutVars>
          <dgm:chMax val="1"/>
          <dgm:dir/>
          <dgm:resizeHandles val="exact"/>
        </dgm:presLayoutVars>
      </dgm:prSet>
      <dgm:spPr/>
    </dgm:pt>
    <dgm:pt modelId="{3753C147-A476-4426-B7C4-6C6087668D43}" type="pres">
      <dgm:prSet presAssocID="{E0D4330F-1EFF-4BC3-97B5-49F1DD3DFE08}" presName="diamond" presStyleLbl="bgShp" presStyleIdx="0" presStyleCnt="1"/>
      <dgm:spPr/>
    </dgm:pt>
    <dgm:pt modelId="{51CA5EAE-5AEE-4448-8A22-1F9DBB56A9E8}" type="pres">
      <dgm:prSet presAssocID="{E0D4330F-1EFF-4BC3-97B5-49F1DD3DFE08}" presName="quad1" presStyleLbl="node1" presStyleIdx="0" presStyleCnt="4">
        <dgm:presLayoutVars>
          <dgm:chMax val="0"/>
          <dgm:chPref val="0"/>
          <dgm:bulletEnabled val="1"/>
        </dgm:presLayoutVars>
      </dgm:prSet>
      <dgm:spPr/>
    </dgm:pt>
    <dgm:pt modelId="{A5CD618D-8254-4931-A8AE-74D2865EC1E3}" type="pres">
      <dgm:prSet presAssocID="{E0D4330F-1EFF-4BC3-97B5-49F1DD3DFE08}" presName="quad2" presStyleLbl="node1" presStyleIdx="1" presStyleCnt="4">
        <dgm:presLayoutVars>
          <dgm:chMax val="0"/>
          <dgm:chPref val="0"/>
          <dgm:bulletEnabled val="1"/>
        </dgm:presLayoutVars>
      </dgm:prSet>
      <dgm:spPr/>
    </dgm:pt>
    <dgm:pt modelId="{6575E715-0518-4C90-B610-463F1DE32885}" type="pres">
      <dgm:prSet presAssocID="{E0D4330F-1EFF-4BC3-97B5-49F1DD3DFE08}" presName="quad3" presStyleLbl="node1" presStyleIdx="2" presStyleCnt="4">
        <dgm:presLayoutVars>
          <dgm:chMax val="0"/>
          <dgm:chPref val="0"/>
          <dgm:bulletEnabled val="1"/>
        </dgm:presLayoutVars>
      </dgm:prSet>
      <dgm:spPr/>
    </dgm:pt>
    <dgm:pt modelId="{902E4691-60D1-42D5-A66E-D71A35F28B12}" type="pres">
      <dgm:prSet presAssocID="{E0D4330F-1EFF-4BC3-97B5-49F1DD3DFE08}" presName="quad4" presStyleLbl="node1" presStyleIdx="3" presStyleCnt="4">
        <dgm:presLayoutVars>
          <dgm:chMax val="0"/>
          <dgm:chPref val="0"/>
          <dgm:bulletEnabled val="1"/>
        </dgm:presLayoutVars>
      </dgm:prSet>
      <dgm:spPr/>
    </dgm:pt>
  </dgm:ptLst>
  <dgm:cxnLst>
    <dgm:cxn modelId="{D5BBAA09-DBB7-4620-8BFA-7BD6E8F48E95}" srcId="{110D2C7D-7A37-4A3B-A37D-3CECAAF58BF6}" destId="{2AC55054-3B5E-4231-8A8A-D51D96C0EA94}" srcOrd="1" destOrd="0" parTransId="{EF89E779-0E6A-40EC-9D8F-F4A9459DED3E}" sibTransId="{E7B60E09-4ABA-451A-9ACA-F6308D85714E}"/>
    <dgm:cxn modelId="{6A323D0C-954A-4F15-946B-D305BCF82A4F}" type="presOf" srcId="{D06D1BB5-9500-4091-84B3-65A09BF93D36}" destId="{6575E715-0518-4C90-B610-463F1DE32885}" srcOrd="0" destOrd="2" presId="urn:microsoft.com/office/officeart/2005/8/layout/matrix3"/>
    <dgm:cxn modelId="{3D3DDB0E-8915-46CC-83AE-54CDDF80A42E}" srcId="{82691897-C44C-46C0-AFA5-B128B8194FDE}" destId="{526F3775-6B9A-470F-95FB-A624783884E1}" srcOrd="0" destOrd="0" parTransId="{A7B135DA-8D0C-4584-8DFA-F8E4E055A204}" sibTransId="{A68178B5-D355-4024-BD2D-BBA752B749F0}"/>
    <dgm:cxn modelId="{341F3518-FCF1-4372-B589-463531951388}" type="presOf" srcId="{25B1197D-DB90-478B-A58A-B860D8EC6479}" destId="{902E4691-60D1-42D5-A66E-D71A35F28B12}" srcOrd="0" destOrd="2" presId="urn:microsoft.com/office/officeart/2005/8/layout/matrix3"/>
    <dgm:cxn modelId="{8F341321-C5E1-45CA-96F6-420DD385535D}" srcId="{CC94106E-5DBF-4DDF-AD1C-4F951457F89B}" destId="{DE884BD7-CAA8-4F5B-8102-6A07C1A7F3B3}" srcOrd="0" destOrd="0" parTransId="{0679E0CB-A863-4FD2-B597-311C9F7B86BB}" sibTransId="{80EEA14E-AD79-4235-A07D-0A16A3416F6C}"/>
    <dgm:cxn modelId="{2282EC21-A52A-4DFD-B402-9D15E3939D2E}" srcId="{110D2C7D-7A37-4A3B-A37D-3CECAAF58BF6}" destId="{468B0FE1-8DF1-4020-BDDF-34DD868CA50C}" srcOrd="2" destOrd="0" parTransId="{DB9EE88C-1781-4AE7-B64D-FCDA92D01149}" sibTransId="{033E5F45-C116-4326-9535-FA0D1F16BCC6}"/>
    <dgm:cxn modelId="{1805DF26-F363-4CF8-80E8-102E6E4BCF50}" srcId="{CC94106E-5DBF-4DDF-AD1C-4F951457F89B}" destId="{97C7E6C1-0845-4369-8E13-772B7F8CC21A}" srcOrd="1" destOrd="0" parTransId="{2DB5B3F4-FFED-4A77-B1E0-7F2181009F0D}" sibTransId="{83EC94E4-C05D-4F68-865E-D6A9A03C86EB}"/>
    <dgm:cxn modelId="{592EE139-1BC3-4A5A-AAC5-7020F1AE2E7E}" srcId="{E0D4330F-1EFF-4BC3-97B5-49F1DD3DFE08}" destId="{110D2C7D-7A37-4A3B-A37D-3CECAAF58BF6}" srcOrd="0" destOrd="0" parTransId="{64B265EF-E062-4000-8DFD-93E7AE0A52B5}" sibTransId="{A9FC4507-EA19-47B1-9629-0161CBC05F10}"/>
    <dgm:cxn modelId="{9E1C243A-E285-41F8-A255-6A49538AD8B8}" type="presOf" srcId="{DE884BD7-CAA8-4F5B-8102-6A07C1A7F3B3}" destId="{A5CD618D-8254-4931-A8AE-74D2865EC1E3}" srcOrd="0" destOrd="1" presId="urn:microsoft.com/office/officeart/2005/8/layout/matrix3"/>
    <dgm:cxn modelId="{E0BB4241-E954-456A-8815-E5A70B0A06DD}" type="presOf" srcId="{82691897-C44C-46C0-AFA5-B128B8194FDE}" destId="{902E4691-60D1-42D5-A66E-D71A35F28B12}" srcOrd="0" destOrd="0" presId="urn:microsoft.com/office/officeart/2005/8/layout/matrix3"/>
    <dgm:cxn modelId="{24D17D42-2CCD-4C8B-A992-542D282ED786}" srcId="{E0D4330F-1EFF-4BC3-97B5-49F1DD3DFE08}" destId="{CC94106E-5DBF-4DDF-AD1C-4F951457F89B}" srcOrd="1" destOrd="0" parTransId="{EF4ACE71-8149-4536-8307-B60A9BA9B303}" sibTransId="{7AB24C88-4FA3-47DC-8EE6-955F0E86CE90}"/>
    <dgm:cxn modelId="{110F6165-F47E-40B9-BD0A-666435E29C00}" srcId="{D729F637-9C50-4971-AEAB-2EA25466EB82}" destId="{D06D1BB5-9500-4091-84B3-65A09BF93D36}" srcOrd="1" destOrd="0" parTransId="{FBBB0EB1-3C04-43C6-B985-F481C83ABD52}" sibTransId="{F67AB009-AB68-4EA5-BFBF-9EE239A587D7}"/>
    <dgm:cxn modelId="{681DCD4B-07FB-4C99-98DF-43B363DE0217}" srcId="{D729F637-9C50-4971-AEAB-2EA25466EB82}" destId="{22FB2C9C-2AD4-4587-BC48-D5A50AFEDC46}" srcOrd="0" destOrd="0" parTransId="{F0D9573A-C9E6-44AF-B6C4-CDD3AB155A76}" sibTransId="{0F8D881D-7A7C-49F8-842A-6DD43D30F7CA}"/>
    <dgm:cxn modelId="{230B4A51-CC87-4DFA-8BB1-CBC542ECF95F}" type="presOf" srcId="{6C0A728A-0099-4904-BD38-27550FCB980A}" destId="{A5CD618D-8254-4931-A8AE-74D2865EC1E3}" srcOrd="0" destOrd="3" presId="urn:microsoft.com/office/officeart/2005/8/layout/matrix3"/>
    <dgm:cxn modelId="{69462778-36C5-4C5B-AC38-DDA6891EDFAF}" type="presOf" srcId="{D729F637-9C50-4971-AEAB-2EA25466EB82}" destId="{6575E715-0518-4C90-B610-463F1DE32885}" srcOrd="0" destOrd="0" presId="urn:microsoft.com/office/officeart/2005/8/layout/matrix3"/>
    <dgm:cxn modelId="{EE6D0C7A-E24C-4080-A92F-BFD54CBD1BDC}" srcId="{82691897-C44C-46C0-AFA5-B128B8194FDE}" destId="{DBEFF54C-FC9E-4F6A-B77D-AC485D8B972D}" srcOrd="2" destOrd="0" parTransId="{1F9A4F37-B141-4377-BB45-0DB7F1C6CA55}" sibTransId="{A433F933-B896-4F11-AE9F-7705AC4F8381}"/>
    <dgm:cxn modelId="{59EDEC7E-A6D1-41EC-A93F-2BDA2F1CEC8E}" type="presOf" srcId="{34358516-50D0-4DF3-9F1F-BA3CFD13312E}" destId="{51CA5EAE-5AEE-4448-8A22-1F9DBB56A9E8}" srcOrd="0" destOrd="1" presId="urn:microsoft.com/office/officeart/2005/8/layout/matrix3"/>
    <dgm:cxn modelId="{CF165780-765A-4A4F-BF52-A41AFC5F0466}" srcId="{D729F637-9C50-4971-AEAB-2EA25466EB82}" destId="{E95BC8C9-C739-48BE-9251-1AAACA811CD7}" srcOrd="2" destOrd="0" parTransId="{84DF32E3-1793-4D3F-BFD3-BB59EDFF130F}" sibTransId="{3B09C8EE-FAAD-4DFE-AF1A-15D0DA02415B}"/>
    <dgm:cxn modelId="{ED3BDE82-90E8-4680-AEFC-5CEDBDC02290}" srcId="{E0D4330F-1EFF-4BC3-97B5-49F1DD3DFE08}" destId="{82691897-C44C-46C0-AFA5-B128B8194FDE}" srcOrd="3" destOrd="0" parTransId="{1F46FEFA-7203-4E3D-97BC-D5CAC55CC833}" sibTransId="{C7DD1E3C-B088-48A5-8BC3-0ED3FE3B05AE}"/>
    <dgm:cxn modelId="{CB2A378E-9BAF-4BE6-A3BF-A27845A90EF6}" srcId="{82691897-C44C-46C0-AFA5-B128B8194FDE}" destId="{25B1197D-DB90-478B-A58A-B860D8EC6479}" srcOrd="1" destOrd="0" parTransId="{D373B159-1EC8-4E2C-ABA7-EC51D6A3DE4A}" sibTransId="{0AC26E81-4E14-4C9E-BF9D-0DB08D879A7F}"/>
    <dgm:cxn modelId="{D9B1C595-9FE2-4B46-BF3E-8323F60E7BC6}" srcId="{110D2C7D-7A37-4A3B-A37D-3CECAAF58BF6}" destId="{34358516-50D0-4DF3-9F1F-BA3CFD13312E}" srcOrd="0" destOrd="0" parTransId="{A72B72A6-A428-48AB-BA00-BA61B3419638}" sibTransId="{C3370CA2-51ED-4AC2-BE69-2AD883BF809A}"/>
    <dgm:cxn modelId="{10E677A8-1CAA-46D8-B297-74C9A8C44195}" type="presOf" srcId="{DBEFF54C-FC9E-4F6A-B77D-AC485D8B972D}" destId="{902E4691-60D1-42D5-A66E-D71A35F28B12}" srcOrd="0" destOrd="3" presId="urn:microsoft.com/office/officeart/2005/8/layout/matrix3"/>
    <dgm:cxn modelId="{17EB83A8-EA30-4B80-A9F3-761F957B30F1}" type="presOf" srcId="{526F3775-6B9A-470F-95FB-A624783884E1}" destId="{902E4691-60D1-42D5-A66E-D71A35F28B12}" srcOrd="0" destOrd="1" presId="urn:microsoft.com/office/officeart/2005/8/layout/matrix3"/>
    <dgm:cxn modelId="{735A03AC-BDFB-4789-BCB3-0F302AA375B3}" type="presOf" srcId="{468B0FE1-8DF1-4020-BDDF-34DD868CA50C}" destId="{51CA5EAE-5AEE-4448-8A22-1F9DBB56A9E8}" srcOrd="0" destOrd="3" presId="urn:microsoft.com/office/officeart/2005/8/layout/matrix3"/>
    <dgm:cxn modelId="{10F2BBB7-B69A-4A6C-A511-E95CBAEC21ED}" type="presOf" srcId="{22FB2C9C-2AD4-4587-BC48-D5A50AFEDC46}" destId="{6575E715-0518-4C90-B610-463F1DE32885}" srcOrd="0" destOrd="1" presId="urn:microsoft.com/office/officeart/2005/8/layout/matrix3"/>
    <dgm:cxn modelId="{4A570BC5-8037-4A2A-B997-8A1DA7F85532}" type="presOf" srcId="{E95BC8C9-C739-48BE-9251-1AAACA811CD7}" destId="{6575E715-0518-4C90-B610-463F1DE32885}" srcOrd="0" destOrd="3" presId="urn:microsoft.com/office/officeart/2005/8/layout/matrix3"/>
    <dgm:cxn modelId="{D8E28FC7-D405-464C-894B-29DEADA6B49B}" type="presOf" srcId="{110D2C7D-7A37-4A3B-A37D-3CECAAF58BF6}" destId="{51CA5EAE-5AEE-4448-8A22-1F9DBB56A9E8}" srcOrd="0" destOrd="0" presId="urn:microsoft.com/office/officeart/2005/8/layout/matrix3"/>
    <dgm:cxn modelId="{A6C19AC9-0E17-4BBE-9DDF-47EAEDE53415}" type="presOf" srcId="{CC94106E-5DBF-4DDF-AD1C-4F951457F89B}" destId="{A5CD618D-8254-4931-A8AE-74D2865EC1E3}" srcOrd="0" destOrd="0" presId="urn:microsoft.com/office/officeart/2005/8/layout/matrix3"/>
    <dgm:cxn modelId="{14F743DB-34B1-4EA3-9109-A09D41F07A4B}" srcId="{CC94106E-5DBF-4DDF-AD1C-4F951457F89B}" destId="{6C0A728A-0099-4904-BD38-27550FCB980A}" srcOrd="2" destOrd="0" parTransId="{59DD13CB-55B6-4907-BB74-0484B3210C96}" sibTransId="{7080D67D-932C-468A-909E-84431473CA3C}"/>
    <dgm:cxn modelId="{CB3018EB-92F0-4B03-9DF5-491660FFBDA6}" srcId="{E0D4330F-1EFF-4BC3-97B5-49F1DD3DFE08}" destId="{D729F637-9C50-4971-AEAB-2EA25466EB82}" srcOrd="2" destOrd="0" parTransId="{162D3E78-B700-410B-93C2-60D5C1F75E88}" sibTransId="{9AD18E43-19BA-4C23-AF91-D152D9EAFEA2}"/>
    <dgm:cxn modelId="{3C62C8ED-FE03-47FB-97E3-955A4B4348AA}" type="presOf" srcId="{E0D4330F-1EFF-4BC3-97B5-49F1DD3DFE08}" destId="{C8869947-ECFF-41EF-BA81-B1E19FA8A54B}" srcOrd="0" destOrd="0" presId="urn:microsoft.com/office/officeart/2005/8/layout/matrix3"/>
    <dgm:cxn modelId="{3DFF0EF3-BA81-46DE-B3AE-50AF22E2D5F0}" type="presOf" srcId="{2AC55054-3B5E-4231-8A8A-D51D96C0EA94}" destId="{51CA5EAE-5AEE-4448-8A22-1F9DBB56A9E8}" srcOrd="0" destOrd="2" presId="urn:microsoft.com/office/officeart/2005/8/layout/matrix3"/>
    <dgm:cxn modelId="{77DC88F5-AB6F-406B-B99D-4F448D3BBBF0}" type="presOf" srcId="{97C7E6C1-0845-4369-8E13-772B7F8CC21A}" destId="{A5CD618D-8254-4931-A8AE-74D2865EC1E3}" srcOrd="0" destOrd="2" presId="urn:microsoft.com/office/officeart/2005/8/layout/matrix3"/>
    <dgm:cxn modelId="{470EBD92-F8C9-466A-99EC-E2272C65BAEC}" type="presParOf" srcId="{C8869947-ECFF-41EF-BA81-B1E19FA8A54B}" destId="{3753C147-A476-4426-B7C4-6C6087668D43}" srcOrd="0" destOrd="0" presId="urn:microsoft.com/office/officeart/2005/8/layout/matrix3"/>
    <dgm:cxn modelId="{C2FAF95A-D88A-4B1E-B4A0-92330CD02B51}" type="presParOf" srcId="{C8869947-ECFF-41EF-BA81-B1E19FA8A54B}" destId="{51CA5EAE-5AEE-4448-8A22-1F9DBB56A9E8}" srcOrd="1" destOrd="0" presId="urn:microsoft.com/office/officeart/2005/8/layout/matrix3"/>
    <dgm:cxn modelId="{2FDF70C5-B645-4EE7-9029-33291CD5FC7B}" type="presParOf" srcId="{C8869947-ECFF-41EF-BA81-B1E19FA8A54B}" destId="{A5CD618D-8254-4931-A8AE-74D2865EC1E3}" srcOrd="2" destOrd="0" presId="urn:microsoft.com/office/officeart/2005/8/layout/matrix3"/>
    <dgm:cxn modelId="{89EAF25E-7962-4D18-9AC3-5A5050EF09B7}" type="presParOf" srcId="{C8869947-ECFF-41EF-BA81-B1E19FA8A54B}" destId="{6575E715-0518-4C90-B610-463F1DE32885}" srcOrd="3" destOrd="0" presId="urn:microsoft.com/office/officeart/2005/8/layout/matrix3"/>
    <dgm:cxn modelId="{F707D303-63D9-4FD5-BE69-38BE8D47FA69}" type="presParOf" srcId="{C8869947-ECFF-41EF-BA81-B1E19FA8A54B}" destId="{902E4691-60D1-42D5-A66E-D71A35F28B12}" srcOrd="4" destOrd="0" presId="urn:microsoft.com/office/officeart/2005/8/layout/matrix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BC326F9-AE87-4AD7-870F-2B9BBE8A8A4D}"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de-DE"/>
        </a:p>
      </dgm:t>
    </dgm:pt>
    <dgm:pt modelId="{7D170452-C57D-4507-95B7-58928F80FC75}">
      <dgm:prSet phldrT="[Text]" custT="1"/>
      <dgm:spPr/>
      <dgm:t>
        <a:bodyPr/>
        <a:lstStyle/>
        <a:p>
          <a:pPr>
            <a:buFont typeface="+mj-lt"/>
            <a:buAutoNum type="arabicPeriod"/>
          </a:pPr>
          <a:r>
            <a:rPr lang="en-US" sz="1200" b="1" err="1"/>
            <a:t>Technologieplattform</a:t>
          </a:r>
          <a:r>
            <a:rPr lang="en-US" sz="1200" b="1"/>
            <a:t> und App-</a:t>
          </a:r>
          <a:r>
            <a:rPr lang="en-US" sz="1200" b="1" err="1"/>
            <a:t>Entwicklung</a:t>
          </a:r>
          <a:endParaRPr lang="en-US" sz="1200"/>
        </a:p>
      </dgm:t>
    </dgm:pt>
    <dgm:pt modelId="{4CEFF6E6-AC2B-4BEE-BD6F-0DCCC9BC1CF2}" type="parTrans" cxnId="{0110E9BC-E6A3-4750-86C8-C0C136A77AB5}">
      <dgm:prSet/>
      <dgm:spPr/>
      <dgm:t>
        <a:bodyPr/>
        <a:lstStyle/>
        <a:p>
          <a:endParaRPr lang="de-DE"/>
        </a:p>
      </dgm:t>
    </dgm:pt>
    <dgm:pt modelId="{8142B30A-50CE-4A24-90E6-6CDA07762275}" type="sibTrans" cxnId="{0110E9BC-E6A3-4750-86C8-C0C136A77AB5}">
      <dgm:prSet/>
      <dgm:spPr/>
      <dgm:t>
        <a:bodyPr/>
        <a:lstStyle/>
        <a:p>
          <a:endParaRPr lang="de-DE"/>
        </a:p>
      </dgm:t>
    </dgm:pt>
    <dgm:pt modelId="{825E7D6A-5747-4146-8F51-E00AA7C65ED4}">
      <dgm:prSet custT="1"/>
      <dgm:spPr/>
      <dgm:t>
        <a:bodyPr/>
        <a:lstStyle/>
        <a:p>
          <a:r>
            <a:rPr lang="en-US" sz="1200" b="1" err="1"/>
            <a:t>Fahrerakquise</a:t>
          </a:r>
          <a:r>
            <a:rPr lang="en-US" sz="1200" b="1"/>
            <a:t> und -</a:t>
          </a:r>
          <a:r>
            <a:rPr lang="en-US" sz="1200" b="1" err="1"/>
            <a:t>bindung</a:t>
          </a:r>
          <a:endParaRPr lang="en-US" sz="1200"/>
        </a:p>
      </dgm:t>
    </dgm:pt>
    <dgm:pt modelId="{F5550F82-3A06-4145-8EC0-3E94651259DF}" type="parTrans" cxnId="{06731249-FA66-4518-9557-DCE647C25083}">
      <dgm:prSet/>
      <dgm:spPr/>
      <dgm:t>
        <a:bodyPr/>
        <a:lstStyle/>
        <a:p>
          <a:endParaRPr lang="de-DE"/>
        </a:p>
      </dgm:t>
    </dgm:pt>
    <dgm:pt modelId="{0EA51E0B-18C3-4443-B304-1F357D585F2F}" type="sibTrans" cxnId="{06731249-FA66-4518-9557-DCE647C25083}">
      <dgm:prSet/>
      <dgm:spPr/>
      <dgm:t>
        <a:bodyPr/>
        <a:lstStyle/>
        <a:p>
          <a:endParaRPr lang="de-DE"/>
        </a:p>
      </dgm:t>
    </dgm:pt>
    <dgm:pt modelId="{BC5EAEBF-641D-4D47-BEC8-A3E5331D4811}">
      <dgm:prSet custT="1"/>
      <dgm:spPr/>
      <dgm:t>
        <a:bodyPr/>
        <a:lstStyle/>
        <a:p>
          <a:r>
            <a:rPr lang="en-US" sz="1200" b="1" err="1"/>
            <a:t>Vermittlung</a:t>
          </a:r>
          <a:r>
            <a:rPr lang="en-US" sz="1200" b="1"/>
            <a:t> und Matching</a:t>
          </a:r>
          <a:endParaRPr lang="en-US" sz="1200"/>
        </a:p>
      </dgm:t>
    </dgm:pt>
    <dgm:pt modelId="{888E94BE-057A-4F6E-B98A-B6129FE87008}" type="parTrans" cxnId="{D6EDA597-DB5B-4C0D-ADD1-C42A650489D4}">
      <dgm:prSet/>
      <dgm:spPr/>
      <dgm:t>
        <a:bodyPr/>
        <a:lstStyle/>
        <a:p>
          <a:endParaRPr lang="de-DE"/>
        </a:p>
      </dgm:t>
    </dgm:pt>
    <dgm:pt modelId="{C80DC887-89A6-4046-9F4F-BCB858537FA8}" type="sibTrans" cxnId="{D6EDA597-DB5B-4C0D-ADD1-C42A650489D4}">
      <dgm:prSet/>
      <dgm:spPr/>
      <dgm:t>
        <a:bodyPr/>
        <a:lstStyle/>
        <a:p>
          <a:endParaRPr lang="de-DE"/>
        </a:p>
      </dgm:t>
    </dgm:pt>
    <dgm:pt modelId="{9BEB9520-CBAE-4CED-B11E-0445DCF2D984}">
      <dgm:prSet custT="1"/>
      <dgm:spPr/>
      <dgm:t>
        <a:bodyPr/>
        <a:lstStyle/>
        <a:p>
          <a:r>
            <a:rPr lang="en-US" sz="1200" b="1" err="1"/>
            <a:t>Kundenservice</a:t>
          </a:r>
          <a:r>
            <a:rPr lang="en-US" sz="1200" b="1"/>
            <a:t> und -</a:t>
          </a:r>
          <a:r>
            <a:rPr lang="en-US" sz="1200" b="1" err="1"/>
            <a:t>erfahrung</a:t>
          </a:r>
          <a:endParaRPr lang="en-US" sz="1200"/>
        </a:p>
      </dgm:t>
    </dgm:pt>
    <dgm:pt modelId="{B78628EE-3A6E-496B-B76F-8C0A086286C9}" type="parTrans" cxnId="{0FEBBA42-602C-4587-8172-FB16254F1C1F}">
      <dgm:prSet/>
      <dgm:spPr/>
      <dgm:t>
        <a:bodyPr/>
        <a:lstStyle/>
        <a:p>
          <a:endParaRPr lang="de-DE"/>
        </a:p>
      </dgm:t>
    </dgm:pt>
    <dgm:pt modelId="{63F372F2-24EF-40F3-BB83-257321B7C210}" type="sibTrans" cxnId="{0FEBBA42-602C-4587-8172-FB16254F1C1F}">
      <dgm:prSet/>
      <dgm:spPr/>
      <dgm:t>
        <a:bodyPr/>
        <a:lstStyle/>
        <a:p>
          <a:endParaRPr lang="de-DE"/>
        </a:p>
      </dgm:t>
    </dgm:pt>
    <dgm:pt modelId="{604CA924-9004-4565-B4B4-1AA138766140}">
      <dgm:prSet custT="1"/>
      <dgm:spPr/>
      <dgm:t>
        <a:bodyPr/>
        <a:lstStyle/>
        <a:p>
          <a:r>
            <a:rPr lang="en-US" sz="1200" b="1" err="1"/>
            <a:t>Regulatorische</a:t>
          </a:r>
          <a:r>
            <a:rPr lang="en-US" sz="1200" b="1"/>
            <a:t> Compliance</a:t>
          </a:r>
          <a:endParaRPr lang="en-US" sz="1200"/>
        </a:p>
      </dgm:t>
    </dgm:pt>
    <dgm:pt modelId="{1C6CC621-E445-425B-A520-54CF26D4431E}" type="parTrans" cxnId="{2193675A-8632-49E3-B0CB-CFFD866FD02B}">
      <dgm:prSet/>
      <dgm:spPr/>
      <dgm:t>
        <a:bodyPr/>
        <a:lstStyle/>
        <a:p>
          <a:endParaRPr lang="de-DE"/>
        </a:p>
      </dgm:t>
    </dgm:pt>
    <dgm:pt modelId="{415F1894-116B-45BE-9E85-63D841640990}" type="sibTrans" cxnId="{2193675A-8632-49E3-B0CB-CFFD866FD02B}">
      <dgm:prSet/>
      <dgm:spPr/>
      <dgm:t>
        <a:bodyPr/>
        <a:lstStyle/>
        <a:p>
          <a:endParaRPr lang="de-DE"/>
        </a:p>
      </dgm:t>
    </dgm:pt>
    <dgm:pt modelId="{EC3624FB-6B13-41D2-A313-7BC02CB85913}">
      <dgm:prSet custT="1"/>
      <dgm:spPr/>
      <dgm:t>
        <a:bodyPr/>
        <a:lstStyle/>
        <a:p>
          <a:r>
            <a:rPr lang="en-US" sz="1200" b="1"/>
            <a:t>Innovation und </a:t>
          </a:r>
          <a:r>
            <a:rPr lang="en-US" sz="1200" b="1" err="1"/>
            <a:t>Forschung</a:t>
          </a:r>
          <a:endParaRPr lang="en-US" sz="1200"/>
        </a:p>
      </dgm:t>
    </dgm:pt>
    <dgm:pt modelId="{9D1B74CA-4BA4-4238-BBBB-60E1FF7DBBD6}" type="parTrans" cxnId="{F59E582C-CCD1-4EDA-B24A-4F8F733DEE09}">
      <dgm:prSet/>
      <dgm:spPr/>
      <dgm:t>
        <a:bodyPr/>
        <a:lstStyle/>
        <a:p>
          <a:endParaRPr lang="de-DE"/>
        </a:p>
      </dgm:t>
    </dgm:pt>
    <dgm:pt modelId="{111D2D1F-46D0-492C-932C-FD33511B96E0}" type="sibTrans" cxnId="{F59E582C-CCD1-4EDA-B24A-4F8F733DEE09}">
      <dgm:prSet/>
      <dgm:spPr/>
      <dgm:t>
        <a:bodyPr/>
        <a:lstStyle/>
        <a:p>
          <a:endParaRPr lang="de-DE"/>
        </a:p>
      </dgm:t>
    </dgm:pt>
    <dgm:pt modelId="{DC1AE413-311B-445B-A097-2EF1D6056110}">
      <dgm:prSet custT="1"/>
      <dgm:spPr/>
      <dgm:t>
        <a:bodyPr/>
        <a:lstStyle/>
        <a:p>
          <a:r>
            <a:rPr lang="en-US" sz="1200"/>
            <a:t> Die </a:t>
          </a:r>
          <a:r>
            <a:rPr lang="en-US" sz="1200" err="1"/>
            <a:t>Gewinnung</a:t>
          </a:r>
          <a:r>
            <a:rPr lang="en-US" sz="1200"/>
            <a:t> und </a:t>
          </a:r>
          <a:r>
            <a:rPr lang="en-US" sz="1200" err="1"/>
            <a:t>Bindung</a:t>
          </a:r>
          <a:r>
            <a:rPr lang="en-US" sz="1200"/>
            <a:t> von </a:t>
          </a:r>
          <a:r>
            <a:rPr lang="en-US" sz="1200" err="1"/>
            <a:t>Fahrern</a:t>
          </a:r>
          <a:r>
            <a:rPr lang="en-US" sz="1200"/>
            <a:t> </a:t>
          </a:r>
          <a:r>
            <a:rPr lang="en-US" sz="1200" err="1"/>
            <a:t>ist</a:t>
          </a:r>
          <a:r>
            <a:rPr lang="en-US" sz="1200"/>
            <a:t> </a:t>
          </a:r>
          <a:r>
            <a:rPr lang="en-US" sz="1200" err="1"/>
            <a:t>kritisch</a:t>
          </a:r>
          <a:r>
            <a:rPr lang="en-US" sz="1200"/>
            <a:t>, da Uber von </a:t>
          </a:r>
          <a:r>
            <a:rPr lang="en-US" sz="1200" err="1"/>
            <a:t>einer</a:t>
          </a:r>
          <a:r>
            <a:rPr lang="en-US" sz="1200"/>
            <a:t> </a:t>
          </a:r>
          <a:r>
            <a:rPr lang="en-US" sz="1200" err="1"/>
            <a:t>aktiven</a:t>
          </a:r>
          <a:r>
            <a:rPr lang="en-US" sz="1200"/>
            <a:t> und </a:t>
          </a:r>
          <a:r>
            <a:rPr lang="en-US" sz="1200" err="1"/>
            <a:t>engagierten</a:t>
          </a:r>
          <a:r>
            <a:rPr lang="en-US" sz="1200"/>
            <a:t> </a:t>
          </a:r>
          <a:r>
            <a:rPr lang="en-US" sz="1200" err="1"/>
            <a:t>Fahrer</a:t>
          </a:r>
          <a:r>
            <a:rPr lang="en-US" sz="1200"/>
            <a:t>-Basis </a:t>
          </a:r>
          <a:r>
            <a:rPr lang="en-US" sz="1200" err="1"/>
            <a:t>abhängig</a:t>
          </a:r>
          <a:r>
            <a:rPr lang="en-US" sz="1200"/>
            <a:t> </a:t>
          </a:r>
          <a:r>
            <a:rPr lang="en-US" sz="1200" err="1"/>
            <a:t>ist</a:t>
          </a:r>
          <a:r>
            <a:rPr lang="en-US" sz="1200"/>
            <a:t>, um die </a:t>
          </a:r>
          <a:r>
            <a:rPr lang="en-US" sz="1200" err="1"/>
            <a:t>Dienste</a:t>
          </a:r>
          <a:r>
            <a:rPr lang="en-US" sz="1200"/>
            <a:t> </a:t>
          </a:r>
          <a:r>
            <a:rPr lang="en-US" sz="1200" err="1"/>
            <a:t>bereitzustellen</a:t>
          </a:r>
          <a:r>
            <a:rPr lang="en-US" sz="1200"/>
            <a:t>.</a:t>
          </a:r>
        </a:p>
      </dgm:t>
    </dgm:pt>
    <dgm:pt modelId="{A6CC4773-A218-40DA-9151-AAEA3CBC6E87}" type="parTrans" cxnId="{E4BD08B3-7AF7-4896-975B-83333399008F}">
      <dgm:prSet/>
      <dgm:spPr/>
      <dgm:t>
        <a:bodyPr/>
        <a:lstStyle/>
        <a:p>
          <a:endParaRPr lang="de-DE"/>
        </a:p>
      </dgm:t>
    </dgm:pt>
    <dgm:pt modelId="{443DEA58-D867-48ED-97F5-0A8CBDCF73B8}" type="sibTrans" cxnId="{E4BD08B3-7AF7-4896-975B-83333399008F}">
      <dgm:prSet/>
      <dgm:spPr/>
      <dgm:t>
        <a:bodyPr/>
        <a:lstStyle/>
        <a:p>
          <a:endParaRPr lang="de-DE"/>
        </a:p>
      </dgm:t>
    </dgm:pt>
    <dgm:pt modelId="{A6A9C5F0-BD93-4FB8-990A-EA98DE691C21}">
      <dgm:prSet custT="1"/>
      <dgm:spPr/>
      <dgm:t>
        <a:bodyPr/>
        <a:lstStyle/>
        <a:p>
          <a:r>
            <a:rPr lang="en-US" sz="1200"/>
            <a:t>Der </a:t>
          </a:r>
          <a:r>
            <a:rPr lang="en-US" sz="1200" err="1"/>
            <a:t>Vermittlungsprozess</a:t>
          </a:r>
          <a:r>
            <a:rPr lang="en-US" sz="1200"/>
            <a:t> </a:t>
          </a:r>
          <a:r>
            <a:rPr lang="en-US" sz="1200" err="1"/>
            <a:t>zwischen</a:t>
          </a:r>
          <a:r>
            <a:rPr lang="en-US" sz="1200"/>
            <a:t> </a:t>
          </a:r>
          <a:r>
            <a:rPr lang="en-US" sz="1200" err="1"/>
            <a:t>Fahrern</a:t>
          </a:r>
          <a:r>
            <a:rPr lang="en-US" sz="1200"/>
            <a:t> und </a:t>
          </a:r>
          <a:r>
            <a:rPr lang="en-US" sz="1200" err="1"/>
            <a:t>Kunden</a:t>
          </a:r>
          <a:r>
            <a:rPr lang="en-US" sz="1200"/>
            <a:t> muss </a:t>
          </a:r>
          <a:r>
            <a:rPr lang="en-US" sz="1200" err="1"/>
            <a:t>reibungslos</a:t>
          </a:r>
          <a:r>
            <a:rPr lang="en-US" sz="1200"/>
            <a:t> </a:t>
          </a:r>
          <a:r>
            <a:rPr lang="en-US" sz="1200" err="1"/>
            <a:t>funktionieren</a:t>
          </a:r>
          <a:r>
            <a:rPr lang="en-US" sz="1200"/>
            <a:t>, um </a:t>
          </a:r>
          <a:r>
            <a:rPr lang="en-US" sz="1200" err="1"/>
            <a:t>eine</a:t>
          </a:r>
          <a:r>
            <a:rPr lang="en-US" sz="1200"/>
            <a:t> </a:t>
          </a:r>
          <a:r>
            <a:rPr lang="en-US" sz="1200" err="1"/>
            <a:t>schnelle</a:t>
          </a:r>
          <a:r>
            <a:rPr lang="en-US" sz="1200"/>
            <a:t> und </a:t>
          </a:r>
          <a:r>
            <a:rPr lang="en-US" sz="1200" err="1"/>
            <a:t>effiziente</a:t>
          </a:r>
          <a:r>
            <a:rPr lang="en-US" sz="1200"/>
            <a:t> </a:t>
          </a:r>
          <a:r>
            <a:rPr lang="en-US" sz="1200" err="1"/>
            <a:t>Servicebereitstellung</a:t>
          </a:r>
          <a:r>
            <a:rPr lang="en-US" sz="1200"/>
            <a:t> </a:t>
          </a:r>
          <a:r>
            <a:rPr lang="en-US" sz="1200" err="1"/>
            <a:t>zu</a:t>
          </a:r>
          <a:r>
            <a:rPr lang="en-US" sz="1200"/>
            <a:t> </a:t>
          </a:r>
          <a:r>
            <a:rPr lang="en-US" sz="1200" err="1"/>
            <a:t>gewährleisten</a:t>
          </a:r>
          <a:r>
            <a:rPr lang="en-US" sz="1200"/>
            <a:t>. Die </a:t>
          </a:r>
          <a:r>
            <a:rPr lang="en-US" sz="1200" err="1"/>
            <a:t>Algorithmen</a:t>
          </a:r>
          <a:r>
            <a:rPr lang="en-US" sz="1200"/>
            <a:t>, die </a:t>
          </a:r>
          <a:r>
            <a:rPr lang="en-US" sz="1200" err="1"/>
            <a:t>Fahrer</a:t>
          </a:r>
          <a:r>
            <a:rPr lang="en-US" sz="1200"/>
            <a:t> und </a:t>
          </a:r>
          <a:r>
            <a:rPr lang="en-US" sz="1200" err="1"/>
            <a:t>Kunden</a:t>
          </a:r>
          <a:r>
            <a:rPr lang="en-US" sz="1200"/>
            <a:t> </a:t>
          </a:r>
          <a:r>
            <a:rPr lang="en-US" sz="1200" err="1"/>
            <a:t>basierend</a:t>
          </a:r>
          <a:r>
            <a:rPr lang="en-US" sz="1200"/>
            <a:t> auf </a:t>
          </a:r>
          <a:r>
            <a:rPr lang="en-US" sz="1200" err="1"/>
            <a:t>Standort</a:t>
          </a:r>
          <a:r>
            <a:rPr lang="en-US" sz="1200"/>
            <a:t>, </a:t>
          </a:r>
          <a:r>
            <a:rPr lang="en-US" sz="1200" err="1"/>
            <a:t>Verfügbarkeit</a:t>
          </a:r>
          <a:r>
            <a:rPr lang="en-US" sz="1200"/>
            <a:t> und </a:t>
          </a:r>
          <a:r>
            <a:rPr lang="en-US" sz="1200" err="1"/>
            <a:t>Präferenzen</a:t>
          </a:r>
          <a:r>
            <a:rPr lang="en-US" sz="1200"/>
            <a:t> </a:t>
          </a:r>
          <a:r>
            <a:rPr lang="en-US" sz="1200" err="1"/>
            <a:t>matchen</a:t>
          </a:r>
          <a:r>
            <a:rPr lang="en-US" sz="1200"/>
            <a:t>, </a:t>
          </a:r>
          <a:r>
            <a:rPr lang="en-US" sz="1200" err="1"/>
            <a:t>sind</a:t>
          </a:r>
          <a:r>
            <a:rPr lang="en-US" sz="1200"/>
            <a:t> </a:t>
          </a:r>
          <a:r>
            <a:rPr lang="en-US" sz="1200" err="1"/>
            <a:t>entscheidend</a:t>
          </a:r>
          <a:r>
            <a:rPr lang="en-US" sz="1200"/>
            <a:t>.</a:t>
          </a:r>
        </a:p>
      </dgm:t>
    </dgm:pt>
    <dgm:pt modelId="{4795B88C-1416-4BAD-A9AF-3B7F4D51B556}" type="parTrans" cxnId="{73188561-CE34-4AE5-BF93-68B68F09BF2D}">
      <dgm:prSet/>
      <dgm:spPr/>
      <dgm:t>
        <a:bodyPr/>
        <a:lstStyle/>
        <a:p>
          <a:endParaRPr lang="de-DE"/>
        </a:p>
      </dgm:t>
    </dgm:pt>
    <dgm:pt modelId="{CF3497CE-F47A-4789-BE9F-1565C1412A5B}" type="sibTrans" cxnId="{73188561-CE34-4AE5-BF93-68B68F09BF2D}">
      <dgm:prSet/>
      <dgm:spPr/>
      <dgm:t>
        <a:bodyPr/>
        <a:lstStyle/>
        <a:p>
          <a:endParaRPr lang="de-DE"/>
        </a:p>
      </dgm:t>
    </dgm:pt>
    <dgm:pt modelId="{C357DF6F-FF32-48C5-B936-FA375CCFCFED}">
      <dgm:prSet custT="1"/>
      <dgm:spPr/>
      <dgm:t>
        <a:bodyPr/>
        <a:lstStyle/>
        <a:p>
          <a:r>
            <a:rPr lang="en-US" sz="1200"/>
            <a:t>Die </a:t>
          </a:r>
          <a:r>
            <a:rPr lang="en-US" sz="1200" err="1"/>
            <a:t>Kundenerfahrung</a:t>
          </a:r>
          <a:r>
            <a:rPr lang="en-US" sz="1200"/>
            <a:t>, </a:t>
          </a:r>
          <a:r>
            <a:rPr lang="en-US" sz="1200" err="1"/>
            <a:t>angefangen</a:t>
          </a:r>
          <a:r>
            <a:rPr lang="en-US" sz="1200"/>
            <a:t> von der </a:t>
          </a:r>
          <a:r>
            <a:rPr lang="en-US" sz="1200" err="1"/>
            <a:t>Buchung</a:t>
          </a:r>
          <a:r>
            <a:rPr lang="en-US" sz="1200"/>
            <a:t> bis </a:t>
          </a:r>
          <a:r>
            <a:rPr lang="en-US" sz="1200" err="1"/>
            <a:t>zur</a:t>
          </a:r>
          <a:r>
            <a:rPr lang="en-US" sz="1200"/>
            <a:t> </a:t>
          </a:r>
          <a:r>
            <a:rPr lang="en-US" sz="1200" err="1"/>
            <a:t>Fahrt</a:t>
          </a:r>
          <a:r>
            <a:rPr lang="en-US" sz="1200"/>
            <a:t>/</a:t>
          </a:r>
          <a:r>
            <a:rPr lang="en-US" sz="1200" err="1"/>
            <a:t>Lieferung</a:t>
          </a:r>
          <a:r>
            <a:rPr lang="en-US" sz="1200"/>
            <a:t> und der </a:t>
          </a:r>
          <a:r>
            <a:rPr lang="en-US" sz="1200" err="1"/>
            <a:t>Abrechnung</a:t>
          </a:r>
          <a:r>
            <a:rPr lang="en-US" sz="1200"/>
            <a:t>, </a:t>
          </a:r>
          <a:r>
            <a:rPr lang="en-US" sz="1200" err="1"/>
            <a:t>spielt</a:t>
          </a:r>
          <a:r>
            <a:rPr lang="en-US" sz="1200"/>
            <a:t> </a:t>
          </a:r>
          <a:r>
            <a:rPr lang="en-US" sz="1200" err="1"/>
            <a:t>eine</a:t>
          </a:r>
          <a:r>
            <a:rPr lang="en-US" sz="1200"/>
            <a:t> </a:t>
          </a:r>
          <a:r>
            <a:rPr lang="en-US" sz="1200" err="1"/>
            <a:t>wichtige</a:t>
          </a:r>
          <a:r>
            <a:rPr lang="en-US" sz="1200"/>
            <a:t> Rolle für die </a:t>
          </a:r>
          <a:r>
            <a:rPr lang="en-US" sz="1200" err="1"/>
            <a:t>Kundenzufriedenheit</a:t>
          </a:r>
          <a:r>
            <a:rPr lang="en-US" sz="1200"/>
            <a:t> und -</a:t>
          </a:r>
          <a:r>
            <a:rPr lang="en-US" sz="1200" err="1"/>
            <a:t>bindung</a:t>
          </a:r>
          <a:r>
            <a:rPr lang="en-US" sz="1200"/>
            <a:t>.</a:t>
          </a:r>
        </a:p>
      </dgm:t>
    </dgm:pt>
    <dgm:pt modelId="{1A4CE41C-84A3-45B4-AF7F-EC744B930524}" type="parTrans" cxnId="{778FC349-43D8-4E51-A59F-06CB57EF7E79}">
      <dgm:prSet/>
      <dgm:spPr/>
      <dgm:t>
        <a:bodyPr/>
        <a:lstStyle/>
        <a:p>
          <a:endParaRPr lang="de-DE"/>
        </a:p>
      </dgm:t>
    </dgm:pt>
    <dgm:pt modelId="{C0282030-21E6-4CAA-BCC8-24EED2AE2B9B}" type="sibTrans" cxnId="{778FC349-43D8-4E51-A59F-06CB57EF7E79}">
      <dgm:prSet/>
      <dgm:spPr/>
      <dgm:t>
        <a:bodyPr/>
        <a:lstStyle/>
        <a:p>
          <a:endParaRPr lang="de-DE"/>
        </a:p>
      </dgm:t>
    </dgm:pt>
    <dgm:pt modelId="{ED3FC005-CF41-4EAD-BC75-AD85E8DEA586}">
      <dgm:prSet custT="1"/>
      <dgm:spPr/>
      <dgm:t>
        <a:bodyPr/>
        <a:lstStyle/>
        <a:p>
          <a:r>
            <a:rPr lang="en-US" sz="1200"/>
            <a:t>Uber muss </a:t>
          </a:r>
          <a:r>
            <a:rPr lang="en-US" sz="1200" err="1"/>
            <a:t>sich</a:t>
          </a:r>
          <a:r>
            <a:rPr lang="en-US" sz="1200"/>
            <a:t> an </a:t>
          </a:r>
          <a:r>
            <a:rPr lang="en-US" sz="1200" err="1"/>
            <a:t>lokale</a:t>
          </a:r>
          <a:r>
            <a:rPr lang="en-US" sz="1200"/>
            <a:t> und </a:t>
          </a:r>
          <a:r>
            <a:rPr lang="en-US" sz="1200" err="1"/>
            <a:t>regionale</a:t>
          </a:r>
          <a:r>
            <a:rPr lang="en-US" sz="1200"/>
            <a:t> </a:t>
          </a:r>
          <a:r>
            <a:rPr lang="en-US" sz="1200" err="1"/>
            <a:t>Gesetze</a:t>
          </a:r>
          <a:r>
            <a:rPr lang="en-US" sz="1200"/>
            <a:t> und </a:t>
          </a:r>
          <a:r>
            <a:rPr lang="en-US" sz="1200" err="1"/>
            <a:t>Vorschriften</a:t>
          </a:r>
          <a:r>
            <a:rPr lang="en-US" sz="1200"/>
            <a:t> </a:t>
          </a:r>
          <a:r>
            <a:rPr lang="en-US" sz="1200" err="1"/>
            <a:t>halten</a:t>
          </a:r>
          <a:r>
            <a:rPr lang="en-US" sz="1200"/>
            <a:t>. Dies </a:t>
          </a:r>
          <a:r>
            <a:rPr lang="en-US" sz="1200" err="1"/>
            <a:t>beinhaltet</a:t>
          </a:r>
          <a:r>
            <a:rPr lang="en-US" sz="1200"/>
            <a:t> </a:t>
          </a:r>
          <a:r>
            <a:rPr lang="en-US" sz="1200" err="1"/>
            <a:t>rechtliche</a:t>
          </a:r>
          <a:r>
            <a:rPr lang="en-US" sz="1200"/>
            <a:t> und </a:t>
          </a:r>
          <a:r>
            <a:rPr lang="en-US" sz="1200" err="1"/>
            <a:t>regulatorische</a:t>
          </a:r>
          <a:r>
            <a:rPr lang="en-US" sz="1200"/>
            <a:t> </a:t>
          </a:r>
          <a:r>
            <a:rPr lang="en-US" sz="1200" err="1"/>
            <a:t>Aspekte</a:t>
          </a:r>
          <a:r>
            <a:rPr lang="en-US" sz="1200"/>
            <a:t> </a:t>
          </a:r>
          <a:r>
            <a:rPr lang="en-US" sz="1200" err="1"/>
            <a:t>wie</a:t>
          </a:r>
          <a:r>
            <a:rPr lang="en-US" sz="1200"/>
            <a:t> </a:t>
          </a:r>
          <a:r>
            <a:rPr lang="en-US" sz="1200" err="1"/>
            <a:t>Fahrerlizenzen</a:t>
          </a:r>
          <a:r>
            <a:rPr lang="en-US" sz="1200"/>
            <a:t>, </a:t>
          </a:r>
          <a:r>
            <a:rPr lang="en-US" sz="1200" err="1"/>
            <a:t>Versicherungen</a:t>
          </a:r>
          <a:r>
            <a:rPr lang="en-US" sz="1200"/>
            <a:t> und </a:t>
          </a:r>
          <a:r>
            <a:rPr lang="en-US" sz="1200" err="1"/>
            <a:t>Datenschutzbestimmungen</a:t>
          </a:r>
          <a:r>
            <a:rPr lang="en-US" sz="1200"/>
            <a:t>.</a:t>
          </a:r>
        </a:p>
      </dgm:t>
    </dgm:pt>
    <dgm:pt modelId="{263FF91F-47DC-426D-8610-01A80D2BC620}" type="parTrans" cxnId="{54855472-9E90-41DF-99F3-04D1D6F813C6}">
      <dgm:prSet/>
      <dgm:spPr/>
      <dgm:t>
        <a:bodyPr/>
        <a:lstStyle/>
        <a:p>
          <a:endParaRPr lang="de-DE"/>
        </a:p>
      </dgm:t>
    </dgm:pt>
    <dgm:pt modelId="{A9B553AB-6F24-4B8B-9DDC-59E5C5F38F65}" type="sibTrans" cxnId="{54855472-9E90-41DF-99F3-04D1D6F813C6}">
      <dgm:prSet/>
      <dgm:spPr/>
      <dgm:t>
        <a:bodyPr/>
        <a:lstStyle/>
        <a:p>
          <a:endParaRPr lang="de-DE"/>
        </a:p>
      </dgm:t>
    </dgm:pt>
    <dgm:pt modelId="{AFB2484E-51CD-41FE-A1F6-EE8D84E1F13D}">
      <dgm:prSet custT="1"/>
      <dgm:spPr/>
      <dgm:t>
        <a:bodyPr/>
        <a:lstStyle/>
        <a:p>
          <a:r>
            <a:rPr lang="en-US" sz="1200"/>
            <a:t>Die </a:t>
          </a:r>
          <a:r>
            <a:rPr lang="en-US" sz="1200" err="1"/>
            <a:t>kontinuierliche</a:t>
          </a:r>
          <a:r>
            <a:rPr lang="en-US" sz="1200"/>
            <a:t> Innovation, sei es in </a:t>
          </a:r>
          <a:r>
            <a:rPr lang="en-US" sz="1200" err="1"/>
            <a:t>Bezug</a:t>
          </a:r>
          <a:r>
            <a:rPr lang="en-US" sz="1200"/>
            <a:t> auf </a:t>
          </a:r>
          <a:r>
            <a:rPr lang="en-US" sz="1200" err="1"/>
            <a:t>neue</a:t>
          </a:r>
          <a:r>
            <a:rPr lang="en-US" sz="1200"/>
            <a:t> </a:t>
          </a:r>
          <a:r>
            <a:rPr lang="en-US" sz="1200" err="1"/>
            <a:t>Dienstleistungen</a:t>
          </a:r>
          <a:r>
            <a:rPr lang="en-US" sz="1200"/>
            <a:t>, </a:t>
          </a:r>
          <a:r>
            <a:rPr lang="en-US" sz="1200" err="1"/>
            <a:t>Technologien</a:t>
          </a:r>
          <a:r>
            <a:rPr lang="en-US" sz="1200"/>
            <a:t> </a:t>
          </a:r>
          <a:r>
            <a:rPr lang="en-US" sz="1200" err="1"/>
            <a:t>oder</a:t>
          </a:r>
          <a:r>
            <a:rPr lang="en-US" sz="1200"/>
            <a:t> </a:t>
          </a:r>
          <a:r>
            <a:rPr lang="en-US" sz="1200" err="1"/>
            <a:t>Geschäftsmodelle</a:t>
          </a:r>
          <a:r>
            <a:rPr lang="en-US" sz="1200"/>
            <a:t>, </a:t>
          </a:r>
          <a:r>
            <a:rPr lang="en-US" sz="1200" err="1"/>
            <a:t>ist</a:t>
          </a:r>
          <a:r>
            <a:rPr lang="en-US" sz="1200"/>
            <a:t> </a:t>
          </a:r>
          <a:r>
            <a:rPr lang="en-US" sz="1200" err="1"/>
            <a:t>entscheidend</a:t>
          </a:r>
          <a:r>
            <a:rPr lang="en-US" sz="1200"/>
            <a:t>, um </a:t>
          </a:r>
          <a:r>
            <a:rPr lang="en-US" sz="1200" err="1"/>
            <a:t>wettbewerbsfähig</a:t>
          </a:r>
          <a:r>
            <a:rPr lang="en-US" sz="1200"/>
            <a:t> </a:t>
          </a:r>
          <a:r>
            <a:rPr lang="en-US" sz="1200" err="1"/>
            <a:t>zu</a:t>
          </a:r>
          <a:r>
            <a:rPr lang="en-US" sz="1200"/>
            <a:t> </a:t>
          </a:r>
          <a:r>
            <a:rPr lang="en-US" sz="1200" err="1"/>
            <a:t>bleiben</a:t>
          </a:r>
          <a:r>
            <a:rPr lang="en-US" sz="1200"/>
            <a:t> und den </a:t>
          </a:r>
          <a:r>
            <a:rPr lang="en-US" sz="1200" err="1"/>
            <a:t>sich</a:t>
          </a:r>
          <a:r>
            <a:rPr lang="en-US" sz="1200"/>
            <a:t> </a:t>
          </a:r>
          <a:r>
            <a:rPr lang="en-US" sz="1200" err="1"/>
            <a:t>ändernden</a:t>
          </a:r>
          <a:r>
            <a:rPr lang="en-US" sz="1200"/>
            <a:t> </a:t>
          </a:r>
          <a:r>
            <a:rPr lang="en-US" sz="1200" err="1"/>
            <a:t>Marktanforderungen</a:t>
          </a:r>
          <a:r>
            <a:rPr lang="en-US" sz="1200"/>
            <a:t> </a:t>
          </a:r>
          <a:r>
            <a:rPr lang="en-US" sz="1200" err="1"/>
            <a:t>gerecht</a:t>
          </a:r>
          <a:r>
            <a:rPr lang="en-US" sz="1200"/>
            <a:t> </a:t>
          </a:r>
          <a:r>
            <a:rPr lang="en-US" sz="1200" err="1"/>
            <a:t>zu</a:t>
          </a:r>
          <a:r>
            <a:rPr lang="en-US" sz="1200"/>
            <a:t> </a:t>
          </a:r>
          <a:r>
            <a:rPr lang="en-US" sz="1200" err="1"/>
            <a:t>werden</a:t>
          </a:r>
          <a:r>
            <a:rPr lang="en-US" sz="1200"/>
            <a:t>.</a:t>
          </a:r>
        </a:p>
      </dgm:t>
    </dgm:pt>
    <dgm:pt modelId="{885A28FA-C685-487D-8D9F-1AEE65DCED4D}" type="parTrans" cxnId="{60403AF8-8143-44E4-9A96-1074ADA04092}">
      <dgm:prSet/>
      <dgm:spPr/>
      <dgm:t>
        <a:bodyPr/>
        <a:lstStyle/>
        <a:p>
          <a:endParaRPr lang="de-DE"/>
        </a:p>
      </dgm:t>
    </dgm:pt>
    <dgm:pt modelId="{8EC567FB-0D0A-4D41-BF64-31049CE476F8}" type="sibTrans" cxnId="{60403AF8-8143-44E4-9A96-1074ADA04092}">
      <dgm:prSet/>
      <dgm:spPr/>
      <dgm:t>
        <a:bodyPr/>
        <a:lstStyle/>
        <a:p>
          <a:endParaRPr lang="de-DE"/>
        </a:p>
      </dgm:t>
    </dgm:pt>
    <dgm:pt modelId="{200FC76B-AF2B-4A93-B62B-5174D32ED13A}">
      <dgm:prSet phldrT="[Text]" custT="1"/>
      <dgm:spPr/>
      <dgm:t>
        <a:bodyPr/>
        <a:lstStyle/>
        <a:p>
          <a:pPr>
            <a:buFont typeface="Arial" panose="020B0604020202020204" pitchFamily="34" charset="0"/>
            <a:buChar char="•"/>
          </a:pPr>
          <a:r>
            <a:rPr lang="en-US" sz="1200"/>
            <a:t>Die </a:t>
          </a:r>
          <a:r>
            <a:rPr lang="en-US" sz="1200" err="1"/>
            <a:t>Entwicklung</a:t>
          </a:r>
          <a:r>
            <a:rPr lang="en-US" sz="1200"/>
            <a:t> und </a:t>
          </a:r>
          <a:r>
            <a:rPr lang="en-US" sz="1200" err="1"/>
            <a:t>Wartung</a:t>
          </a:r>
          <a:r>
            <a:rPr lang="en-US" sz="1200"/>
            <a:t> der </a:t>
          </a:r>
          <a:r>
            <a:rPr lang="en-US" sz="1200" err="1"/>
            <a:t>Technologieplattform</a:t>
          </a:r>
          <a:r>
            <a:rPr lang="en-US" sz="1200"/>
            <a:t>, </a:t>
          </a:r>
          <a:r>
            <a:rPr lang="en-US" sz="1200" err="1"/>
            <a:t>einschließlich</a:t>
          </a:r>
          <a:r>
            <a:rPr lang="en-US" sz="1200"/>
            <a:t> der </a:t>
          </a:r>
          <a:r>
            <a:rPr lang="en-US" sz="1200" err="1"/>
            <a:t>mobilen</a:t>
          </a:r>
          <a:r>
            <a:rPr lang="en-US" sz="1200"/>
            <a:t> App für </a:t>
          </a:r>
          <a:r>
            <a:rPr lang="en-US" sz="1200" err="1"/>
            <a:t>Fahrer</a:t>
          </a:r>
          <a:r>
            <a:rPr lang="en-US" sz="1200"/>
            <a:t> und </a:t>
          </a:r>
          <a:r>
            <a:rPr lang="en-US" sz="1200" err="1"/>
            <a:t>Passagiere</a:t>
          </a:r>
          <a:r>
            <a:rPr lang="en-US" sz="1200"/>
            <a:t>, </a:t>
          </a:r>
          <a:r>
            <a:rPr lang="en-US" sz="1200" err="1"/>
            <a:t>ist</a:t>
          </a:r>
          <a:r>
            <a:rPr lang="en-US" sz="1200"/>
            <a:t> </a:t>
          </a:r>
          <a:r>
            <a:rPr lang="en-US" sz="1200" err="1"/>
            <a:t>entscheidend</a:t>
          </a:r>
          <a:r>
            <a:rPr lang="en-US" sz="1200"/>
            <a:t>. Eine intuitive, stabile und </a:t>
          </a:r>
          <a:r>
            <a:rPr lang="en-US" sz="1200" err="1"/>
            <a:t>sichere</a:t>
          </a:r>
          <a:r>
            <a:rPr lang="en-US" sz="1200"/>
            <a:t> App </a:t>
          </a:r>
          <a:r>
            <a:rPr lang="en-US" sz="1200" err="1"/>
            <a:t>ist</a:t>
          </a:r>
          <a:r>
            <a:rPr lang="en-US" sz="1200"/>
            <a:t> </a:t>
          </a:r>
          <a:r>
            <a:rPr lang="en-US" sz="1200" err="1"/>
            <a:t>grundlegend</a:t>
          </a:r>
          <a:r>
            <a:rPr lang="en-US" sz="1200"/>
            <a:t> für die </a:t>
          </a:r>
          <a:r>
            <a:rPr lang="en-US" sz="1200" err="1"/>
            <a:t>Vermittlung</a:t>
          </a:r>
          <a:r>
            <a:rPr lang="en-US" sz="1200"/>
            <a:t> von </a:t>
          </a:r>
          <a:r>
            <a:rPr lang="en-US" sz="1200" err="1"/>
            <a:t>Fahrern</a:t>
          </a:r>
          <a:r>
            <a:rPr lang="en-US" sz="1200"/>
            <a:t> und </a:t>
          </a:r>
          <a:r>
            <a:rPr lang="en-US" sz="1200" err="1"/>
            <a:t>Kunden</a:t>
          </a:r>
          <a:r>
            <a:rPr lang="en-US" sz="1200"/>
            <a:t> in </a:t>
          </a:r>
          <a:r>
            <a:rPr lang="en-US" sz="1200" err="1"/>
            <a:t>Echtzeit</a:t>
          </a:r>
          <a:r>
            <a:rPr lang="en-US" sz="1200"/>
            <a:t>.</a:t>
          </a:r>
        </a:p>
      </dgm:t>
    </dgm:pt>
    <dgm:pt modelId="{49AF94B8-29C0-45E3-BBC9-1E0CD625B2DA}" type="parTrans" cxnId="{E9C12AE2-094F-46B3-9F58-46E874FE7162}">
      <dgm:prSet/>
      <dgm:spPr/>
      <dgm:t>
        <a:bodyPr/>
        <a:lstStyle/>
        <a:p>
          <a:endParaRPr lang="de-DE"/>
        </a:p>
      </dgm:t>
    </dgm:pt>
    <dgm:pt modelId="{046A7013-061C-48C5-835E-49E0938289EF}" type="sibTrans" cxnId="{E9C12AE2-094F-46B3-9F58-46E874FE7162}">
      <dgm:prSet/>
      <dgm:spPr/>
      <dgm:t>
        <a:bodyPr/>
        <a:lstStyle/>
        <a:p>
          <a:endParaRPr lang="de-DE"/>
        </a:p>
      </dgm:t>
    </dgm:pt>
    <dgm:pt modelId="{FCFCFC7C-86DB-4FED-BD0A-206C6972F570}" type="pres">
      <dgm:prSet presAssocID="{ABC326F9-AE87-4AD7-870F-2B9BBE8A8A4D}" presName="linear" presStyleCnt="0">
        <dgm:presLayoutVars>
          <dgm:animLvl val="lvl"/>
          <dgm:resizeHandles val="exact"/>
        </dgm:presLayoutVars>
      </dgm:prSet>
      <dgm:spPr/>
    </dgm:pt>
    <dgm:pt modelId="{C44AB906-66E1-4462-84F4-E765E235B0ED}" type="pres">
      <dgm:prSet presAssocID="{7D170452-C57D-4507-95B7-58928F80FC75}" presName="parentText" presStyleLbl="node1" presStyleIdx="0" presStyleCnt="6">
        <dgm:presLayoutVars>
          <dgm:chMax val="0"/>
          <dgm:bulletEnabled val="1"/>
        </dgm:presLayoutVars>
      </dgm:prSet>
      <dgm:spPr/>
    </dgm:pt>
    <dgm:pt modelId="{11FDFCEA-0327-4E41-945D-98F8104A21A9}" type="pres">
      <dgm:prSet presAssocID="{7D170452-C57D-4507-95B7-58928F80FC75}" presName="childText" presStyleLbl="revTx" presStyleIdx="0" presStyleCnt="6">
        <dgm:presLayoutVars>
          <dgm:bulletEnabled val="1"/>
        </dgm:presLayoutVars>
      </dgm:prSet>
      <dgm:spPr/>
    </dgm:pt>
    <dgm:pt modelId="{D9487047-447A-476F-B92C-7F0FB476542E}" type="pres">
      <dgm:prSet presAssocID="{825E7D6A-5747-4146-8F51-E00AA7C65ED4}" presName="parentText" presStyleLbl="node1" presStyleIdx="1" presStyleCnt="6">
        <dgm:presLayoutVars>
          <dgm:chMax val="0"/>
          <dgm:bulletEnabled val="1"/>
        </dgm:presLayoutVars>
      </dgm:prSet>
      <dgm:spPr/>
    </dgm:pt>
    <dgm:pt modelId="{F9FC5CC6-81B4-4176-9B5D-DDF44ECF03AB}" type="pres">
      <dgm:prSet presAssocID="{825E7D6A-5747-4146-8F51-E00AA7C65ED4}" presName="childText" presStyleLbl="revTx" presStyleIdx="1" presStyleCnt="6">
        <dgm:presLayoutVars>
          <dgm:bulletEnabled val="1"/>
        </dgm:presLayoutVars>
      </dgm:prSet>
      <dgm:spPr/>
    </dgm:pt>
    <dgm:pt modelId="{90264B59-C575-42DD-BAB7-0A7458C45793}" type="pres">
      <dgm:prSet presAssocID="{BC5EAEBF-641D-4D47-BEC8-A3E5331D4811}" presName="parentText" presStyleLbl="node1" presStyleIdx="2" presStyleCnt="6">
        <dgm:presLayoutVars>
          <dgm:chMax val="0"/>
          <dgm:bulletEnabled val="1"/>
        </dgm:presLayoutVars>
      </dgm:prSet>
      <dgm:spPr/>
    </dgm:pt>
    <dgm:pt modelId="{BB261BA6-B772-44D5-ACC3-DCE9DA7A3155}" type="pres">
      <dgm:prSet presAssocID="{BC5EAEBF-641D-4D47-BEC8-A3E5331D4811}" presName="childText" presStyleLbl="revTx" presStyleIdx="2" presStyleCnt="6">
        <dgm:presLayoutVars>
          <dgm:bulletEnabled val="1"/>
        </dgm:presLayoutVars>
      </dgm:prSet>
      <dgm:spPr/>
    </dgm:pt>
    <dgm:pt modelId="{CE86FB9F-A00B-464F-AE53-9704177AB94A}" type="pres">
      <dgm:prSet presAssocID="{9BEB9520-CBAE-4CED-B11E-0445DCF2D984}" presName="parentText" presStyleLbl="node1" presStyleIdx="3" presStyleCnt="6">
        <dgm:presLayoutVars>
          <dgm:chMax val="0"/>
          <dgm:bulletEnabled val="1"/>
        </dgm:presLayoutVars>
      </dgm:prSet>
      <dgm:spPr/>
    </dgm:pt>
    <dgm:pt modelId="{703D8708-AA83-4E0E-8ABD-E402EB52D026}" type="pres">
      <dgm:prSet presAssocID="{9BEB9520-CBAE-4CED-B11E-0445DCF2D984}" presName="childText" presStyleLbl="revTx" presStyleIdx="3" presStyleCnt="6">
        <dgm:presLayoutVars>
          <dgm:bulletEnabled val="1"/>
        </dgm:presLayoutVars>
      </dgm:prSet>
      <dgm:spPr/>
    </dgm:pt>
    <dgm:pt modelId="{06CB6770-01E9-40BB-A260-A2ACAA812BEC}" type="pres">
      <dgm:prSet presAssocID="{604CA924-9004-4565-B4B4-1AA138766140}" presName="parentText" presStyleLbl="node1" presStyleIdx="4" presStyleCnt="6">
        <dgm:presLayoutVars>
          <dgm:chMax val="0"/>
          <dgm:bulletEnabled val="1"/>
        </dgm:presLayoutVars>
      </dgm:prSet>
      <dgm:spPr/>
    </dgm:pt>
    <dgm:pt modelId="{4873B3B1-8D07-4424-96BC-B909CEE7A8DD}" type="pres">
      <dgm:prSet presAssocID="{604CA924-9004-4565-B4B4-1AA138766140}" presName="childText" presStyleLbl="revTx" presStyleIdx="4" presStyleCnt="6">
        <dgm:presLayoutVars>
          <dgm:bulletEnabled val="1"/>
        </dgm:presLayoutVars>
      </dgm:prSet>
      <dgm:spPr/>
    </dgm:pt>
    <dgm:pt modelId="{2E9EC1EE-E41E-4109-9A4C-20D0C5CB53CE}" type="pres">
      <dgm:prSet presAssocID="{EC3624FB-6B13-41D2-A313-7BC02CB85913}" presName="parentText" presStyleLbl="node1" presStyleIdx="5" presStyleCnt="6">
        <dgm:presLayoutVars>
          <dgm:chMax val="0"/>
          <dgm:bulletEnabled val="1"/>
        </dgm:presLayoutVars>
      </dgm:prSet>
      <dgm:spPr/>
    </dgm:pt>
    <dgm:pt modelId="{47A337E5-3EEA-4F57-AD31-620C82CBCB19}" type="pres">
      <dgm:prSet presAssocID="{EC3624FB-6B13-41D2-A313-7BC02CB85913}" presName="childText" presStyleLbl="revTx" presStyleIdx="5" presStyleCnt="6">
        <dgm:presLayoutVars>
          <dgm:bulletEnabled val="1"/>
        </dgm:presLayoutVars>
      </dgm:prSet>
      <dgm:spPr/>
    </dgm:pt>
  </dgm:ptLst>
  <dgm:cxnLst>
    <dgm:cxn modelId="{9B69A71B-66B0-455C-B11D-2E1B39AA5222}" type="presOf" srcId="{200FC76B-AF2B-4A93-B62B-5174D32ED13A}" destId="{11FDFCEA-0327-4E41-945D-98F8104A21A9}" srcOrd="0" destOrd="0" presId="urn:microsoft.com/office/officeart/2005/8/layout/vList2"/>
    <dgm:cxn modelId="{60C64620-0CBE-45BF-A3B3-BFCC9BF9EACE}" type="presOf" srcId="{7D170452-C57D-4507-95B7-58928F80FC75}" destId="{C44AB906-66E1-4462-84F4-E765E235B0ED}" srcOrd="0" destOrd="0" presId="urn:microsoft.com/office/officeart/2005/8/layout/vList2"/>
    <dgm:cxn modelId="{F59E582C-CCD1-4EDA-B24A-4F8F733DEE09}" srcId="{ABC326F9-AE87-4AD7-870F-2B9BBE8A8A4D}" destId="{EC3624FB-6B13-41D2-A313-7BC02CB85913}" srcOrd="5" destOrd="0" parTransId="{9D1B74CA-4BA4-4238-BBBB-60E1FF7DBBD6}" sibTransId="{111D2D1F-46D0-492C-932C-FD33511B96E0}"/>
    <dgm:cxn modelId="{8401442E-9530-4ED6-87C5-CB330CC401DE}" type="presOf" srcId="{ABC326F9-AE87-4AD7-870F-2B9BBE8A8A4D}" destId="{FCFCFC7C-86DB-4FED-BD0A-206C6972F570}" srcOrd="0" destOrd="0" presId="urn:microsoft.com/office/officeart/2005/8/layout/vList2"/>
    <dgm:cxn modelId="{C3A4D738-81E3-4136-8862-9D9F13D1E097}" type="presOf" srcId="{C357DF6F-FF32-48C5-B936-FA375CCFCFED}" destId="{703D8708-AA83-4E0E-8ABD-E402EB52D026}" srcOrd="0" destOrd="0" presId="urn:microsoft.com/office/officeart/2005/8/layout/vList2"/>
    <dgm:cxn modelId="{73188561-CE34-4AE5-BF93-68B68F09BF2D}" srcId="{BC5EAEBF-641D-4D47-BEC8-A3E5331D4811}" destId="{A6A9C5F0-BD93-4FB8-990A-EA98DE691C21}" srcOrd="0" destOrd="0" parTransId="{4795B88C-1416-4BAD-A9AF-3B7F4D51B556}" sibTransId="{CF3497CE-F47A-4789-BE9F-1565C1412A5B}"/>
    <dgm:cxn modelId="{0FEBBA42-602C-4587-8172-FB16254F1C1F}" srcId="{ABC326F9-AE87-4AD7-870F-2B9BBE8A8A4D}" destId="{9BEB9520-CBAE-4CED-B11E-0445DCF2D984}" srcOrd="3" destOrd="0" parTransId="{B78628EE-3A6E-496B-B76F-8C0A086286C9}" sibTransId="{63F372F2-24EF-40F3-BB83-257321B7C210}"/>
    <dgm:cxn modelId="{DD9AD345-67E8-4BEC-A056-2A582ED20D43}" type="presOf" srcId="{AFB2484E-51CD-41FE-A1F6-EE8D84E1F13D}" destId="{47A337E5-3EEA-4F57-AD31-620C82CBCB19}" srcOrd="0" destOrd="0" presId="urn:microsoft.com/office/officeart/2005/8/layout/vList2"/>
    <dgm:cxn modelId="{06731249-FA66-4518-9557-DCE647C25083}" srcId="{ABC326F9-AE87-4AD7-870F-2B9BBE8A8A4D}" destId="{825E7D6A-5747-4146-8F51-E00AA7C65ED4}" srcOrd="1" destOrd="0" parTransId="{F5550F82-3A06-4145-8EC0-3E94651259DF}" sibTransId="{0EA51E0B-18C3-4443-B304-1F357D585F2F}"/>
    <dgm:cxn modelId="{778FC349-43D8-4E51-A59F-06CB57EF7E79}" srcId="{9BEB9520-CBAE-4CED-B11E-0445DCF2D984}" destId="{C357DF6F-FF32-48C5-B936-FA375CCFCFED}" srcOrd="0" destOrd="0" parTransId="{1A4CE41C-84A3-45B4-AF7F-EC744B930524}" sibTransId="{C0282030-21E6-4CAA-BCC8-24EED2AE2B9B}"/>
    <dgm:cxn modelId="{5848234A-70C3-4DD9-8536-77B2195D56BC}" type="presOf" srcId="{ED3FC005-CF41-4EAD-BC75-AD85E8DEA586}" destId="{4873B3B1-8D07-4424-96BC-B909CEE7A8DD}" srcOrd="0" destOrd="0" presId="urn:microsoft.com/office/officeart/2005/8/layout/vList2"/>
    <dgm:cxn modelId="{54855472-9E90-41DF-99F3-04D1D6F813C6}" srcId="{604CA924-9004-4565-B4B4-1AA138766140}" destId="{ED3FC005-CF41-4EAD-BC75-AD85E8DEA586}" srcOrd="0" destOrd="0" parTransId="{263FF91F-47DC-426D-8610-01A80D2BC620}" sibTransId="{A9B553AB-6F24-4B8B-9DDC-59E5C5F38F65}"/>
    <dgm:cxn modelId="{1B231354-6EC8-4D06-8669-84D86AF63FD6}" type="presOf" srcId="{EC3624FB-6B13-41D2-A313-7BC02CB85913}" destId="{2E9EC1EE-E41E-4109-9A4C-20D0C5CB53CE}" srcOrd="0" destOrd="0" presId="urn:microsoft.com/office/officeart/2005/8/layout/vList2"/>
    <dgm:cxn modelId="{2193675A-8632-49E3-B0CB-CFFD866FD02B}" srcId="{ABC326F9-AE87-4AD7-870F-2B9BBE8A8A4D}" destId="{604CA924-9004-4565-B4B4-1AA138766140}" srcOrd="4" destOrd="0" parTransId="{1C6CC621-E445-425B-A520-54CF26D4431E}" sibTransId="{415F1894-116B-45BE-9E85-63D841640990}"/>
    <dgm:cxn modelId="{D6EDA597-DB5B-4C0D-ADD1-C42A650489D4}" srcId="{ABC326F9-AE87-4AD7-870F-2B9BBE8A8A4D}" destId="{BC5EAEBF-641D-4D47-BEC8-A3E5331D4811}" srcOrd="2" destOrd="0" parTransId="{888E94BE-057A-4F6E-B98A-B6129FE87008}" sibTransId="{C80DC887-89A6-4046-9F4F-BCB858537FA8}"/>
    <dgm:cxn modelId="{134048AE-8928-43EA-87BD-32953EB3BE48}" type="presOf" srcId="{BC5EAEBF-641D-4D47-BEC8-A3E5331D4811}" destId="{90264B59-C575-42DD-BAB7-0A7458C45793}" srcOrd="0" destOrd="0" presId="urn:microsoft.com/office/officeart/2005/8/layout/vList2"/>
    <dgm:cxn modelId="{E4BD08B3-7AF7-4896-975B-83333399008F}" srcId="{825E7D6A-5747-4146-8F51-E00AA7C65ED4}" destId="{DC1AE413-311B-445B-A097-2EF1D6056110}" srcOrd="0" destOrd="0" parTransId="{A6CC4773-A218-40DA-9151-AAEA3CBC6E87}" sibTransId="{443DEA58-D867-48ED-97F5-0A8CBDCF73B8}"/>
    <dgm:cxn modelId="{0110E9BC-E6A3-4750-86C8-C0C136A77AB5}" srcId="{ABC326F9-AE87-4AD7-870F-2B9BBE8A8A4D}" destId="{7D170452-C57D-4507-95B7-58928F80FC75}" srcOrd="0" destOrd="0" parTransId="{4CEFF6E6-AC2B-4BEE-BD6F-0DCCC9BC1CF2}" sibTransId="{8142B30A-50CE-4A24-90E6-6CDA07762275}"/>
    <dgm:cxn modelId="{C5B375C0-EFE8-4D9A-9091-4986D99ED346}" type="presOf" srcId="{825E7D6A-5747-4146-8F51-E00AA7C65ED4}" destId="{D9487047-447A-476F-B92C-7F0FB476542E}" srcOrd="0" destOrd="0" presId="urn:microsoft.com/office/officeart/2005/8/layout/vList2"/>
    <dgm:cxn modelId="{BC0D8FC7-91BB-4D67-A9CF-C2871673DDDA}" type="presOf" srcId="{9BEB9520-CBAE-4CED-B11E-0445DCF2D984}" destId="{CE86FB9F-A00B-464F-AE53-9704177AB94A}" srcOrd="0" destOrd="0" presId="urn:microsoft.com/office/officeart/2005/8/layout/vList2"/>
    <dgm:cxn modelId="{92128EC9-249F-431D-8535-28272299AE24}" type="presOf" srcId="{A6A9C5F0-BD93-4FB8-990A-EA98DE691C21}" destId="{BB261BA6-B772-44D5-ACC3-DCE9DA7A3155}" srcOrd="0" destOrd="0" presId="urn:microsoft.com/office/officeart/2005/8/layout/vList2"/>
    <dgm:cxn modelId="{E9C12AE2-094F-46B3-9F58-46E874FE7162}" srcId="{7D170452-C57D-4507-95B7-58928F80FC75}" destId="{200FC76B-AF2B-4A93-B62B-5174D32ED13A}" srcOrd="0" destOrd="0" parTransId="{49AF94B8-29C0-45E3-BBC9-1E0CD625B2DA}" sibTransId="{046A7013-061C-48C5-835E-49E0938289EF}"/>
    <dgm:cxn modelId="{781C7CEF-1102-426E-BBE5-A48710181F89}" type="presOf" srcId="{604CA924-9004-4565-B4B4-1AA138766140}" destId="{06CB6770-01E9-40BB-A260-A2ACAA812BEC}" srcOrd="0" destOrd="0" presId="urn:microsoft.com/office/officeart/2005/8/layout/vList2"/>
    <dgm:cxn modelId="{60403AF8-8143-44E4-9A96-1074ADA04092}" srcId="{EC3624FB-6B13-41D2-A313-7BC02CB85913}" destId="{AFB2484E-51CD-41FE-A1F6-EE8D84E1F13D}" srcOrd="0" destOrd="0" parTransId="{885A28FA-C685-487D-8D9F-1AEE65DCED4D}" sibTransId="{8EC567FB-0D0A-4D41-BF64-31049CE476F8}"/>
    <dgm:cxn modelId="{B49BB8FF-63B5-4193-8032-11C3CF3701FF}" type="presOf" srcId="{DC1AE413-311B-445B-A097-2EF1D6056110}" destId="{F9FC5CC6-81B4-4176-9B5D-DDF44ECF03AB}" srcOrd="0" destOrd="0" presId="urn:microsoft.com/office/officeart/2005/8/layout/vList2"/>
    <dgm:cxn modelId="{1EED077F-998B-4D2B-B37E-5EE3E95F3EE9}" type="presParOf" srcId="{FCFCFC7C-86DB-4FED-BD0A-206C6972F570}" destId="{C44AB906-66E1-4462-84F4-E765E235B0ED}" srcOrd="0" destOrd="0" presId="urn:microsoft.com/office/officeart/2005/8/layout/vList2"/>
    <dgm:cxn modelId="{F69DD9D3-39F0-47D9-AAA5-BA1B1872402F}" type="presParOf" srcId="{FCFCFC7C-86DB-4FED-BD0A-206C6972F570}" destId="{11FDFCEA-0327-4E41-945D-98F8104A21A9}" srcOrd="1" destOrd="0" presId="urn:microsoft.com/office/officeart/2005/8/layout/vList2"/>
    <dgm:cxn modelId="{DBE56499-A099-443B-8CE0-D8EC0CB8282A}" type="presParOf" srcId="{FCFCFC7C-86DB-4FED-BD0A-206C6972F570}" destId="{D9487047-447A-476F-B92C-7F0FB476542E}" srcOrd="2" destOrd="0" presId="urn:microsoft.com/office/officeart/2005/8/layout/vList2"/>
    <dgm:cxn modelId="{1D69CB75-E22F-42A5-A4F3-D558B77179C1}" type="presParOf" srcId="{FCFCFC7C-86DB-4FED-BD0A-206C6972F570}" destId="{F9FC5CC6-81B4-4176-9B5D-DDF44ECF03AB}" srcOrd="3" destOrd="0" presId="urn:microsoft.com/office/officeart/2005/8/layout/vList2"/>
    <dgm:cxn modelId="{585CC667-D16A-48A4-B75E-9020A171D153}" type="presParOf" srcId="{FCFCFC7C-86DB-4FED-BD0A-206C6972F570}" destId="{90264B59-C575-42DD-BAB7-0A7458C45793}" srcOrd="4" destOrd="0" presId="urn:microsoft.com/office/officeart/2005/8/layout/vList2"/>
    <dgm:cxn modelId="{AE289EFE-F913-4768-B39B-3DFFAE349CC4}" type="presParOf" srcId="{FCFCFC7C-86DB-4FED-BD0A-206C6972F570}" destId="{BB261BA6-B772-44D5-ACC3-DCE9DA7A3155}" srcOrd="5" destOrd="0" presId="urn:microsoft.com/office/officeart/2005/8/layout/vList2"/>
    <dgm:cxn modelId="{FCD3E7D8-D222-414F-A73F-EA42C29FF5B6}" type="presParOf" srcId="{FCFCFC7C-86DB-4FED-BD0A-206C6972F570}" destId="{CE86FB9F-A00B-464F-AE53-9704177AB94A}" srcOrd="6" destOrd="0" presId="urn:microsoft.com/office/officeart/2005/8/layout/vList2"/>
    <dgm:cxn modelId="{9F8D670E-ECD6-4C31-AF91-0F323A576BBA}" type="presParOf" srcId="{FCFCFC7C-86DB-4FED-BD0A-206C6972F570}" destId="{703D8708-AA83-4E0E-8ABD-E402EB52D026}" srcOrd="7" destOrd="0" presId="urn:microsoft.com/office/officeart/2005/8/layout/vList2"/>
    <dgm:cxn modelId="{C63702B8-E613-4205-A8B3-A2A28379A551}" type="presParOf" srcId="{FCFCFC7C-86DB-4FED-BD0A-206C6972F570}" destId="{06CB6770-01E9-40BB-A260-A2ACAA812BEC}" srcOrd="8" destOrd="0" presId="urn:microsoft.com/office/officeart/2005/8/layout/vList2"/>
    <dgm:cxn modelId="{8291BC2D-6117-489A-A307-D118D8093151}" type="presParOf" srcId="{FCFCFC7C-86DB-4FED-BD0A-206C6972F570}" destId="{4873B3B1-8D07-4424-96BC-B909CEE7A8DD}" srcOrd="9" destOrd="0" presId="urn:microsoft.com/office/officeart/2005/8/layout/vList2"/>
    <dgm:cxn modelId="{784F889C-69B4-4366-9E4C-84C5E41EE628}" type="presParOf" srcId="{FCFCFC7C-86DB-4FED-BD0A-206C6972F570}" destId="{2E9EC1EE-E41E-4109-9A4C-20D0C5CB53CE}" srcOrd="10" destOrd="0" presId="urn:microsoft.com/office/officeart/2005/8/layout/vList2"/>
    <dgm:cxn modelId="{9247C416-5826-4634-9215-FC6760F7BFE1}" type="presParOf" srcId="{FCFCFC7C-86DB-4FED-BD0A-206C6972F570}" destId="{47A337E5-3EEA-4F57-AD31-620C82CBCB19}" srcOrd="11"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280651C-EAF1-4C52-8A01-F4BE7D91D03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DE"/>
        </a:p>
      </dgm:t>
    </dgm:pt>
    <dgm:pt modelId="{D5B01D2D-2597-437B-9A10-CC5072BA654F}">
      <dgm:prSet phldrT="[Text]" custT="1"/>
      <dgm:spPr/>
      <dgm:t>
        <a:bodyPr/>
        <a:lstStyle/>
        <a:p>
          <a:r>
            <a:rPr lang="en-US" sz="1200" err="1"/>
            <a:t>Regulatorische</a:t>
          </a:r>
          <a:r>
            <a:rPr lang="en-US" sz="1200"/>
            <a:t> </a:t>
          </a:r>
          <a:r>
            <a:rPr lang="en-US" sz="1200" err="1"/>
            <a:t>Hindernisse</a:t>
          </a:r>
          <a:endParaRPr lang="en-US" sz="1200"/>
        </a:p>
      </dgm:t>
    </dgm:pt>
    <dgm:pt modelId="{6997E4A0-CBB6-4E8A-882F-F0659B32DF10}" type="parTrans" cxnId="{FC15592C-93FA-4BD0-B0D2-4A2EB8D3037E}">
      <dgm:prSet/>
      <dgm:spPr/>
      <dgm:t>
        <a:bodyPr/>
        <a:lstStyle/>
        <a:p>
          <a:endParaRPr lang="de-DE"/>
        </a:p>
      </dgm:t>
    </dgm:pt>
    <dgm:pt modelId="{B650431F-EB86-4E57-849C-38D7F81BACEA}" type="sibTrans" cxnId="{FC15592C-93FA-4BD0-B0D2-4A2EB8D3037E}">
      <dgm:prSet/>
      <dgm:spPr/>
      <dgm:t>
        <a:bodyPr/>
        <a:lstStyle/>
        <a:p>
          <a:endParaRPr lang="de-DE"/>
        </a:p>
      </dgm:t>
    </dgm:pt>
    <dgm:pt modelId="{426ABA46-91C8-4881-B7D7-FE7434BECFFE}">
      <dgm:prSet phldrT="[Text]" custT="1"/>
      <dgm:spPr/>
      <dgm:t>
        <a:bodyPr/>
        <a:lstStyle/>
        <a:p>
          <a:pPr>
            <a:buFont typeface="Arial" panose="020B0604020202020204" pitchFamily="34" charset="0"/>
            <a:buChar char="•"/>
          </a:pPr>
          <a:r>
            <a:rPr lang="en-US" sz="1200" err="1"/>
            <a:t>Viele</a:t>
          </a:r>
          <a:r>
            <a:rPr lang="en-US" sz="1200"/>
            <a:t> Länder und </a:t>
          </a:r>
          <a:r>
            <a:rPr lang="en-US" sz="1200" err="1"/>
            <a:t>Städte</a:t>
          </a:r>
          <a:r>
            <a:rPr lang="en-US" sz="1200"/>
            <a:t> </a:t>
          </a:r>
          <a:r>
            <a:rPr lang="en-US" sz="1200" err="1"/>
            <a:t>haben</a:t>
          </a:r>
          <a:r>
            <a:rPr lang="en-US" sz="1200"/>
            <a:t> </a:t>
          </a:r>
          <a:r>
            <a:rPr lang="en-US" sz="1200" err="1"/>
            <a:t>unterschiedliche</a:t>
          </a:r>
          <a:r>
            <a:rPr lang="en-US" sz="1200"/>
            <a:t> </a:t>
          </a:r>
          <a:r>
            <a:rPr lang="en-US" sz="1200" err="1"/>
            <a:t>Gesetze</a:t>
          </a:r>
          <a:r>
            <a:rPr lang="en-US" sz="1200"/>
            <a:t> und </a:t>
          </a:r>
          <a:r>
            <a:rPr lang="en-US" sz="1200" err="1"/>
            <a:t>Vorschriften</a:t>
          </a:r>
          <a:r>
            <a:rPr lang="en-US" sz="1200"/>
            <a:t> für Ride-Hailing-</a:t>
          </a:r>
          <a:r>
            <a:rPr lang="en-US" sz="1200" err="1"/>
            <a:t>Dienste</a:t>
          </a:r>
          <a:endParaRPr lang="en-US" sz="1200"/>
        </a:p>
      </dgm:t>
    </dgm:pt>
    <dgm:pt modelId="{B2E3333F-38D0-4EC1-A78C-CE053E6C4B62}" type="parTrans" cxnId="{046A5117-173B-40F3-9F38-68757105B15C}">
      <dgm:prSet/>
      <dgm:spPr/>
      <dgm:t>
        <a:bodyPr/>
        <a:lstStyle/>
        <a:p>
          <a:endParaRPr lang="de-DE"/>
        </a:p>
      </dgm:t>
    </dgm:pt>
    <dgm:pt modelId="{E1BC9702-04B9-4CD4-93F9-BAEB0CB10C7A}" type="sibTrans" cxnId="{046A5117-173B-40F3-9F38-68757105B15C}">
      <dgm:prSet/>
      <dgm:spPr/>
      <dgm:t>
        <a:bodyPr/>
        <a:lstStyle/>
        <a:p>
          <a:endParaRPr lang="de-DE"/>
        </a:p>
      </dgm:t>
    </dgm:pt>
    <dgm:pt modelId="{DED1373D-F171-4676-99FB-E369C8DB02B6}">
      <dgm:prSet phldrT="[Text]" custT="1"/>
      <dgm:spPr/>
      <dgm:t>
        <a:bodyPr/>
        <a:lstStyle/>
        <a:p>
          <a:pPr>
            <a:buFont typeface="Arial" panose="020B0604020202020204" pitchFamily="34" charset="0"/>
            <a:buChar char="•"/>
          </a:pPr>
          <a:r>
            <a:rPr lang="en-US" sz="1200" err="1"/>
            <a:t>Beziehung</a:t>
          </a:r>
          <a:r>
            <a:rPr lang="en-US" sz="1200"/>
            <a:t> </a:t>
          </a:r>
          <a:r>
            <a:rPr lang="en-US" sz="1200" err="1"/>
            <a:t>zu</a:t>
          </a:r>
          <a:r>
            <a:rPr lang="en-US" sz="1200"/>
            <a:t> den </a:t>
          </a:r>
          <a:r>
            <a:rPr lang="en-US" sz="1200" err="1"/>
            <a:t>Fahrern</a:t>
          </a:r>
          <a:r>
            <a:rPr lang="en-US" sz="1200"/>
            <a:t> </a:t>
          </a:r>
          <a:r>
            <a:rPr lang="en-US" sz="1200" err="1"/>
            <a:t>ist</a:t>
          </a:r>
          <a:r>
            <a:rPr lang="en-US" sz="1200"/>
            <a:t> von </a:t>
          </a:r>
          <a:r>
            <a:rPr lang="en-US" sz="1200" err="1"/>
            <a:t>Bedeutung</a:t>
          </a:r>
          <a:r>
            <a:rPr lang="en-US" sz="1200"/>
            <a:t>, da es </a:t>
          </a:r>
          <a:r>
            <a:rPr lang="en-US" sz="1200" err="1"/>
            <a:t>kontroverse</a:t>
          </a:r>
          <a:r>
            <a:rPr lang="en-US" sz="1200"/>
            <a:t> </a:t>
          </a:r>
          <a:r>
            <a:rPr lang="en-US" sz="1200" err="1"/>
            <a:t>Diskussionen</a:t>
          </a:r>
          <a:r>
            <a:rPr lang="en-US" sz="1200"/>
            <a:t> </a:t>
          </a:r>
          <a:r>
            <a:rPr lang="en-US" sz="1200" err="1"/>
            <a:t>über</a:t>
          </a:r>
          <a:r>
            <a:rPr lang="en-US" sz="1200"/>
            <a:t> </a:t>
          </a:r>
          <a:r>
            <a:rPr lang="en-US" sz="1200" err="1"/>
            <a:t>Arbeits-bedingungen</a:t>
          </a:r>
          <a:r>
            <a:rPr lang="en-US" sz="1200"/>
            <a:t>, </a:t>
          </a:r>
          <a:r>
            <a:rPr lang="en-US" sz="1200" err="1"/>
            <a:t>Entlohnung</a:t>
          </a:r>
          <a:r>
            <a:rPr lang="en-US" sz="1200"/>
            <a:t> und Status der </a:t>
          </a:r>
          <a:r>
            <a:rPr lang="en-US" sz="1200" err="1"/>
            <a:t>Fahrer</a:t>
          </a:r>
          <a:r>
            <a:rPr lang="en-US" sz="1200"/>
            <a:t> </a:t>
          </a:r>
          <a:r>
            <a:rPr lang="en-US" sz="1200" err="1"/>
            <a:t>als</a:t>
          </a:r>
          <a:r>
            <a:rPr lang="en-US" sz="1200"/>
            <a:t> </a:t>
          </a:r>
          <a:r>
            <a:rPr lang="en-US" sz="1200" err="1"/>
            <a:t>unabhängige</a:t>
          </a:r>
          <a:r>
            <a:rPr lang="en-US" sz="1200"/>
            <a:t> </a:t>
          </a:r>
          <a:r>
            <a:rPr lang="en-US" sz="1200" err="1"/>
            <a:t>Auftragnehmer</a:t>
          </a:r>
          <a:r>
            <a:rPr lang="en-US" sz="1200"/>
            <a:t> gab</a:t>
          </a:r>
        </a:p>
      </dgm:t>
    </dgm:pt>
    <dgm:pt modelId="{79DD68BE-8A11-4392-895D-FE9C812C4211}" type="parTrans" cxnId="{2EAFAB8C-252D-4873-B420-834AFD17C45F}">
      <dgm:prSet/>
      <dgm:spPr/>
      <dgm:t>
        <a:bodyPr/>
        <a:lstStyle/>
        <a:p>
          <a:endParaRPr lang="de-DE"/>
        </a:p>
      </dgm:t>
    </dgm:pt>
    <dgm:pt modelId="{5A8FBCB2-31AE-4CF8-9518-59F8DB860E31}" type="sibTrans" cxnId="{2EAFAB8C-252D-4873-B420-834AFD17C45F}">
      <dgm:prSet/>
      <dgm:spPr/>
      <dgm:t>
        <a:bodyPr/>
        <a:lstStyle/>
        <a:p>
          <a:endParaRPr lang="de-DE"/>
        </a:p>
      </dgm:t>
    </dgm:pt>
    <dgm:pt modelId="{CD4A3421-874D-4253-8DBE-2C48941577DB}">
      <dgm:prSet phldrT="[Text]" custT="1"/>
      <dgm:spPr/>
      <dgm:t>
        <a:bodyPr/>
        <a:lstStyle/>
        <a:p>
          <a:r>
            <a:rPr lang="en-US" sz="1200" err="1"/>
            <a:t>Wettbewerbs-landschaft</a:t>
          </a:r>
          <a:r>
            <a:rPr lang="en-US" sz="1200"/>
            <a:t> </a:t>
          </a:r>
          <a:r>
            <a:rPr lang="en-US" sz="1200" err="1"/>
            <a:t>im</a:t>
          </a:r>
          <a:r>
            <a:rPr lang="en-US" sz="1200"/>
            <a:t> </a:t>
          </a:r>
          <a:r>
            <a:rPr lang="en-US" sz="1200" err="1"/>
            <a:t>Bereich</a:t>
          </a:r>
          <a:r>
            <a:rPr lang="en-US" sz="1200"/>
            <a:t> der </a:t>
          </a:r>
          <a:r>
            <a:rPr lang="en-US" sz="1200" err="1"/>
            <a:t>Mobilität</a:t>
          </a:r>
          <a:r>
            <a:rPr lang="en-US" sz="1200"/>
            <a:t> und </a:t>
          </a:r>
          <a:r>
            <a:rPr lang="en-US" sz="1200" err="1"/>
            <a:t>Logistik</a:t>
          </a:r>
          <a:r>
            <a:rPr lang="en-US" sz="1200"/>
            <a:t> </a:t>
          </a:r>
          <a:r>
            <a:rPr lang="en-US" sz="1200" err="1"/>
            <a:t>ist</a:t>
          </a:r>
          <a:r>
            <a:rPr lang="en-US" sz="1200"/>
            <a:t> </a:t>
          </a:r>
          <a:r>
            <a:rPr lang="en-US" sz="1200" err="1"/>
            <a:t>intensiv</a:t>
          </a:r>
          <a:endParaRPr lang="en-US" sz="1200"/>
        </a:p>
      </dgm:t>
    </dgm:pt>
    <dgm:pt modelId="{1952342F-8B4A-45D9-8AD5-5BCE3BE5D385}" type="parTrans" cxnId="{71DE4C10-4A8D-4F1D-B249-B10859FCB42E}">
      <dgm:prSet/>
      <dgm:spPr/>
      <dgm:t>
        <a:bodyPr/>
        <a:lstStyle/>
        <a:p>
          <a:endParaRPr lang="de-DE"/>
        </a:p>
      </dgm:t>
    </dgm:pt>
    <dgm:pt modelId="{21CAA344-6DDE-4C6F-865C-85010A03B20D}" type="sibTrans" cxnId="{71DE4C10-4A8D-4F1D-B249-B10859FCB42E}">
      <dgm:prSet/>
      <dgm:spPr/>
      <dgm:t>
        <a:bodyPr/>
        <a:lstStyle/>
        <a:p>
          <a:endParaRPr lang="de-DE"/>
        </a:p>
      </dgm:t>
    </dgm:pt>
    <dgm:pt modelId="{3BCC14C7-6D29-415A-BF49-33420D5DDDC6}">
      <dgm:prSet custT="1"/>
      <dgm:spPr/>
      <dgm:t>
        <a:bodyPr/>
        <a:lstStyle/>
        <a:p>
          <a:r>
            <a:rPr lang="en-US" sz="1200" err="1"/>
            <a:t>ständige</a:t>
          </a:r>
          <a:r>
            <a:rPr lang="en-US" sz="1200"/>
            <a:t> </a:t>
          </a:r>
          <a:r>
            <a:rPr lang="en-US" sz="1200" err="1"/>
            <a:t>Weiterentwicklung</a:t>
          </a:r>
          <a:r>
            <a:rPr lang="en-US" sz="1200"/>
            <a:t> von </a:t>
          </a:r>
          <a:r>
            <a:rPr lang="en-US" sz="1200" err="1"/>
            <a:t>Technologien</a:t>
          </a:r>
          <a:r>
            <a:rPr lang="en-US" sz="1200"/>
            <a:t> </a:t>
          </a:r>
          <a:r>
            <a:rPr lang="en-US" sz="1200" err="1"/>
            <a:t>wie</a:t>
          </a:r>
          <a:r>
            <a:rPr lang="en-US" sz="1200"/>
            <a:t> </a:t>
          </a:r>
          <a:r>
            <a:rPr lang="en-US" sz="1200" err="1"/>
            <a:t>autonome</a:t>
          </a:r>
          <a:r>
            <a:rPr lang="en-US" sz="1200"/>
            <a:t> </a:t>
          </a:r>
          <a:r>
            <a:rPr lang="en-US" sz="1200" err="1"/>
            <a:t>Fahrzeuge</a:t>
          </a:r>
          <a:r>
            <a:rPr lang="en-US" sz="1200"/>
            <a:t>, alternative </a:t>
          </a:r>
          <a:r>
            <a:rPr lang="en-US" sz="1200" err="1"/>
            <a:t>Antriebsformen</a:t>
          </a:r>
          <a:r>
            <a:rPr lang="en-US" sz="1200"/>
            <a:t> und die Integration </a:t>
          </a:r>
          <a:r>
            <a:rPr lang="en-US" sz="1200" err="1"/>
            <a:t>neuer</a:t>
          </a:r>
          <a:r>
            <a:rPr lang="en-US" sz="1200"/>
            <a:t> </a:t>
          </a:r>
          <a:r>
            <a:rPr lang="en-US" sz="1200" err="1"/>
            <a:t>Technologien</a:t>
          </a:r>
          <a:r>
            <a:rPr lang="en-US" sz="1200"/>
            <a:t> in die </a:t>
          </a:r>
          <a:r>
            <a:rPr lang="en-US" sz="1200" err="1"/>
            <a:t>Plattform</a:t>
          </a:r>
          <a:r>
            <a:rPr lang="en-US" sz="1200"/>
            <a:t> </a:t>
          </a:r>
          <a:r>
            <a:rPr lang="en-US" sz="1200" err="1"/>
            <a:t>sind</a:t>
          </a:r>
          <a:r>
            <a:rPr lang="en-US" sz="1200"/>
            <a:t> </a:t>
          </a:r>
          <a:r>
            <a:rPr lang="en-US" sz="1200" err="1"/>
            <a:t>Herausforderungen</a:t>
          </a:r>
          <a:r>
            <a:rPr lang="en-US" sz="1200"/>
            <a:t>, um </a:t>
          </a:r>
          <a:r>
            <a:rPr lang="en-US" sz="1200" err="1"/>
            <a:t>wettbewerbsfähig</a:t>
          </a:r>
          <a:r>
            <a:rPr lang="en-US" sz="1200"/>
            <a:t> </a:t>
          </a:r>
          <a:r>
            <a:rPr lang="en-US" sz="1200" err="1"/>
            <a:t>zu</a:t>
          </a:r>
          <a:r>
            <a:rPr lang="en-US" sz="1200"/>
            <a:t> </a:t>
          </a:r>
          <a:r>
            <a:rPr lang="en-US" sz="1200" err="1"/>
            <a:t>bleiben</a:t>
          </a:r>
          <a:r>
            <a:rPr lang="en-US" sz="1200"/>
            <a:t> und die </a:t>
          </a:r>
          <a:r>
            <a:rPr lang="en-US" sz="1200" err="1"/>
            <a:t>Kundenerfahrung</a:t>
          </a:r>
          <a:r>
            <a:rPr lang="en-US" sz="1200"/>
            <a:t> </a:t>
          </a:r>
          <a:r>
            <a:rPr lang="en-US" sz="1200" err="1"/>
            <a:t>zu</a:t>
          </a:r>
          <a:r>
            <a:rPr lang="en-US" sz="1200"/>
            <a:t> </a:t>
          </a:r>
          <a:r>
            <a:rPr lang="en-US" sz="1200" err="1"/>
            <a:t>verbessern</a:t>
          </a:r>
          <a:endParaRPr lang="en-US" sz="1200"/>
        </a:p>
      </dgm:t>
    </dgm:pt>
    <dgm:pt modelId="{3E2DE601-1BB4-4AA5-BB7E-BBB2A8469805}" type="parTrans" cxnId="{2086101A-2120-4050-8AB6-E587CC2AC5D8}">
      <dgm:prSet/>
      <dgm:spPr/>
      <dgm:t>
        <a:bodyPr/>
        <a:lstStyle/>
        <a:p>
          <a:endParaRPr lang="de-DE"/>
        </a:p>
      </dgm:t>
    </dgm:pt>
    <dgm:pt modelId="{DD48D2E5-A617-42D4-960E-89D95E8B4B58}" type="sibTrans" cxnId="{2086101A-2120-4050-8AB6-E587CC2AC5D8}">
      <dgm:prSet/>
      <dgm:spPr/>
      <dgm:t>
        <a:bodyPr/>
        <a:lstStyle/>
        <a:p>
          <a:endParaRPr lang="de-DE"/>
        </a:p>
      </dgm:t>
    </dgm:pt>
    <dgm:pt modelId="{8677FFAA-BD82-41A3-85A9-D8E7718D4631}">
      <dgm:prSet custT="1"/>
      <dgm:spPr/>
      <dgm:t>
        <a:bodyPr/>
        <a:lstStyle/>
        <a:p>
          <a:r>
            <a:rPr lang="en-US" sz="1200"/>
            <a:t>Uber hat in der </a:t>
          </a:r>
          <a:r>
            <a:rPr lang="en-US" sz="1200" err="1"/>
            <a:t>Vergangenheit</a:t>
          </a:r>
          <a:r>
            <a:rPr lang="en-US" sz="1200"/>
            <a:t> negative </a:t>
          </a:r>
          <a:r>
            <a:rPr lang="en-US" sz="1200" err="1"/>
            <a:t>Schlagzeilen</a:t>
          </a:r>
          <a:r>
            <a:rPr lang="en-US" sz="1200"/>
            <a:t> </a:t>
          </a:r>
          <a:r>
            <a:rPr lang="en-US" sz="1200" err="1"/>
            <a:t>gemacht</a:t>
          </a:r>
          <a:r>
            <a:rPr lang="en-US" sz="1200"/>
            <a:t>, sei es </a:t>
          </a:r>
          <a:r>
            <a:rPr lang="en-US" sz="1200" err="1"/>
            <a:t>aufgrund</a:t>
          </a:r>
          <a:r>
            <a:rPr lang="en-US" sz="1200"/>
            <a:t> von </a:t>
          </a:r>
          <a:r>
            <a:rPr lang="en-US" sz="1200" err="1"/>
            <a:t>Datenschutz-verletzungen</a:t>
          </a:r>
          <a:r>
            <a:rPr lang="en-US" sz="1200"/>
            <a:t>, </a:t>
          </a:r>
          <a:r>
            <a:rPr lang="en-US" sz="1200" err="1"/>
            <a:t>ethischen</a:t>
          </a:r>
          <a:r>
            <a:rPr lang="en-US" sz="1200"/>
            <a:t> </a:t>
          </a:r>
          <a:r>
            <a:rPr lang="en-US" sz="1200" err="1"/>
            <a:t>Fragen</a:t>
          </a:r>
          <a:r>
            <a:rPr lang="en-US" sz="1200"/>
            <a:t> </a:t>
          </a:r>
          <a:r>
            <a:rPr lang="en-US" sz="1200" err="1"/>
            <a:t>oder</a:t>
          </a:r>
          <a:r>
            <a:rPr lang="en-US" sz="1200"/>
            <a:t> </a:t>
          </a:r>
          <a:r>
            <a:rPr lang="en-US" sz="1200" err="1"/>
            <a:t>Sicherheits-bedenken</a:t>
          </a:r>
          <a:endParaRPr lang="en-US" sz="1200"/>
        </a:p>
      </dgm:t>
    </dgm:pt>
    <dgm:pt modelId="{FB169F75-7988-478A-9EB8-988B4B771200}" type="parTrans" cxnId="{9E25B6FC-EF16-43AB-AE3C-941C77C470C1}">
      <dgm:prSet/>
      <dgm:spPr/>
      <dgm:t>
        <a:bodyPr/>
        <a:lstStyle/>
        <a:p>
          <a:endParaRPr lang="de-DE"/>
        </a:p>
      </dgm:t>
    </dgm:pt>
    <dgm:pt modelId="{D258F5BC-5EA8-4E5A-8F2C-2F13D5281C2D}" type="sibTrans" cxnId="{9E25B6FC-EF16-43AB-AE3C-941C77C470C1}">
      <dgm:prSet/>
      <dgm:spPr/>
      <dgm:t>
        <a:bodyPr/>
        <a:lstStyle/>
        <a:p>
          <a:endParaRPr lang="de-DE"/>
        </a:p>
      </dgm:t>
    </dgm:pt>
    <dgm:pt modelId="{C54E4DA6-B20C-43C9-856B-C11CFFD6F07D}">
      <dgm:prSet custT="1"/>
      <dgm:spPr/>
      <dgm:t>
        <a:bodyPr/>
        <a:lstStyle/>
        <a:p>
          <a:r>
            <a:rPr lang="en-US" sz="1200" err="1"/>
            <a:t>Öffentliches</a:t>
          </a:r>
          <a:r>
            <a:rPr lang="en-US" sz="1200"/>
            <a:t> Image und </a:t>
          </a:r>
          <a:r>
            <a:rPr lang="en-US" sz="1200" err="1"/>
            <a:t>Vertrauen</a:t>
          </a:r>
          <a:endParaRPr lang="en-US" sz="1200"/>
        </a:p>
      </dgm:t>
    </dgm:pt>
    <dgm:pt modelId="{65467F32-B019-4B05-A750-65925C86E137}" type="parTrans" cxnId="{CE4BC5C5-E652-4D60-897E-04A96D466D23}">
      <dgm:prSet/>
      <dgm:spPr/>
      <dgm:t>
        <a:bodyPr/>
        <a:lstStyle/>
        <a:p>
          <a:endParaRPr lang="de-DE"/>
        </a:p>
      </dgm:t>
    </dgm:pt>
    <dgm:pt modelId="{E6445D55-5BC1-487E-A9FA-893C3506898E}" type="sibTrans" cxnId="{CE4BC5C5-E652-4D60-897E-04A96D466D23}">
      <dgm:prSet/>
      <dgm:spPr/>
      <dgm:t>
        <a:bodyPr/>
        <a:lstStyle/>
        <a:p>
          <a:endParaRPr lang="de-DE"/>
        </a:p>
      </dgm:t>
    </dgm:pt>
    <dgm:pt modelId="{0CA32934-BC3B-4E98-99DA-E1999C9E4E0C}">
      <dgm:prSet custT="1"/>
      <dgm:spPr/>
      <dgm:t>
        <a:bodyPr/>
        <a:lstStyle/>
        <a:p>
          <a:r>
            <a:rPr lang="en-US" sz="1200" err="1"/>
            <a:t>Technologische</a:t>
          </a:r>
          <a:r>
            <a:rPr lang="en-US" sz="1200"/>
            <a:t> </a:t>
          </a:r>
          <a:r>
            <a:rPr lang="en-US" sz="1200" err="1"/>
            <a:t>Entwicklung</a:t>
          </a:r>
          <a:r>
            <a:rPr lang="en-US" sz="1200"/>
            <a:t> und Innovation</a:t>
          </a:r>
        </a:p>
      </dgm:t>
    </dgm:pt>
    <dgm:pt modelId="{F207EBAF-C567-41AC-BB31-800E29E620A6}" type="parTrans" cxnId="{48099B6A-0431-48CB-B9EB-F3F3EAA2EE70}">
      <dgm:prSet/>
      <dgm:spPr/>
      <dgm:t>
        <a:bodyPr/>
        <a:lstStyle/>
        <a:p>
          <a:endParaRPr lang="de-DE"/>
        </a:p>
      </dgm:t>
    </dgm:pt>
    <dgm:pt modelId="{6D1B5652-ABBB-4506-B5FA-D5E37F590E57}" type="sibTrans" cxnId="{48099B6A-0431-48CB-B9EB-F3F3EAA2EE70}">
      <dgm:prSet/>
      <dgm:spPr/>
      <dgm:t>
        <a:bodyPr/>
        <a:lstStyle/>
        <a:p>
          <a:endParaRPr lang="de-DE"/>
        </a:p>
      </dgm:t>
    </dgm:pt>
    <dgm:pt modelId="{D1335D5B-6D07-408E-9DAF-F2D740753350}">
      <dgm:prSet phldrT="[Text]" custT="1"/>
      <dgm:spPr/>
      <dgm:t>
        <a:bodyPr/>
        <a:lstStyle/>
        <a:p>
          <a:pPr>
            <a:buFont typeface="Arial" panose="020B0604020202020204" pitchFamily="34" charset="0"/>
            <a:buChar char="•"/>
          </a:pPr>
          <a:r>
            <a:rPr lang="en-US" sz="1200" err="1"/>
            <a:t>verschiedene</a:t>
          </a:r>
          <a:r>
            <a:rPr lang="en-US" sz="1200"/>
            <a:t> </a:t>
          </a:r>
          <a:r>
            <a:rPr lang="en-US" sz="1200" err="1"/>
            <a:t>regulatorische</a:t>
          </a:r>
          <a:r>
            <a:rPr lang="en-US" sz="1200"/>
            <a:t> </a:t>
          </a:r>
          <a:r>
            <a:rPr lang="en-US" sz="1200" err="1"/>
            <a:t>Anforderungen</a:t>
          </a:r>
          <a:endParaRPr lang="en-US" sz="1200"/>
        </a:p>
      </dgm:t>
    </dgm:pt>
    <dgm:pt modelId="{35D3A88C-F9F5-4BD2-83FB-C887BD8886CF}" type="parTrans" cxnId="{E7B1140B-FFBD-4525-9C5B-2F1589F8378D}">
      <dgm:prSet/>
      <dgm:spPr/>
      <dgm:t>
        <a:bodyPr/>
        <a:lstStyle/>
        <a:p>
          <a:endParaRPr lang="de-DE"/>
        </a:p>
      </dgm:t>
    </dgm:pt>
    <dgm:pt modelId="{8992E21F-226F-4F0E-B70E-0D2BA71F6BA2}" type="sibTrans" cxnId="{E7B1140B-FFBD-4525-9C5B-2F1589F8378D}">
      <dgm:prSet/>
      <dgm:spPr/>
      <dgm:t>
        <a:bodyPr/>
        <a:lstStyle/>
        <a:p>
          <a:endParaRPr lang="de-DE"/>
        </a:p>
      </dgm:t>
    </dgm:pt>
    <dgm:pt modelId="{295C261F-21DC-4157-9929-E72315ED527A}">
      <dgm:prSet phldrT="[Text]" custT="1"/>
      <dgm:spPr/>
      <dgm:t>
        <a:bodyPr/>
        <a:lstStyle/>
        <a:p>
          <a:pPr>
            <a:buFont typeface="Arial" panose="020B0604020202020204" pitchFamily="34" charset="0"/>
            <a:buChar char="•"/>
          </a:pPr>
          <a:r>
            <a:rPr lang="en-US" sz="1200" err="1"/>
            <a:t>rechtliche</a:t>
          </a:r>
          <a:r>
            <a:rPr lang="en-US" sz="1200"/>
            <a:t> </a:t>
          </a:r>
          <a:r>
            <a:rPr lang="en-US" sz="1200" err="1"/>
            <a:t>Hürden</a:t>
          </a:r>
          <a:endParaRPr lang="en-US" sz="1200"/>
        </a:p>
      </dgm:t>
    </dgm:pt>
    <dgm:pt modelId="{AB10B9C1-AB0E-44D6-8264-849787EECFDF}" type="parTrans" cxnId="{8FDCB34F-1E13-4369-80CA-3215BB3BA388}">
      <dgm:prSet/>
      <dgm:spPr/>
      <dgm:t>
        <a:bodyPr/>
        <a:lstStyle/>
        <a:p>
          <a:endParaRPr lang="de-DE"/>
        </a:p>
      </dgm:t>
    </dgm:pt>
    <dgm:pt modelId="{27369776-379A-4F66-9E00-E7610DF21E89}" type="sibTrans" cxnId="{8FDCB34F-1E13-4369-80CA-3215BB3BA388}">
      <dgm:prSet/>
      <dgm:spPr/>
      <dgm:t>
        <a:bodyPr/>
        <a:lstStyle/>
        <a:p>
          <a:endParaRPr lang="de-DE"/>
        </a:p>
      </dgm:t>
    </dgm:pt>
    <dgm:pt modelId="{467170FC-156C-406E-B768-69A4E00006F6}">
      <dgm:prSet phldrT="[Text]" custT="1"/>
      <dgm:spPr/>
      <dgm:t>
        <a:bodyPr/>
        <a:lstStyle/>
        <a:p>
          <a:r>
            <a:rPr lang="en-US" sz="1200" err="1"/>
            <a:t>Arbeitsbedingungen</a:t>
          </a:r>
          <a:r>
            <a:rPr lang="en-US" sz="1200"/>
            <a:t> und </a:t>
          </a:r>
          <a:r>
            <a:rPr lang="en-US" sz="1200" err="1"/>
            <a:t>Fahrerbeziehungen</a:t>
          </a:r>
          <a:endParaRPr lang="en-US" sz="1200"/>
        </a:p>
      </dgm:t>
    </dgm:pt>
    <dgm:pt modelId="{9B9B0B2C-F31B-4151-B4FF-75DA6523E4EE}" type="sibTrans" cxnId="{BE8E144B-AE0E-483A-B1C0-65BB94A6D120}">
      <dgm:prSet/>
      <dgm:spPr/>
      <dgm:t>
        <a:bodyPr/>
        <a:lstStyle/>
        <a:p>
          <a:endParaRPr lang="de-DE"/>
        </a:p>
      </dgm:t>
    </dgm:pt>
    <dgm:pt modelId="{54DA7128-8C3E-4ADA-B097-A79C53F1E62A}" type="parTrans" cxnId="{BE8E144B-AE0E-483A-B1C0-65BB94A6D120}">
      <dgm:prSet/>
      <dgm:spPr/>
      <dgm:t>
        <a:bodyPr/>
        <a:lstStyle/>
        <a:p>
          <a:endParaRPr lang="de-DE"/>
        </a:p>
      </dgm:t>
    </dgm:pt>
    <dgm:pt modelId="{32BDC2DD-8518-4A70-9A12-F988A95BE899}">
      <dgm:prSet phldrT="[Text]" custT="1"/>
      <dgm:spPr/>
      <dgm:t>
        <a:bodyPr/>
        <a:lstStyle/>
        <a:p>
          <a:pPr>
            <a:buFont typeface="Arial" panose="020B0604020202020204" pitchFamily="34" charset="0"/>
            <a:buChar char="•"/>
          </a:pPr>
          <a:r>
            <a:rPr lang="en-US" sz="1200" err="1"/>
            <a:t>verbesserte</a:t>
          </a:r>
          <a:r>
            <a:rPr lang="en-US" sz="1200"/>
            <a:t> </a:t>
          </a:r>
          <a:r>
            <a:rPr lang="en-US" sz="1200" err="1"/>
            <a:t>Fahrerbindung</a:t>
          </a:r>
          <a:r>
            <a:rPr lang="en-US" sz="1200"/>
            <a:t> und </a:t>
          </a:r>
          <a:r>
            <a:rPr lang="en-US" sz="1200" err="1"/>
            <a:t>Arbeitsbedingungen</a:t>
          </a:r>
          <a:endParaRPr lang="en-US" sz="1200"/>
        </a:p>
      </dgm:t>
    </dgm:pt>
    <dgm:pt modelId="{F7992EA5-FCB8-421D-B8DC-42576C176910}" type="parTrans" cxnId="{A73C3A04-45E8-438E-9A04-8CF94AEBDC6C}">
      <dgm:prSet/>
      <dgm:spPr/>
      <dgm:t>
        <a:bodyPr/>
        <a:lstStyle/>
        <a:p>
          <a:endParaRPr lang="de-DE"/>
        </a:p>
      </dgm:t>
    </dgm:pt>
    <dgm:pt modelId="{9F928F82-BE2A-4151-8264-387D843EB024}" type="sibTrans" cxnId="{A73C3A04-45E8-438E-9A04-8CF94AEBDC6C}">
      <dgm:prSet/>
      <dgm:spPr/>
      <dgm:t>
        <a:bodyPr/>
        <a:lstStyle/>
        <a:p>
          <a:endParaRPr lang="de-DE"/>
        </a:p>
      </dgm:t>
    </dgm:pt>
    <dgm:pt modelId="{A8AA57AD-57CC-4921-8851-C91F734A2E84}">
      <dgm:prSet phldrT="[Text]" custT="1"/>
      <dgm:spPr/>
      <dgm:t>
        <a:bodyPr/>
        <a:lstStyle/>
        <a:p>
          <a:r>
            <a:rPr lang="en-US" sz="1200" err="1"/>
            <a:t>Wettbewerb</a:t>
          </a:r>
          <a:endParaRPr lang="en-US" sz="1200"/>
        </a:p>
      </dgm:t>
    </dgm:pt>
    <dgm:pt modelId="{E148D594-FE1F-4F43-9342-AE40768CC06B}" type="sibTrans" cxnId="{6049D844-C8E6-4347-AE8E-2BCAB1432821}">
      <dgm:prSet/>
      <dgm:spPr/>
      <dgm:t>
        <a:bodyPr/>
        <a:lstStyle/>
        <a:p>
          <a:endParaRPr lang="de-DE"/>
        </a:p>
      </dgm:t>
    </dgm:pt>
    <dgm:pt modelId="{BF731D22-2366-42FD-B856-6A0C21291393}" type="parTrans" cxnId="{6049D844-C8E6-4347-AE8E-2BCAB1432821}">
      <dgm:prSet/>
      <dgm:spPr/>
      <dgm:t>
        <a:bodyPr/>
        <a:lstStyle/>
        <a:p>
          <a:endParaRPr lang="de-DE"/>
        </a:p>
      </dgm:t>
    </dgm:pt>
    <dgm:pt modelId="{9D8F73A4-CCF3-46E3-810B-C4CD12F4AE80}">
      <dgm:prSet phldrT="[Text]" custT="1"/>
      <dgm:spPr/>
      <dgm:t>
        <a:bodyPr/>
        <a:lstStyle/>
        <a:p>
          <a:r>
            <a:rPr lang="en-US" sz="1200" err="1"/>
            <a:t>Wettbewerbsdruck</a:t>
          </a:r>
          <a:r>
            <a:rPr lang="en-US" sz="1200"/>
            <a:t> für Uber </a:t>
          </a:r>
          <a:r>
            <a:rPr lang="en-US" sz="1200" err="1"/>
            <a:t>durch</a:t>
          </a:r>
          <a:r>
            <a:rPr lang="en-US" sz="1200"/>
            <a:t> </a:t>
          </a:r>
          <a:r>
            <a:rPr lang="en-US" sz="1200" err="1"/>
            <a:t>nationale</a:t>
          </a:r>
          <a:r>
            <a:rPr lang="en-US" sz="1200"/>
            <a:t> und </a:t>
          </a:r>
          <a:r>
            <a:rPr lang="en-US" sz="1200" err="1"/>
            <a:t>internationale</a:t>
          </a:r>
          <a:r>
            <a:rPr lang="en-US" sz="1200"/>
            <a:t> </a:t>
          </a:r>
          <a:r>
            <a:rPr lang="en-US" sz="1200" err="1"/>
            <a:t>Konkurrenten</a:t>
          </a:r>
          <a:endParaRPr lang="en-US" sz="1200"/>
        </a:p>
      </dgm:t>
    </dgm:pt>
    <dgm:pt modelId="{7CDAE216-3C2F-4DE0-AEE6-6C9B2EB0E033}" type="parTrans" cxnId="{7A3AB5A8-EEE1-4078-8331-50399C760376}">
      <dgm:prSet/>
      <dgm:spPr/>
      <dgm:t>
        <a:bodyPr/>
        <a:lstStyle/>
        <a:p>
          <a:endParaRPr lang="de-DE"/>
        </a:p>
      </dgm:t>
    </dgm:pt>
    <dgm:pt modelId="{89B4A5BF-C73F-4BCC-AB7E-2904E0A15CE8}" type="sibTrans" cxnId="{7A3AB5A8-EEE1-4078-8331-50399C760376}">
      <dgm:prSet/>
      <dgm:spPr/>
      <dgm:t>
        <a:bodyPr/>
        <a:lstStyle/>
        <a:p>
          <a:endParaRPr lang="de-DE"/>
        </a:p>
      </dgm:t>
    </dgm:pt>
    <dgm:pt modelId="{EDE2C4AE-266A-4227-B5F6-5D0A163BDFF8}">
      <dgm:prSet custT="1"/>
      <dgm:spPr/>
      <dgm:t>
        <a:bodyPr/>
        <a:lstStyle/>
        <a:p>
          <a:r>
            <a:rPr lang="en-US" sz="1200" err="1"/>
            <a:t>Verbesserung</a:t>
          </a:r>
          <a:r>
            <a:rPr lang="en-US" sz="1200"/>
            <a:t> des Images und des </a:t>
          </a:r>
          <a:r>
            <a:rPr lang="en-US" sz="1200" err="1"/>
            <a:t>Vertrauens</a:t>
          </a:r>
          <a:r>
            <a:rPr lang="en-US" sz="1200"/>
            <a:t> der </a:t>
          </a:r>
          <a:r>
            <a:rPr lang="en-US" sz="1200" err="1"/>
            <a:t>Öffentlichkeit</a:t>
          </a:r>
          <a:endParaRPr lang="en-US" sz="1200"/>
        </a:p>
      </dgm:t>
    </dgm:pt>
    <dgm:pt modelId="{4F5D6DD3-9860-4A8F-BAB2-6CF3E5AAE00F}" type="parTrans" cxnId="{87AB93AE-499D-4897-8002-74FC047910A3}">
      <dgm:prSet/>
      <dgm:spPr/>
      <dgm:t>
        <a:bodyPr/>
        <a:lstStyle/>
        <a:p>
          <a:endParaRPr lang="de-DE"/>
        </a:p>
      </dgm:t>
    </dgm:pt>
    <dgm:pt modelId="{F277A533-9534-4EFC-ABEF-B6EDC9773705}" type="sibTrans" cxnId="{87AB93AE-499D-4897-8002-74FC047910A3}">
      <dgm:prSet/>
      <dgm:spPr/>
      <dgm:t>
        <a:bodyPr/>
        <a:lstStyle/>
        <a:p>
          <a:endParaRPr lang="de-DE"/>
        </a:p>
      </dgm:t>
    </dgm:pt>
    <dgm:pt modelId="{CA170826-2585-482E-8949-D0D946327120}" type="pres">
      <dgm:prSet presAssocID="{4280651C-EAF1-4C52-8A01-F4BE7D91D03A}" presName="Name0" presStyleCnt="0">
        <dgm:presLayoutVars>
          <dgm:dir/>
          <dgm:animLvl val="lvl"/>
          <dgm:resizeHandles val="exact"/>
        </dgm:presLayoutVars>
      </dgm:prSet>
      <dgm:spPr/>
    </dgm:pt>
    <dgm:pt modelId="{8C63D45C-6262-4F26-87D7-CEF27E6AFC89}" type="pres">
      <dgm:prSet presAssocID="{D5B01D2D-2597-437B-9A10-CC5072BA654F}" presName="composite" presStyleCnt="0"/>
      <dgm:spPr/>
    </dgm:pt>
    <dgm:pt modelId="{CADC6BF7-88CF-4705-AE13-4D8DF1BA2CA0}" type="pres">
      <dgm:prSet presAssocID="{D5B01D2D-2597-437B-9A10-CC5072BA654F}" presName="parTx" presStyleLbl="alignNode1" presStyleIdx="0" presStyleCnt="5">
        <dgm:presLayoutVars>
          <dgm:chMax val="0"/>
          <dgm:chPref val="0"/>
          <dgm:bulletEnabled val="1"/>
        </dgm:presLayoutVars>
      </dgm:prSet>
      <dgm:spPr/>
    </dgm:pt>
    <dgm:pt modelId="{5A846B1F-80CB-43D1-B2F9-6F58D0E82285}" type="pres">
      <dgm:prSet presAssocID="{D5B01D2D-2597-437B-9A10-CC5072BA654F}" presName="desTx" presStyleLbl="alignAccFollowNode1" presStyleIdx="0" presStyleCnt="5">
        <dgm:presLayoutVars>
          <dgm:bulletEnabled val="1"/>
        </dgm:presLayoutVars>
      </dgm:prSet>
      <dgm:spPr/>
    </dgm:pt>
    <dgm:pt modelId="{D72B2B69-1122-47DB-AB29-6A6AE0507F00}" type="pres">
      <dgm:prSet presAssocID="{B650431F-EB86-4E57-849C-38D7F81BACEA}" presName="space" presStyleCnt="0"/>
      <dgm:spPr/>
    </dgm:pt>
    <dgm:pt modelId="{B05D8DCE-0360-4CEA-AB51-207DE826AE8F}" type="pres">
      <dgm:prSet presAssocID="{467170FC-156C-406E-B768-69A4E00006F6}" presName="composite" presStyleCnt="0"/>
      <dgm:spPr/>
    </dgm:pt>
    <dgm:pt modelId="{6CABF41C-3202-4904-B94C-2363652EB737}" type="pres">
      <dgm:prSet presAssocID="{467170FC-156C-406E-B768-69A4E00006F6}" presName="parTx" presStyleLbl="alignNode1" presStyleIdx="1" presStyleCnt="5">
        <dgm:presLayoutVars>
          <dgm:chMax val="0"/>
          <dgm:chPref val="0"/>
          <dgm:bulletEnabled val="1"/>
        </dgm:presLayoutVars>
      </dgm:prSet>
      <dgm:spPr/>
    </dgm:pt>
    <dgm:pt modelId="{D036E80C-FCCE-49AA-8BA8-06ACAEC001F5}" type="pres">
      <dgm:prSet presAssocID="{467170FC-156C-406E-B768-69A4E00006F6}" presName="desTx" presStyleLbl="alignAccFollowNode1" presStyleIdx="1" presStyleCnt="5">
        <dgm:presLayoutVars>
          <dgm:bulletEnabled val="1"/>
        </dgm:presLayoutVars>
      </dgm:prSet>
      <dgm:spPr/>
    </dgm:pt>
    <dgm:pt modelId="{ECCD5FF9-8BF1-4A93-AFD8-C6A62ADE5F1F}" type="pres">
      <dgm:prSet presAssocID="{9B9B0B2C-F31B-4151-B4FF-75DA6523E4EE}" presName="space" presStyleCnt="0"/>
      <dgm:spPr/>
    </dgm:pt>
    <dgm:pt modelId="{42E8E434-4B08-4D27-86EF-B046CE571720}" type="pres">
      <dgm:prSet presAssocID="{A8AA57AD-57CC-4921-8851-C91F734A2E84}" presName="composite" presStyleCnt="0"/>
      <dgm:spPr/>
    </dgm:pt>
    <dgm:pt modelId="{FC7BAC7F-BD63-41A7-BFB1-4AA3ABA32995}" type="pres">
      <dgm:prSet presAssocID="{A8AA57AD-57CC-4921-8851-C91F734A2E84}" presName="parTx" presStyleLbl="alignNode1" presStyleIdx="2" presStyleCnt="5">
        <dgm:presLayoutVars>
          <dgm:chMax val="0"/>
          <dgm:chPref val="0"/>
          <dgm:bulletEnabled val="1"/>
        </dgm:presLayoutVars>
      </dgm:prSet>
      <dgm:spPr/>
    </dgm:pt>
    <dgm:pt modelId="{6B34C1B7-8406-46C4-AB90-D6E73B5C4923}" type="pres">
      <dgm:prSet presAssocID="{A8AA57AD-57CC-4921-8851-C91F734A2E84}" presName="desTx" presStyleLbl="alignAccFollowNode1" presStyleIdx="2" presStyleCnt="5">
        <dgm:presLayoutVars>
          <dgm:bulletEnabled val="1"/>
        </dgm:presLayoutVars>
      </dgm:prSet>
      <dgm:spPr/>
    </dgm:pt>
    <dgm:pt modelId="{8819E299-0F25-454E-A134-9D8A915BBE69}" type="pres">
      <dgm:prSet presAssocID="{E148D594-FE1F-4F43-9342-AE40768CC06B}" presName="space" presStyleCnt="0"/>
      <dgm:spPr/>
    </dgm:pt>
    <dgm:pt modelId="{51E652B8-0451-4428-8D1F-C94412B4AFCA}" type="pres">
      <dgm:prSet presAssocID="{0CA32934-BC3B-4E98-99DA-E1999C9E4E0C}" presName="composite" presStyleCnt="0"/>
      <dgm:spPr/>
    </dgm:pt>
    <dgm:pt modelId="{A9626A2B-0C91-411A-8A5F-4EBA2E1EBB66}" type="pres">
      <dgm:prSet presAssocID="{0CA32934-BC3B-4E98-99DA-E1999C9E4E0C}" presName="parTx" presStyleLbl="alignNode1" presStyleIdx="3" presStyleCnt="5">
        <dgm:presLayoutVars>
          <dgm:chMax val="0"/>
          <dgm:chPref val="0"/>
          <dgm:bulletEnabled val="1"/>
        </dgm:presLayoutVars>
      </dgm:prSet>
      <dgm:spPr/>
    </dgm:pt>
    <dgm:pt modelId="{8CA7C03D-C6D1-49B1-AFE8-E1F615298B03}" type="pres">
      <dgm:prSet presAssocID="{0CA32934-BC3B-4E98-99DA-E1999C9E4E0C}" presName="desTx" presStyleLbl="alignAccFollowNode1" presStyleIdx="3" presStyleCnt="5">
        <dgm:presLayoutVars>
          <dgm:bulletEnabled val="1"/>
        </dgm:presLayoutVars>
      </dgm:prSet>
      <dgm:spPr/>
    </dgm:pt>
    <dgm:pt modelId="{77BD2F6B-C3B3-42CF-9E63-AA867AA81139}" type="pres">
      <dgm:prSet presAssocID="{6D1B5652-ABBB-4506-B5FA-D5E37F590E57}" presName="space" presStyleCnt="0"/>
      <dgm:spPr/>
    </dgm:pt>
    <dgm:pt modelId="{AA9BC1FB-BCDF-4B1C-8BD9-A56B13BCDEDF}" type="pres">
      <dgm:prSet presAssocID="{C54E4DA6-B20C-43C9-856B-C11CFFD6F07D}" presName="composite" presStyleCnt="0"/>
      <dgm:spPr/>
    </dgm:pt>
    <dgm:pt modelId="{B12BCFBA-DF3B-4709-86AD-369C0C8B98DD}" type="pres">
      <dgm:prSet presAssocID="{C54E4DA6-B20C-43C9-856B-C11CFFD6F07D}" presName="parTx" presStyleLbl="alignNode1" presStyleIdx="4" presStyleCnt="5">
        <dgm:presLayoutVars>
          <dgm:chMax val="0"/>
          <dgm:chPref val="0"/>
          <dgm:bulletEnabled val="1"/>
        </dgm:presLayoutVars>
      </dgm:prSet>
      <dgm:spPr/>
    </dgm:pt>
    <dgm:pt modelId="{272829E8-F9D7-4BEC-AEDD-469B9CD5C0AE}" type="pres">
      <dgm:prSet presAssocID="{C54E4DA6-B20C-43C9-856B-C11CFFD6F07D}" presName="desTx" presStyleLbl="alignAccFollowNode1" presStyleIdx="4" presStyleCnt="5">
        <dgm:presLayoutVars>
          <dgm:bulletEnabled val="1"/>
        </dgm:presLayoutVars>
      </dgm:prSet>
      <dgm:spPr/>
    </dgm:pt>
  </dgm:ptLst>
  <dgm:cxnLst>
    <dgm:cxn modelId="{A73C3A04-45E8-438E-9A04-8CF94AEBDC6C}" srcId="{467170FC-156C-406E-B768-69A4E00006F6}" destId="{32BDC2DD-8518-4A70-9A12-F988A95BE899}" srcOrd="1" destOrd="0" parTransId="{F7992EA5-FCB8-421D-B8DC-42576C176910}" sibTransId="{9F928F82-BE2A-4151-8264-387D843EB024}"/>
    <dgm:cxn modelId="{E7B1140B-FFBD-4525-9C5B-2F1589F8378D}" srcId="{D5B01D2D-2597-437B-9A10-CC5072BA654F}" destId="{D1335D5B-6D07-408E-9DAF-F2D740753350}" srcOrd="1" destOrd="0" parTransId="{35D3A88C-F9F5-4BD2-83FB-C887BD8886CF}" sibTransId="{8992E21F-226F-4F0E-B70E-0D2BA71F6BA2}"/>
    <dgm:cxn modelId="{71DE4C10-4A8D-4F1D-B249-B10859FCB42E}" srcId="{A8AA57AD-57CC-4921-8851-C91F734A2E84}" destId="{CD4A3421-874D-4253-8DBE-2C48941577DB}" srcOrd="0" destOrd="0" parTransId="{1952342F-8B4A-45D9-8AD5-5BCE3BE5D385}" sibTransId="{21CAA344-6DDE-4C6F-865C-85010A03B20D}"/>
    <dgm:cxn modelId="{046A5117-173B-40F3-9F38-68757105B15C}" srcId="{D5B01D2D-2597-437B-9A10-CC5072BA654F}" destId="{426ABA46-91C8-4881-B7D7-FE7434BECFFE}" srcOrd="0" destOrd="0" parTransId="{B2E3333F-38D0-4EC1-A78C-CE053E6C4B62}" sibTransId="{E1BC9702-04B9-4CD4-93F9-BAEB0CB10C7A}"/>
    <dgm:cxn modelId="{2086101A-2120-4050-8AB6-E587CC2AC5D8}" srcId="{0CA32934-BC3B-4E98-99DA-E1999C9E4E0C}" destId="{3BCC14C7-6D29-415A-BF49-33420D5DDDC6}" srcOrd="0" destOrd="0" parTransId="{3E2DE601-1BB4-4AA5-BB7E-BBB2A8469805}" sibTransId="{DD48D2E5-A617-42D4-960E-89D95E8B4B58}"/>
    <dgm:cxn modelId="{E54F421F-31DA-4EF7-9880-C90E5382D5D2}" type="presOf" srcId="{4280651C-EAF1-4C52-8A01-F4BE7D91D03A}" destId="{CA170826-2585-482E-8949-D0D946327120}" srcOrd="0" destOrd="0" presId="urn:microsoft.com/office/officeart/2005/8/layout/hList1"/>
    <dgm:cxn modelId="{431E3A21-8938-46B1-BD72-BBCE24FEAE2D}" type="presOf" srcId="{32BDC2DD-8518-4A70-9A12-F988A95BE899}" destId="{D036E80C-FCCE-49AA-8BA8-06ACAEC001F5}" srcOrd="0" destOrd="1" presId="urn:microsoft.com/office/officeart/2005/8/layout/hList1"/>
    <dgm:cxn modelId="{FC15592C-93FA-4BD0-B0D2-4A2EB8D3037E}" srcId="{4280651C-EAF1-4C52-8A01-F4BE7D91D03A}" destId="{D5B01D2D-2597-437B-9A10-CC5072BA654F}" srcOrd="0" destOrd="0" parTransId="{6997E4A0-CBB6-4E8A-882F-F0659B32DF10}" sibTransId="{B650431F-EB86-4E57-849C-38D7F81BACEA}"/>
    <dgm:cxn modelId="{3C57882E-5896-49DC-9393-3C8FCCA22DDD}" type="presOf" srcId="{8677FFAA-BD82-41A3-85A9-D8E7718D4631}" destId="{272829E8-F9D7-4BEC-AEDD-469B9CD5C0AE}" srcOrd="0" destOrd="0" presId="urn:microsoft.com/office/officeart/2005/8/layout/hList1"/>
    <dgm:cxn modelId="{8298D83F-480F-4A2A-9086-FE0639184969}" type="presOf" srcId="{EDE2C4AE-266A-4227-B5F6-5D0A163BDFF8}" destId="{272829E8-F9D7-4BEC-AEDD-469B9CD5C0AE}" srcOrd="0" destOrd="1" presId="urn:microsoft.com/office/officeart/2005/8/layout/hList1"/>
    <dgm:cxn modelId="{1E4FB25C-F02A-4340-B699-2EEFE88C3C7A}" type="presOf" srcId="{C54E4DA6-B20C-43C9-856B-C11CFFD6F07D}" destId="{B12BCFBA-DF3B-4709-86AD-369C0C8B98DD}" srcOrd="0" destOrd="0" presId="urn:microsoft.com/office/officeart/2005/8/layout/hList1"/>
    <dgm:cxn modelId="{AFAEB85D-9BAC-4011-B58A-6D8E1A836B83}" type="presOf" srcId="{0CA32934-BC3B-4E98-99DA-E1999C9E4E0C}" destId="{A9626A2B-0C91-411A-8A5F-4EBA2E1EBB66}" srcOrd="0" destOrd="0" presId="urn:microsoft.com/office/officeart/2005/8/layout/hList1"/>
    <dgm:cxn modelId="{6049D844-C8E6-4347-AE8E-2BCAB1432821}" srcId="{4280651C-EAF1-4C52-8A01-F4BE7D91D03A}" destId="{A8AA57AD-57CC-4921-8851-C91F734A2E84}" srcOrd="2" destOrd="0" parTransId="{BF731D22-2366-42FD-B856-6A0C21291393}" sibTransId="{E148D594-FE1F-4F43-9342-AE40768CC06B}"/>
    <dgm:cxn modelId="{A9192A6A-E166-426F-8679-988A5095851A}" type="presOf" srcId="{295C261F-21DC-4157-9929-E72315ED527A}" destId="{5A846B1F-80CB-43D1-B2F9-6F58D0E82285}" srcOrd="0" destOrd="2" presId="urn:microsoft.com/office/officeart/2005/8/layout/hList1"/>
    <dgm:cxn modelId="{48099B6A-0431-48CB-B9EB-F3F3EAA2EE70}" srcId="{4280651C-EAF1-4C52-8A01-F4BE7D91D03A}" destId="{0CA32934-BC3B-4E98-99DA-E1999C9E4E0C}" srcOrd="3" destOrd="0" parTransId="{F207EBAF-C567-41AC-BB31-800E29E620A6}" sibTransId="{6D1B5652-ABBB-4506-B5FA-D5E37F590E57}"/>
    <dgm:cxn modelId="{BE8E144B-AE0E-483A-B1C0-65BB94A6D120}" srcId="{4280651C-EAF1-4C52-8A01-F4BE7D91D03A}" destId="{467170FC-156C-406E-B768-69A4E00006F6}" srcOrd="1" destOrd="0" parTransId="{54DA7128-8C3E-4ADA-B097-A79C53F1E62A}" sibTransId="{9B9B0B2C-F31B-4151-B4FF-75DA6523E4EE}"/>
    <dgm:cxn modelId="{8FDCB34F-1E13-4369-80CA-3215BB3BA388}" srcId="{D5B01D2D-2597-437B-9A10-CC5072BA654F}" destId="{295C261F-21DC-4157-9929-E72315ED527A}" srcOrd="2" destOrd="0" parTransId="{AB10B9C1-AB0E-44D6-8264-849787EECFDF}" sibTransId="{27369776-379A-4F66-9E00-E7610DF21E89}"/>
    <dgm:cxn modelId="{7CBB2555-399D-40F3-8D7E-9FE7D1A405DC}" type="presOf" srcId="{D1335D5B-6D07-408E-9DAF-F2D740753350}" destId="{5A846B1F-80CB-43D1-B2F9-6F58D0E82285}" srcOrd="0" destOrd="1" presId="urn:microsoft.com/office/officeart/2005/8/layout/hList1"/>
    <dgm:cxn modelId="{04F00579-DFBE-49D7-8D56-46B43EC7BB4E}" type="presOf" srcId="{9D8F73A4-CCF3-46E3-810B-C4CD12F4AE80}" destId="{6B34C1B7-8406-46C4-AB90-D6E73B5C4923}" srcOrd="0" destOrd="1" presId="urn:microsoft.com/office/officeart/2005/8/layout/hList1"/>
    <dgm:cxn modelId="{2EAFAB8C-252D-4873-B420-834AFD17C45F}" srcId="{467170FC-156C-406E-B768-69A4E00006F6}" destId="{DED1373D-F171-4676-99FB-E369C8DB02B6}" srcOrd="0" destOrd="0" parTransId="{79DD68BE-8A11-4392-895D-FE9C812C4211}" sibTransId="{5A8FBCB2-31AE-4CF8-9518-59F8DB860E31}"/>
    <dgm:cxn modelId="{B2755C9D-1891-4820-AE41-B4C2688C0326}" type="presOf" srcId="{CD4A3421-874D-4253-8DBE-2C48941577DB}" destId="{6B34C1B7-8406-46C4-AB90-D6E73B5C4923}" srcOrd="0" destOrd="0" presId="urn:microsoft.com/office/officeart/2005/8/layout/hList1"/>
    <dgm:cxn modelId="{D49645A2-E512-44B5-B6E2-7E66E6E27094}" type="presOf" srcId="{D5B01D2D-2597-437B-9A10-CC5072BA654F}" destId="{CADC6BF7-88CF-4705-AE13-4D8DF1BA2CA0}" srcOrd="0" destOrd="0" presId="urn:microsoft.com/office/officeart/2005/8/layout/hList1"/>
    <dgm:cxn modelId="{0F8AC3A2-899E-4BDD-A941-DD697094D90F}" type="presOf" srcId="{3BCC14C7-6D29-415A-BF49-33420D5DDDC6}" destId="{8CA7C03D-C6D1-49B1-AFE8-E1F615298B03}" srcOrd="0" destOrd="0" presId="urn:microsoft.com/office/officeart/2005/8/layout/hList1"/>
    <dgm:cxn modelId="{7A3AB5A8-EEE1-4078-8331-50399C760376}" srcId="{A8AA57AD-57CC-4921-8851-C91F734A2E84}" destId="{9D8F73A4-CCF3-46E3-810B-C4CD12F4AE80}" srcOrd="1" destOrd="0" parTransId="{7CDAE216-3C2F-4DE0-AEE6-6C9B2EB0E033}" sibTransId="{89B4A5BF-C73F-4BCC-AB7E-2904E0A15CE8}"/>
    <dgm:cxn modelId="{87AB93AE-499D-4897-8002-74FC047910A3}" srcId="{C54E4DA6-B20C-43C9-856B-C11CFFD6F07D}" destId="{EDE2C4AE-266A-4227-B5F6-5D0A163BDFF8}" srcOrd="1" destOrd="0" parTransId="{4F5D6DD3-9860-4A8F-BAB2-6CF3E5AAE00F}" sibTransId="{F277A533-9534-4EFC-ABEF-B6EDC9773705}"/>
    <dgm:cxn modelId="{5D0F37B8-D50B-446B-BA11-B204A6140F5F}" type="presOf" srcId="{DED1373D-F171-4676-99FB-E369C8DB02B6}" destId="{D036E80C-FCCE-49AA-8BA8-06ACAEC001F5}" srcOrd="0" destOrd="0" presId="urn:microsoft.com/office/officeart/2005/8/layout/hList1"/>
    <dgm:cxn modelId="{CE4BC5C5-E652-4D60-897E-04A96D466D23}" srcId="{4280651C-EAF1-4C52-8A01-F4BE7D91D03A}" destId="{C54E4DA6-B20C-43C9-856B-C11CFFD6F07D}" srcOrd="4" destOrd="0" parTransId="{65467F32-B019-4B05-A750-65925C86E137}" sibTransId="{E6445D55-5BC1-487E-A9FA-893C3506898E}"/>
    <dgm:cxn modelId="{5D4BCEE3-D9A7-4261-9828-D5DC6A31CB75}" type="presOf" srcId="{467170FC-156C-406E-B768-69A4E00006F6}" destId="{6CABF41C-3202-4904-B94C-2363652EB737}" srcOrd="0" destOrd="0" presId="urn:microsoft.com/office/officeart/2005/8/layout/hList1"/>
    <dgm:cxn modelId="{5A3C6AED-4027-4F52-A79F-1BA14CE434BC}" type="presOf" srcId="{A8AA57AD-57CC-4921-8851-C91F734A2E84}" destId="{FC7BAC7F-BD63-41A7-BFB1-4AA3ABA32995}" srcOrd="0" destOrd="0" presId="urn:microsoft.com/office/officeart/2005/8/layout/hList1"/>
    <dgm:cxn modelId="{E29D88F6-3F5C-4949-8A6F-E900E04ED354}" type="presOf" srcId="{426ABA46-91C8-4881-B7D7-FE7434BECFFE}" destId="{5A846B1F-80CB-43D1-B2F9-6F58D0E82285}" srcOrd="0" destOrd="0" presId="urn:microsoft.com/office/officeart/2005/8/layout/hList1"/>
    <dgm:cxn modelId="{9E25B6FC-EF16-43AB-AE3C-941C77C470C1}" srcId="{C54E4DA6-B20C-43C9-856B-C11CFFD6F07D}" destId="{8677FFAA-BD82-41A3-85A9-D8E7718D4631}" srcOrd="0" destOrd="0" parTransId="{FB169F75-7988-478A-9EB8-988B4B771200}" sibTransId="{D258F5BC-5EA8-4E5A-8F2C-2F13D5281C2D}"/>
    <dgm:cxn modelId="{716FBB4A-3397-4483-A251-CDA60FBD9EF3}" type="presParOf" srcId="{CA170826-2585-482E-8949-D0D946327120}" destId="{8C63D45C-6262-4F26-87D7-CEF27E6AFC89}" srcOrd="0" destOrd="0" presId="urn:microsoft.com/office/officeart/2005/8/layout/hList1"/>
    <dgm:cxn modelId="{3D40053E-0A10-46DC-A28C-62F898110444}" type="presParOf" srcId="{8C63D45C-6262-4F26-87D7-CEF27E6AFC89}" destId="{CADC6BF7-88CF-4705-AE13-4D8DF1BA2CA0}" srcOrd="0" destOrd="0" presId="urn:microsoft.com/office/officeart/2005/8/layout/hList1"/>
    <dgm:cxn modelId="{601D80F7-5B32-49C7-9111-5B5FB2099C2D}" type="presParOf" srcId="{8C63D45C-6262-4F26-87D7-CEF27E6AFC89}" destId="{5A846B1F-80CB-43D1-B2F9-6F58D0E82285}" srcOrd="1" destOrd="0" presId="urn:microsoft.com/office/officeart/2005/8/layout/hList1"/>
    <dgm:cxn modelId="{D91B627A-5A1C-43E8-9EFF-2422333D0685}" type="presParOf" srcId="{CA170826-2585-482E-8949-D0D946327120}" destId="{D72B2B69-1122-47DB-AB29-6A6AE0507F00}" srcOrd="1" destOrd="0" presId="urn:microsoft.com/office/officeart/2005/8/layout/hList1"/>
    <dgm:cxn modelId="{0F8B3BD8-C5FF-41FA-B3D2-66BE9131E30B}" type="presParOf" srcId="{CA170826-2585-482E-8949-D0D946327120}" destId="{B05D8DCE-0360-4CEA-AB51-207DE826AE8F}" srcOrd="2" destOrd="0" presId="urn:microsoft.com/office/officeart/2005/8/layout/hList1"/>
    <dgm:cxn modelId="{8A17A698-41FB-4B0D-8C6F-770ED6B1D835}" type="presParOf" srcId="{B05D8DCE-0360-4CEA-AB51-207DE826AE8F}" destId="{6CABF41C-3202-4904-B94C-2363652EB737}" srcOrd="0" destOrd="0" presId="urn:microsoft.com/office/officeart/2005/8/layout/hList1"/>
    <dgm:cxn modelId="{005168AA-8471-408F-BB39-49530F9586B9}" type="presParOf" srcId="{B05D8DCE-0360-4CEA-AB51-207DE826AE8F}" destId="{D036E80C-FCCE-49AA-8BA8-06ACAEC001F5}" srcOrd="1" destOrd="0" presId="urn:microsoft.com/office/officeart/2005/8/layout/hList1"/>
    <dgm:cxn modelId="{7723AD21-3683-497D-87D6-7EF798DAD439}" type="presParOf" srcId="{CA170826-2585-482E-8949-D0D946327120}" destId="{ECCD5FF9-8BF1-4A93-AFD8-C6A62ADE5F1F}" srcOrd="3" destOrd="0" presId="urn:microsoft.com/office/officeart/2005/8/layout/hList1"/>
    <dgm:cxn modelId="{B9BE50AD-70B5-44B5-82B2-5AC38253C632}" type="presParOf" srcId="{CA170826-2585-482E-8949-D0D946327120}" destId="{42E8E434-4B08-4D27-86EF-B046CE571720}" srcOrd="4" destOrd="0" presId="urn:microsoft.com/office/officeart/2005/8/layout/hList1"/>
    <dgm:cxn modelId="{079AA38A-4349-4F62-B5BA-689D3B650A44}" type="presParOf" srcId="{42E8E434-4B08-4D27-86EF-B046CE571720}" destId="{FC7BAC7F-BD63-41A7-BFB1-4AA3ABA32995}" srcOrd="0" destOrd="0" presId="urn:microsoft.com/office/officeart/2005/8/layout/hList1"/>
    <dgm:cxn modelId="{F5E65881-6AF5-4CFD-862C-E537D6CEB172}" type="presParOf" srcId="{42E8E434-4B08-4D27-86EF-B046CE571720}" destId="{6B34C1B7-8406-46C4-AB90-D6E73B5C4923}" srcOrd="1" destOrd="0" presId="urn:microsoft.com/office/officeart/2005/8/layout/hList1"/>
    <dgm:cxn modelId="{3A09B092-9D79-4556-A515-9D34FA0C4633}" type="presParOf" srcId="{CA170826-2585-482E-8949-D0D946327120}" destId="{8819E299-0F25-454E-A134-9D8A915BBE69}" srcOrd="5" destOrd="0" presId="urn:microsoft.com/office/officeart/2005/8/layout/hList1"/>
    <dgm:cxn modelId="{DACD34B1-DF9F-4CB7-95E7-05A5EA71D455}" type="presParOf" srcId="{CA170826-2585-482E-8949-D0D946327120}" destId="{51E652B8-0451-4428-8D1F-C94412B4AFCA}" srcOrd="6" destOrd="0" presId="urn:microsoft.com/office/officeart/2005/8/layout/hList1"/>
    <dgm:cxn modelId="{66CE24A0-FA6B-4FAD-8572-BCED8F9E4D8E}" type="presParOf" srcId="{51E652B8-0451-4428-8D1F-C94412B4AFCA}" destId="{A9626A2B-0C91-411A-8A5F-4EBA2E1EBB66}" srcOrd="0" destOrd="0" presId="urn:microsoft.com/office/officeart/2005/8/layout/hList1"/>
    <dgm:cxn modelId="{E532D9EE-BCAE-4517-949D-AB6BC2D026F5}" type="presParOf" srcId="{51E652B8-0451-4428-8D1F-C94412B4AFCA}" destId="{8CA7C03D-C6D1-49B1-AFE8-E1F615298B03}" srcOrd="1" destOrd="0" presId="urn:microsoft.com/office/officeart/2005/8/layout/hList1"/>
    <dgm:cxn modelId="{4EC7DD6A-8E10-4CF2-8A91-F0F5CFC9CBB4}" type="presParOf" srcId="{CA170826-2585-482E-8949-D0D946327120}" destId="{77BD2F6B-C3B3-42CF-9E63-AA867AA81139}" srcOrd="7" destOrd="0" presId="urn:microsoft.com/office/officeart/2005/8/layout/hList1"/>
    <dgm:cxn modelId="{DF7B570F-AB69-4F90-9958-D97D0429F141}" type="presParOf" srcId="{CA170826-2585-482E-8949-D0D946327120}" destId="{AA9BC1FB-BCDF-4B1C-8BD9-A56B13BCDEDF}" srcOrd="8" destOrd="0" presId="urn:microsoft.com/office/officeart/2005/8/layout/hList1"/>
    <dgm:cxn modelId="{56C67491-6B24-4BA1-AFD0-84643453EF7B}" type="presParOf" srcId="{AA9BC1FB-BCDF-4B1C-8BD9-A56B13BCDEDF}" destId="{B12BCFBA-DF3B-4709-86AD-369C0C8B98DD}" srcOrd="0" destOrd="0" presId="urn:microsoft.com/office/officeart/2005/8/layout/hList1"/>
    <dgm:cxn modelId="{E34E6248-D223-477B-BE63-C23519B9CACE}" type="presParOf" srcId="{AA9BC1FB-BCDF-4B1C-8BD9-A56B13BCDEDF}" destId="{272829E8-F9D7-4BEC-AEDD-469B9CD5C0A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C04F8C9-2B29-4334-99D3-A508F038DDCB}" type="doc">
      <dgm:prSet loTypeId="urn:microsoft.com/office/officeart/2005/8/layout/pyramid1" loCatId="pyramid" qsTypeId="urn:microsoft.com/office/officeart/2005/8/quickstyle/simple1" qsCatId="simple" csTypeId="urn:microsoft.com/office/officeart/2005/8/colors/accent0_1" csCatId="mainScheme" phldr="1"/>
      <dgm:spPr/>
    </dgm:pt>
    <dgm:pt modelId="{FF1936A6-E680-4348-BC06-C8A926F84EE7}">
      <dgm:prSet phldrT="[Text]" custT="1"/>
      <dgm:spPr/>
      <dgm:t>
        <a:bodyPr/>
        <a:lstStyle/>
        <a:p>
          <a:endParaRPr lang="en-US" sz="1200">
            <a:effectLst/>
            <a:latin typeface="Calibri"/>
            <a:ea typeface="Times New Roman" panose="02020603050405020304" pitchFamily="18" charset="0"/>
            <a:cs typeface="Times New Roman"/>
          </a:endParaRPr>
        </a:p>
        <a:p>
          <a:endParaRPr lang="en-US" sz="1200">
            <a:effectLst/>
            <a:latin typeface="Calibri"/>
            <a:ea typeface="Times New Roman" panose="02020603050405020304" pitchFamily="18" charset="0"/>
            <a:cs typeface="Times New Roman"/>
          </a:endParaRPr>
        </a:p>
        <a:p>
          <a:endParaRPr lang="en-US" sz="1200">
            <a:effectLst/>
            <a:latin typeface="Calibri"/>
            <a:ea typeface="Times New Roman" panose="02020603050405020304" pitchFamily="18" charset="0"/>
            <a:cs typeface="Times New Roman"/>
          </a:endParaRPr>
        </a:p>
        <a:p>
          <a:endParaRPr lang="en-US" sz="1200">
            <a:effectLst/>
            <a:latin typeface="Calibri"/>
            <a:ea typeface="Times New Roman" panose="02020603050405020304" pitchFamily="18" charset="0"/>
            <a:cs typeface="Times New Roman"/>
          </a:endParaRPr>
        </a:p>
        <a:p>
          <a:endParaRPr lang="en-US" sz="1200">
            <a:effectLst/>
            <a:latin typeface="Calibri"/>
            <a:ea typeface="Times New Roman" panose="02020603050405020304" pitchFamily="18" charset="0"/>
            <a:cs typeface="Times New Roman"/>
          </a:endParaRPr>
        </a:p>
        <a:p>
          <a:r>
            <a:rPr lang="en-US" sz="1200" err="1">
              <a:effectLst/>
              <a:latin typeface="Calibri"/>
              <a:ea typeface="Times New Roman" panose="02020603050405020304" pitchFamily="18" charset="0"/>
              <a:cs typeface="Times New Roman"/>
            </a:rPr>
            <a:t>Entwicklung</a:t>
          </a:r>
          <a:r>
            <a:rPr lang="en-US" sz="1200">
              <a:effectLst/>
              <a:latin typeface="Calibri"/>
              <a:ea typeface="Times New Roman" panose="02020603050405020304" pitchFamily="18" charset="0"/>
              <a:cs typeface="Times New Roman"/>
            </a:rPr>
            <a:t> </a:t>
          </a:r>
          <a:r>
            <a:rPr lang="en-US" sz="1200" err="1">
              <a:effectLst/>
              <a:latin typeface="Calibri"/>
              <a:ea typeface="Times New Roman" panose="02020603050405020304" pitchFamily="18" charset="0"/>
              <a:cs typeface="Times New Roman"/>
            </a:rPr>
            <a:t>einer</a:t>
          </a:r>
          <a:endParaRPr lang="en-US" sz="1200">
            <a:effectLst/>
            <a:latin typeface="Calibri"/>
            <a:ea typeface="Times New Roman" panose="02020603050405020304" pitchFamily="18" charset="0"/>
            <a:cs typeface="Times New Roman"/>
          </a:endParaRPr>
        </a:p>
        <a:p>
          <a:r>
            <a:rPr lang="en-US" sz="1200" err="1">
              <a:effectLst/>
              <a:latin typeface="Calibri"/>
              <a:ea typeface="Times New Roman" panose="02020603050405020304" pitchFamily="18" charset="0"/>
              <a:cs typeface="Times New Roman"/>
            </a:rPr>
            <a:t>klaren</a:t>
          </a:r>
          <a:r>
            <a:rPr lang="en-US" sz="1200">
              <a:effectLst/>
              <a:latin typeface="Calibri"/>
              <a:ea typeface="Times New Roman" panose="02020603050405020304" pitchFamily="18" charset="0"/>
              <a:cs typeface="Times New Roman"/>
            </a:rPr>
            <a:t> Vision und </a:t>
          </a:r>
          <a:r>
            <a:rPr lang="en-US" sz="1200" err="1">
              <a:effectLst/>
              <a:latin typeface="Calibri"/>
              <a:ea typeface="Times New Roman" panose="02020603050405020304" pitchFamily="18" charset="0"/>
              <a:cs typeface="Times New Roman"/>
            </a:rPr>
            <a:t>strategischer</a:t>
          </a:r>
          <a:r>
            <a:rPr lang="en-US" sz="1200">
              <a:effectLst/>
              <a:latin typeface="Calibri"/>
              <a:ea typeface="Times New Roman" panose="02020603050405020304" pitchFamily="18" charset="0"/>
              <a:cs typeface="Times New Roman"/>
            </a:rPr>
            <a:t> </a:t>
          </a:r>
          <a:r>
            <a:rPr lang="en-US" sz="1200" err="1">
              <a:effectLst/>
              <a:latin typeface="Calibri"/>
              <a:ea typeface="Times New Roman" panose="02020603050405020304" pitchFamily="18" charset="0"/>
              <a:cs typeface="Times New Roman"/>
            </a:rPr>
            <a:t>Ziele</a:t>
          </a:r>
          <a:r>
            <a:rPr lang="en-US" sz="1200">
              <a:effectLst/>
              <a:latin typeface="Calibri"/>
              <a:ea typeface="Times New Roman" panose="02020603050405020304" pitchFamily="18" charset="0"/>
              <a:cs typeface="Times New Roman"/>
            </a:rPr>
            <a:t>, </a:t>
          </a:r>
        </a:p>
        <a:p>
          <a:r>
            <a:rPr lang="en-US" sz="1200" err="1">
              <a:effectLst/>
              <a:latin typeface="Calibri"/>
              <a:ea typeface="Times New Roman" panose="02020603050405020304" pitchFamily="18" charset="0"/>
              <a:cs typeface="Times New Roman"/>
            </a:rPr>
            <a:t>tiefes</a:t>
          </a:r>
          <a:r>
            <a:rPr lang="en-US" sz="1200">
              <a:effectLst/>
              <a:latin typeface="Calibri"/>
              <a:ea typeface="Times New Roman" panose="02020603050405020304" pitchFamily="18" charset="0"/>
              <a:cs typeface="Times New Roman"/>
            </a:rPr>
            <a:t> </a:t>
          </a:r>
          <a:r>
            <a:rPr lang="en-US" sz="1200" err="1">
              <a:effectLst/>
              <a:latin typeface="Calibri"/>
              <a:ea typeface="Times New Roman" panose="02020603050405020304" pitchFamily="18" charset="0"/>
              <a:cs typeface="Times New Roman"/>
            </a:rPr>
            <a:t>Verständnis</a:t>
          </a:r>
          <a:r>
            <a:rPr lang="en-US" sz="1200">
              <a:effectLst/>
              <a:latin typeface="Calibri"/>
              <a:ea typeface="Times New Roman" panose="02020603050405020304" pitchFamily="18" charset="0"/>
              <a:cs typeface="Times New Roman"/>
            </a:rPr>
            <a:t> für das </a:t>
          </a:r>
          <a:r>
            <a:rPr lang="en-US" sz="1200" err="1">
              <a:effectLst/>
              <a:latin typeface="Calibri"/>
              <a:ea typeface="Times New Roman" panose="02020603050405020304" pitchFamily="18" charset="0"/>
              <a:cs typeface="Times New Roman"/>
            </a:rPr>
            <a:t>Geschäft</a:t>
          </a:r>
          <a:r>
            <a:rPr lang="en-US" sz="1200">
              <a:effectLst/>
              <a:latin typeface="Calibri"/>
              <a:ea typeface="Times New Roman" panose="02020603050405020304" pitchFamily="18" charset="0"/>
              <a:cs typeface="Times New Roman"/>
            </a:rPr>
            <a:t> von Uber,</a:t>
          </a:r>
        </a:p>
        <a:p>
          <a:r>
            <a:rPr lang="en-US" sz="1200" err="1">
              <a:effectLst/>
              <a:latin typeface="Calibri"/>
              <a:ea typeface="Times New Roman" panose="02020603050405020304" pitchFamily="18" charset="0"/>
              <a:cs typeface="Times New Roman"/>
            </a:rPr>
            <a:t>ausgeprägte</a:t>
          </a:r>
          <a:r>
            <a:rPr lang="en-US" sz="1200">
              <a:effectLst/>
              <a:latin typeface="Calibri"/>
              <a:ea typeface="Times New Roman" panose="02020603050405020304" pitchFamily="18" charset="0"/>
              <a:cs typeface="Times New Roman"/>
            </a:rPr>
            <a:t> </a:t>
          </a:r>
          <a:r>
            <a:rPr lang="en-US" sz="1200" err="1">
              <a:effectLst/>
              <a:latin typeface="Calibri"/>
              <a:ea typeface="Times New Roman" panose="02020603050405020304" pitchFamily="18" charset="0"/>
              <a:cs typeface="Times New Roman"/>
            </a:rPr>
            <a:t>Führungskompetenzen</a:t>
          </a:r>
          <a:endParaRPr lang="en-US" sz="1200">
            <a:effectLst/>
            <a:latin typeface="Calibri"/>
            <a:ea typeface="Times New Roman" panose="02020603050405020304" pitchFamily="18" charset="0"/>
            <a:cs typeface="Times New Roman"/>
          </a:endParaRPr>
        </a:p>
        <a:p>
          <a:r>
            <a:rPr lang="en-US" sz="1200">
              <a:effectLst/>
              <a:latin typeface="Calibri"/>
              <a:ea typeface="Times New Roman" panose="02020603050405020304" pitchFamily="18" charset="0"/>
              <a:cs typeface="Times New Roman"/>
            </a:rPr>
            <a:t>um das </a:t>
          </a:r>
          <a:r>
            <a:rPr lang="en-US" sz="1200" err="1">
              <a:effectLst/>
              <a:latin typeface="Calibri"/>
              <a:ea typeface="Times New Roman" panose="02020603050405020304" pitchFamily="18" charset="0"/>
              <a:cs typeface="Times New Roman"/>
            </a:rPr>
            <a:t>Unternehmen</a:t>
          </a:r>
          <a:r>
            <a:rPr lang="en-US" sz="1200">
              <a:effectLst/>
              <a:latin typeface="Calibri"/>
              <a:ea typeface="Times New Roman" panose="02020603050405020304" pitchFamily="18" charset="0"/>
              <a:cs typeface="Times New Roman"/>
            </a:rPr>
            <a:t> </a:t>
          </a:r>
          <a:r>
            <a:rPr lang="en-US" sz="1200" err="1">
              <a:effectLst/>
              <a:latin typeface="Calibri"/>
              <a:ea typeface="Times New Roman" panose="02020603050405020304" pitchFamily="18" charset="0"/>
              <a:cs typeface="Times New Roman"/>
            </a:rPr>
            <a:t>zu</a:t>
          </a:r>
          <a:r>
            <a:rPr lang="en-US" sz="1200">
              <a:effectLst/>
              <a:latin typeface="Calibri"/>
              <a:ea typeface="Times New Roman" panose="02020603050405020304" pitchFamily="18" charset="0"/>
              <a:cs typeface="Times New Roman"/>
            </a:rPr>
            <a:t> </a:t>
          </a:r>
          <a:r>
            <a:rPr lang="en-US" sz="1200" err="1">
              <a:effectLst/>
              <a:latin typeface="Calibri"/>
              <a:ea typeface="Times New Roman" panose="02020603050405020304" pitchFamily="18" charset="0"/>
              <a:cs typeface="Times New Roman"/>
            </a:rPr>
            <a:t>führen</a:t>
          </a:r>
          <a:endParaRPr lang="en-US" sz="1200"/>
        </a:p>
      </dgm:t>
    </dgm:pt>
    <dgm:pt modelId="{433A4AC1-01DF-4C86-8E08-8C12FED2201D}" type="parTrans" cxnId="{D2C5346E-DA11-4FAA-AE63-DE71C27CD5CE}">
      <dgm:prSet/>
      <dgm:spPr/>
      <dgm:t>
        <a:bodyPr/>
        <a:lstStyle/>
        <a:p>
          <a:endParaRPr lang="de-DE"/>
        </a:p>
      </dgm:t>
    </dgm:pt>
    <dgm:pt modelId="{B6EA0A02-BB5C-4407-97CA-A52A7DCB35CF}" type="sibTrans" cxnId="{D2C5346E-DA11-4FAA-AE63-DE71C27CD5CE}">
      <dgm:prSet/>
      <dgm:spPr/>
      <dgm:t>
        <a:bodyPr/>
        <a:lstStyle/>
        <a:p>
          <a:endParaRPr lang="de-DE"/>
        </a:p>
      </dgm:t>
    </dgm:pt>
    <dgm:pt modelId="{B24E9381-6B20-49F1-A8CC-A2AE876A4051}">
      <dgm:prSet phldrT="[Text]" custT="1"/>
      <dgm:spPr/>
      <dgm:t>
        <a:bodyPr/>
        <a:lstStyle/>
        <a:p>
          <a:r>
            <a:rPr lang="en-US" sz="1200" err="1">
              <a:effectLst/>
              <a:latin typeface="Calibri"/>
              <a:ea typeface="Times New Roman" panose="02020603050405020304" pitchFamily="18" charset="0"/>
              <a:cs typeface="Times New Roman"/>
            </a:rPr>
            <a:t>klare</a:t>
          </a:r>
          <a:r>
            <a:rPr lang="en-US" sz="1200">
              <a:effectLst/>
              <a:latin typeface="Calibri"/>
              <a:ea typeface="Times New Roman" panose="02020603050405020304" pitchFamily="18" charset="0"/>
              <a:cs typeface="Times New Roman"/>
            </a:rPr>
            <a:t> </a:t>
          </a:r>
          <a:r>
            <a:rPr lang="en-US" sz="1200" err="1">
              <a:effectLst/>
              <a:latin typeface="Calibri"/>
              <a:ea typeface="Times New Roman" panose="02020603050405020304" pitchFamily="18" charset="0"/>
              <a:cs typeface="Times New Roman"/>
            </a:rPr>
            <a:t>Ziele</a:t>
          </a:r>
          <a:r>
            <a:rPr lang="en-US" sz="1200">
              <a:effectLst/>
              <a:latin typeface="Calibri"/>
              <a:ea typeface="Times New Roman" panose="02020603050405020304" pitchFamily="18" charset="0"/>
              <a:cs typeface="Times New Roman"/>
            </a:rPr>
            <a:t> für das Team </a:t>
          </a:r>
          <a:r>
            <a:rPr lang="en-US" sz="1200" err="1">
              <a:effectLst/>
              <a:latin typeface="Calibri"/>
              <a:ea typeface="Times New Roman" panose="02020603050405020304" pitchFamily="18" charset="0"/>
              <a:cs typeface="Times New Roman"/>
            </a:rPr>
            <a:t>setzen</a:t>
          </a:r>
          <a:r>
            <a:rPr lang="en-US" sz="1200">
              <a:effectLst/>
              <a:latin typeface="Calibri"/>
              <a:ea typeface="Times New Roman" panose="02020603050405020304" pitchFamily="18" charset="0"/>
              <a:cs typeface="Times New Roman"/>
            </a:rPr>
            <a:t>, </a:t>
          </a:r>
        </a:p>
        <a:p>
          <a:r>
            <a:rPr lang="en-US" sz="1200" err="1">
              <a:effectLst/>
              <a:latin typeface="Calibri"/>
              <a:cs typeface="Times New Roman"/>
            </a:rPr>
            <a:t>Effektive</a:t>
          </a:r>
          <a:r>
            <a:rPr lang="en-US" sz="1200">
              <a:effectLst/>
              <a:latin typeface="Calibri"/>
              <a:cs typeface="Times New Roman"/>
            </a:rPr>
            <a:t> </a:t>
          </a:r>
          <a:r>
            <a:rPr lang="en-US" sz="1200" err="1">
              <a:effectLst/>
              <a:latin typeface="Calibri"/>
              <a:cs typeface="Times New Roman"/>
            </a:rPr>
            <a:t>Teamführung</a:t>
          </a:r>
          <a:r>
            <a:rPr lang="en-US" sz="1200">
              <a:effectLst/>
              <a:latin typeface="Calibri"/>
              <a:cs typeface="Times New Roman"/>
            </a:rPr>
            <a:t>,</a:t>
          </a:r>
        </a:p>
        <a:p>
          <a:r>
            <a:rPr lang="en-US" sz="1200" err="1">
              <a:effectLst/>
              <a:latin typeface="Calibri"/>
              <a:cs typeface="Times New Roman"/>
            </a:rPr>
            <a:t>Problemanalyse</a:t>
          </a:r>
          <a:r>
            <a:rPr lang="en-US" sz="1200">
              <a:effectLst/>
              <a:latin typeface="Calibri"/>
              <a:cs typeface="Times New Roman"/>
            </a:rPr>
            <a:t>- und </a:t>
          </a:r>
          <a:r>
            <a:rPr lang="en-US" sz="1200" err="1">
              <a:effectLst/>
              <a:latin typeface="Calibri"/>
              <a:cs typeface="Times New Roman"/>
            </a:rPr>
            <a:t>Problemlösungsfähigkeit</a:t>
          </a:r>
          <a:endParaRPr lang="en-US" sz="1200"/>
        </a:p>
      </dgm:t>
    </dgm:pt>
    <dgm:pt modelId="{74D5829B-E109-4CF7-973E-A3136CA906AC}" type="parTrans" cxnId="{20C1F29F-965E-40B7-8A39-2AD62FEA5426}">
      <dgm:prSet/>
      <dgm:spPr/>
      <dgm:t>
        <a:bodyPr/>
        <a:lstStyle/>
        <a:p>
          <a:endParaRPr lang="de-DE"/>
        </a:p>
      </dgm:t>
    </dgm:pt>
    <dgm:pt modelId="{D273CA87-2AE0-4ED2-BDD4-511DFD8BADD6}" type="sibTrans" cxnId="{20C1F29F-965E-40B7-8A39-2AD62FEA5426}">
      <dgm:prSet/>
      <dgm:spPr/>
      <dgm:t>
        <a:bodyPr/>
        <a:lstStyle/>
        <a:p>
          <a:endParaRPr lang="de-DE"/>
        </a:p>
      </dgm:t>
    </dgm:pt>
    <dgm:pt modelId="{C08FAB27-F46E-41AC-B3CB-75634F1DDF44}">
      <dgm:prSet phldrT="[Text]"/>
      <dgm:spPr/>
      <dgm:t>
        <a:bodyPr/>
        <a:lstStyle/>
        <a:p>
          <a:r>
            <a:rPr lang="en-US" err="1">
              <a:effectLst/>
              <a:latin typeface="Calibri"/>
              <a:ea typeface="Times New Roman" panose="02020603050405020304" pitchFamily="18" charset="0"/>
              <a:cs typeface="Times New Roman"/>
            </a:rPr>
            <a:t>Anweisungen</a:t>
          </a:r>
          <a:r>
            <a:rPr lang="en-US">
              <a:effectLst/>
              <a:latin typeface="Calibri"/>
              <a:ea typeface="Times New Roman" panose="02020603050405020304" pitchFamily="18" charset="0"/>
              <a:cs typeface="Times New Roman"/>
            </a:rPr>
            <a:t> des </a:t>
          </a:r>
          <a:r>
            <a:rPr lang="en-US" err="1">
              <a:effectLst/>
              <a:latin typeface="Calibri"/>
              <a:ea typeface="Times New Roman" panose="02020603050405020304" pitchFamily="18" charset="0"/>
              <a:cs typeface="Times New Roman"/>
            </a:rPr>
            <a:t>mittleren</a:t>
          </a:r>
          <a:r>
            <a:rPr lang="en-US">
              <a:effectLst/>
              <a:latin typeface="Calibri"/>
              <a:ea typeface="Times New Roman" panose="02020603050405020304" pitchFamily="18" charset="0"/>
              <a:cs typeface="Times New Roman"/>
            </a:rPr>
            <a:t> Managements </a:t>
          </a:r>
          <a:r>
            <a:rPr lang="en-US" err="1">
              <a:effectLst/>
              <a:latin typeface="Calibri"/>
              <a:ea typeface="Times New Roman" panose="02020603050405020304" pitchFamily="18" charset="0"/>
              <a:cs typeface="Times New Roman"/>
            </a:rPr>
            <a:t>umsetzen</a:t>
          </a:r>
          <a:r>
            <a:rPr lang="en-US">
              <a:effectLst/>
              <a:latin typeface="Calibri"/>
              <a:ea typeface="Times New Roman" panose="02020603050405020304" pitchFamily="18" charset="0"/>
              <a:cs typeface="Times New Roman"/>
            </a:rPr>
            <a:t> und </a:t>
          </a:r>
          <a:r>
            <a:rPr lang="en-US" err="1">
              <a:effectLst/>
              <a:latin typeface="Calibri"/>
              <a:ea typeface="Times New Roman" panose="02020603050405020304" pitchFamily="18" charset="0"/>
              <a:cs typeface="Times New Roman"/>
            </a:rPr>
            <a:t>sicherzustellen</a:t>
          </a:r>
          <a:endParaRPr lang="en-US">
            <a:effectLst/>
            <a:latin typeface="Calibri"/>
            <a:ea typeface="Times New Roman" panose="02020603050405020304" pitchFamily="18" charset="0"/>
            <a:cs typeface="Times New Roman"/>
          </a:endParaRPr>
        </a:p>
        <a:p>
          <a:r>
            <a:rPr lang="en-US" err="1"/>
            <a:t>Effektives</a:t>
          </a:r>
          <a:r>
            <a:rPr lang="en-US"/>
            <a:t> Teamwork </a:t>
          </a:r>
        </a:p>
        <a:p>
          <a:r>
            <a:rPr lang="en-US" err="1"/>
            <a:t>Hohe</a:t>
          </a:r>
          <a:r>
            <a:rPr lang="en-US"/>
            <a:t> </a:t>
          </a:r>
          <a:r>
            <a:rPr lang="en-US" err="1"/>
            <a:t>Flexibilität</a:t>
          </a:r>
          <a:endParaRPr lang="en-US"/>
        </a:p>
      </dgm:t>
    </dgm:pt>
    <dgm:pt modelId="{DC7A2ECB-0C83-438D-926A-A75B8DDA5720}" type="parTrans" cxnId="{C0CC45FD-1BB9-42B2-8701-214C02E27CCB}">
      <dgm:prSet/>
      <dgm:spPr/>
      <dgm:t>
        <a:bodyPr/>
        <a:lstStyle/>
        <a:p>
          <a:endParaRPr lang="de-DE"/>
        </a:p>
      </dgm:t>
    </dgm:pt>
    <dgm:pt modelId="{253A5F9A-F51A-4F62-9EC5-52FB6FA71E95}" type="sibTrans" cxnId="{C0CC45FD-1BB9-42B2-8701-214C02E27CCB}">
      <dgm:prSet/>
      <dgm:spPr/>
      <dgm:t>
        <a:bodyPr/>
        <a:lstStyle/>
        <a:p>
          <a:endParaRPr lang="de-DE"/>
        </a:p>
      </dgm:t>
    </dgm:pt>
    <dgm:pt modelId="{90A4524B-D976-4419-A1BA-548CD79E381F}" type="pres">
      <dgm:prSet presAssocID="{3C04F8C9-2B29-4334-99D3-A508F038DDCB}" presName="Name0" presStyleCnt="0">
        <dgm:presLayoutVars>
          <dgm:dir/>
          <dgm:animLvl val="lvl"/>
          <dgm:resizeHandles val="exact"/>
        </dgm:presLayoutVars>
      </dgm:prSet>
      <dgm:spPr/>
    </dgm:pt>
    <dgm:pt modelId="{9B2FAB75-F9FB-43DC-B80C-F982E500BBDB}" type="pres">
      <dgm:prSet presAssocID="{FF1936A6-E680-4348-BC06-C8A926F84EE7}" presName="Name8" presStyleCnt="0"/>
      <dgm:spPr/>
    </dgm:pt>
    <dgm:pt modelId="{721F1178-925F-41EB-B98E-CCC2332E49B3}" type="pres">
      <dgm:prSet presAssocID="{FF1936A6-E680-4348-BC06-C8A926F84EE7}" presName="level" presStyleLbl="node1" presStyleIdx="0" presStyleCnt="3" custScaleY="238745">
        <dgm:presLayoutVars>
          <dgm:chMax val="1"/>
          <dgm:bulletEnabled val="1"/>
        </dgm:presLayoutVars>
      </dgm:prSet>
      <dgm:spPr/>
    </dgm:pt>
    <dgm:pt modelId="{D6A49378-51E8-495F-B8A4-2AC6F7F728D9}" type="pres">
      <dgm:prSet presAssocID="{FF1936A6-E680-4348-BC06-C8A926F84EE7}" presName="levelTx" presStyleLbl="revTx" presStyleIdx="0" presStyleCnt="0">
        <dgm:presLayoutVars>
          <dgm:chMax val="1"/>
          <dgm:bulletEnabled val="1"/>
        </dgm:presLayoutVars>
      </dgm:prSet>
      <dgm:spPr/>
    </dgm:pt>
    <dgm:pt modelId="{E62581BE-9354-4753-845F-941466BF7A6D}" type="pres">
      <dgm:prSet presAssocID="{B24E9381-6B20-49F1-A8CC-A2AE876A4051}" presName="Name8" presStyleCnt="0"/>
      <dgm:spPr/>
    </dgm:pt>
    <dgm:pt modelId="{C35ED2EC-F13D-4C8C-A48E-FCD8909FFFAA}" type="pres">
      <dgm:prSet presAssocID="{B24E9381-6B20-49F1-A8CC-A2AE876A4051}" presName="level" presStyleLbl="node1" presStyleIdx="1" presStyleCnt="3">
        <dgm:presLayoutVars>
          <dgm:chMax val="1"/>
          <dgm:bulletEnabled val="1"/>
        </dgm:presLayoutVars>
      </dgm:prSet>
      <dgm:spPr/>
    </dgm:pt>
    <dgm:pt modelId="{F5110684-4801-4295-A6F0-019260DD3766}" type="pres">
      <dgm:prSet presAssocID="{B24E9381-6B20-49F1-A8CC-A2AE876A4051}" presName="levelTx" presStyleLbl="revTx" presStyleIdx="0" presStyleCnt="0">
        <dgm:presLayoutVars>
          <dgm:chMax val="1"/>
          <dgm:bulletEnabled val="1"/>
        </dgm:presLayoutVars>
      </dgm:prSet>
      <dgm:spPr/>
    </dgm:pt>
    <dgm:pt modelId="{0EBC3800-8AAC-478A-AC8E-7936F572A85F}" type="pres">
      <dgm:prSet presAssocID="{C08FAB27-F46E-41AC-B3CB-75634F1DDF44}" presName="Name8" presStyleCnt="0"/>
      <dgm:spPr/>
    </dgm:pt>
    <dgm:pt modelId="{A9758F97-2C9D-4F74-9F73-B25DD5BF4754}" type="pres">
      <dgm:prSet presAssocID="{C08FAB27-F46E-41AC-B3CB-75634F1DDF44}" presName="level" presStyleLbl="node1" presStyleIdx="2" presStyleCnt="3">
        <dgm:presLayoutVars>
          <dgm:chMax val="1"/>
          <dgm:bulletEnabled val="1"/>
        </dgm:presLayoutVars>
      </dgm:prSet>
      <dgm:spPr/>
    </dgm:pt>
    <dgm:pt modelId="{7CD0E57A-30FF-425D-8EC9-4318D93BE307}" type="pres">
      <dgm:prSet presAssocID="{C08FAB27-F46E-41AC-B3CB-75634F1DDF44}" presName="levelTx" presStyleLbl="revTx" presStyleIdx="0" presStyleCnt="0">
        <dgm:presLayoutVars>
          <dgm:chMax val="1"/>
          <dgm:bulletEnabled val="1"/>
        </dgm:presLayoutVars>
      </dgm:prSet>
      <dgm:spPr/>
    </dgm:pt>
  </dgm:ptLst>
  <dgm:cxnLst>
    <dgm:cxn modelId="{070EB437-AAA7-4B26-BF1C-1F82053062D0}" type="presOf" srcId="{FF1936A6-E680-4348-BC06-C8A926F84EE7}" destId="{D6A49378-51E8-495F-B8A4-2AC6F7F728D9}" srcOrd="1" destOrd="0" presId="urn:microsoft.com/office/officeart/2005/8/layout/pyramid1"/>
    <dgm:cxn modelId="{9CE64D5C-1C78-4A69-A46B-F67F7F7A5384}" type="presOf" srcId="{C08FAB27-F46E-41AC-B3CB-75634F1DDF44}" destId="{A9758F97-2C9D-4F74-9F73-B25DD5BF4754}" srcOrd="0" destOrd="0" presId="urn:microsoft.com/office/officeart/2005/8/layout/pyramid1"/>
    <dgm:cxn modelId="{D2C5346E-DA11-4FAA-AE63-DE71C27CD5CE}" srcId="{3C04F8C9-2B29-4334-99D3-A508F038DDCB}" destId="{FF1936A6-E680-4348-BC06-C8A926F84EE7}" srcOrd="0" destOrd="0" parTransId="{433A4AC1-01DF-4C86-8E08-8C12FED2201D}" sibTransId="{B6EA0A02-BB5C-4407-97CA-A52A7DCB35CF}"/>
    <dgm:cxn modelId="{8F9A1B96-031D-4849-92CC-767C7CF2F1CE}" type="presOf" srcId="{B24E9381-6B20-49F1-A8CC-A2AE876A4051}" destId="{F5110684-4801-4295-A6F0-019260DD3766}" srcOrd="1" destOrd="0" presId="urn:microsoft.com/office/officeart/2005/8/layout/pyramid1"/>
    <dgm:cxn modelId="{3D514F9A-B420-4A1C-A8D6-A0A18752906A}" type="presOf" srcId="{3C04F8C9-2B29-4334-99D3-A508F038DDCB}" destId="{90A4524B-D976-4419-A1BA-548CD79E381F}" srcOrd="0" destOrd="0" presId="urn:microsoft.com/office/officeart/2005/8/layout/pyramid1"/>
    <dgm:cxn modelId="{20C1F29F-965E-40B7-8A39-2AD62FEA5426}" srcId="{3C04F8C9-2B29-4334-99D3-A508F038DDCB}" destId="{B24E9381-6B20-49F1-A8CC-A2AE876A4051}" srcOrd="1" destOrd="0" parTransId="{74D5829B-E109-4CF7-973E-A3136CA906AC}" sibTransId="{D273CA87-2AE0-4ED2-BDD4-511DFD8BADD6}"/>
    <dgm:cxn modelId="{5B0472E5-4280-4170-887D-43CE4C46E947}" type="presOf" srcId="{FF1936A6-E680-4348-BC06-C8A926F84EE7}" destId="{721F1178-925F-41EB-B98E-CCC2332E49B3}" srcOrd="0" destOrd="0" presId="urn:microsoft.com/office/officeart/2005/8/layout/pyramid1"/>
    <dgm:cxn modelId="{465B3EF2-E73B-4909-91F9-5708F914A5C0}" type="presOf" srcId="{B24E9381-6B20-49F1-A8CC-A2AE876A4051}" destId="{C35ED2EC-F13D-4C8C-A48E-FCD8909FFFAA}" srcOrd="0" destOrd="0" presId="urn:microsoft.com/office/officeart/2005/8/layout/pyramid1"/>
    <dgm:cxn modelId="{BFCAB0FC-59B7-4F01-9BF3-F51732004B1D}" type="presOf" srcId="{C08FAB27-F46E-41AC-B3CB-75634F1DDF44}" destId="{7CD0E57A-30FF-425D-8EC9-4318D93BE307}" srcOrd="1" destOrd="0" presId="urn:microsoft.com/office/officeart/2005/8/layout/pyramid1"/>
    <dgm:cxn modelId="{C0CC45FD-1BB9-42B2-8701-214C02E27CCB}" srcId="{3C04F8C9-2B29-4334-99D3-A508F038DDCB}" destId="{C08FAB27-F46E-41AC-B3CB-75634F1DDF44}" srcOrd="2" destOrd="0" parTransId="{DC7A2ECB-0C83-438D-926A-A75B8DDA5720}" sibTransId="{253A5F9A-F51A-4F62-9EC5-52FB6FA71E95}"/>
    <dgm:cxn modelId="{4F1C5BF7-C6CD-4A1C-8F01-506BFEE9066D}" type="presParOf" srcId="{90A4524B-D976-4419-A1BA-548CD79E381F}" destId="{9B2FAB75-F9FB-43DC-B80C-F982E500BBDB}" srcOrd="0" destOrd="0" presId="urn:microsoft.com/office/officeart/2005/8/layout/pyramid1"/>
    <dgm:cxn modelId="{7BDD0A9E-62DA-4E5D-BD58-F707C716C998}" type="presParOf" srcId="{9B2FAB75-F9FB-43DC-B80C-F982E500BBDB}" destId="{721F1178-925F-41EB-B98E-CCC2332E49B3}" srcOrd="0" destOrd="0" presId="urn:microsoft.com/office/officeart/2005/8/layout/pyramid1"/>
    <dgm:cxn modelId="{AA7D6263-1D85-45DD-8A45-A26A939A82B3}" type="presParOf" srcId="{9B2FAB75-F9FB-43DC-B80C-F982E500BBDB}" destId="{D6A49378-51E8-495F-B8A4-2AC6F7F728D9}" srcOrd="1" destOrd="0" presId="urn:microsoft.com/office/officeart/2005/8/layout/pyramid1"/>
    <dgm:cxn modelId="{5B282C8E-A5C1-4331-ADF5-E8C7AA57E636}" type="presParOf" srcId="{90A4524B-D976-4419-A1BA-548CD79E381F}" destId="{E62581BE-9354-4753-845F-941466BF7A6D}" srcOrd="1" destOrd="0" presId="urn:microsoft.com/office/officeart/2005/8/layout/pyramid1"/>
    <dgm:cxn modelId="{786B584F-B623-4C15-B644-E7FFB9DB86EF}" type="presParOf" srcId="{E62581BE-9354-4753-845F-941466BF7A6D}" destId="{C35ED2EC-F13D-4C8C-A48E-FCD8909FFFAA}" srcOrd="0" destOrd="0" presId="urn:microsoft.com/office/officeart/2005/8/layout/pyramid1"/>
    <dgm:cxn modelId="{E666AF3F-1D86-4D3D-812E-840F03A53C44}" type="presParOf" srcId="{E62581BE-9354-4753-845F-941466BF7A6D}" destId="{F5110684-4801-4295-A6F0-019260DD3766}" srcOrd="1" destOrd="0" presId="urn:microsoft.com/office/officeart/2005/8/layout/pyramid1"/>
    <dgm:cxn modelId="{02266A47-A7D1-429D-8611-CE2566C676E6}" type="presParOf" srcId="{90A4524B-D976-4419-A1BA-548CD79E381F}" destId="{0EBC3800-8AAC-478A-AC8E-7936F572A85F}" srcOrd="2" destOrd="0" presId="urn:microsoft.com/office/officeart/2005/8/layout/pyramid1"/>
    <dgm:cxn modelId="{2F613B31-F53C-413C-A825-1C2B153A2355}" type="presParOf" srcId="{0EBC3800-8AAC-478A-AC8E-7936F572A85F}" destId="{A9758F97-2C9D-4F74-9F73-B25DD5BF4754}" srcOrd="0" destOrd="0" presId="urn:microsoft.com/office/officeart/2005/8/layout/pyramid1"/>
    <dgm:cxn modelId="{62DB2534-523D-4AE9-9660-0BBAEC9388E5}" type="presParOf" srcId="{0EBC3800-8AAC-478A-AC8E-7936F572A85F}" destId="{7CD0E57A-30FF-425D-8EC9-4318D93BE307}" srcOrd="1" destOrd="0" presId="urn:microsoft.com/office/officeart/2005/8/layout/pyramid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EEE70AD-C199-41BD-9C0F-C0FF607A92E8}" type="doc">
      <dgm:prSet loTypeId="urn:microsoft.com/office/officeart/2005/8/layout/matrix1" loCatId="matrix" qsTypeId="urn:microsoft.com/office/officeart/2005/8/quickstyle/simple1" qsCatId="simple" csTypeId="urn:microsoft.com/office/officeart/2005/8/colors/accent0_1" csCatId="mainScheme" phldr="1"/>
      <dgm:spPr/>
      <dgm:t>
        <a:bodyPr/>
        <a:lstStyle/>
        <a:p>
          <a:endParaRPr lang="de-DE"/>
        </a:p>
      </dgm:t>
    </dgm:pt>
    <dgm:pt modelId="{234DA1AB-B04B-4971-A951-E980CA2E3667}">
      <dgm:prSet phldrT="[Text]"/>
      <dgm:spPr/>
      <dgm:t>
        <a:bodyPr/>
        <a:lstStyle/>
        <a:p>
          <a:r>
            <a:rPr lang="en-US" b="1" u="none" err="1"/>
            <a:t>Kreatives</a:t>
          </a:r>
          <a:r>
            <a:rPr lang="en-US" b="1" u="none"/>
            <a:t> Management </a:t>
          </a:r>
          <a:r>
            <a:rPr lang="en-US" b="1" u="none" err="1"/>
            <a:t>bei</a:t>
          </a:r>
          <a:r>
            <a:rPr lang="en-US" b="1" u="none"/>
            <a:t> UBER</a:t>
          </a:r>
        </a:p>
      </dgm:t>
    </dgm:pt>
    <dgm:pt modelId="{30D5F5AB-CA91-4AC3-BC1E-46282D453472}" type="parTrans" cxnId="{BFB2049A-380A-4D41-8E3E-DF2653B2E0FA}">
      <dgm:prSet/>
      <dgm:spPr/>
      <dgm:t>
        <a:bodyPr/>
        <a:lstStyle/>
        <a:p>
          <a:endParaRPr lang="de-DE" u="none"/>
        </a:p>
      </dgm:t>
    </dgm:pt>
    <dgm:pt modelId="{1DF3C03C-D27D-44E8-B19D-FFA3383776AA}" type="sibTrans" cxnId="{BFB2049A-380A-4D41-8E3E-DF2653B2E0FA}">
      <dgm:prSet/>
      <dgm:spPr/>
      <dgm:t>
        <a:bodyPr/>
        <a:lstStyle/>
        <a:p>
          <a:endParaRPr lang="de-DE" u="none"/>
        </a:p>
      </dgm:t>
    </dgm:pt>
    <dgm:pt modelId="{6120CF01-702A-4403-B4A3-46FC45E60480}">
      <dgm:prSet phldrT="[Text]"/>
      <dgm:spPr/>
      <dgm:t>
        <a:bodyPr/>
        <a:lstStyle/>
        <a:p>
          <a:pPr algn="ctr"/>
          <a:r>
            <a:rPr lang="en-US" b="1" u="none">
              <a:latin typeface="Calibri"/>
              <a:ea typeface="Calibri"/>
              <a:cs typeface="Calibri"/>
            </a:rPr>
            <a:t>Hardwire creativity and innovation in daily practices</a:t>
          </a:r>
          <a:endParaRPr lang="en-US" b="1" u="none">
            <a:latin typeface="Calibri"/>
            <a:cs typeface="Calibri"/>
          </a:endParaRPr>
        </a:p>
        <a:p>
          <a:pPr algn="l"/>
          <a:r>
            <a:rPr lang="en-US" b="1" u="none" err="1">
              <a:latin typeface="Calibri"/>
              <a:cs typeface="Calibri"/>
            </a:rPr>
            <a:t>Problemstellung</a:t>
          </a:r>
          <a:r>
            <a:rPr lang="en-US" b="1" u="none">
              <a:latin typeface="Calibri"/>
              <a:cs typeface="Calibri"/>
            </a:rPr>
            <a:t>:</a:t>
          </a:r>
        </a:p>
        <a:p>
          <a:pPr algn="l"/>
          <a:r>
            <a:rPr lang="en-US" b="0" err="1">
              <a:solidFill>
                <a:srgbClr val="0065AD"/>
              </a:solidFill>
              <a:ea typeface="+mn-lt"/>
              <a:cs typeface="+mn-lt"/>
            </a:rPr>
            <a:t>Finanzieller</a:t>
          </a:r>
          <a:r>
            <a:rPr lang="en-US" b="0">
              <a:solidFill>
                <a:srgbClr val="0065AD"/>
              </a:solidFill>
              <a:ea typeface="+mn-lt"/>
              <a:cs typeface="+mn-lt"/>
            </a:rPr>
            <a:t> </a:t>
          </a:r>
          <a:r>
            <a:rPr lang="en-US" b="0" err="1">
              <a:solidFill>
                <a:srgbClr val="0065AD"/>
              </a:solidFill>
              <a:ea typeface="+mn-lt"/>
              <a:cs typeface="+mn-lt"/>
            </a:rPr>
            <a:t>Druck</a:t>
          </a:r>
          <a:r>
            <a:rPr lang="en-US" b="0">
              <a:solidFill>
                <a:srgbClr val="0065AD"/>
              </a:solidFill>
              <a:ea typeface="+mn-lt"/>
              <a:cs typeface="+mn-lt"/>
            </a:rPr>
            <a:t>, Disruption der Branche, </a:t>
          </a:r>
          <a:r>
            <a:rPr lang="en-US" b="0" err="1">
              <a:solidFill>
                <a:srgbClr val="0065AD"/>
              </a:solidFill>
              <a:ea typeface="+mn-lt"/>
              <a:cs typeface="+mn-lt"/>
            </a:rPr>
            <a:t>intensiver</a:t>
          </a:r>
          <a:r>
            <a:rPr lang="en-US" b="0">
              <a:solidFill>
                <a:srgbClr val="0065AD"/>
              </a:solidFill>
              <a:ea typeface="+mn-lt"/>
              <a:cs typeface="+mn-lt"/>
            </a:rPr>
            <a:t> </a:t>
          </a:r>
          <a:r>
            <a:rPr lang="en-US" b="0" err="1">
              <a:solidFill>
                <a:srgbClr val="0065AD"/>
              </a:solidFill>
              <a:ea typeface="+mn-lt"/>
              <a:cs typeface="+mn-lt"/>
            </a:rPr>
            <a:t>Wettbewerb</a:t>
          </a:r>
          <a:r>
            <a:rPr lang="en-US" b="0">
              <a:solidFill>
                <a:srgbClr val="0065AD"/>
              </a:solidFill>
              <a:ea typeface="+mn-lt"/>
              <a:cs typeface="+mn-lt"/>
            </a:rPr>
            <a:t> und </a:t>
          </a:r>
          <a:r>
            <a:rPr lang="en-US" b="0" err="1">
              <a:solidFill>
                <a:srgbClr val="0065AD"/>
              </a:solidFill>
              <a:ea typeface="+mn-lt"/>
              <a:cs typeface="+mn-lt"/>
            </a:rPr>
            <a:t>kulturelle</a:t>
          </a:r>
          <a:r>
            <a:rPr lang="en-US" b="0">
              <a:solidFill>
                <a:srgbClr val="0065AD"/>
              </a:solidFill>
              <a:ea typeface="+mn-lt"/>
              <a:cs typeface="+mn-lt"/>
            </a:rPr>
            <a:t> </a:t>
          </a:r>
          <a:r>
            <a:rPr lang="en-US" b="0" err="1">
              <a:solidFill>
                <a:srgbClr val="0065AD"/>
              </a:solidFill>
              <a:ea typeface="+mn-lt"/>
              <a:cs typeface="+mn-lt"/>
            </a:rPr>
            <a:t>Herausforderungen</a:t>
          </a:r>
          <a:endParaRPr lang="en-US" b="0">
            <a:solidFill>
              <a:srgbClr val="0065AD"/>
            </a:solidFill>
            <a:ea typeface="+mn-lt"/>
            <a:cs typeface="+mn-lt"/>
          </a:endParaRPr>
        </a:p>
        <a:p>
          <a:pPr algn="l"/>
          <a:r>
            <a:rPr lang="en-US" b="1" err="1">
              <a:solidFill>
                <a:schemeClr val="tx1"/>
              </a:solidFill>
              <a:latin typeface="+mn-lt"/>
              <a:ea typeface="+mn-lt"/>
              <a:cs typeface="+mn-lt"/>
            </a:rPr>
            <a:t>Kreatives</a:t>
          </a:r>
          <a:r>
            <a:rPr lang="en-US" b="1">
              <a:solidFill>
                <a:schemeClr val="tx1"/>
              </a:solidFill>
              <a:latin typeface="+mn-lt"/>
              <a:ea typeface="+mn-lt"/>
              <a:cs typeface="+mn-lt"/>
            </a:rPr>
            <a:t> Element</a:t>
          </a:r>
          <a:r>
            <a:rPr lang="en-US" b="0">
              <a:solidFill>
                <a:srgbClr val="0065AD"/>
              </a:solidFill>
              <a:latin typeface="+mn-lt"/>
              <a:ea typeface="+mn-lt"/>
              <a:cs typeface="+mn-lt"/>
            </a:rPr>
            <a:t>:</a:t>
          </a:r>
        </a:p>
        <a:p>
          <a:pPr algn="l"/>
          <a:r>
            <a:rPr lang="en-US" b="0" err="1">
              <a:solidFill>
                <a:srgbClr val="0065AD"/>
              </a:solidFill>
              <a:ea typeface="+mn-lt"/>
              <a:cs typeface="+mn-lt"/>
            </a:rPr>
            <a:t>Investitionen</a:t>
          </a:r>
          <a:r>
            <a:rPr lang="en-US" b="0">
              <a:solidFill>
                <a:srgbClr val="0065AD"/>
              </a:solidFill>
              <a:ea typeface="+mn-lt"/>
              <a:cs typeface="+mn-lt"/>
            </a:rPr>
            <a:t> in </a:t>
          </a:r>
          <a:r>
            <a:rPr lang="en-US" b="0" err="1">
              <a:solidFill>
                <a:srgbClr val="0065AD"/>
              </a:solidFill>
              <a:ea typeface="+mn-lt"/>
              <a:cs typeface="+mn-lt"/>
            </a:rPr>
            <a:t>Forschung</a:t>
          </a:r>
          <a:r>
            <a:rPr lang="en-US" b="0">
              <a:solidFill>
                <a:srgbClr val="0065AD"/>
              </a:solidFill>
              <a:ea typeface="+mn-lt"/>
              <a:cs typeface="+mn-lt"/>
            </a:rPr>
            <a:t> und </a:t>
          </a:r>
          <a:r>
            <a:rPr lang="en-US" b="0" err="1">
              <a:solidFill>
                <a:srgbClr val="0065AD"/>
              </a:solidFill>
              <a:ea typeface="+mn-lt"/>
              <a:cs typeface="+mn-lt"/>
            </a:rPr>
            <a:t>Entwicklung</a:t>
          </a:r>
          <a:r>
            <a:rPr lang="en-US" b="0">
              <a:solidFill>
                <a:srgbClr val="0065AD"/>
              </a:solidFill>
              <a:ea typeface="+mn-lt"/>
              <a:cs typeface="+mn-lt"/>
            </a:rPr>
            <a:t>, E-Autos und </a:t>
          </a:r>
          <a:r>
            <a:rPr lang="en-US" b="0" err="1">
              <a:solidFill>
                <a:srgbClr val="0065AD"/>
              </a:solidFill>
              <a:ea typeface="+mn-lt"/>
              <a:cs typeface="+mn-lt"/>
            </a:rPr>
            <a:t>neue</a:t>
          </a:r>
          <a:r>
            <a:rPr lang="en-US" b="0">
              <a:solidFill>
                <a:srgbClr val="0065AD"/>
              </a:solidFill>
              <a:ea typeface="+mn-lt"/>
              <a:cs typeface="+mn-lt"/>
            </a:rPr>
            <a:t> </a:t>
          </a:r>
          <a:r>
            <a:rPr lang="en-US" b="0" err="1">
              <a:solidFill>
                <a:srgbClr val="0065AD"/>
              </a:solidFill>
              <a:ea typeface="+mn-lt"/>
              <a:cs typeface="+mn-lt"/>
            </a:rPr>
            <a:t>Dienstleistungen</a:t>
          </a:r>
          <a:endParaRPr lang="en-US" b="0">
            <a:solidFill>
              <a:srgbClr val="0065AD"/>
            </a:solidFill>
            <a:ea typeface="+mn-lt"/>
            <a:cs typeface="+mn-lt"/>
          </a:endParaRPr>
        </a:p>
      </dgm:t>
    </dgm:pt>
    <dgm:pt modelId="{6813C053-DDC0-4F3F-B8A0-67FB0E25A166}" type="parTrans" cxnId="{DC23305B-4C63-4216-B776-5911B031D563}">
      <dgm:prSet/>
      <dgm:spPr/>
      <dgm:t>
        <a:bodyPr/>
        <a:lstStyle/>
        <a:p>
          <a:endParaRPr lang="de-DE" u="none"/>
        </a:p>
      </dgm:t>
    </dgm:pt>
    <dgm:pt modelId="{ED09A280-02A0-412C-B501-E77C996F703F}" type="sibTrans" cxnId="{DC23305B-4C63-4216-B776-5911B031D563}">
      <dgm:prSet/>
      <dgm:spPr/>
      <dgm:t>
        <a:bodyPr/>
        <a:lstStyle/>
        <a:p>
          <a:endParaRPr lang="de-DE" u="none"/>
        </a:p>
      </dgm:t>
    </dgm:pt>
    <dgm:pt modelId="{0ACF8BEA-48BD-4FD7-8822-0CC24C0FD95D}">
      <dgm:prSet phldrT="[Text]"/>
      <dgm:spPr/>
      <dgm:t>
        <a:bodyPr/>
        <a:lstStyle/>
        <a:p>
          <a:pPr algn="ctr"/>
          <a:r>
            <a:rPr lang="en-US" b="1" u="none">
              <a:ea typeface="+mn-lt"/>
              <a:cs typeface="+mn-lt"/>
            </a:rPr>
            <a:t>Adapt or die</a:t>
          </a:r>
        </a:p>
        <a:p>
          <a:pPr algn="l"/>
          <a:r>
            <a:rPr lang="en-US" b="1" u="none" err="1">
              <a:latin typeface="Calibri"/>
              <a:cs typeface="Calibri"/>
            </a:rPr>
            <a:t>Problemstellung</a:t>
          </a:r>
          <a:r>
            <a:rPr lang="en-US" b="1" u="none">
              <a:latin typeface="Calibri"/>
              <a:cs typeface="Calibri"/>
            </a:rPr>
            <a:t>:</a:t>
          </a:r>
        </a:p>
        <a:p>
          <a:pPr algn="l"/>
          <a:r>
            <a:rPr lang="en-US" u="none"/>
            <a:t>Auf </a:t>
          </a:r>
          <a:r>
            <a:rPr lang="en-US" u="none" err="1"/>
            <a:t>Verändernde</a:t>
          </a:r>
          <a:r>
            <a:rPr lang="en-US" u="none"/>
            <a:t> </a:t>
          </a:r>
          <a:r>
            <a:rPr lang="en-US" u="none" err="1"/>
            <a:t>Anforderungen</a:t>
          </a:r>
          <a:r>
            <a:rPr lang="en-US" u="none"/>
            <a:t> </a:t>
          </a:r>
          <a:r>
            <a:rPr lang="en-US" u="none" err="1"/>
            <a:t>reagieren</a:t>
          </a:r>
          <a:r>
            <a:rPr lang="en-US" u="none"/>
            <a:t> und </a:t>
          </a:r>
          <a:r>
            <a:rPr lang="en-US" u="none" err="1"/>
            <a:t>Produkte</a:t>
          </a:r>
          <a:r>
            <a:rPr lang="en-US" u="none"/>
            <a:t> </a:t>
          </a:r>
          <a:r>
            <a:rPr lang="en-US" u="none" err="1"/>
            <a:t>verbessern</a:t>
          </a:r>
          <a:r>
            <a:rPr lang="en-US" u="none"/>
            <a:t>, </a:t>
          </a:r>
          <a:r>
            <a:rPr lang="en-US" u="none" err="1"/>
            <a:t>zu</a:t>
          </a:r>
          <a:r>
            <a:rPr lang="en-US" u="none"/>
            <a:t> </a:t>
          </a:r>
          <a:r>
            <a:rPr lang="en-US" u="none" err="1"/>
            <a:t>häufige</a:t>
          </a:r>
          <a:r>
            <a:rPr lang="en-US" u="none"/>
            <a:t> </a:t>
          </a:r>
          <a:r>
            <a:rPr lang="en-US" u="none" err="1"/>
            <a:t>oder</a:t>
          </a:r>
          <a:r>
            <a:rPr lang="en-US" u="none"/>
            <a:t> </a:t>
          </a:r>
          <a:r>
            <a:rPr lang="en-US" u="none" err="1"/>
            <a:t>zu</a:t>
          </a:r>
          <a:r>
            <a:rPr lang="en-US" u="none"/>
            <a:t> schnell </a:t>
          </a:r>
          <a:r>
            <a:rPr lang="en-US" u="none" err="1"/>
            <a:t>Veränderungen</a:t>
          </a:r>
          <a:r>
            <a:rPr lang="en-US" u="none"/>
            <a:t> </a:t>
          </a:r>
          <a:r>
            <a:rPr lang="en-US" u="none" err="1"/>
            <a:t>könnten</a:t>
          </a:r>
          <a:r>
            <a:rPr lang="en-US" u="none"/>
            <a:t> das </a:t>
          </a:r>
          <a:r>
            <a:rPr lang="en-US" u="none" err="1"/>
            <a:t>Kundenerlebnis</a:t>
          </a:r>
          <a:r>
            <a:rPr lang="en-US" u="none"/>
            <a:t> </a:t>
          </a:r>
          <a:r>
            <a:rPr lang="en-US" u="none" err="1"/>
            <a:t>beeinträchtigen</a:t>
          </a:r>
          <a:endParaRPr lang="en-US" u="none"/>
        </a:p>
        <a:p>
          <a:pPr algn="l"/>
          <a:r>
            <a:rPr lang="en-US" b="1" err="1">
              <a:solidFill>
                <a:schemeClr val="tx1"/>
              </a:solidFill>
              <a:latin typeface="+mn-lt"/>
              <a:ea typeface="+mn-lt"/>
              <a:cs typeface="+mn-lt"/>
            </a:rPr>
            <a:t>Kreatives</a:t>
          </a:r>
          <a:r>
            <a:rPr lang="en-US" b="1">
              <a:solidFill>
                <a:schemeClr val="tx1"/>
              </a:solidFill>
              <a:latin typeface="+mn-lt"/>
              <a:ea typeface="+mn-lt"/>
              <a:cs typeface="+mn-lt"/>
            </a:rPr>
            <a:t> Element</a:t>
          </a:r>
          <a:r>
            <a:rPr lang="en-US" b="0">
              <a:solidFill>
                <a:srgbClr val="0065AD"/>
              </a:solidFill>
              <a:latin typeface="+mn-lt"/>
              <a:ea typeface="+mn-lt"/>
              <a:cs typeface="+mn-lt"/>
            </a:rPr>
            <a:t>:</a:t>
          </a:r>
        </a:p>
        <a:p>
          <a:pPr algn="l"/>
          <a:r>
            <a:rPr lang="en-US" b="0" u="none" err="1">
              <a:solidFill>
                <a:srgbClr val="0065AD"/>
              </a:solidFill>
              <a:latin typeface="+mn-lt"/>
              <a:ea typeface="+mn-lt"/>
              <a:cs typeface="+mn-lt"/>
            </a:rPr>
            <a:t>Analyse</a:t>
          </a:r>
          <a:r>
            <a:rPr lang="en-US" b="0" u="none">
              <a:solidFill>
                <a:srgbClr val="0065AD"/>
              </a:solidFill>
              <a:latin typeface="+mn-lt"/>
              <a:ea typeface="+mn-lt"/>
              <a:cs typeface="+mn-lt"/>
            </a:rPr>
            <a:t> und </a:t>
          </a:r>
          <a:r>
            <a:rPr lang="en-US" b="0" u="none" err="1">
              <a:solidFill>
                <a:srgbClr val="0065AD"/>
              </a:solidFill>
              <a:latin typeface="+mn-lt"/>
              <a:ea typeface="+mn-lt"/>
              <a:cs typeface="+mn-lt"/>
            </a:rPr>
            <a:t>Lernen</a:t>
          </a:r>
          <a:r>
            <a:rPr lang="en-US" b="0" u="none">
              <a:solidFill>
                <a:srgbClr val="0065AD"/>
              </a:solidFill>
              <a:latin typeface="+mn-lt"/>
              <a:ea typeface="+mn-lt"/>
              <a:cs typeface="+mn-lt"/>
            </a:rPr>
            <a:t> von </a:t>
          </a:r>
          <a:r>
            <a:rPr lang="en-US" b="0" u="none" err="1">
              <a:solidFill>
                <a:srgbClr val="0065AD"/>
              </a:solidFill>
              <a:latin typeface="+mn-lt"/>
              <a:ea typeface="+mn-lt"/>
              <a:cs typeface="+mn-lt"/>
            </a:rPr>
            <a:t>Marktsignalen</a:t>
          </a:r>
          <a:endParaRPr lang="en-US" u="none"/>
        </a:p>
      </dgm:t>
    </dgm:pt>
    <dgm:pt modelId="{3BBA6E66-6115-4A00-B77A-F2FAA751BD30}" type="parTrans" cxnId="{7A845ED8-4FF5-436C-A164-26549C42FDAA}">
      <dgm:prSet/>
      <dgm:spPr/>
      <dgm:t>
        <a:bodyPr/>
        <a:lstStyle/>
        <a:p>
          <a:endParaRPr lang="de-DE" u="none"/>
        </a:p>
      </dgm:t>
    </dgm:pt>
    <dgm:pt modelId="{5C41B557-5E90-44C1-8BF7-8A4EDB618FB5}" type="sibTrans" cxnId="{7A845ED8-4FF5-436C-A164-26549C42FDAA}">
      <dgm:prSet/>
      <dgm:spPr/>
      <dgm:t>
        <a:bodyPr/>
        <a:lstStyle/>
        <a:p>
          <a:endParaRPr lang="de-DE" u="none"/>
        </a:p>
      </dgm:t>
    </dgm:pt>
    <dgm:pt modelId="{FC4FF9BE-BA97-48D4-BC26-1D139D787FBE}">
      <dgm:prSet phldrT="[Text]"/>
      <dgm:spPr/>
      <dgm:t>
        <a:bodyPr/>
        <a:lstStyle/>
        <a:p>
          <a:pPr algn="ctr">
            <a:buNone/>
          </a:pPr>
          <a:r>
            <a:rPr lang="en-US" b="1" u="none">
              <a:ea typeface="+mn-lt"/>
              <a:cs typeface="+mn-lt"/>
            </a:rPr>
            <a:t>Become customer fanatics</a:t>
          </a:r>
        </a:p>
        <a:p>
          <a:pPr algn="l">
            <a:buNone/>
          </a:pPr>
          <a:r>
            <a:rPr lang="en-US" b="1" u="none" err="1">
              <a:latin typeface="Calibri"/>
              <a:cs typeface="Calibri"/>
            </a:rPr>
            <a:t>Fahrerperspektive</a:t>
          </a:r>
          <a:r>
            <a:rPr lang="en-US" b="1" u="none">
              <a:latin typeface="Calibri"/>
              <a:cs typeface="Calibri"/>
            </a:rPr>
            <a:t>:</a:t>
          </a:r>
        </a:p>
        <a:p>
          <a:pPr algn="l">
            <a:buFont typeface="Arial" panose="020B0604020202020204" pitchFamily="34" charset="0"/>
            <a:buChar char="•"/>
          </a:pPr>
          <a:r>
            <a:rPr lang="en-US" b="0" u="none">
              <a:latin typeface="Calibri"/>
              <a:cs typeface="Calibri"/>
            </a:rPr>
            <a:t>- </a:t>
          </a:r>
          <a:r>
            <a:rPr lang="en-US" b="0" u="none" err="1">
              <a:latin typeface="Calibri"/>
              <a:cs typeface="Calibri"/>
            </a:rPr>
            <a:t>Boni</a:t>
          </a:r>
          <a:r>
            <a:rPr lang="en-US" b="0" u="none">
              <a:latin typeface="Calibri"/>
              <a:cs typeface="Calibri"/>
            </a:rPr>
            <a:t> für </a:t>
          </a:r>
          <a:r>
            <a:rPr lang="en-US" b="0" u="none" err="1">
              <a:latin typeface="Calibri"/>
              <a:cs typeface="Calibri"/>
            </a:rPr>
            <a:t>mehr</a:t>
          </a:r>
          <a:r>
            <a:rPr lang="en-US" b="0" u="none">
              <a:latin typeface="Calibri"/>
              <a:cs typeface="Calibri"/>
            </a:rPr>
            <a:t> </a:t>
          </a:r>
          <a:r>
            <a:rPr lang="en-US" b="0" u="none" err="1">
              <a:latin typeface="Calibri"/>
              <a:cs typeface="Calibri"/>
            </a:rPr>
            <a:t>Fahrten</a:t>
          </a:r>
          <a:r>
            <a:rPr lang="en-US" b="0" u="none">
              <a:latin typeface="Calibri"/>
              <a:cs typeface="Calibri"/>
            </a:rPr>
            <a:t>			- </a:t>
          </a:r>
          <a:r>
            <a:rPr lang="en-US" b="0" u="none" err="1">
              <a:latin typeface="Calibri"/>
              <a:cs typeface="Calibri"/>
            </a:rPr>
            <a:t>Versicherungsschutz</a:t>
          </a:r>
          <a:endParaRPr lang="en-US" b="0" u="none">
            <a:latin typeface="Calibri"/>
            <a:cs typeface="Calibri"/>
          </a:endParaRPr>
        </a:p>
        <a:p>
          <a:pPr algn="l">
            <a:buFont typeface="Arial" panose="020B0604020202020204" pitchFamily="34" charset="0"/>
            <a:buChar char="•"/>
          </a:pPr>
          <a:r>
            <a:rPr lang="en-US" b="0" u="none">
              <a:latin typeface="Calibri"/>
              <a:cs typeface="Calibri"/>
            </a:rPr>
            <a:t>- Tools </a:t>
          </a:r>
          <a:r>
            <a:rPr lang="en-US" b="0" u="none" err="1">
              <a:latin typeface="Calibri"/>
              <a:cs typeface="Calibri"/>
            </a:rPr>
            <a:t>zur</a:t>
          </a:r>
          <a:r>
            <a:rPr lang="en-US" b="0" u="none">
              <a:latin typeface="Calibri"/>
              <a:cs typeface="Calibri"/>
            </a:rPr>
            <a:t> GPS-Navigation		- </a:t>
          </a:r>
          <a:r>
            <a:rPr lang="en-US" b="0" u="none" err="1">
              <a:latin typeface="Calibri"/>
              <a:cs typeface="Calibri"/>
            </a:rPr>
            <a:t>Fahrer</a:t>
          </a:r>
          <a:r>
            <a:rPr lang="en-US" b="0" u="none">
              <a:latin typeface="Calibri"/>
              <a:cs typeface="Calibri"/>
            </a:rPr>
            <a:t>-App</a:t>
          </a:r>
        </a:p>
        <a:p>
          <a:pPr algn="l">
            <a:buFont typeface="Arial" panose="020B0604020202020204" pitchFamily="34" charset="0"/>
            <a:buChar char="•"/>
          </a:pPr>
          <a:r>
            <a:rPr lang="en-US" b="0" u="none">
              <a:latin typeface="Calibri"/>
              <a:cs typeface="Calibri"/>
            </a:rPr>
            <a:t>- </a:t>
          </a:r>
          <a:r>
            <a:rPr lang="en-US" b="1" err="1">
              <a:solidFill>
                <a:schemeClr val="tx1"/>
              </a:solidFill>
              <a:latin typeface="+mn-lt"/>
              <a:ea typeface="+mn-lt"/>
              <a:cs typeface="+mn-lt"/>
            </a:rPr>
            <a:t>Nutzerperspektive</a:t>
          </a:r>
          <a:r>
            <a:rPr lang="en-US" b="0">
              <a:solidFill>
                <a:srgbClr val="0065AD"/>
              </a:solidFill>
              <a:latin typeface="+mn-lt"/>
              <a:ea typeface="+mn-lt"/>
              <a:cs typeface="+mn-lt"/>
            </a:rPr>
            <a:t>:</a:t>
          </a:r>
        </a:p>
        <a:p>
          <a:pPr algn="l">
            <a:buNone/>
          </a:pPr>
          <a:r>
            <a:rPr lang="en-US" u="none"/>
            <a:t>- </a:t>
          </a:r>
          <a:r>
            <a:rPr lang="en-US" u="none" err="1"/>
            <a:t>Maximierung</a:t>
          </a:r>
          <a:r>
            <a:rPr lang="en-US" u="none"/>
            <a:t> der </a:t>
          </a:r>
          <a:r>
            <a:rPr lang="en-US" u="none" err="1"/>
            <a:t>Bequemlichkeit</a:t>
          </a:r>
          <a:r>
            <a:rPr lang="en-US" u="none"/>
            <a:t>	- </a:t>
          </a:r>
          <a:r>
            <a:rPr lang="en-US" u="none" err="1"/>
            <a:t>Echtzeit-Standortverfolgung</a:t>
          </a:r>
          <a:endParaRPr lang="en-US" u="none"/>
        </a:p>
        <a:p>
          <a:pPr algn="l">
            <a:buNone/>
          </a:pPr>
          <a:r>
            <a:rPr lang="en-US" u="none"/>
            <a:t>- </a:t>
          </a:r>
          <a:r>
            <a:rPr lang="en-US" u="none" err="1"/>
            <a:t>Transparente</a:t>
          </a:r>
          <a:r>
            <a:rPr lang="en-US" u="none"/>
            <a:t> </a:t>
          </a:r>
          <a:r>
            <a:rPr lang="en-US" u="none" err="1"/>
            <a:t>Preise</a:t>
          </a:r>
          <a:r>
            <a:rPr lang="en-US" u="none"/>
            <a:t>			- </a:t>
          </a:r>
          <a:r>
            <a:rPr lang="en-US" u="none" err="1"/>
            <a:t>Versch</a:t>
          </a:r>
          <a:r>
            <a:rPr lang="en-US" u="none"/>
            <a:t>. </a:t>
          </a:r>
          <a:r>
            <a:rPr lang="en-US" u="none" err="1"/>
            <a:t>Serviceklassen</a:t>
          </a:r>
          <a:r>
            <a:rPr lang="en-US" u="none"/>
            <a:t>		</a:t>
          </a:r>
        </a:p>
      </dgm:t>
    </dgm:pt>
    <dgm:pt modelId="{D167A06D-C137-4C3D-AD9A-6C19A18F7EC0}" type="parTrans" cxnId="{62A8A7E7-5786-4425-A155-BABB9F1A7A66}">
      <dgm:prSet/>
      <dgm:spPr/>
      <dgm:t>
        <a:bodyPr/>
        <a:lstStyle/>
        <a:p>
          <a:endParaRPr lang="de-DE" u="none"/>
        </a:p>
      </dgm:t>
    </dgm:pt>
    <dgm:pt modelId="{4CA9B592-CEDE-484F-B860-08F1D240C1C9}" type="sibTrans" cxnId="{62A8A7E7-5786-4425-A155-BABB9F1A7A66}">
      <dgm:prSet/>
      <dgm:spPr/>
      <dgm:t>
        <a:bodyPr/>
        <a:lstStyle/>
        <a:p>
          <a:endParaRPr lang="de-DE" u="none"/>
        </a:p>
      </dgm:t>
    </dgm:pt>
    <dgm:pt modelId="{2CE83FFE-5F10-4D6E-86CC-6BAADDBC5F57}">
      <dgm:prSet phldrT="[Text]"/>
      <dgm:spPr/>
      <dgm:t>
        <a:bodyPr/>
        <a:lstStyle/>
        <a:p>
          <a:pPr algn="ctr"/>
          <a:r>
            <a:rPr lang="en-US" b="1" u="none">
              <a:ea typeface="+mn-lt"/>
              <a:cs typeface="+mn-lt"/>
            </a:rPr>
            <a:t>Feed the need for speed</a:t>
          </a:r>
        </a:p>
        <a:p>
          <a:pPr algn="l"/>
          <a:r>
            <a:rPr lang="en-US" b="1" u="none" err="1">
              <a:latin typeface="+mn-lt"/>
              <a:ea typeface="+mn-lt"/>
              <a:cs typeface="+mn-lt"/>
            </a:rPr>
            <a:t>Problemstellung</a:t>
          </a:r>
          <a:r>
            <a:rPr lang="en-US" b="1" u="none">
              <a:latin typeface="+mn-lt"/>
              <a:ea typeface="+mn-lt"/>
              <a:cs typeface="+mn-lt"/>
            </a:rPr>
            <a:t>:</a:t>
          </a:r>
          <a:br>
            <a:rPr lang="en-US" b="1" u="none">
              <a:latin typeface="+mn-lt"/>
              <a:ea typeface="+mn-lt"/>
              <a:cs typeface="+mn-lt"/>
            </a:rPr>
          </a:br>
          <a:r>
            <a:rPr lang="en-US" b="0" err="1">
              <a:solidFill>
                <a:srgbClr val="0065AD"/>
              </a:solidFill>
              <a:ea typeface="+mn-lt"/>
              <a:cs typeface="+mn-lt"/>
            </a:rPr>
            <a:t>vernachlässigte</a:t>
          </a:r>
          <a:r>
            <a:rPr lang="en-US" b="0">
              <a:solidFill>
                <a:srgbClr val="0065AD"/>
              </a:solidFill>
              <a:ea typeface="+mn-lt"/>
              <a:cs typeface="+mn-lt"/>
            </a:rPr>
            <a:t> </a:t>
          </a:r>
          <a:r>
            <a:rPr lang="en-US" b="0" err="1">
              <a:solidFill>
                <a:srgbClr val="0065AD"/>
              </a:solidFill>
              <a:ea typeface="+mn-lt"/>
              <a:cs typeface="+mn-lt"/>
            </a:rPr>
            <a:t>Nachhaltigkeit</a:t>
          </a:r>
          <a:r>
            <a:rPr lang="en-US" b="0">
              <a:solidFill>
                <a:srgbClr val="0065AD"/>
              </a:solidFill>
              <a:ea typeface="+mn-lt"/>
              <a:cs typeface="+mn-lt"/>
            </a:rPr>
            <a:t>, </a:t>
          </a:r>
          <a:r>
            <a:rPr lang="en-US" b="0" err="1">
              <a:solidFill>
                <a:srgbClr val="0065AD"/>
              </a:solidFill>
              <a:ea typeface="+mn-lt"/>
              <a:cs typeface="+mn-lt"/>
            </a:rPr>
            <a:t>Qualitätskontrolle</a:t>
          </a:r>
          <a:r>
            <a:rPr lang="en-US" b="0">
              <a:solidFill>
                <a:srgbClr val="0065AD"/>
              </a:solidFill>
              <a:ea typeface="+mn-lt"/>
              <a:cs typeface="+mn-lt"/>
            </a:rPr>
            <a:t> und </a:t>
          </a:r>
          <a:r>
            <a:rPr lang="en-US" b="0" err="1">
              <a:solidFill>
                <a:srgbClr val="0065AD"/>
              </a:solidFill>
              <a:ea typeface="+mn-lt"/>
              <a:cs typeface="+mn-lt"/>
            </a:rPr>
            <a:t>daraus</a:t>
          </a:r>
          <a:r>
            <a:rPr lang="en-US" b="0">
              <a:solidFill>
                <a:srgbClr val="0065AD"/>
              </a:solidFill>
              <a:ea typeface="+mn-lt"/>
              <a:cs typeface="+mn-lt"/>
            </a:rPr>
            <a:t> </a:t>
          </a:r>
          <a:r>
            <a:rPr lang="en-US" b="0" err="1">
              <a:solidFill>
                <a:srgbClr val="0065AD"/>
              </a:solidFill>
              <a:ea typeface="+mn-lt"/>
              <a:cs typeface="+mn-lt"/>
            </a:rPr>
            <a:t>resultierendes</a:t>
          </a:r>
          <a:r>
            <a:rPr lang="en-US" b="0">
              <a:solidFill>
                <a:srgbClr val="0065AD"/>
              </a:solidFill>
              <a:ea typeface="+mn-lt"/>
              <a:cs typeface="+mn-lt"/>
            </a:rPr>
            <a:t> </a:t>
          </a:r>
          <a:r>
            <a:rPr lang="en-US" b="0" err="1">
              <a:solidFill>
                <a:srgbClr val="0065AD"/>
              </a:solidFill>
              <a:ea typeface="+mn-lt"/>
              <a:cs typeface="+mn-lt"/>
            </a:rPr>
            <a:t>geringeres</a:t>
          </a:r>
          <a:r>
            <a:rPr lang="en-US" b="0">
              <a:solidFill>
                <a:srgbClr val="0065AD"/>
              </a:solidFill>
              <a:ea typeface="+mn-lt"/>
              <a:cs typeface="+mn-lt"/>
            </a:rPr>
            <a:t> </a:t>
          </a:r>
          <a:r>
            <a:rPr lang="en-US" b="0" err="1">
              <a:solidFill>
                <a:srgbClr val="0065AD"/>
              </a:solidFill>
              <a:ea typeface="+mn-lt"/>
              <a:cs typeface="+mn-lt"/>
            </a:rPr>
            <a:t>Kundenvertrauen</a:t>
          </a:r>
          <a:r>
            <a:rPr lang="en-US" b="0">
              <a:solidFill>
                <a:srgbClr val="0065AD"/>
              </a:solidFill>
              <a:ea typeface="+mn-lt"/>
              <a:cs typeface="+mn-lt"/>
            </a:rPr>
            <a:t> </a:t>
          </a:r>
        </a:p>
        <a:p>
          <a:pPr algn="l"/>
          <a:r>
            <a:rPr lang="en-US" b="1" err="1">
              <a:solidFill>
                <a:schemeClr val="tx1"/>
              </a:solidFill>
              <a:latin typeface="+mn-lt"/>
              <a:ea typeface="+mn-lt"/>
              <a:cs typeface="+mn-lt"/>
            </a:rPr>
            <a:t>Kreatives</a:t>
          </a:r>
          <a:r>
            <a:rPr lang="en-US" b="1">
              <a:solidFill>
                <a:schemeClr val="tx1"/>
              </a:solidFill>
              <a:latin typeface="+mn-lt"/>
              <a:ea typeface="+mn-lt"/>
              <a:cs typeface="+mn-lt"/>
            </a:rPr>
            <a:t> Element</a:t>
          </a:r>
          <a:r>
            <a:rPr lang="en-US" b="0">
              <a:solidFill>
                <a:srgbClr val="0065AD"/>
              </a:solidFill>
              <a:latin typeface="+mn-lt"/>
              <a:ea typeface="+mn-lt"/>
              <a:cs typeface="+mn-lt"/>
            </a:rPr>
            <a:t>:</a:t>
          </a:r>
        </a:p>
        <a:p>
          <a:pPr algn="l"/>
          <a:r>
            <a:rPr lang="en-US" b="0" u="none">
              <a:solidFill>
                <a:srgbClr val="0065AD"/>
              </a:solidFill>
              <a:latin typeface="+mn-lt"/>
              <a:ea typeface="+mn-lt"/>
              <a:cs typeface="+mn-lt"/>
            </a:rPr>
            <a:t>- Agile </a:t>
          </a:r>
          <a:r>
            <a:rPr lang="en-US" b="0" u="none" err="1">
              <a:solidFill>
                <a:srgbClr val="0065AD"/>
              </a:solidFill>
              <a:latin typeface="+mn-lt"/>
              <a:ea typeface="+mn-lt"/>
              <a:cs typeface="+mn-lt"/>
            </a:rPr>
            <a:t>Reaktionen</a:t>
          </a:r>
          <a:r>
            <a:rPr lang="en-US" b="0" u="none">
              <a:solidFill>
                <a:srgbClr val="0065AD"/>
              </a:solidFill>
              <a:latin typeface="+mn-lt"/>
              <a:ea typeface="+mn-lt"/>
              <a:cs typeface="+mn-lt"/>
            </a:rPr>
            <a:t> auf </a:t>
          </a:r>
          <a:r>
            <a:rPr lang="en-US" b="0" u="none" err="1">
              <a:solidFill>
                <a:srgbClr val="0065AD"/>
              </a:solidFill>
              <a:latin typeface="+mn-lt"/>
              <a:ea typeface="+mn-lt"/>
              <a:cs typeface="+mn-lt"/>
            </a:rPr>
            <a:t>Markttrends</a:t>
          </a:r>
          <a:endParaRPr lang="en-US" b="0" u="none">
            <a:solidFill>
              <a:srgbClr val="0065AD"/>
            </a:solidFill>
            <a:latin typeface="+mn-lt"/>
            <a:ea typeface="+mn-lt"/>
            <a:cs typeface="+mn-lt"/>
          </a:endParaRPr>
        </a:p>
        <a:p>
          <a:pPr algn="l"/>
          <a:r>
            <a:rPr lang="en-US" u="none"/>
            <a:t>- </a:t>
          </a:r>
          <a:r>
            <a:rPr lang="en-US" b="0" err="1">
              <a:solidFill>
                <a:srgbClr val="0065AD"/>
              </a:solidFill>
              <a:ea typeface="+mn-lt"/>
              <a:cs typeface="+mn-lt"/>
            </a:rPr>
            <a:t>Datenanalysen</a:t>
          </a:r>
          <a:r>
            <a:rPr lang="en-US" b="0">
              <a:solidFill>
                <a:srgbClr val="0065AD"/>
              </a:solidFill>
              <a:ea typeface="+mn-lt"/>
              <a:cs typeface="+mn-lt"/>
            </a:rPr>
            <a:t> für operative </a:t>
          </a:r>
          <a:r>
            <a:rPr lang="en-US" b="0" err="1">
              <a:solidFill>
                <a:srgbClr val="0065AD"/>
              </a:solidFill>
              <a:ea typeface="+mn-lt"/>
              <a:cs typeface="+mn-lt"/>
            </a:rPr>
            <a:t>Entscheidungen</a:t>
          </a:r>
          <a:endParaRPr lang="en-US" b="0" u="none"/>
        </a:p>
      </dgm:t>
    </dgm:pt>
    <dgm:pt modelId="{C50F222E-A322-4111-B708-F305AFEE315C}" type="parTrans" cxnId="{60206D19-39EB-4376-A464-37C939B46660}">
      <dgm:prSet/>
      <dgm:spPr/>
      <dgm:t>
        <a:bodyPr/>
        <a:lstStyle/>
        <a:p>
          <a:endParaRPr lang="de-DE" u="none"/>
        </a:p>
      </dgm:t>
    </dgm:pt>
    <dgm:pt modelId="{7A38AFF9-17C2-4CBD-AC86-6AC593419B3A}" type="sibTrans" cxnId="{60206D19-39EB-4376-A464-37C939B46660}">
      <dgm:prSet/>
      <dgm:spPr/>
      <dgm:t>
        <a:bodyPr/>
        <a:lstStyle/>
        <a:p>
          <a:endParaRPr lang="de-DE" u="none"/>
        </a:p>
      </dgm:t>
    </dgm:pt>
    <dgm:pt modelId="{F6CAC46D-97D7-4FB9-B110-DD4E71C3E93B}" type="pres">
      <dgm:prSet presAssocID="{DEEE70AD-C199-41BD-9C0F-C0FF607A92E8}" presName="diagram" presStyleCnt="0">
        <dgm:presLayoutVars>
          <dgm:chMax val="1"/>
          <dgm:dir/>
          <dgm:animLvl val="ctr"/>
          <dgm:resizeHandles val="exact"/>
        </dgm:presLayoutVars>
      </dgm:prSet>
      <dgm:spPr/>
    </dgm:pt>
    <dgm:pt modelId="{60AE42BB-AB6D-409F-BB8C-5FE7FF80BCC6}" type="pres">
      <dgm:prSet presAssocID="{DEEE70AD-C199-41BD-9C0F-C0FF607A92E8}" presName="matrix" presStyleCnt="0"/>
      <dgm:spPr/>
    </dgm:pt>
    <dgm:pt modelId="{AAF0D035-92B3-429E-AEFB-314C5C5A6D97}" type="pres">
      <dgm:prSet presAssocID="{DEEE70AD-C199-41BD-9C0F-C0FF607A92E8}" presName="tile1" presStyleLbl="node1" presStyleIdx="0" presStyleCnt="4" custLinFactNeighborX="-5" custLinFactNeighborY="606"/>
      <dgm:spPr/>
    </dgm:pt>
    <dgm:pt modelId="{81D4F10B-AE9F-4878-A9D7-BD17CD777DAD}" type="pres">
      <dgm:prSet presAssocID="{DEEE70AD-C199-41BD-9C0F-C0FF607A92E8}" presName="tile1text" presStyleLbl="node1" presStyleIdx="0" presStyleCnt="4">
        <dgm:presLayoutVars>
          <dgm:chMax val="0"/>
          <dgm:chPref val="0"/>
          <dgm:bulletEnabled val="1"/>
        </dgm:presLayoutVars>
      </dgm:prSet>
      <dgm:spPr/>
    </dgm:pt>
    <dgm:pt modelId="{79AA2EFF-2B80-497B-A78E-1340B6B3B4C3}" type="pres">
      <dgm:prSet presAssocID="{DEEE70AD-C199-41BD-9C0F-C0FF607A92E8}" presName="tile2" presStyleLbl="node1" presStyleIdx="1" presStyleCnt="4"/>
      <dgm:spPr/>
    </dgm:pt>
    <dgm:pt modelId="{E01D811F-ED8D-42CF-8D07-C5FD7D7DB950}" type="pres">
      <dgm:prSet presAssocID="{DEEE70AD-C199-41BD-9C0F-C0FF607A92E8}" presName="tile2text" presStyleLbl="node1" presStyleIdx="1" presStyleCnt="4">
        <dgm:presLayoutVars>
          <dgm:chMax val="0"/>
          <dgm:chPref val="0"/>
          <dgm:bulletEnabled val="1"/>
        </dgm:presLayoutVars>
      </dgm:prSet>
      <dgm:spPr/>
    </dgm:pt>
    <dgm:pt modelId="{8861E752-01F6-4F88-92B9-D31AEBC8DCC3}" type="pres">
      <dgm:prSet presAssocID="{DEEE70AD-C199-41BD-9C0F-C0FF607A92E8}" presName="tile3" presStyleLbl="node1" presStyleIdx="2" presStyleCnt="4"/>
      <dgm:spPr/>
    </dgm:pt>
    <dgm:pt modelId="{AB6B6414-ED9D-4CB4-A0F3-8F18DDDBAFCD}" type="pres">
      <dgm:prSet presAssocID="{DEEE70AD-C199-41BD-9C0F-C0FF607A92E8}" presName="tile3text" presStyleLbl="node1" presStyleIdx="2" presStyleCnt="4">
        <dgm:presLayoutVars>
          <dgm:chMax val="0"/>
          <dgm:chPref val="0"/>
          <dgm:bulletEnabled val="1"/>
        </dgm:presLayoutVars>
      </dgm:prSet>
      <dgm:spPr/>
    </dgm:pt>
    <dgm:pt modelId="{C1D2606F-DD7E-4E9E-9509-47D709E0884C}" type="pres">
      <dgm:prSet presAssocID="{DEEE70AD-C199-41BD-9C0F-C0FF607A92E8}" presName="tile4" presStyleLbl="node1" presStyleIdx="3" presStyleCnt="4"/>
      <dgm:spPr/>
    </dgm:pt>
    <dgm:pt modelId="{8A6E3841-2605-419A-9B48-8C649CB2BA29}" type="pres">
      <dgm:prSet presAssocID="{DEEE70AD-C199-41BD-9C0F-C0FF607A92E8}" presName="tile4text" presStyleLbl="node1" presStyleIdx="3" presStyleCnt="4">
        <dgm:presLayoutVars>
          <dgm:chMax val="0"/>
          <dgm:chPref val="0"/>
          <dgm:bulletEnabled val="1"/>
        </dgm:presLayoutVars>
      </dgm:prSet>
      <dgm:spPr/>
    </dgm:pt>
    <dgm:pt modelId="{C5C71603-72D7-4392-981F-99F92781007E}" type="pres">
      <dgm:prSet presAssocID="{DEEE70AD-C199-41BD-9C0F-C0FF607A92E8}" presName="centerTile" presStyleLbl="fgShp" presStyleIdx="0" presStyleCnt="1">
        <dgm:presLayoutVars>
          <dgm:chMax val="0"/>
          <dgm:chPref val="0"/>
        </dgm:presLayoutVars>
      </dgm:prSet>
      <dgm:spPr/>
    </dgm:pt>
  </dgm:ptLst>
  <dgm:cxnLst>
    <dgm:cxn modelId="{1E008B04-E429-42DD-90E5-0367F3005717}" type="presOf" srcId="{2CE83FFE-5F10-4D6E-86CC-6BAADDBC5F57}" destId="{8A6E3841-2605-419A-9B48-8C649CB2BA29}" srcOrd="1" destOrd="0" presId="urn:microsoft.com/office/officeart/2005/8/layout/matrix1"/>
    <dgm:cxn modelId="{77F4080C-D298-41FF-BCB2-38D78D51F1E7}" type="presOf" srcId="{6120CF01-702A-4403-B4A3-46FC45E60480}" destId="{81D4F10B-AE9F-4878-A9D7-BD17CD777DAD}" srcOrd="1" destOrd="0" presId="urn:microsoft.com/office/officeart/2005/8/layout/matrix1"/>
    <dgm:cxn modelId="{60206D19-39EB-4376-A464-37C939B46660}" srcId="{234DA1AB-B04B-4971-A951-E980CA2E3667}" destId="{2CE83FFE-5F10-4D6E-86CC-6BAADDBC5F57}" srcOrd="3" destOrd="0" parTransId="{C50F222E-A322-4111-B708-F305AFEE315C}" sibTransId="{7A38AFF9-17C2-4CBD-AC86-6AC593419B3A}"/>
    <dgm:cxn modelId="{EB7DC021-E5CD-4BF9-9FC2-C4B9429DD613}" type="presOf" srcId="{2CE83FFE-5F10-4D6E-86CC-6BAADDBC5F57}" destId="{C1D2606F-DD7E-4E9E-9509-47D709E0884C}" srcOrd="0" destOrd="0" presId="urn:microsoft.com/office/officeart/2005/8/layout/matrix1"/>
    <dgm:cxn modelId="{DE830E22-476E-4DF9-A47C-75560EC1E179}" type="presOf" srcId="{6120CF01-702A-4403-B4A3-46FC45E60480}" destId="{AAF0D035-92B3-429E-AEFB-314C5C5A6D97}" srcOrd="0" destOrd="0" presId="urn:microsoft.com/office/officeart/2005/8/layout/matrix1"/>
    <dgm:cxn modelId="{DC23305B-4C63-4216-B776-5911B031D563}" srcId="{234DA1AB-B04B-4971-A951-E980CA2E3667}" destId="{6120CF01-702A-4403-B4A3-46FC45E60480}" srcOrd="0" destOrd="0" parTransId="{6813C053-DDC0-4F3F-B8A0-67FB0E25A166}" sibTransId="{ED09A280-02A0-412C-B501-E77C996F703F}"/>
    <dgm:cxn modelId="{53B5B341-6363-4487-BBA5-89E3EC0E58E0}" type="presOf" srcId="{FC4FF9BE-BA97-48D4-BC26-1D139D787FBE}" destId="{AB6B6414-ED9D-4CB4-A0F3-8F18DDDBAFCD}" srcOrd="1" destOrd="0" presId="urn:microsoft.com/office/officeart/2005/8/layout/matrix1"/>
    <dgm:cxn modelId="{F6B25F65-31E0-4CAB-B715-A1B2FB7B347F}" type="presOf" srcId="{0ACF8BEA-48BD-4FD7-8822-0CC24C0FD95D}" destId="{E01D811F-ED8D-42CF-8D07-C5FD7D7DB950}" srcOrd="1" destOrd="0" presId="urn:microsoft.com/office/officeart/2005/8/layout/matrix1"/>
    <dgm:cxn modelId="{E11A4A50-C896-4978-A075-562EE3E863C9}" type="presOf" srcId="{FC4FF9BE-BA97-48D4-BC26-1D139D787FBE}" destId="{8861E752-01F6-4F88-92B9-D31AEBC8DCC3}" srcOrd="0" destOrd="0" presId="urn:microsoft.com/office/officeart/2005/8/layout/matrix1"/>
    <dgm:cxn modelId="{BFB2049A-380A-4D41-8E3E-DF2653B2E0FA}" srcId="{DEEE70AD-C199-41BD-9C0F-C0FF607A92E8}" destId="{234DA1AB-B04B-4971-A951-E980CA2E3667}" srcOrd="0" destOrd="0" parTransId="{30D5F5AB-CA91-4AC3-BC1E-46282D453472}" sibTransId="{1DF3C03C-D27D-44E8-B19D-FFA3383776AA}"/>
    <dgm:cxn modelId="{CC44C49D-AEC9-45FB-9051-6849CFF5B612}" type="presOf" srcId="{DEEE70AD-C199-41BD-9C0F-C0FF607A92E8}" destId="{F6CAC46D-97D7-4FB9-B110-DD4E71C3E93B}" srcOrd="0" destOrd="0" presId="urn:microsoft.com/office/officeart/2005/8/layout/matrix1"/>
    <dgm:cxn modelId="{6EA984C9-340D-459D-8EC0-8F4EB2D74544}" type="presOf" srcId="{234DA1AB-B04B-4971-A951-E980CA2E3667}" destId="{C5C71603-72D7-4392-981F-99F92781007E}" srcOrd="0" destOrd="0" presId="urn:microsoft.com/office/officeart/2005/8/layout/matrix1"/>
    <dgm:cxn modelId="{7A845ED8-4FF5-436C-A164-26549C42FDAA}" srcId="{234DA1AB-B04B-4971-A951-E980CA2E3667}" destId="{0ACF8BEA-48BD-4FD7-8822-0CC24C0FD95D}" srcOrd="1" destOrd="0" parTransId="{3BBA6E66-6115-4A00-B77A-F2FAA751BD30}" sibTransId="{5C41B557-5E90-44C1-8BF7-8A4EDB618FB5}"/>
    <dgm:cxn modelId="{44F5E5E6-9BEA-477B-A753-1291A6B2A0C2}" type="presOf" srcId="{0ACF8BEA-48BD-4FD7-8822-0CC24C0FD95D}" destId="{79AA2EFF-2B80-497B-A78E-1340B6B3B4C3}" srcOrd="0" destOrd="0" presId="urn:microsoft.com/office/officeart/2005/8/layout/matrix1"/>
    <dgm:cxn modelId="{62A8A7E7-5786-4425-A155-BABB9F1A7A66}" srcId="{234DA1AB-B04B-4971-A951-E980CA2E3667}" destId="{FC4FF9BE-BA97-48D4-BC26-1D139D787FBE}" srcOrd="2" destOrd="0" parTransId="{D167A06D-C137-4C3D-AD9A-6C19A18F7EC0}" sibTransId="{4CA9B592-CEDE-484F-B860-08F1D240C1C9}"/>
    <dgm:cxn modelId="{FBD32963-EEF4-4E65-B350-E762E0ABC0B3}" type="presParOf" srcId="{F6CAC46D-97D7-4FB9-B110-DD4E71C3E93B}" destId="{60AE42BB-AB6D-409F-BB8C-5FE7FF80BCC6}" srcOrd="0" destOrd="0" presId="urn:microsoft.com/office/officeart/2005/8/layout/matrix1"/>
    <dgm:cxn modelId="{D979D904-6597-438C-982D-5598B4E1A8C9}" type="presParOf" srcId="{60AE42BB-AB6D-409F-BB8C-5FE7FF80BCC6}" destId="{AAF0D035-92B3-429E-AEFB-314C5C5A6D97}" srcOrd="0" destOrd="0" presId="urn:microsoft.com/office/officeart/2005/8/layout/matrix1"/>
    <dgm:cxn modelId="{7CBD2839-80B7-4F76-ACF9-E18C06D8FC85}" type="presParOf" srcId="{60AE42BB-AB6D-409F-BB8C-5FE7FF80BCC6}" destId="{81D4F10B-AE9F-4878-A9D7-BD17CD777DAD}" srcOrd="1" destOrd="0" presId="urn:microsoft.com/office/officeart/2005/8/layout/matrix1"/>
    <dgm:cxn modelId="{5767BC8D-4AAB-4732-88BA-EC6A33EEC321}" type="presParOf" srcId="{60AE42BB-AB6D-409F-BB8C-5FE7FF80BCC6}" destId="{79AA2EFF-2B80-497B-A78E-1340B6B3B4C3}" srcOrd="2" destOrd="0" presId="urn:microsoft.com/office/officeart/2005/8/layout/matrix1"/>
    <dgm:cxn modelId="{38E36E7E-92AD-49E8-B039-6C4CBF8A462F}" type="presParOf" srcId="{60AE42BB-AB6D-409F-BB8C-5FE7FF80BCC6}" destId="{E01D811F-ED8D-42CF-8D07-C5FD7D7DB950}" srcOrd="3" destOrd="0" presId="urn:microsoft.com/office/officeart/2005/8/layout/matrix1"/>
    <dgm:cxn modelId="{577EEB3E-D335-4E0C-84AE-E0FF5BA3D1B4}" type="presParOf" srcId="{60AE42BB-AB6D-409F-BB8C-5FE7FF80BCC6}" destId="{8861E752-01F6-4F88-92B9-D31AEBC8DCC3}" srcOrd="4" destOrd="0" presId="urn:microsoft.com/office/officeart/2005/8/layout/matrix1"/>
    <dgm:cxn modelId="{60661067-715A-4B54-B1CA-46FEDB3DFFC7}" type="presParOf" srcId="{60AE42BB-AB6D-409F-BB8C-5FE7FF80BCC6}" destId="{AB6B6414-ED9D-4CB4-A0F3-8F18DDDBAFCD}" srcOrd="5" destOrd="0" presId="urn:microsoft.com/office/officeart/2005/8/layout/matrix1"/>
    <dgm:cxn modelId="{531C4459-9804-4759-B68D-A24FE88AE072}" type="presParOf" srcId="{60AE42BB-AB6D-409F-BB8C-5FE7FF80BCC6}" destId="{C1D2606F-DD7E-4E9E-9509-47D709E0884C}" srcOrd="6" destOrd="0" presId="urn:microsoft.com/office/officeart/2005/8/layout/matrix1"/>
    <dgm:cxn modelId="{650A3B38-67BC-4DAB-9E59-44C927044689}" type="presParOf" srcId="{60AE42BB-AB6D-409F-BB8C-5FE7FF80BCC6}" destId="{8A6E3841-2605-419A-9B48-8C649CB2BA29}" srcOrd="7" destOrd="0" presId="urn:microsoft.com/office/officeart/2005/8/layout/matrix1"/>
    <dgm:cxn modelId="{7554ABE3-7B8F-48CD-B04F-BA7E00D1B496}" type="presParOf" srcId="{F6CAC46D-97D7-4FB9-B110-DD4E71C3E93B}" destId="{C5C71603-72D7-4392-981F-99F92781007E}" srcOrd="1" destOrd="0" presId="urn:microsoft.com/office/officeart/2005/8/layout/matrix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7894F39-89E1-4ACA-953B-FC577456E818}" type="doc">
      <dgm:prSet loTypeId="urn:microsoft.com/office/officeart/2005/8/layout/list1" loCatId="list" qsTypeId="urn:microsoft.com/office/officeart/2005/8/quickstyle/simple1" qsCatId="simple" csTypeId="urn:microsoft.com/office/officeart/2005/8/colors/accent0_1" csCatId="mainScheme" phldr="1"/>
      <dgm:spPr/>
      <dgm:t>
        <a:bodyPr/>
        <a:lstStyle/>
        <a:p>
          <a:endParaRPr lang="de-DE"/>
        </a:p>
      </dgm:t>
    </dgm:pt>
    <dgm:pt modelId="{E0376298-AD9F-4D7F-851E-2BFCEAD654B6}">
      <dgm:prSet phldrT="[Text]"/>
      <dgm:spPr/>
      <dgm:t>
        <a:bodyPr/>
        <a:lstStyle/>
        <a:p>
          <a:r>
            <a:rPr lang="en-US" b="1" i="0" err="1"/>
            <a:t>Strategisch</a:t>
          </a:r>
          <a:endParaRPr lang="en-US" b="1" i="0"/>
        </a:p>
      </dgm:t>
    </dgm:pt>
    <dgm:pt modelId="{2414A8DE-3ABB-4F6B-A2AE-79A01C3AE0B1}" type="parTrans" cxnId="{DBD8AB5D-A454-4686-AC7A-24048F0D68DE}">
      <dgm:prSet/>
      <dgm:spPr/>
      <dgm:t>
        <a:bodyPr/>
        <a:lstStyle/>
        <a:p>
          <a:endParaRPr lang="de-DE"/>
        </a:p>
      </dgm:t>
    </dgm:pt>
    <dgm:pt modelId="{82F4D2D7-C73D-46F4-9D58-26945F27F99E}" type="sibTrans" cxnId="{DBD8AB5D-A454-4686-AC7A-24048F0D68DE}">
      <dgm:prSet/>
      <dgm:spPr/>
      <dgm:t>
        <a:bodyPr/>
        <a:lstStyle/>
        <a:p>
          <a:endParaRPr lang="de-DE"/>
        </a:p>
      </dgm:t>
    </dgm:pt>
    <dgm:pt modelId="{B8DA3F03-3DE7-465D-8F57-CB080FAF8124}">
      <dgm:prSet phldrT="[Text]"/>
      <dgm:spPr/>
      <dgm:t>
        <a:bodyPr/>
        <a:lstStyle/>
        <a:p>
          <a:r>
            <a:rPr lang="en-US" b="1" i="0" err="1"/>
            <a:t>Finanziell</a:t>
          </a:r>
          <a:endParaRPr lang="en-US" b="1" i="0"/>
        </a:p>
      </dgm:t>
    </dgm:pt>
    <dgm:pt modelId="{1ADFA853-31CA-46A5-BACC-0E623CBB1E34}" type="parTrans" cxnId="{9C98C2E3-6378-4132-92D5-2CAA837B2AE9}">
      <dgm:prSet/>
      <dgm:spPr/>
      <dgm:t>
        <a:bodyPr/>
        <a:lstStyle/>
        <a:p>
          <a:endParaRPr lang="de-DE"/>
        </a:p>
      </dgm:t>
    </dgm:pt>
    <dgm:pt modelId="{81629234-134C-474B-A90E-B30D4A921FD7}" type="sibTrans" cxnId="{9C98C2E3-6378-4132-92D5-2CAA837B2AE9}">
      <dgm:prSet/>
      <dgm:spPr/>
      <dgm:t>
        <a:bodyPr/>
        <a:lstStyle/>
        <a:p>
          <a:endParaRPr lang="de-DE"/>
        </a:p>
      </dgm:t>
    </dgm:pt>
    <dgm:pt modelId="{89691C2E-E56D-4B56-B3F4-BF35524A13F4}">
      <dgm:prSet phldrT="[Text]"/>
      <dgm:spPr/>
      <dgm:t>
        <a:bodyPr/>
        <a:lstStyle/>
        <a:p>
          <a:r>
            <a:rPr lang="en-US" b="1" i="0" err="1"/>
            <a:t>Kulturell</a:t>
          </a:r>
          <a:endParaRPr lang="en-US" b="1" i="0"/>
        </a:p>
      </dgm:t>
    </dgm:pt>
    <dgm:pt modelId="{CB14234C-2189-45E2-B50C-A303B15741B8}" type="parTrans" cxnId="{6DA899DC-8B47-4D95-88E8-9E8A3EEC3C34}">
      <dgm:prSet/>
      <dgm:spPr/>
      <dgm:t>
        <a:bodyPr/>
        <a:lstStyle/>
        <a:p>
          <a:endParaRPr lang="de-DE"/>
        </a:p>
      </dgm:t>
    </dgm:pt>
    <dgm:pt modelId="{7F01E9C0-5148-4F5A-9D90-46F4BDB5FE3F}" type="sibTrans" cxnId="{6DA899DC-8B47-4D95-88E8-9E8A3EEC3C34}">
      <dgm:prSet/>
      <dgm:spPr/>
      <dgm:t>
        <a:bodyPr/>
        <a:lstStyle/>
        <a:p>
          <a:endParaRPr lang="de-DE"/>
        </a:p>
      </dgm:t>
    </dgm:pt>
    <dgm:pt modelId="{38BAA321-EB4F-4523-89F3-2E518F4404BB}">
      <dgm:prSet phldrT="[Text]"/>
      <dgm:spPr/>
      <dgm:t>
        <a:bodyPr/>
        <a:lstStyle/>
        <a:p>
          <a:pPr>
            <a:buFont typeface="Arial" panose="020B0604020202020204" pitchFamily="34" charset="0"/>
            <a:buChar char="•"/>
          </a:pPr>
          <a:r>
            <a:rPr lang="en-US" b="0" i="0"/>
            <a:t>Uber hat </a:t>
          </a:r>
          <a:r>
            <a:rPr lang="en-US" b="0" i="0" err="1"/>
            <a:t>durch</a:t>
          </a:r>
          <a:r>
            <a:rPr lang="en-US" b="0" i="0"/>
            <a:t> disruptive </a:t>
          </a:r>
          <a:r>
            <a:rPr lang="en-US" b="0" i="0" err="1"/>
            <a:t>Technologien</a:t>
          </a:r>
          <a:r>
            <a:rPr lang="en-US" b="0" i="0"/>
            <a:t> und innovative </a:t>
          </a:r>
          <a:r>
            <a:rPr lang="en-US" b="0" i="0" err="1"/>
            <a:t>Geschäftsmodelle</a:t>
          </a:r>
          <a:r>
            <a:rPr lang="en-US" b="0" i="0"/>
            <a:t> den </a:t>
          </a:r>
          <a:r>
            <a:rPr lang="en-US" b="0" i="0" err="1"/>
            <a:t>Mobilitätsmarkt</a:t>
          </a:r>
          <a:r>
            <a:rPr lang="en-US" b="0" i="0"/>
            <a:t> </a:t>
          </a:r>
          <a:r>
            <a:rPr lang="en-US" b="0" i="0" err="1"/>
            <a:t>verändert</a:t>
          </a:r>
          <a:r>
            <a:rPr lang="en-US" b="0" i="0"/>
            <a:t>.</a:t>
          </a:r>
          <a:endParaRPr lang="en-US"/>
        </a:p>
      </dgm:t>
    </dgm:pt>
    <dgm:pt modelId="{84B72DCB-6904-469B-821B-51D10F571F44}" type="parTrans" cxnId="{C692DDC5-37A3-4920-8B03-81D2811050DA}">
      <dgm:prSet/>
      <dgm:spPr/>
      <dgm:t>
        <a:bodyPr/>
        <a:lstStyle/>
        <a:p>
          <a:endParaRPr lang="de-DE"/>
        </a:p>
      </dgm:t>
    </dgm:pt>
    <dgm:pt modelId="{F23CA7D8-12F0-4E3A-B91A-42D96A8DBF31}" type="sibTrans" cxnId="{C692DDC5-37A3-4920-8B03-81D2811050DA}">
      <dgm:prSet/>
      <dgm:spPr/>
      <dgm:t>
        <a:bodyPr/>
        <a:lstStyle/>
        <a:p>
          <a:endParaRPr lang="de-DE"/>
        </a:p>
      </dgm:t>
    </dgm:pt>
    <dgm:pt modelId="{7213E1DD-42DD-48BB-A1AD-BEB95A670CC8}">
      <dgm:prSet/>
      <dgm:spPr/>
      <dgm:t>
        <a:bodyPr/>
        <a:lstStyle/>
        <a:p>
          <a:pPr>
            <a:buFont typeface="Arial" panose="020B0604020202020204" pitchFamily="34" charset="0"/>
            <a:buChar char="•"/>
          </a:pPr>
          <a:r>
            <a:rPr lang="en-US" b="0" i="0" err="1"/>
            <a:t>Innovationskultur</a:t>
          </a:r>
          <a:r>
            <a:rPr lang="en-US" b="0" i="0"/>
            <a:t> </a:t>
          </a:r>
          <a:r>
            <a:rPr lang="en-US" b="0" i="0" err="1"/>
            <a:t>ermöglicht</a:t>
          </a:r>
          <a:r>
            <a:rPr lang="en-US" b="0" i="0"/>
            <a:t> </a:t>
          </a:r>
          <a:r>
            <a:rPr lang="en-US" b="0" i="0" err="1"/>
            <a:t>schnelle</a:t>
          </a:r>
          <a:r>
            <a:rPr lang="en-US" b="0" i="0"/>
            <a:t> </a:t>
          </a:r>
          <a:r>
            <a:rPr lang="en-US" b="0" i="0" err="1"/>
            <a:t>Reaktion</a:t>
          </a:r>
          <a:r>
            <a:rPr lang="en-US" b="0" i="0"/>
            <a:t> auf </a:t>
          </a:r>
          <a:r>
            <a:rPr lang="en-US" b="0" i="0" err="1"/>
            <a:t>Marktveränderungen</a:t>
          </a:r>
          <a:r>
            <a:rPr lang="en-US" b="0" i="0"/>
            <a:t> und </a:t>
          </a:r>
          <a:r>
            <a:rPr lang="en-US" b="0" i="0" err="1"/>
            <a:t>Entwicklung</a:t>
          </a:r>
          <a:r>
            <a:rPr lang="en-US" b="0" i="0"/>
            <a:t> </a:t>
          </a:r>
          <a:r>
            <a:rPr lang="en-US" b="0" i="0" err="1"/>
            <a:t>neuer</a:t>
          </a:r>
          <a:r>
            <a:rPr lang="en-US" b="0" i="0"/>
            <a:t> </a:t>
          </a:r>
          <a:r>
            <a:rPr lang="en-US" b="0" i="0" err="1"/>
            <a:t>Produkte</a:t>
          </a:r>
          <a:r>
            <a:rPr lang="en-US" b="0" i="0"/>
            <a:t>.</a:t>
          </a:r>
        </a:p>
      </dgm:t>
    </dgm:pt>
    <dgm:pt modelId="{3259DA16-1E7D-46C3-9CF7-51F2F56FDE69}" type="parTrans" cxnId="{D6B6A782-7224-4AF8-B73F-E759FADB8924}">
      <dgm:prSet/>
      <dgm:spPr/>
      <dgm:t>
        <a:bodyPr/>
        <a:lstStyle/>
        <a:p>
          <a:endParaRPr lang="de-DE"/>
        </a:p>
      </dgm:t>
    </dgm:pt>
    <dgm:pt modelId="{2CB6753D-55E6-411B-BEC6-7D97C578CCC0}" type="sibTrans" cxnId="{D6B6A782-7224-4AF8-B73F-E759FADB8924}">
      <dgm:prSet/>
      <dgm:spPr/>
      <dgm:t>
        <a:bodyPr/>
        <a:lstStyle/>
        <a:p>
          <a:endParaRPr lang="de-DE"/>
        </a:p>
      </dgm:t>
    </dgm:pt>
    <dgm:pt modelId="{AF82273A-3BD5-4765-B1C0-A9CB9DB61C24}">
      <dgm:prSet/>
      <dgm:spPr/>
      <dgm:t>
        <a:bodyPr/>
        <a:lstStyle/>
        <a:p>
          <a:pPr>
            <a:buFont typeface="Arial" panose="020B0604020202020204" pitchFamily="34" charset="0"/>
            <a:buChar char="•"/>
          </a:pPr>
          <a:r>
            <a:rPr lang="en-US" b="0" i="0" err="1"/>
            <a:t>Schlüssel</a:t>
          </a:r>
          <a:r>
            <a:rPr lang="en-US" b="0" i="0"/>
            <a:t> </a:t>
          </a:r>
          <a:r>
            <a:rPr lang="en-US" b="0" i="0" err="1"/>
            <a:t>zur</a:t>
          </a:r>
          <a:r>
            <a:rPr lang="en-US" b="0" i="0"/>
            <a:t> </a:t>
          </a:r>
          <a:r>
            <a:rPr lang="en-US" b="0" i="0" err="1"/>
            <a:t>strategischen</a:t>
          </a:r>
          <a:r>
            <a:rPr lang="en-US" b="0" i="0"/>
            <a:t> </a:t>
          </a:r>
          <a:r>
            <a:rPr lang="en-US" b="0" i="0" err="1"/>
            <a:t>Positionierung</a:t>
          </a:r>
          <a:r>
            <a:rPr lang="en-US" b="0" i="0"/>
            <a:t> und </a:t>
          </a:r>
          <a:r>
            <a:rPr lang="en-US" b="0" i="0" err="1"/>
            <a:t>Etablierung</a:t>
          </a:r>
          <a:r>
            <a:rPr lang="en-US" b="0" i="0"/>
            <a:t> </a:t>
          </a:r>
          <a:r>
            <a:rPr lang="en-US" b="0" i="0" err="1"/>
            <a:t>als</a:t>
          </a:r>
          <a:r>
            <a:rPr lang="en-US" b="0" i="0"/>
            <a:t> </a:t>
          </a:r>
          <a:r>
            <a:rPr lang="en-US" b="0" i="0" err="1"/>
            <a:t>Branchenführer</a:t>
          </a:r>
          <a:r>
            <a:rPr lang="en-US" b="0" i="0"/>
            <a:t>.</a:t>
          </a:r>
        </a:p>
      </dgm:t>
    </dgm:pt>
    <dgm:pt modelId="{F3BF400D-0A92-450E-BB6C-456B6463AEBD}" type="parTrans" cxnId="{173EFC76-03BD-403B-ABF9-49E4ED5C3B32}">
      <dgm:prSet/>
      <dgm:spPr/>
      <dgm:t>
        <a:bodyPr/>
        <a:lstStyle/>
        <a:p>
          <a:endParaRPr lang="de-DE"/>
        </a:p>
      </dgm:t>
    </dgm:pt>
    <dgm:pt modelId="{3B36168A-18EB-49BD-8BEA-7708D4B3392D}" type="sibTrans" cxnId="{173EFC76-03BD-403B-ABF9-49E4ED5C3B32}">
      <dgm:prSet/>
      <dgm:spPr/>
      <dgm:t>
        <a:bodyPr/>
        <a:lstStyle/>
        <a:p>
          <a:endParaRPr lang="de-DE"/>
        </a:p>
      </dgm:t>
    </dgm:pt>
    <dgm:pt modelId="{C2D15E16-8976-4FAB-96E7-6618106F274F}">
      <dgm:prSet phldrT="[Text]"/>
      <dgm:spPr/>
      <dgm:t>
        <a:bodyPr/>
        <a:lstStyle/>
        <a:p>
          <a:pPr>
            <a:buFont typeface="Arial" panose="020B0604020202020204" pitchFamily="34" charset="0"/>
            <a:buChar char="•"/>
          </a:pPr>
          <a:r>
            <a:rPr lang="en-US" b="0" i="0"/>
            <a:t>Ride-Sharing, Uber Eats und </a:t>
          </a:r>
          <a:r>
            <a:rPr lang="en-US" b="0" i="0" err="1"/>
            <a:t>andere</a:t>
          </a:r>
          <a:r>
            <a:rPr lang="en-US" b="0" i="0"/>
            <a:t> </a:t>
          </a:r>
          <a:r>
            <a:rPr lang="en-US" b="0" i="0" err="1"/>
            <a:t>Dienstleistungen</a:t>
          </a:r>
          <a:r>
            <a:rPr lang="en-US" b="0" i="0"/>
            <a:t> </a:t>
          </a:r>
          <a:r>
            <a:rPr lang="en-US" b="0" i="0" err="1"/>
            <a:t>treiben</a:t>
          </a:r>
          <a:r>
            <a:rPr lang="en-US" b="0" i="0"/>
            <a:t> </a:t>
          </a:r>
          <a:r>
            <a:rPr lang="en-US" b="0" i="0" err="1"/>
            <a:t>Umsatzwachstum</a:t>
          </a:r>
          <a:r>
            <a:rPr lang="en-US" b="0" i="0"/>
            <a:t> </a:t>
          </a:r>
          <a:r>
            <a:rPr lang="en-US" b="0" i="0" err="1"/>
            <a:t>voran</a:t>
          </a:r>
          <a:r>
            <a:rPr lang="en-US" b="0" i="0"/>
            <a:t>.</a:t>
          </a:r>
          <a:endParaRPr lang="en-US"/>
        </a:p>
      </dgm:t>
    </dgm:pt>
    <dgm:pt modelId="{4ADA5302-11CB-438B-B656-75A2D900E924}" type="parTrans" cxnId="{529C5606-56E3-47FE-89A8-B1B8F79ECDBC}">
      <dgm:prSet/>
      <dgm:spPr/>
      <dgm:t>
        <a:bodyPr/>
        <a:lstStyle/>
        <a:p>
          <a:endParaRPr lang="de-DE"/>
        </a:p>
      </dgm:t>
    </dgm:pt>
    <dgm:pt modelId="{4DDDC502-76B4-48DD-8FE5-11D886003E5F}" type="sibTrans" cxnId="{529C5606-56E3-47FE-89A8-B1B8F79ECDBC}">
      <dgm:prSet/>
      <dgm:spPr/>
      <dgm:t>
        <a:bodyPr/>
        <a:lstStyle/>
        <a:p>
          <a:endParaRPr lang="de-DE"/>
        </a:p>
      </dgm:t>
    </dgm:pt>
    <dgm:pt modelId="{EDE3CC83-84AA-4307-8F54-41EFCCBCCC08}">
      <dgm:prSet/>
      <dgm:spPr/>
      <dgm:t>
        <a:bodyPr/>
        <a:lstStyle/>
        <a:p>
          <a:pPr>
            <a:buFont typeface="Arial" panose="020B0604020202020204" pitchFamily="34" charset="0"/>
            <a:buChar char="•"/>
          </a:pPr>
          <a:r>
            <a:rPr lang="en-US" b="0" i="0" err="1"/>
            <a:t>Innovationskultur</a:t>
          </a:r>
          <a:r>
            <a:rPr lang="en-US" b="0" i="0"/>
            <a:t> </a:t>
          </a:r>
          <a:r>
            <a:rPr lang="en-US" b="0" i="0" err="1"/>
            <a:t>sichert</a:t>
          </a:r>
          <a:r>
            <a:rPr lang="en-US" b="0" i="0"/>
            <a:t> </a:t>
          </a:r>
          <a:r>
            <a:rPr lang="en-US" b="0" i="0" err="1"/>
            <a:t>Investitionen</a:t>
          </a:r>
          <a:r>
            <a:rPr lang="en-US" b="0" i="0"/>
            <a:t> und Kapital, </a:t>
          </a:r>
          <a:r>
            <a:rPr lang="en-US" b="0" i="0" err="1"/>
            <a:t>gewährleistet</a:t>
          </a:r>
          <a:r>
            <a:rPr lang="en-US" b="0" i="0"/>
            <a:t> </a:t>
          </a:r>
          <a:r>
            <a:rPr lang="en-US" b="0" i="0" err="1"/>
            <a:t>finanzielle</a:t>
          </a:r>
          <a:r>
            <a:rPr lang="en-US" b="0" i="0"/>
            <a:t> </a:t>
          </a:r>
          <a:r>
            <a:rPr lang="en-US" b="0" i="0" err="1"/>
            <a:t>Nachhaltigkeit</a:t>
          </a:r>
          <a:r>
            <a:rPr lang="en-US" b="0" i="0"/>
            <a:t>.</a:t>
          </a:r>
        </a:p>
      </dgm:t>
    </dgm:pt>
    <dgm:pt modelId="{0AC2AE49-08B1-49E5-9639-16C1172E1112}" type="parTrans" cxnId="{417AB62C-9738-4217-B4FC-DD5E9F262D61}">
      <dgm:prSet/>
      <dgm:spPr/>
      <dgm:t>
        <a:bodyPr/>
        <a:lstStyle/>
        <a:p>
          <a:endParaRPr lang="de-DE"/>
        </a:p>
      </dgm:t>
    </dgm:pt>
    <dgm:pt modelId="{9EE9F73A-B8E0-4997-B114-662524116B07}" type="sibTrans" cxnId="{417AB62C-9738-4217-B4FC-DD5E9F262D61}">
      <dgm:prSet/>
      <dgm:spPr/>
      <dgm:t>
        <a:bodyPr/>
        <a:lstStyle/>
        <a:p>
          <a:endParaRPr lang="de-DE"/>
        </a:p>
      </dgm:t>
    </dgm:pt>
    <dgm:pt modelId="{09E77722-62DD-4301-ABAD-C2F29A483FDF}">
      <dgm:prSet/>
      <dgm:spPr/>
      <dgm:t>
        <a:bodyPr/>
        <a:lstStyle/>
        <a:p>
          <a:pPr>
            <a:buFont typeface="Arial" panose="020B0604020202020204" pitchFamily="34" charset="0"/>
            <a:buChar char="•"/>
          </a:pPr>
          <a:r>
            <a:rPr lang="en-US" b="0" i="0" err="1"/>
            <a:t>Fähigkeit</a:t>
          </a:r>
          <a:r>
            <a:rPr lang="en-US" b="0" i="0"/>
            <a:t>, </a:t>
          </a:r>
          <a:r>
            <a:rPr lang="en-US" b="0" i="0" err="1"/>
            <a:t>neue</a:t>
          </a:r>
          <a:r>
            <a:rPr lang="en-US" b="0" i="0"/>
            <a:t> </a:t>
          </a:r>
          <a:r>
            <a:rPr lang="en-US" b="0" i="0" err="1"/>
            <a:t>Einnahmequellen</a:t>
          </a:r>
          <a:r>
            <a:rPr lang="en-US" b="0" i="0"/>
            <a:t> </a:t>
          </a:r>
          <a:r>
            <a:rPr lang="en-US" b="0" i="0" err="1"/>
            <a:t>zu</a:t>
          </a:r>
          <a:r>
            <a:rPr lang="en-US" b="0" i="0"/>
            <a:t> </a:t>
          </a:r>
          <a:r>
            <a:rPr lang="en-US" b="0" i="0" err="1"/>
            <a:t>erschließen</a:t>
          </a:r>
          <a:r>
            <a:rPr lang="en-US" b="0" i="0"/>
            <a:t> und </a:t>
          </a:r>
          <a:r>
            <a:rPr lang="en-US" b="0" i="0" err="1"/>
            <a:t>sich</a:t>
          </a:r>
          <a:r>
            <a:rPr lang="en-US" b="0" i="0"/>
            <a:t> an </a:t>
          </a:r>
          <a:r>
            <a:rPr lang="en-US" b="0" i="0" err="1"/>
            <a:t>Marktbedingungen</a:t>
          </a:r>
          <a:r>
            <a:rPr lang="en-US" b="0" i="0"/>
            <a:t> </a:t>
          </a:r>
          <a:r>
            <a:rPr lang="en-US" b="0" i="0" err="1"/>
            <a:t>anzupassen</a:t>
          </a:r>
          <a:r>
            <a:rPr lang="en-US" b="0" i="0"/>
            <a:t>.</a:t>
          </a:r>
        </a:p>
      </dgm:t>
    </dgm:pt>
    <dgm:pt modelId="{3109CC89-DC7C-4503-A95B-D5B5BD5BF980}" type="parTrans" cxnId="{26B757A1-361E-4F8C-88CC-8EA262A94A66}">
      <dgm:prSet/>
      <dgm:spPr/>
      <dgm:t>
        <a:bodyPr/>
        <a:lstStyle/>
        <a:p>
          <a:endParaRPr lang="de-DE"/>
        </a:p>
      </dgm:t>
    </dgm:pt>
    <dgm:pt modelId="{BE926912-9871-46E8-9455-21C2D7D57373}" type="sibTrans" cxnId="{26B757A1-361E-4F8C-88CC-8EA262A94A66}">
      <dgm:prSet/>
      <dgm:spPr/>
      <dgm:t>
        <a:bodyPr/>
        <a:lstStyle/>
        <a:p>
          <a:endParaRPr lang="de-DE"/>
        </a:p>
      </dgm:t>
    </dgm:pt>
    <dgm:pt modelId="{9AAEBC29-D4AE-4200-9D51-C048A40402A1}">
      <dgm:prSet phldrT="[Text]"/>
      <dgm:spPr/>
      <dgm:t>
        <a:bodyPr/>
        <a:lstStyle/>
        <a:p>
          <a:pPr>
            <a:buFont typeface="Arial" panose="020B0604020202020204" pitchFamily="34" charset="0"/>
            <a:buChar char="•"/>
          </a:pPr>
          <a:r>
            <a:rPr lang="en-US" b="0" i="0" err="1"/>
            <a:t>Unternehmenskultur</a:t>
          </a:r>
          <a:r>
            <a:rPr lang="en-US" b="0" i="0"/>
            <a:t> </a:t>
          </a:r>
          <a:r>
            <a:rPr lang="en-US" b="0" i="0" err="1"/>
            <a:t>betont</a:t>
          </a:r>
          <a:r>
            <a:rPr lang="en-US" b="0" i="0"/>
            <a:t> Innovation und Risikobereitschaft.</a:t>
          </a:r>
          <a:endParaRPr lang="en-US"/>
        </a:p>
      </dgm:t>
    </dgm:pt>
    <dgm:pt modelId="{73398B2B-692C-4AFF-B0A1-610E9BC6A485}" type="parTrans" cxnId="{CEE98CA3-170D-4B2F-9705-1F2FF6DDE051}">
      <dgm:prSet/>
      <dgm:spPr/>
      <dgm:t>
        <a:bodyPr/>
        <a:lstStyle/>
        <a:p>
          <a:endParaRPr lang="de-DE"/>
        </a:p>
      </dgm:t>
    </dgm:pt>
    <dgm:pt modelId="{061A2898-4F16-43AD-9F2C-CE8D1683FA7A}" type="sibTrans" cxnId="{CEE98CA3-170D-4B2F-9705-1F2FF6DDE051}">
      <dgm:prSet/>
      <dgm:spPr/>
      <dgm:t>
        <a:bodyPr/>
        <a:lstStyle/>
        <a:p>
          <a:endParaRPr lang="de-DE"/>
        </a:p>
      </dgm:t>
    </dgm:pt>
    <dgm:pt modelId="{9D2DF78B-7B06-4B5F-95DD-F582CFA72F5F}">
      <dgm:prSet/>
      <dgm:spPr/>
      <dgm:t>
        <a:bodyPr/>
        <a:lstStyle/>
        <a:p>
          <a:pPr>
            <a:buFont typeface="Arial" panose="020B0604020202020204" pitchFamily="34" charset="0"/>
            <a:buChar char="•"/>
          </a:pPr>
          <a:r>
            <a:rPr lang="en-US" b="0" i="0" err="1"/>
            <a:t>Anziehung</a:t>
          </a:r>
          <a:r>
            <a:rPr lang="en-US" b="0" i="0"/>
            <a:t> </a:t>
          </a:r>
          <a:r>
            <a:rPr lang="en-US" b="0" i="0" err="1"/>
            <a:t>junger</a:t>
          </a:r>
          <a:r>
            <a:rPr lang="en-US" b="0" i="0"/>
            <a:t>, </a:t>
          </a:r>
          <a:r>
            <a:rPr lang="en-US" b="0" i="0" err="1"/>
            <a:t>kreativer</a:t>
          </a:r>
          <a:r>
            <a:rPr lang="en-US" b="0" i="0"/>
            <a:t> </a:t>
          </a:r>
          <a:r>
            <a:rPr lang="en-US" b="0" i="0" err="1"/>
            <a:t>Talente</a:t>
          </a:r>
          <a:r>
            <a:rPr lang="en-US" b="0" i="0"/>
            <a:t>, </a:t>
          </a:r>
          <a:r>
            <a:rPr lang="en-US" b="0" i="0" err="1"/>
            <a:t>jedoch</a:t>
          </a:r>
          <a:r>
            <a:rPr lang="en-US" b="0" i="0"/>
            <a:t> </a:t>
          </a:r>
          <a:r>
            <a:rPr lang="en-US" b="0" i="0" err="1"/>
            <a:t>auch</a:t>
          </a:r>
          <a:r>
            <a:rPr lang="en-US" b="0" i="0"/>
            <a:t> </a:t>
          </a:r>
          <a:r>
            <a:rPr lang="en-US" b="0" i="0" err="1"/>
            <a:t>Kontroversen</a:t>
          </a:r>
          <a:r>
            <a:rPr lang="en-US" b="0" i="0"/>
            <a:t> und </a:t>
          </a:r>
          <a:r>
            <a:rPr lang="en-US" b="0" i="0" err="1"/>
            <a:t>Ethikfragen</a:t>
          </a:r>
          <a:r>
            <a:rPr lang="en-US" b="0" i="0"/>
            <a:t>.</a:t>
          </a:r>
        </a:p>
      </dgm:t>
    </dgm:pt>
    <dgm:pt modelId="{2F333ED6-4B2C-4DB0-A48F-6027A6B6CC10}" type="parTrans" cxnId="{32FE1DCF-E609-47C5-87FB-F9BB478CA75D}">
      <dgm:prSet/>
      <dgm:spPr/>
      <dgm:t>
        <a:bodyPr/>
        <a:lstStyle/>
        <a:p>
          <a:endParaRPr lang="de-DE"/>
        </a:p>
      </dgm:t>
    </dgm:pt>
    <dgm:pt modelId="{55EEE09D-0B3E-42A1-9871-255D0B280597}" type="sibTrans" cxnId="{32FE1DCF-E609-47C5-87FB-F9BB478CA75D}">
      <dgm:prSet/>
      <dgm:spPr/>
      <dgm:t>
        <a:bodyPr/>
        <a:lstStyle/>
        <a:p>
          <a:endParaRPr lang="de-DE"/>
        </a:p>
      </dgm:t>
    </dgm:pt>
    <dgm:pt modelId="{A7DC8264-B9DB-43DF-81B2-28EDBDC51FE8}">
      <dgm:prSet/>
      <dgm:spPr/>
      <dgm:t>
        <a:bodyPr/>
        <a:lstStyle/>
        <a:p>
          <a:pPr>
            <a:buFont typeface="Arial" panose="020B0604020202020204" pitchFamily="34" charset="0"/>
            <a:buChar char="•"/>
          </a:pPr>
          <a:r>
            <a:rPr lang="en-US" b="0" i="0" err="1"/>
            <a:t>Bemühungen</a:t>
          </a:r>
          <a:r>
            <a:rPr lang="en-US" b="0" i="0"/>
            <a:t> um </a:t>
          </a:r>
          <a:r>
            <a:rPr lang="en-US" b="0" i="0" err="1"/>
            <a:t>Verbesserung</a:t>
          </a:r>
          <a:r>
            <a:rPr lang="en-US" b="0" i="0"/>
            <a:t> der </a:t>
          </a:r>
          <a:r>
            <a:rPr lang="en-US" b="0" i="0" err="1"/>
            <a:t>Unternehmenskultur</a:t>
          </a:r>
          <a:r>
            <a:rPr lang="en-US" b="0" i="0"/>
            <a:t> in den </a:t>
          </a:r>
          <a:r>
            <a:rPr lang="en-US" b="0" i="0" err="1"/>
            <a:t>letzten</a:t>
          </a:r>
          <a:r>
            <a:rPr lang="en-US" b="0" i="0"/>
            <a:t> Jahren.</a:t>
          </a:r>
        </a:p>
      </dgm:t>
    </dgm:pt>
    <dgm:pt modelId="{B33B5377-601F-4A27-9A81-DF07A7C5D7D8}" type="parTrans" cxnId="{189DD249-58C6-4D63-AF68-0B1EAC1D3779}">
      <dgm:prSet/>
      <dgm:spPr/>
      <dgm:t>
        <a:bodyPr/>
        <a:lstStyle/>
        <a:p>
          <a:endParaRPr lang="de-DE"/>
        </a:p>
      </dgm:t>
    </dgm:pt>
    <dgm:pt modelId="{E1E0D4DC-F129-48B2-90F6-9B10BB7CDC19}" type="sibTrans" cxnId="{189DD249-58C6-4D63-AF68-0B1EAC1D3779}">
      <dgm:prSet/>
      <dgm:spPr/>
      <dgm:t>
        <a:bodyPr/>
        <a:lstStyle/>
        <a:p>
          <a:endParaRPr lang="de-DE"/>
        </a:p>
      </dgm:t>
    </dgm:pt>
    <dgm:pt modelId="{644C7F76-96F0-49BF-9566-70DC23647D42}" type="pres">
      <dgm:prSet presAssocID="{37894F39-89E1-4ACA-953B-FC577456E818}" presName="linear" presStyleCnt="0">
        <dgm:presLayoutVars>
          <dgm:dir/>
          <dgm:animLvl val="lvl"/>
          <dgm:resizeHandles val="exact"/>
        </dgm:presLayoutVars>
      </dgm:prSet>
      <dgm:spPr/>
    </dgm:pt>
    <dgm:pt modelId="{9117E56E-7887-49F6-8705-1A21405FC293}" type="pres">
      <dgm:prSet presAssocID="{E0376298-AD9F-4D7F-851E-2BFCEAD654B6}" presName="parentLin" presStyleCnt="0"/>
      <dgm:spPr/>
    </dgm:pt>
    <dgm:pt modelId="{D48B8E28-942A-4F04-B318-6E5C8B5BFA9B}" type="pres">
      <dgm:prSet presAssocID="{E0376298-AD9F-4D7F-851E-2BFCEAD654B6}" presName="parentLeftMargin" presStyleLbl="node1" presStyleIdx="0" presStyleCnt="3"/>
      <dgm:spPr/>
    </dgm:pt>
    <dgm:pt modelId="{952F2A58-A577-4DA7-AA9D-6848602C7EEC}" type="pres">
      <dgm:prSet presAssocID="{E0376298-AD9F-4D7F-851E-2BFCEAD654B6}" presName="parentText" presStyleLbl="node1" presStyleIdx="0" presStyleCnt="3">
        <dgm:presLayoutVars>
          <dgm:chMax val="0"/>
          <dgm:bulletEnabled val="1"/>
        </dgm:presLayoutVars>
      </dgm:prSet>
      <dgm:spPr/>
    </dgm:pt>
    <dgm:pt modelId="{3AB6134E-6FDF-4BCA-87EC-D5BF79DF6726}" type="pres">
      <dgm:prSet presAssocID="{E0376298-AD9F-4D7F-851E-2BFCEAD654B6}" presName="negativeSpace" presStyleCnt="0"/>
      <dgm:spPr/>
    </dgm:pt>
    <dgm:pt modelId="{B7C43945-EE10-4348-9C18-DB88A08E286F}" type="pres">
      <dgm:prSet presAssocID="{E0376298-AD9F-4D7F-851E-2BFCEAD654B6}" presName="childText" presStyleLbl="conFgAcc1" presStyleIdx="0" presStyleCnt="3">
        <dgm:presLayoutVars>
          <dgm:bulletEnabled val="1"/>
        </dgm:presLayoutVars>
      </dgm:prSet>
      <dgm:spPr/>
    </dgm:pt>
    <dgm:pt modelId="{C8A576CF-35AC-484D-B5A4-E6D2451121E7}" type="pres">
      <dgm:prSet presAssocID="{82F4D2D7-C73D-46F4-9D58-26945F27F99E}" presName="spaceBetweenRectangles" presStyleCnt="0"/>
      <dgm:spPr/>
    </dgm:pt>
    <dgm:pt modelId="{8B41CE2C-5073-4DBD-9BA7-9B5E40722948}" type="pres">
      <dgm:prSet presAssocID="{B8DA3F03-3DE7-465D-8F57-CB080FAF8124}" presName="parentLin" presStyleCnt="0"/>
      <dgm:spPr/>
    </dgm:pt>
    <dgm:pt modelId="{CA6AACF8-66C7-4A5D-8608-5E112FE03F8D}" type="pres">
      <dgm:prSet presAssocID="{B8DA3F03-3DE7-465D-8F57-CB080FAF8124}" presName="parentLeftMargin" presStyleLbl="node1" presStyleIdx="0" presStyleCnt="3"/>
      <dgm:spPr/>
    </dgm:pt>
    <dgm:pt modelId="{F501C350-990F-4880-B220-F830BF407773}" type="pres">
      <dgm:prSet presAssocID="{B8DA3F03-3DE7-465D-8F57-CB080FAF8124}" presName="parentText" presStyleLbl="node1" presStyleIdx="1" presStyleCnt="3">
        <dgm:presLayoutVars>
          <dgm:chMax val="0"/>
          <dgm:bulletEnabled val="1"/>
        </dgm:presLayoutVars>
      </dgm:prSet>
      <dgm:spPr/>
    </dgm:pt>
    <dgm:pt modelId="{87E9DBA8-B55C-4CDD-8F9C-3A2750005EC3}" type="pres">
      <dgm:prSet presAssocID="{B8DA3F03-3DE7-465D-8F57-CB080FAF8124}" presName="negativeSpace" presStyleCnt="0"/>
      <dgm:spPr/>
    </dgm:pt>
    <dgm:pt modelId="{CF472498-BCA1-4929-B705-FF7F4E9C46ED}" type="pres">
      <dgm:prSet presAssocID="{B8DA3F03-3DE7-465D-8F57-CB080FAF8124}" presName="childText" presStyleLbl="conFgAcc1" presStyleIdx="1" presStyleCnt="3">
        <dgm:presLayoutVars>
          <dgm:bulletEnabled val="1"/>
        </dgm:presLayoutVars>
      </dgm:prSet>
      <dgm:spPr/>
    </dgm:pt>
    <dgm:pt modelId="{6FF403CB-AF5C-4AB3-83F7-CE02FC0BEC6C}" type="pres">
      <dgm:prSet presAssocID="{81629234-134C-474B-A90E-B30D4A921FD7}" presName="spaceBetweenRectangles" presStyleCnt="0"/>
      <dgm:spPr/>
    </dgm:pt>
    <dgm:pt modelId="{C1B68F92-42C0-4F09-A89F-4BEEBD86D125}" type="pres">
      <dgm:prSet presAssocID="{89691C2E-E56D-4B56-B3F4-BF35524A13F4}" presName="parentLin" presStyleCnt="0"/>
      <dgm:spPr/>
    </dgm:pt>
    <dgm:pt modelId="{50C8A2B2-7A7C-4709-A49D-ED26E470235B}" type="pres">
      <dgm:prSet presAssocID="{89691C2E-E56D-4B56-B3F4-BF35524A13F4}" presName="parentLeftMargin" presStyleLbl="node1" presStyleIdx="1" presStyleCnt="3"/>
      <dgm:spPr/>
    </dgm:pt>
    <dgm:pt modelId="{E6479689-3F50-4CCE-8978-12EDDE4F4290}" type="pres">
      <dgm:prSet presAssocID="{89691C2E-E56D-4B56-B3F4-BF35524A13F4}" presName="parentText" presStyleLbl="node1" presStyleIdx="2" presStyleCnt="3">
        <dgm:presLayoutVars>
          <dgm:chMax val="0"/>
          <dgm:bulletEnabled val="1"/>
        </dgm:presLayoutVars>
      </dgm:prSet>
      <dgm:spPr/>
    </dgm:pt>
    <dgm:pt modelId="{EFD5C4B2-80B2-4D17-A025-9AF8AA2DEAEC}" type="pres">
      <dgm:prSet presAssocID="{89691C2E-E56D-4B56-B3F4-BF35524A13F4}" presName="negativeSpace" presStyleCnt="0"/>
      <dgm:spPr/>
    </dgm:pt>
    <dgm:pt modelId="{0BA120E5-3691-4D4C-A00F-54E72E511A71}" type="pres">
      <dgm:prSet presAssocID="{89691C2E-E56D-4B56-B3F4-BF35524A13F4}" presName="childText" presStyleLbl="conFgAcc1" presStyleIdx="2" presStyleCnt="3">
        <dgm:presLayoutVars>
          <dgm:bulletEnabled val="1"/>
        </dgm:presLayoutVars>
      </dgm:prSet>
      <dgm:spPr/>
    </dgm:pt>
  </dgm:ptLst>
  <dgm:cxnLst>
    <dgm:cxn modelId="{979B3505-1034-4448-8FBC-07485F58C9E1}" type="presOf" srcId="{9D2DF78B-7B06-4B5F-95DD-F582CFA72F5F}" destId="{0BA120E5-3691-4D4C-A00F-54E72E511A71}" srcOrd="0" destOrd="1" presId="urn:microsoft.com/office/officeart/2005/8/layout/list1"/>
    <dgm:cxn modelId="{529C5606-56E3-47FE-89A8-B1B8F79ECDBC}" srcId="{B8DA3F03-3DE7-465D-8F57-CB080FAF8124}" destId="{C2D15E16-8976-4FAB-96E7-6618106F274F}" srcOrd="0" destOrd="0" parTransId="{4ADA5302-11CB-438B-B656-75A2D900E924}" sibTransId="{4DDDC502-76B4-48DD-8FE5-11D886003E5F}"/>
    <dgm:cxn modelId="{2A0EA507-DF47-4019-B25A-46E24EB14CBC}" type="presOf" srcId="{38BAA321-EB4F-4523-89F3-2E518F4404BB}" destId="{B7C43945-EE10-4348-9C18-DB88A08E286F}" srcOrd="0" destOrd="0" presId="urn:microsoft.com/office/officeart/2005/8/layout/list1"/>
    <dgm:cxn modelId="{7AD47308-3A75-4EA0-8C0B-EF89DF19203F}" type="presOf" srcId="{A7DC8264-B9DB-43DF-81B2-28EDBDC51FE8}" destId="{0BA120E5-3691-4D4C-A00F-54E72E511A71}" srcOrd="0" destOrd="2" presId="urn:microsoft.com/office/officeart/2005/8/layout/list1"/>
    <dgm:cxn modelId="{417AB62C-9738-4217-B4FC-DD5E9F262D61}" srcId="{B8DA3F03-3DE7-465D-8F57-CB080FAF8124}" destId="{EDE3CC83-84AA-4307-8F54-41EFCCBCCC08}" srcOrd="1" destOrd="0" parTransId="{0AC2AE49-08B1-49E5-9639-16C1172E1112}" sibTransId="{9EE9F73A-B8E0-4997-B114-662524116B07}"/>
    <dgm:cxn modelId="{C1501733-3BE2-4534-A268-352D5884B22D}" type="presOf" srcId="{B8DA3F03-3DE7-465D-8F57-CB080FAF8124}" destId="{CA6AACF8-66C7-4A5D-8608-5E112FE03F8D}" srcOrd="0" destOrd="0" presId="urn:microsoft.com/office/officeart/2005/8/layout/list1"/>
    <dgm:cxn modelId="{D5D75C33-5BC1-491B-9B87-802CB557FDB7}" type="presOf" srcId="{7213E1DD-42DD-48BB-A1AD-BEB95A670CC8}" destId="{B7C43945-EE10-4348-9C18-DB88A08E286F}" srcOrd="0" destOrd="1" presId="urn:microsoft.com/office/officeart/2005/8/layout/list1"/>
    <dgm:cxn modelId="{DBD8AB5D-A454-4686-AC7A-24048F0D68DE}" srcId="{37894F39-89E1-4ACA-953B-FC577456E818}" destId="{E0376298-AD9F-4D7F-851E-2BFCEAD654B6}" srcOrd="0" destOrd="0" parTransId="{2414A8DE-3ABB-4F6B-A2AE-79A01C3AE0B1}" sibTransId="{82F4D2D7-C73D-46F4-9D58-26945F27F99E}"/>
    <dgm:cxn modelId="{189DD249-58C6-4D63-AF68-0B1EAC1D3779}" srcId="{89691C2E-E56D-4B56-B3F4-BF35524A13F4}" destId="{A7DC8264-B9DB-43DF-81B2-28EDBDC51FE8}" srcOrd="2" destOrd="0" parTransId="{B33B5377-601F-4A27-9A81-DF07A7C5D7D8}" sibTransId="{E1E0D4DC-F129-48B2-90F6-9B10BB7CDC19}"/>
    <dgm:cxn modelId="{9D66756A-C550-4FC2-8884-D017D3E7C3FF}" type="presOf" srcId="{AF82273A-3BD5-4765-B1C0-A9CB9DB61C24}" destId="{B7C43945-EE10-4348-9C18-DB88A08E286F}" srcOrd="0" destOrd="2" presId="urn:microsoft.com/office/officeart/2005/8/layout/list1"/>
    <dgm:cxn modelId="{3EDDE654-9F24-4B71-9F02-F4BA5640ABAA}" type="presOf" srcId="{B8DA3F03-3DE7-465D-8F57-CB080FAF8124}" destId="{F501C350-990F-4880-B220-F830BF407773}" srcOrd="1" destOrd="0" presId="urn:microsoft.com/office/officeart/2005/8/layout/list1"/>
    <dgm:cxn modelId="{173EFC76-03BD-403B-ABF9-49E4ED5C3B32}" srcId="{E0376298-AD9F-4D7F-851E-2BFCEAD654B6}" destId="{AF82273A-3BD5-4765-B1C0-A9CB9DB61C24}" srcOrd="2" destOrd="0" parTransId="{F3BF400D-0A92-450E-BB6C-456B6463AEBD}" sibTransId="{3B36168A-18EB-49BD-8BEA-7708D4B3392D}"/>
    <dgm:cxn modelId="{232A155A-16E3-4477-96B2-91BD761AC515}" type="presOf" srcId="{09E77722-62DD-4301-ABAD-C2F29A483FDF}" destId="{CF472498-BCA1-4929-B705-FF7F4E9C46ED}" srcOrd="0" destOrd="2" presId="urn:microsoft.com/office/officeart/2005/8/layout/list1"/>
    <dgm:cxn modelId="{0047BB7D-0E94-4787-B640-BD6DB1F75567}" type="presOf" srcId="{89691C2E-E56D-4B56-B3F4-BF35524A13F4}" destId="{50C8A2B2-7A7C-4709-A49D-ED26E470235B}" srcOrd="0" destOrd="0" presId="urn:microsoft.com/office/officeart/2005/8/layout/list1"/>
    <dgm:cxn modelId="{D6B6A782-7224-4AF8-B73F-E759FADB8924}" srcId="{E0376298-AD9F-4D7F-851E-2BFCEAD654B6}" destId="{7213E1DD-42DD-48BB-A1AD-BEB95A670CC8}" srcOrd="1" destOrd="0" parTransId="{3259DA16-1E7D-46C3-9CF7-51F2F56FDE69}" sibTransId="{2CB6753D-55E6-411B-BEC6-7D97C578CCC0}"/>
    <dgm:cxn modelId="{D65A3A93-F52F-4BDB-8C98-6B1186B4AFCA}" type="presOf" srcId="{37894F39-89E1-4ACA-953B-FC577456E818}" destId="{644C7F76-96F0-49BF-9566-70DC23647D42}" srcOrd="0" destOrd="0" presId="urn:microsoft.com/office/officeart/2005/8/layout/list1"/>
    <dgm:cxn modelId="{86B7DD98-D2A9-4BA8-98C7-69896D965640}" type="presOf" srcId="{E0376298-AD9F-4D7F-851E-2BFCEAD654B6}" destId="{D48B8E28-942A-4F04-B318-6E5C8B5BFA9B}" srcOrd="0" destOrd="0" presId="urn:microsoft.com/office/officeart/2005/8/layout/list1"/>
    <dgm:cxn modelId="{989F6CA0-7C9F-4EDF-97A3-E2AD56B9C450}" type="presOf" srcId="{E0376298-AD9F-4D7F-851E-2BFCEAD654B6}" destId="{952F2A58-A577-4DA7-AA9D-6848602C7EEC}" srcOrd="1" destOrd="0" presId="urn:microsoft.com/office/officeart/2005/8/layout/list1"/>
    <dgm:cxn modelId="{26B757A1-361E-4F8C-88CC-8EA262A94A66}" srcId="{B8DA3F03-3DE7-465D-8F57-CB080FAF8124}" destId="{09E77722-62DD-4301-ABAD-C2F29A483FDF}" srcOrd="2" destOrd="0" parTransId="{3109CC89-DC7C-4503-A95B-D5B5BD5BF980}" sibTransId="{BE926912-9871-46E8-9455-21C2D7D57373}"/>
    <dgm:cxn modelId="{CEE98CA3-170D-4B2F-9705-1F2FF6DDE051}" srcId="{89691C2E-E56D-4B56-B3F4-BF35524A13F4}" destId="{9AAEBC29-D4AE-4200-9D51-C048A40402A1}" srcOrd="0" destOrd="0" parTransId="{73398B2B-692C-4AFF-B0A1-610E9BC6A485}" sibTransId="{061A2898-4F16-43AD-9F2C-CE8D1683FA7A}"/>
    <dgm:cxn modelId="{4185EFA6-98DE-41A4-A9CB-11CB3801D778}" type="presOf" srcId="{EDE3CC83-84AA-4307-8F54-41EFCCBCCC08}" destId="{CF472498-BCA1-4929-B705-FF7F4E9C46ED}" srcOrd="0" destOrd="1" presId="urn:microsoft.com/office/officeart/2005/8/layout/list1"/>
    <dgm:cxn modelId="{BB344FBA-7023-4C61-8352-7E2781860EED}" type="presOf" srcId="{C2D15E16-8976-4FAB-96E7-6618106F274F}" destId="{CF472498-BCA1-4929-B705-FF7F4E9C46ED}" srcOrd="0" destOrd="0" presId="urn:microsoft.com/office/officeart/2005/8/layout/list1"/>
    <dgm:cxn modelId="{C692DDC5-37A3-4920-8B03-81D2811050DA}" srcId="{E0376298-AD9F-4D7F-851E-2BFCEAD654B6}" destId="{38BAA321-EB4F-4523-89F3-2E518F4404BB}" srcOrd="0" destOrd="0" parTransId="{84B72DCB-6904-469B-821B-51D10F571F44}" sibTransId="{F23CA7D8-12F0-4E3A-B91A-42D96A8DBF31}"/>
    <dgm:cxn modelId="{69CFCECE-59DC-4E79-9D38-BDE36992E2BC}" type="presOf" srcId="{9AAEBC29-D4AE-4200-9D51-C048A40402A1}" destId="{0BA120E5-3691-4D4C-A00F-54E72E511A71}" srcOrd="0" destOrd="0" presId="urn:microsoft.com/office/officeart/2005/8/layout/list1"/>
    <dgm:cxn modelId="{32FE1DCF-E609-47C5-87FB-F9BB478CA75D}" srcId="{89691C2E-E56D-4B56-B3F4-BF35524A13F4}" destId="{9D2DF78B-7B06-4B5F-95DD-F582CFA72F5F}" srcOrd="1" destOrd="0" parTransId="{2F333ED6-4B2C-4DB0-A48F-6027A6B6CC10}" sibTransId="{55EEE09D-0B3E-42A1-9871-255D0B280597}"/>
    <dgm:cxn modelId="{6DA899DC-8B47-4D95-88E8-9E8A3EEC3C34}" srcId="{37894F39-89E1-4ACA-953B-FC577456E818}" destId="{89691C2E-E56D-4B56-B3F4-BF35524A13F4}" srcOrd="2" destOrd="0" parTransId="{CB14234C-2189-45E2-B50C-A303B15741B8}" sibTransId="{7F01E9C0-5148-4F5A-9D90-46F4BDB5FE3F}"/>
    <dgm:cxn modelId="{9C98C2E3-6378-4132-92D5-2CAA837B2AE9}" srcId="{37894F39-89E1-4ACA-953B-FC577456E818}" destId="{B8DA3F03-3DE7-465D-8F57-CB080FAF8124}" srcOrd="1" destOrd="0" parTransId="{1ADFA853-31CA-46A5-BACC-0E623CBB1E34}" sibTransId="{81629234-134C-474B-A90E-B30D4A921FD7}"/>
    <dgm:cxn modelId="{F3D80BE6-C046-4689-A3EB-A513092366BD}" type="presOf" srcId="{89691C2E-E56D-4B56-B3F4-BF35524A13F4}" destId="{E6479689-3F50-4CCE-8978-12EDDE4F4290}" srcOrd="1" destOrd="0" presId="urn:microsoft.com/office/officeart/2005/8/layout/list1"/>
    <dgm:cxn modelId="{D23D141D-CC24-4E9D-964C-E335F6709D23}" type="presParOf" srcId="{644C7F76-96F0-49BF-9566-70DC23647D42}" destId="{9117E56E-7887-49F6-8705-1A21405FC293}" srcOrd="0" destOrd="0" presId="urn:microsoft.com/office/officeart/2005/8/layout/list1"/>
    <dgm:cxn modelId="{C0EF3765-F22A-4F31-AE7E-11FF80F35BEC}" type="presParOf" srcId="{9117E56E-7887-49F6-8705-1A21405FC293}" destId="{D48B8E28-942A-4F04-B318-6E5C8B5BFA9B}" srcOrd="0" destOrd="0" presId="urn:microsoft.com/office/officeart/2005/8/layout/list1"/>
    <dgm:cxn modelId="{6BB10B6B-98C2-406B-B823-69F6C298B2A9}" type="presParOf" srcId="{9117E56E-7887-49F6-8705-1A21405FC293}" destId="{952F2A58-A577-4DA7-AA9D-6848602C7EEC}" srcOrd="1" destOrd="0" presId="urn:microsoft.com/office/officeart/2005/8/layout/list1"/>
    <dgm:cxn modelId="{96C15E1B-8C30-4B7E-B980-D9AAEB61A370}" type="presParOf" srcId="{644C7F76-96F0-49BF-9566-70DC23647D42}" destId="{3AB6134E-6FDF-4BCA-87EC-D5BF79DF6726}" srcOrd="1" destOrd="0" presId="urn:microsoft.com/office/officeart/2005/8/layout/list1"/>
    <dgm:cxn modelId="{939EFB51-1746-4C7E-BEF6-643BD05293F6}" type="presParOf" srcId="{644C7F76-96F0-49BF-9566-70DC23647D42}" destId="{B7C43945-EE10-4348-9C18-DB88A08E286F}" srcOrd="2" destOrd="0" presId="urn:microsoft.com/office/officeart/2005/8/layout/list1"/>
    <dgm:cxn modelId="{45552898-1149-4A21-93E6-F2379A9D960C}" type="presParOf" srcId="{644C7F76-96F0-49BF-9566-70DC23647D42}" destId="{C8A576CF-35AC-484D-B5A4-E6D2451121E7}" srcOrd="3" destOrd="0" presId="urn:microsoft.com/office/officeart/2005/8/layout/list1"/>
    <dgm:cxn modelId="{E57DCBD3-1C4E-470D-9EAE-03B00AD2490C}" type="presParOf" srcId="{644C7F76-96F0-49BF-9566-70DC23647D42}" destId="{8B41CE2C-5073-4DBD-9BA7-9B5E40722948}" srcOrd="4" destOrd="0" presId="urn:microsoft.com/office/officeart/2005/8/layout/list1"/>
    <dgm:cxn modelId="{9912BE52-AB62-4228-9B7F-10FC22F3FEF3}" type="presParOf" srcId="{8B41CE2C-5073-4DBD-9BA7-9B5E40722948}" destId="{CA6AACF8-66C7-4A5D-8608-5E112FE03F8D}" srcOrd="0" destOrd="0" presId="urn:microsoft.com/office/officeart/2005/8/layout/list1"/>
    <dgm:cxn modelId="{1B49281D-0066-4075-8992-7EEC07921847}" type="presParOf" srcId="{8B41CE2C-5073-4DBD-9BA7-9B5E40722948}" destId="{F501C350-990F-4880-B220-F830BF407773}" srcOrd="1" destOrd="0" presId="urn:microsoft.com/office/officeart/2005/8/layout/list1"/>
    <dgm:cxn modelId="{C49CC38C-FD03-433F-A414-3F549622BE7A}" type="presParOf" srcId="{644C7F76-96F0-49BF-9566-70DC23647D42}" destId="{87E9DBA8-B55C-4CDD-8F9C-3A2750005EC3}" srcOrd="5" destOrd="0" presId="urn:microsoft.com/office/officeart/2005/8/layout/list1"/>
    <dgm:cxn modelId="{4866E59A-4714-45A9-9DAE-A3D002CD0D39}" type="presParOf" srcId="{644C7F76-96F0-49BF-9566-70DC23647D42}" destId="{CF472498-BCA1-4929-B705-FF7F4E9C46ED}" srcOrd="6" destOrd="0" presId="urn:microsoft.com/office/officeart/2005/8/layout/list1"/>
    <dgm:cxn modelId="{A5407F43-F011-4A7E-A01A-E3493E5B251C}" type="presParOf" srcId="{644C7F76-96F0-49BF-9566-70DC23647D42}" destId="{6FF403CB-AF5C-4AB3-83F7-CE02FC0BEC6C}" srcOrd="7" destOrd="0" presId="urn:microsoft.com/office/officeart/2005/8/layout/list1"/>
    <dgm:cxn modelId="{15CEA254-EFF1-47C6-963A-210F130E1BAE}" type="presParOf" srcId="{644C7F76-96F0-49BF-9566-70DC23647D42}" destId="{C1B68F92-42C0-4F09-A89F-4BEEBD86D125}" srcOrd="8" destOrd="0" presId="urn:microsoft.com/office/officeart/2005/8/layout/list1"/>
    <dgm:cxn modelId="{985A6603-684F-4A3E-BF7A-35AD3FD39FB9}" type="presParOf" srcId="{C1B68F92-42C0-4F09-A89F-4BEEBD86D125}" destId="{50C8A2B2-7A7C-4709-A49D-ED26E470235B}" srcOrd="0" destOrd="0" presId="urn:microsoft.com/office/officeart/2005/8/layout/list1"/>
    <dgm:cxn modelId="{BBD71FCA-20FE-4A4E-8CE2-DC6E79359C1D}" type="presParOf" srcId="{C1B68F92-42C0-4F09-A89F-4BEEBD86D125}" destId="{E6479689-3F50-4CCE-8978-12EDDE4F4290}" srcOrd="1" destOrd="0" presId="urn:microsoft.com/office/officeart/2005/8/layout/list1"/>
    <dgm:cxn modelId="{0967F559-E915-45FC-8C74-5E36C312A45B}" type="presParOf" srcId="{644C7F76-96F0-49BF-9566-70DC23647D42}" destId="{EFD5C4B2-80B2-4D17-A025-9AF8AA2DEAEC}" srcOrd="9" destOrd="0" presId="urn:microsoft.com/office/officeart/2005/8/layout/list1"/>
    <dgm:cxn modelId="{FBBF875D-6B11-4C4B-97F8-3886D8113205}" type="presParOf" srcId="{644C7F76-96F0-49BF-9566-70DC23647D42}" destId="{0BA120E5-3691-4D4C-A00F-54E72E511A71}"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9711217-9FEA-4CB9-8A24-928A56D88380}" type="doc">
      <dgm:prSet loTypeId="urn:microsoft.com/office/officeart/2005/8/layout/cycle2" loCatId="cycle" qsTypeId="urn:microsoft.com/office/officeart/2005/8/quickstyle/simple1" qsCatId="simple" csTypeId="urn:microsoft.com/office/officeart/2005/8/colors/accent0_1" csCatId="mainScheme" phldr="1"/>
      <dgm:spPr/>
      <dgm:t>
        <a:bodyPr/>
        <a:lstStyle/>
        <a:p>
          <a:endParaRPr lang="de-DE"/>
        </a:p>
      </dgm:t>
    </dgm:pt>
    <dgm:pt modelId="{C23EF15D-8374-4407-A232-BF789BB0317D}">
      <dgm:prSet phldrT="[Text]" custT="1">
        <dgm:style>
          <a:lnRef idx="2">
            <a:schemeClr val="dk1">
              <a:shade val="15000"/>
            </a:schemeClr>
          </a:lnRef>
          <a:fillRef idx="1">
            <a:schemeClr val="dk1"/>
          </a:fillRef>
          <a:effectRef idx="0">
            <a:schemeClr val="dk1"/>
          </a:effectRef>
          <a:fontRef idx="minor">
            <a:schemeClr val="lt1"/>
          </a:fontRef>
        </dgm:style>
      </dgm:prSet>
      <dgm:spPr>
        <a:solidFill>
          <a:schemeClr val="accent2">
            <a:lumMod val="40000"/>
            <a:lumOff val="60000"/>
          </a:schemeClr>
        </a:solidFill>
        <a:ln>
          <a:solidFill>
            <a:schemeClr val="accent2">
              <a:lumMod val="40000"/>
              <a:lumOff val="60000"/>
            </a:schemeClr>
          </a:solidFill>
        </a:ln>
      </dgm:spPr>
      <dgm:t>
        <a:bodyPr/>
        <a:lstStyle/>
        <a:p>
          <a:pPr marL="0" lvl="0" algn="ctr" defTabSz="444500">
            <a:lnSpc>
              <a:spcPct val="90000"/>
            </a:lnSpc>
            <a:spcBef>
              <a:spcPct val="0"/>
            </a:spcBef>
            <a:spcAft>
              <a:spcPct val="35000"/>
            </a:spcAft>
            <a:buNone/>
          </a:pPr>
          <a:endParaRPr lang="en-US" sz="1000" kern="1200"/>
        </a:p>
        <a:p>
          <a:pPr marL="0" lvl="0" indent="0" algn="ctr" defTabSz="444500">
            <a:lnSpc>
              <a:spcPct val="90000"/>
            </a:lnSpc>
            <a:spcBef>
              <a:spcPct val="0"/>
            </a:spcBef>
            <a:spcAft>
              <a:spcPct val="35000"/>
            </a:spcAft>
            <a:buNone/>
          </a:pPr>
          <a:r>
            <a:rPr lang="en-US" sz="1000" kern="1200">
              <a:solidFill>
                <a:srgbClr val="0065AD">
                  <a:hueOff val="0"/>
                  <a:satOff val="0"/>
                  <a:lumOff val="0"/>
                  <a:alphaOff val="0"/>
                </a:srgbClr>
              </a:solidFill>
              <a:latin typeface="Calibri" panose="020F0502020204030204"/>
              <a:ea typeface="+mn-ea"/>
              <a:cs typeface="+mn-cs"/>
            </a:rPr>
            <a:t>IDEE</a:t>
          </a:r>
        </a:p>
      </dgm:t>
    </dgm:pt>
    <dgm:pt modelId="{0BD7C76A-7BDE-49E8-AD5A-28F9800EA9EB}" type="parTrans" cxnId="{8BE31CDC-4EEA-40E7-9B24-4F0130907757}">
      <dgm:prSet/>
      <dgm:spPr/>
      <dgm:t>
        <a:bodyPr/>
        <a:lstStyle/>
        <a:p>
          <a:endParaRPr lang="de-DE"/>
        </a:p>
      </dgm:t>
    </dgm:pt>
    <dgm:pt modelId="{6F5B201F-FADA-4606-B2BD-076B2A72906F}" type="sibTrans" cxnId="{8BE31CDC-4EEA-40E7-9B24-4F0130907757}">
      <dgm:prSet/>
      <dgm:spPr/>
      <dgm:t>
        <a:bodyPr/>
        <a:lstStyle/>
        <a:p>
          <a:endParaRPr lang="de-DE"/>
        </a:p>
      </dgm:t>
    </dgm:pt>
    <dgm:pt modelId="{2CF9513A-E2B6-4FDF-8C1D-95172E0AC64F}">
      <dgm:prSet phldrT="[Text]" custT="1">
        <dgm:style>
          <a:lnRef idx="2">
            <a:schemeClr val="dk1">
              <a:shade val="15000"/>
            </a:schemeClr>
          </a:lnRef>
          <a:fillRef idx="1">
            <a:schemeClr val="dk1"/>
          </a:fillRef>
          <a:effectRef idx="0">
            <a:schemeClr val="dk1"/>
          </a:effectRef>
          <a:fontRef idx="minor">
            <a:schemeClr val="lt1"/>
          </a:fontRef>
        </dgm:style>
      </dgm:prSet>
      <dgm:spPr>
        <a:solidFill>
          <a:schemeClr val="accent2">
            <a:lumMod val="40000"/>
            <a:lumOff val="60000"/>
          </a:schemeClr>
        </a:solidFill>
        <a:ln>
          <a:solidFill>
            <a:schemeClr val="accent2">
              <a:lumMod val="40000"/>
              <a:lumOff val="60000"/>
            </a:schemeClr>
          </a:solidFill>
        </a:ln>
      </dgm:spPr>
      <dgm:t>
        <a:bodyPr/>
        <a:lstStyle/>
        <a:p>
          <a:endParaRPr lang="en-US" sz="1000" kern="1200"/>
        </a:p>
        <a:p>
          <a:r>
            <a:rPr lang="en-US" sz="1000" kern="1200">
              <a:solidFill>
                <a:srgbClr val="0065AD">
                  <a:hueOff val="0"/>
                  <a:satOff val="0"/>
                  <a:lumOff val="0"/>
                  <a:alphaOff val="0"/>
                </a:srgbClr>
              </a:solidFill>
              <a:latin typeface="Calibri" panose="020F0502020204030204"/>
              <a:ea typeface="+mn-ea"/>
              <a:cs typeface="+mn-cs"/>
            </a:rPr>
            <a:t>PRODUKT / MVP</a:t>
          </a:r>
        </a:p>
      </dgm:t>
    </dgm:pt>
    <dgm:pt modelId="{6B90E29C-ADEC-45BE-A2E1-EB48532F16B7}" type="parTrans" cxnId="{58D12BA4-BFF9-4151-AE5A-4E88C8555092}">
      <dgm:prSet/>
      <dgm:spPr/>
      <dgm:t>
        <a:bodyPr/>
        <a:lstStyle/>
        <a:p>
          <a:endParaRPr lang="de-DE"/>
        </a:p>
      </dgm:t>
    </dgm:pt>
    <dgm:pt modelId="{B87B606B-83FF-4EAF-AB3D-BE588FDCA66F}" type="sibTrans" cxnId="{58D12BA4-BFF9-4151-AE5A-4E88C8555092}">
      <dgm:prSet/>
      <dgm:spPr/>
      <dgm:t>
        <a:bodyPr/>
        <a:lstStyle/>
        <a:p>
          <a:endParaRPr lang="de-DE"/>
        </a:p>
      </dgm:t>
    </dgm:pt>
    <dgm:pt modelId="{4DF0AA68-5C3D-4EBD-829E-DDA9C89E0BC1}">
      <dgm:prSet phldrT="[Text]" custT="1">
        <dgm:style>
          <a:lnRef idx="2">
            <a:schemeClr val="dk1">
              <a:shade val="15000"/>
            </a:schemeClr>
          </a:lnRef>
          <a:fillRef idx="1">
            <a:schemeClr val="dk1"/>
          </a:fillRef>
          <a:effectRef idx="0">
            <a:schemeClr val="dk1"/>
          </a:effectRef>
          <a:fontRef idx="minor">
            <a:schemeClr val="lt1"/>
          </a:fontRef>
        </dgm:style>
      </dgm:prSet>
      <dgm:spPr>
        <a:solidFill>
          <a:schemeClr val="accent2">
            <a:lumMod val="40000"/>
            <a:lumOff val="60000"/>
          </a:schemeClr>
        </a:solidFill>
        <a:ln>
          <a:solidFill>
            <a:schemeClr val="accent2">
              <a:lumMod val="40000"/>
              <a:lumOff val="60000"/>
            </a:schemeClr>
          </a:solidFill>
        </a:ln>
      </dgm:spPr>
      <dgm:t>
        <a:bodyPr/>
        <a:lstStyle/>
        <a:p>
          <a:endParaRPr lang="en-US" sz="1200" kern="1200"/>
        </a:p>
        <a:p>
          <a:r>
            <a:rPr lang="en-US" sz="1200" kern="1200">
              <a:solidFill>
                <a:srgbClr val="0065AD">
                  <a:hueOff val="0"/>
                  <a:satOff val="0"/>
                  <a:lumOff val="0"/>
                  <a:alphaOff val="0"/>
                </a:srgbClr>
              </a:solidFill>
              <a:latin typeface="Calibri" panose="020F0502020204030204"/>
              <a:ea typeface="+mn-ea"/>
              <a:cs typeface="+mn-cs"/>
            </a:rPr>
            <a:t>DATEN</a:t>
          </a:r>
        </a:p>
      </dgm:t>
    </dgm:pt>
    <dgm:pt modelId="{88F5CAB7-BE16-41D3-A8E8-84C26F4D0414}" type="parTrans" cxnId="{EFB1CF54-BD64-44E6-82F8-2406968518BD}">
      <dgm:prSet/>
      <dgm:spPr/>
      <dgm:t>
        <a:bodyPr/>
        <a:lstStyle/>
        <a:p>
          <a:endParaRPr lang="de-DE"/>
        </a:p>
      </dgm:t>
    </dgm:pt>
    <dgm:pt modelId="{1DF65DC3-C3D1-4009-AE11-6FB23A4D3358}" type="sibTrans" cxnId="{EFB1CF54-BD64-44E6-82F8-2406968518BD}">
      <dgm:prSet/>
      <dgm:spPr/>
      <dgm:t>
        <a:bodyPr/>
        <a:lstStyle/>
        <a:p>
          <a:endParaRPr lang="de-DE"/>
        </a:p>
      </dgm:t>
    </dgm:pt>
    <dgm:pt modelId="{6EF89325-A218-45AE-BC95-92746B2A3258}">
      <dgm:prSet phldrT="[Text]">
        <dgm:style>
          <a:lnRef idx="2">
            <a:schemeClr val="dk1"/>
          </a:lnRef>
          <a:fillRef idx="1">
            <a:schemeClr val="lt1"/>
          </a:fillRef>
          <a:effectRef idx="0">
            <a:schemeClr val="dk1"/>
          </a:effectRef>
          <a:fontRef idx="minor">
            <a:schemeClr val="dk1"/>
          </a:fontRef>
        </dgm:style>
      </dgm:prSet>
      <dgm:spPr/>
      <dgm:t>
        <a:bodyPr/>
        <a:lstStyle/>
        <a:p>
          <a:r>
            <a:rPr lang="en-US"/>
            <a:t>BAUEN</a:t>
          </a:r>
        </a:p>
      </dgm:t>
    </dgm:pt>
    <dgm:pt modelId="{DFC7472E-1C9E-46F4-A532-193B951883CE}" type="parTrans" cxnId="{28856E73-1BC1-4946-A306-B4C252108333}">
      <dgm:prSet/>
      <dgm:spPr/>
      <dgm:t>
        <a:bodyPr/>
        <a:lstStyle/>
        <a:p>
          <a:endParaRPr lang="de-DE"/>
        </a:p>
      </dgm:t>
    </dgm:pt>
    <dgm:pt modelId="{3C1B1FF2-EB6A-454D-AFB4-13FC7A0CD4EA}" type="sibTrans" cxnId="{28856E73-1BC1-4946-A306-B4C252108333}">
      <dgm:prSet/>
      <dgm:spPr/>
      <dgm:t>
        <a:bodyPr/>
        <a:lstStyle/>
        <a:p>
          <a:endParaRPr lang="de-DE"/>
        </a:p>
      </dgm:t>
    </dgm:pt>
    <dgm:pt modelId="{777B9379-5435-421B-9C12-87F51DDB4558}">
      <dgm:prSet phldrT="[Text]">
        <dgm:style>
          <a:lnRef idx="2">
            <a:schemeClr val="dk1"/>
          </a:lnRef>
          <a:fillRef idx="1">
            <a:schemeClr val="lt1"/>
          </a:fillRef>
          <a:effectRef idx="0">
            <a:schemeClr val="dk1"/>
          </a:effectRef>
          <a:fontRef idx="minor">
            <a:schemeClr val="dk1"/>
          </a:fontRef>
        </dgm:style>
      </dgm:prSet>
      <dgm:spPr/>
      <dgm:t>
        <a:bodyPr/>
        <a:lstStyle/>
        <a:p>
          <a:r>
            <a:rPr lang="en-US"/>
            <a:t>MESSEN</a:t>
          </a:r>
        </a:p>
      </dgm:t>
    </dgm:pt>
    <dgm:pt modelId="{4C7E0A84-6DC8-49C3-9E8D-B1CB0E7D9C83}" type="parTrans" cxnId="{C3665BC9-DBF0-40FB-8904-5C3919354DC0}">
      <dgm:prSet/>
      <dgm:spPr/>
      <dgm:t>
        <a:bodyPr/>
        <a:lstStyle/>
        <a:p>
          <a:endParaRPr lang="de-DE"/>
        </a:p>
      </dgm:t>
    </dgm:pt>
    <dgm:pt modelId="{B32C50F4-AE5B-433E-8344-1751B8A35112}" type="sibTrans" cxnId="{C3665BC9-DBF0-40FB-8904-5C3919354DC0}">
      <dgm:prSet/>
      <dgm:spPr/>
      <dgm:t>
        <a:bodyPr/>
        <a:lstStyle/>
        <a:p>
          <a:endParaRPr lang="de-DE"/>
        </a:p>
      </dgm:t>
    </dgm:pt>
    <dgm:pt modelId="{01B10E5D-D69F-45F1-AF43-8FAC4809F283}">
      <dgm:prSet phldrT="[Text]">
        <dgm:style>
          <a:lnRef idx="2">
            <a:schemeClr val="dk1"/>
          </a:lnRef>
          <a:fillRef idx="1">
            <a:schemeClr val="lt1"/>
          </a:fillRef>
          <a:effectRef idx="0">
            <a:schemeClr val="dk1"/>
          </a:effectRef>
          <a:fontRef idx="minor">
            <a:schemeClr val="dk1"/>
          </a:fontRef>
        </dgm:style>
      </dgm:prSet>
      <dgm:spPr/>
      <dgm:t>
        <a:bodyPr/>
        <a:lstStyle/>
        <a:p>
          <a:r>
            <a:rPr lang="en-US"/>
            <a:t>LERNEN</a:t>
          </a:r>
        </a:p>
      </dgm:t>
    </dgm:pt>
    <dgm:pt modelId="{0F8C9245-2818-40BB-B8E6-9CF9C2231826}" type="parTrans" cxnId="{E127AE40-623D-4B0B-AF41-F5157B5ACC71}">
      <dgm:prSet/>
      <dgm:spPr/>
      <dgm:t>
        <a:bodyPr/>
        <a:lstStyle/>
        <a:p>
          <a:endParaRPr lang="de-DE"/>
        </a:p>
      </dgm:t>
    </dgm:pt>
    <dgm:pt modelId="{CE796D69-6AA4-4976-9F0F-64452098212A}" type="sibTrans" cxnId="{E127AE40-623D-4B0B-AF41-F5157B5ACC71}">
      <dgm:prSet/>
      <dgm:spPr/>
      <dgm:t>
        <a:bodyPr/>
        <a:lstStyle/>
        <a:p>
          <a:endParaRPr lang="de-DE"/>
        </a:p>
      </dgm:t>
    </dgm:pt>
    <dgm:pt modelId="{F8FC7ECE-A874-4256-997B-44067EC6EEB5}" type="pres">
      <dgm:prSet presAssocID="{69711217-9FEA-4CB9-8A24-928A56D88380}" presName="cycle" presStyleCnt="0">
        <dgm:presLayoutVars>
          <dgm:dir/>
          <dgm:resizeHandles val="exact"/>
        </dgm:presLayoutVars>
      </dgm:prSet>
      <dgm:spPr/>
    </dgm:pt>
    <dgm:pt modelId="{A2CA925D-02A4-41B5-912C-2BE6E69D17A5}" type="pres">
      <dgm:prSet presAssocID="{C23EF15D-8374-4407-A232-BF789BB0317D}" presName="node" presStyleLbl="node1" presStyleIdx="0" presStyleCnt="6">
        <dgm:presLayoutVars>
          <dgm:bulletEnabled val="1"/>
        </dgm:presLayoutVars>
      </dgm:prSet>
      <dgm:spPr/>
    </dgm:pt>
    <dgm:pt modelId="{6DCEC118-4EAC-483F-B7BC-88901A3185FE}" type="pres">
      <dgm:prSet presAssocID="{6F5B201F-FADA-4606-B2BD-076B2A72906F}" presName="sibTrans" presStyleLbl="sibTrans2D1" presStyleIdx="0" presStyleCnt="6"/>
      <dgm:spPr/>
    </dgm:pt>
    <dgm:pt modelId="{E0E67EF9-C7C2-43C1-8B56-210DFEFE53A0}" type="pres">
      <dgm:prSet presAssocID="{6F5B201F-FADA-4606-B2BD-076B2A72906F}" presName="connectorText" presStyleLbl="sibTrans2D1" presStyleIdx="0" presStyleCnt="6"/>
      <dgm:spPr/>
    </dgm:pt>
    <dgm:pt modelId="{253ED50B-0ADC-46A4-92C7-F8899F82989F}" type="pres">
      <dgm:prSet presAssocID="{6EF89325-A218-45AE-BC95-92746B2A3258}" presName="node" presStyleLbl="node1" presStyleIdx="1" presStyleCnt="6">
        <dgm:presLayoutVars>
          <dgm:bulletEnabled val="1"/>
        </dgm:presLayoutVars>
      </dgm:prSet>
      <dgm:spPr/>
    </dgm:pt>
    <dgm:pt modelId="{BC3C0B74-D1D2-46D4-8F35-A01B95B0AF44}" type="pres">
      <dgm:prSet presAssocID="{3C1B1FF2-EB6A-454D-AFB4-13FC7A0CD4EA}" presName="sibTrans" presStyleLbl="sibTrans2D1" presStyleIdx="1" presStyleCnt="6"/>
      <dgm:spPr/>
    </dgm:pt>
    <dgm:pt modelId="{D2AFF563-03CD-4A2F-9769-529C213702B4}" type="pres">
      <dgm:prSet presAssocID="{3C1B1FF2-EB6A-454D-AFB4-13FC7A0CD4EA}" presName="connectorText" presStyleLbl="sibTrans2D1" presStyleIdx="1" presStyleCnt="6"/>
      <dgm:spPr/>
    </dgm:pt>
    <dgm:pt modelId="{BE9A8D58-CBAA-4B44-90F7-27046B046BC4}" type="pres">
      <dgm:prSet presAssocID="{2CF9513A-E2B6-4FDF-8C1D-95172E0AC64F}" presName="node" presStyleLbl="node1" presStyleIdx="2" presStyleCnt="6">
        <dgm:presLayoutVars>
          <dgm:bulletEnabled val="1"/>
        </dgm:presLayoutVars>
      </dgm:prSet>
      <dgm:spPr/>
    </dgm:pt>
    <dgm:pt modelId="{F8E000A2-9858-4124-B7A4-EF0E1AD25271}" type="pres">
      <dgm:prSet presAssocID="{B87B606B-83FF-4EAF-AB3D-BE588FDCA66F}" presName="sibTrans" presStyleLbl="sibTrans2D1" presStyleIdx="2" presStyleCnt="6"/>
      <dgm:spPr/>
    </dgm:pt>
    <dgm:pt modelId="{1860D0A8-C177-4CBA-A1E0-4E1503335419}" type="pres">
      <dgm:prSet presAssocID="{B87B606B-83FF-4EAF-AB3D-BE588FDCA66F}" presName="connectorText" presStyleLbl="sibTrans2D1" presStyleIdx="2" presStyleCnt="6"/>
      <dgm:spPr/>
    </dgm:pt>
    <dgm:pt modelId="{934E1EA9-8565-4D57-9AF0-D5A5AC9768EC}" type="pres">
      <dgm:prSet presAssocID="{777B9379-5435-421B-9C12-87F51DDB4558}" presName="node" presStyleLbl="node1" presStyleIdx="3" presStyleCnt="6">
        <dgm:presLayoutVars>
          <dgm:bulletEnabled val="1"/>
        </dgm:presLayoutVars>
      </dgm:prSet>
      <dgm:spPr/>
    </dgm:pt>
    <dgm:pt modelId="{164A9CF0-89B3-4D3F-A88A-4C4935906862}" type="pres">
      <dgm:prSet presAssocID="{B32C50F4-AE5B-433E-8344-1751B8A35112}" presName="sibTrans" presStyleLbl="sibTrans2D1" presStyleIdx="3" presStyleCnt="6"/>
      <dgm:spPr/>
    </dgm:pt>
    <dgm:pt modelId="{D7F29FAA-09EF-4FCF-A2FC-47DCB804EEE3}" type="pres">
      <dgm:prSet presAssocID="{B32C50F4-AE5B-433E-8344-1751B8A35112}" presName="connectorText" presStyleLbl="sibTrans2D1" presStyleIdx="3" presStyleCnt="6"/>
      <dgm:spPr/>
    </dgm:pt>
    <dgm:pt modelId="{9DA07184-D1AB-4631-AC35-91E27F16DC8F}" type="pres">
      <dgm:prSet presAssocID="{4DF0AA68-5C3D-4EBD-829E-DDA9C89E0BC1}" presName="node" presStyleLbl="node1" presStyleIdx="4" presStyleCnt="6">
        <dgm:presLayoutVars>
          <dgm:bulletEnabled val="1"/>
        </dgm:presLayoutVars>
      </dgm:prSet>
      <dgm:spPr/>
    </dgm:pt>
    <dgm:pt modelId="{500B7657-ED0B-49E6-82D1-F21D9CAC25CA}" type="pres">
      <dgm:prSet presAssocID="{1DF65DC3-C3D1-4009-AE11-6FB23A4D3358}" presName="sibTrans" presStyleLbl="sibTrans2D1" presStyleIdx="4" presStyleCnt="6"/>
      <dgm:spPr/>
    </dgm:pt>
    <dgm:pt modelId="{594F1B99-9D7C-41DD-BDE5-3A71806A2870}" type="pres">
      <dgm:prSet presAssocID="{1DF65DC3-C3D1-4009-AE11-6FB23A4D3358}" presName="connectorText" presStyleLbl="sibTrans2D1" presStyleIdx="4" presStyleCnt="6"/>
      <dgm:spPr/>
    </dgm:pt>
    <dgm:pt modelId="{92612A3E-D540-41CB-BD31-C86F7B692208}" type="pres">
      <dgm:prSet presAssocID="{01B10E5D-D69F-45F1-AF43-8FAC4809F283}" presName="node" presStyleLbl="node1" presStyleIdx="5" presStyleCnt="6">
        <dgm:presLayoutVars>
          <dgm:bulletEnabled val="1"/>
        </dgm:presLayoutVars>
      </dgm:prSet>
      <dgm:spPr/>
    </dgm:pt>
    <dgm:pt modelId="{0824946E-4B5A-444D-83C0-6E0E7FE939C8}" type="pres">
      <dgm:prSet presAssocID="{CE796D69-6AA4-4976-9F0F-64452098212A}" presName="sibTrans" presStyleLbl="sibTrans2D1" presStyleIdx="5" presStyleCnt="6"/>
      <dgm:spPr/>
    </dgm:pt>
    <dgm:pt modelId="{B7941F1D-09DA-4156-8934-14C17490039F}" type="pres">
      <dgm:prSet presAssocID="{CE796D69-6AA4-4976-9F0F-64452098212A}" presName="connectorText" presStyleLbl="sibTrans2D1" presStyleIdx="5" presStyleCnt="6"/>
      <dgm:spPr/>
    </dgm:pt>
  </dgm:ptLst>
  <dgm:cxnLst>
    <dgm:cxn modelId="{74CE4316-A9ED-495B-AAE8-700D537560D6}" type="presOf" srcId="{3C1B1FF2-EB6A-454D-AFB4-13FC7A0CD4EA}" destId="{D2AFF563-03CD-4A2F-9769-529C213702B4}" srcOrd="1" destOrd="0" presId="urn:microsoft.com/office/officeart/2005/8/layout/cycle2"/>
    <dgm:cxn modelId="{CA2A9116-3241-444D-A37A-E249D806E174}" type="presOf" srcId="{6F5B201F-FADA-4606-B2BD-076B2A72906F}" destId="{6DCEC118-4EAC-483F-B7BC-88901A3185FE}" srcOrd="0" destOrd="0" presId="urn:microsoft.com/office/officeart/2005/8/layout/cycle2"/>
    <dgm:cxn modelId="{A0C3D917-3F05-45F8-93C2-8810A2EC4E8F}" type="presOf" srcId="{1DF65DC3-C3D1-4009-AE11-6FB23A4D3358}" destId="{594F1B99-9D7C-41DD-BDE5-3A71806A2870}" srcOrd="1" destOrd="0" presId="urn:microsoft.com/office/officeart/2005/8/layout/cycle2"/>
    <dgm:cxn modelId="{74F4001C-2D68-40A8-97A8-58D4B280EF26}" type="presOf" srcId="{CE796D69-6AA4-4976-9F0F-64452098212A}" destId="{0824946E-4B5A-444D-83C0-6E0E7FE939C8}" srcOrd="0" destOrd="0" presId="urn:microsoft.com/office/officeart/2005/8/layout/cycle2"/>
    <dgm:cxn modelId="{F4B60921-3439-4A06-8085-FEB95149D738}" type="presOf" srcId="{CE796D69-6AA4-4976-9F0F-64452098212A}" destId="{B7941F1D-09DA-4156-8934-14C17490039F}" srcOrd="1" destOrd="0" presId="urn:microsoft.com/office/officeart/2005/8/layout/cycle2"/>
    <dgm:cxn modelId="{9223F228-A795-496C-A10C-4E9C011DAE92}" type="presOf" srcId="{2CF9513A-E2B6-4FDF-8C1D-95172E0AC64F}" destId="{BE9A8D58-CBAA-4B44-90F7-27046B046BC4}" srcOrd="0" destOrd="0" presId="urn:microsoft.com/office/officeart/2005/8/layout/cycle2"/>
    <dgm:cxn modelId="{D7BF213E-2D27-4833-864D-4BB926CE54A9}" type="presOf" srcId="{1DF65DC3-C3D1-4009-AE11-6FB23A4D3358}" destId="{500B7657-ED0B-49E6-82D1-F21D9CAC25CA}" srcOrd="0" destOrd="0" presId="urn:microsoft.com/office/officeart/2005/8/layout/cycle2"/>
    <dgm:cxn modelId="{E127AE40-623D-4B0B-AF41-F5157B5ACC71}" srcId="{69711217-9FEA-4CB9-8A24-928A56D88380}" destId="{01B10E5D-D69F-45F1-AF43-8FAC4809F283}" srcOrd="5" destOrd="0" parTransId="{0F8C9245-2818-40BB-B8E6-9CF9C2231826}" sibTransId="{CE796D69-6AA4-4976-9F0F-64452098212A}"/>
    <dgm:cxn modelId="{7EA63864-36FD-4F43-BF3D-3D573940E2E0}" type="presOf" srcId="{B32C50F4-AE5B-433E-8344-1751B8A35112}" destId="{D7F29FAA-09EF-4FCF-A2FC-47DCB804EEE3}" srcOrd="1" destOrd="0" presId="urn:microsoft.com/office/officeart/2005/8/layout/cycle2"/>
    <dgm:cxn modelId="{090FA071-A7B1-48F6-A17A-5D68F881DED4}" type="presOf" srcId="{B32C50F4-AE5B-433E-8344-1751B8A35112}" destId="{164A9CF0-89B3-4D3F-A88A-4C4935906862}" srcOrd="0" destOrd="0" presId="urn:microsoft.com/office/officeart/2005/8/layout/cycle2"/>
    <dgm:cxn modelId="{28856E73-1BC1-4946-A306-B4C252108333}" srcId="{69711217-9FEA-4CB9-8A24-928A56D88380}" destId="{6EF89325-A218-45AE-BC95-92746B2A3258}" srcOrd="1" destOrd="0" parTransId="{DFC7472E-1C9E-46F4-A532-193B951883CE}" sibTransId="{3C1B1FF2-EB6A-454D-AFB4-13FC7A0CD4EA}"/>
    <dgm:cxn modelId="{EFB1CF54-BD64-44E6-82F8-2406968518BD}" srcId="{69711217-9FEA-4CB9-8A24-928A56D88380}" destId="{4DF0AA68-5C3D-4EBD-829E-DDA9C89E0BC1}" srcOrd="4" destOrd="0" parTransId="{88F5CAB7-BE16-41D3-A8E8-84C26F4D0414}" sibTransId="{1DF65DC3-C3D1-4009-AE11-6FB23A4D3358}"/>
    <dgm:cxn modelId="{FB62FA77-280F-421D-A3F0-DFD4382160DD}" type="presOf" srcId="{C23EF15D-8374-4407-A232-BF789BB0317D}" destId="{A2CA925D-02A4-41B5-912C-2BE6E69D17A5}" srcOrd="0" destOrd="0" presId="urn:microsoft.com/office/officeart/2005/8/layout/cycle2"/>
    <dgm:cxn modelId="{89DDA679-E728-4140-9456-6D3DED400AA5}" type="presOf" srcId="{69711217-9FEA-4CB9-8A24-928A56D88380}" destId="{F8FC7ECE-A874-4256-997B-44067EC6EEB5}" srcOrd="0" destOrd="0" presId="urn:microsoft.com/office/officeart/2005/8/layout/cycle2"/>
    <dgm:cxn modelId="{CC7C607F-B724-41EB-A6C6-F81C4CBA6C72}" type="presOf" srcId="{B87B606B-83FF-4EAF-AB3D-BE588FDCA66F}" destId="{1860D0A8-C177-4CBA-A1E0-4E1503335419}" srcOrd="1" destOrd="0" presId="urn:microsoft.com/office/officeart/2005/8/layout/cycle2"/>
    <dgm:cxn modelId="{9E49CC86-4176-4947-81B3-20B8ACCDEBFB}" type="presOf" srcId="{777B9379-5435-421B-9C12-87F51DDB4558}" destId="{934E1EA9-8565-4D57-9AF0-D5A5AC9768EC}" srcOrd="0" destOrd="0" presId="urn:microsoft.com/office/officeart/2005/8/layout/cycle2"/>
    <dgm:cxn modelId="{F18EF992-483D-47C0-9E17-E7D2318B8BE1}" type="presOf" srcId="{01B10E5D-D69F-45F1-AF43-8FAC4809F283}" destId="{92612A3E-D540-41CB-BD31-C86F7B692208}" srcOrd="0" destOrd="0" presId="urn:microsoft.com/office/officeart/2005/8/layout/cycle2"/>
    <dgm:cxn modelId="{8947D29E-0D80-4768-9A31-B1973EB20DFC}" type="presOf" srcId="{B87B606B-83FF-4EAF-AB3D-BE588FDCA66F}" destId="{F8E000A2-9858-4124-B7A4-EF0E1AD25271}" srcOrd="0" destOrd="0" presId="urn:microsoft.com/office/officeart/2005/8/layout/cycle2"/>
    <dgm:cxn modelId="{58D12BA4-BFF9-4151-AE5A-4E88C8555092}" srcId="{69711217-9FEA-4CB9-8A24-928A56D88380}" destId="{2CF9513A-E2B6-4FDF-8C1D-95172E0AC64F}" srcOrd="2" destOrd="0" parTransId="{6B90E29C-ADEC-45BE-A2E1-EB48532F16B7}" sibTransId="{B87B606B-83FF-4EAF-AB3D-BE588FDCA66F}"/>
    <dgm:cxn modelId="{7B9A26A8-831A-4E22-9854-2DCE539F3FB7}" type="presOf" srcId="{3C1B1FF2-EB6A-454D-AFB4-13FC7A0CD4EA}" destId="{BC3C0B74-D1D2-46D4-8F35-A01B95B0AF44}" srcOrd="0" destOrd="0" presId="urn:microsoft.com/office/officeart/2005/8/layout/cycle2"/>
    <dgm:cxn modelId="{E4DC4EB5-29D3-479B-802A-7958B4D6021E}" type="presOf" srcId="{6EF89325-A218-45AE-BC95-92746B2A3258}" destId="{253ED50B-0ADC-46A4-92C7-F8899F82989F}" srcOrd="0" destOrd="0" presId="urn:microsoft.com/office/officeart/2005/8/layout/cycle2"/>
    <dgm:cxn modelId="{C3665BC9-DBF0-40FB-8904-5C3919354DC0}" srcId="{69711217-9FEA-4CB9-8A24-928A56D88380}" destId="{777B9379-5435-421B-9C12-87F51DDB4558}" srcOrd="3" destOrd="0" parTransId="{4C7E0A84-6DC8-49C3-9E8D-B1CB0E7D9C83}" sibTransId="{B32C50F4-AE5B-433E-8344-1751B8A35112}"/>
    <dgm:cxn modelId="{FA5B7DD8-A4A2-47A6-8433-58F9EA6A1995}" type="presOf" srcId="{6F5B201F-FADA-4606-B2BD-076B2A72906F}" destId="{E0E67EF9-C7C2-43C1-8B56-210DFEFE53A0}" srcOrd="1" destOrd="0" presId="urn:microsoft.com/office/officeart/2005/8/layout/cycle2"/>
    <dgm:cxn modelId="{8BE31CDC-4EEA-40E7-9B24-4F0130907757}" srcId="{69711217-9FEA-4CB9-8A24-928A56D88380}" destId="{C23EF15D-8374-4407-A232-BF789BB0317D}" srcOrd="0" destOrd="0" parTransId="{0BD7C76A-7BDE-49E8-AD5A-28F9800EA9EB}" sibTransId="{6F5B201F-FADA-4606-B2BD-076B2A72906F}"/>
    <dgm:cxn modelId="{47ED8CF7-E09D-4E1B-8379-BE3CA7F64681}" type="presOf" srcId="{4DF0AA68-5C3D-4EBD-829E-DDA9C89E0BC1}" destId="{9DA07184-D1AB-4631-AC35-91E27F16DC8F}" srcOrd="0" destOrd="0" presId="urn:microsoft.com/office/officeart/2005/8/layout/cycle2"/>
    <dgm:cxn modelId="{6E34ACF3-8164-4BBB-8CAE-B6F68050F1AA}" type="presParOf" srcId="{F8FC7ECE-A874-4256-997B-44067EC6EEB5}" destId="{A2CA925D-02A4-41B5-912C-2BE6E69D17A5}" srcOrd="0" destOrd="0" presId="urn:microsoft.com/office/officeart/2005/8/layout/cycle2"/>
    <dgm:cxn modelId="{7AEE746E-DB76-428D-AC76-699D0E7EA389}" type="presParOf" srcId="{F8FC7ECE-A874-4256-997B-44067EC6EEB5}" destId="{6DCEC118-4EAC-483F-B7BC-88901A3185FE}" srcOrd="1" destOrd="0" presId="urn:microsoft.com/office/officeart/2005/8/layout/cycle2"/>
    <dgm:cxn modelId="{00363173-21C1-4D93-ACB9-3945BD150333}" type="presParOf" srcId="{6DCEC118-4EAC-483F-B7BC-88901A3185FE}" destId="{E0E67EF9-C7C2-43C1-8B56-210DFEFE53A0}" srcOrd="0" destOrd="0" presId="urn:microsoft.com/office/officeart/2005/8/layout/cycle2"/>
    <dgm:cxn modelId="{1E2FFEB6-283F-4DB8-BB4E-B6F4FFE8C451}" type="presParOf" srcId="{F8FC7ECE-A874-4256-997B-44067EC6EEB5}" destId="{253ED50B-0ADC-46A4-92C7-F8899F82989F}" srcOrd="2" destOrd="0" presId="urn:microsoft.com/office/officeart/2005/8/layout/cycle2"/>
    <dgm:cxn modelId="{FE217376-C0DD-4BB3-99A8-AB89A96400B5}" type="presParOf" srcId="{F8FC7ECE-A874-4256-997B-44067EC6EEB5}" destId="{BC3C0B74-D1D2-46D4-8F35-A01B95B0AF44}" srcOrd="3" destOrd="0" presId="urn:microsoft.com/office/officeart/2005/8/layout/cycle2"/>
    <dgm:cxn modelId="{EBFE38DA-D3EC-4F7C-BEEA-532CA9596447}" type="presParOf" srcId="{BC3C0B74-D1D2-46D4-8F35-A01B95B0AF44}" destId="{D2AFF563-03CD-4A2F-9769-529C213702B4}" srcOrd="0" destOrd="0" presId="urn:microsoft.com/office/officeart/2005/8/layout/cycle2"/>
    <dgm:cxn modelId="{D500FF58-BF79-4486-B112-CF3D82CC275A}" type="presParOf" srcId="{F8FC7ECE-A874-4256-997B-44067EC6EEB5}" destId="{BE9A8D58-CBAA-4B44-90F7-27046B046BC4}" srcOrd="4" destOrd="0" presId="urn:microsoft.com/office/officeart/2005/8/layout/cycle2"/>
    <dgm:cxn modelId="{934C5ACD-4EE7-4AA3-81E6-70540A6AE81D}" type="presParOf" srcId="{F8FC7ECE-A874-4256-997B-44067EC6EEB5}" destId="{F8E000A2-9858-4124-B7A4-EF0E1AD25271}" srcOrd="5" destOrd="0" presId="urn:microsoft.com/office/officeart/2005/8/layout/cycle2"/>
    <dgm:cxn modelId="{069DDB78-151B-471E-A13F-82D0D244FA48}" type="presParOf" srcId="{F8E000A2-9858-4124-B7A4-EF0E1AD25271}" destId="{1860D0A8-C177-4CBA-A1E0-4E1503335419}" srcOrd="0" destOrd="0" presId="urn:microsoft.com/office/officeart/2005/8/layout/cycle2"/>
    <dgm:cxn modelId="{34796060-5823-402C-BC57-A2DDD5DA9B93}" type="presParOf" srcId="{F8FC7ECE-A874-4256-997B-44067EC6EEB5}" destId="{934E1EA9-8565-4D57-9AF0-D5A5AC9768EC}" srcOrd="6" destOrd="0" presId="urn:microsoft.com/office/officeart/2005/8/layout/cycle2"/>
    <dgm:cxn modelId="{C754E387-D290-44C0-846F-CE38152E1F76}" type="presParOf" srcId="{F8FC7ECE-A874-4256-997B-44067EC6EEB5}" destId="{164A9CF0-89B3-4D3F-A88A-4C4935906862}" srcOrd="7" destOrd="0" presId="urn:microsoft.com/office/officeart/2005/8/layout/cycle2"/>
    <dgm:cxn modelId="{DD5375D8-D6C9-4B28-BC30-3B2798E12F59}" type="presParOf" srcId="{164A9CF0-89B3-4D3F-A88A-4C4935906862}" destId="{D7F29FAA-09EF-4FCF-A2FC-47DCB804EEE3}" srcOrd="0" destOrd="0" presId="urn:microsoft.com/office/officeart/2005/8/layout/cycle2"/>
    <dgm:cxn modelId="{652E4DF7-B970-413C-877C-9CEB3A331283}" type="presParOf" srcId="{F8FC7ECE-A874-4256-997B-44067EC6EEB5}" destId="{9DA07184-D1AB-4631-AC35-91E27F16DC8F}" srcOrd="8" destOrd="0" presId="urn:microsoft.com/office/officeart/2005/8/layout/cycle2"/>
    <dgm:cxn modelId="{4258173A-6B06-4D83-8927-1F1AA0173F70}" type="presParOf" srcId="{F8FC7ECE-A874-4256-997B-44067EC6EEB5}" destId="{500B7657-ED0B-49E6-82D1-F21D9CAC25CA}" srcOrd="9" destOrd="0" presId="urn:microsoft.com/office/officeart/2005/8/layout/cycle2"/>
    <dgm:cxn modelId="{7916DDD8-74EC-46CB-B493-3408127738B6}" type="presParOf" srcId="{500B7657-ED0B-49E6-82D1-F21D9CAC25CA}" destId="{594F1B99-9D7C-41DD-BDE5-3A71806A2870}" srcOrd="0" destOrd="0" presId="urn:microsoft.com/office/officeart/2005/8/layout/cycle2"/>
    <dgm:cxn modelId="{4B948E3B-E6A7-4BF3-85AC-D336FA704904}" type="presParOf" srcId="{F8FC7ECE-A874-4256-997B-44067EC6EEB5}" destId="{92612A3E-D540-41CB-BD31-C86F7B692208}" srcOrd="10" destOrd="0" presId="urn:microsoft.com/office/officeart/2005/8/layout/cycle2"/>
    <dgm:cxn modelId="{7FE70468-0F38-484D-BC15-024F82B72F44}" type="presParOf" srcId="{F8FC7ECE-A874-4256-997B-44067EC6EEB5}" destId="{0824946E-4B5A-444D-83C0-6E0E7FE939C8}" srcOrd="11" destOrd="0" presId="urn:microsoft.com/office/officeart/2005/8/layout/cycle2"/>
    <dgm:cxn modelId="{D7D7EAAE-BD97-4C9F-9B6E-7E91726CD8F2}" type="presParOf" srcId="{0824946E-4B5A-444D-83C0-6E0E7FE939C8}" destId="{B7941F1D-09DA-4156-8934-14C17490039F}" srcOrd="0" destOrd="0" presId="urn:microsoft.com/office/officeart/2005/8/layout/cycle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3CBC694-D972-4E30-AB64-0A027E2D836C}"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de-DE"/>
        </a:p>
      </dgm:t>
    </dgm:pt>
    <dgm:pt modelId="{7D11E3B5-4F88-41B9-95AA-65D117582D43}">
      <dgm:prSet phldrT="[Text]" custT="1"/>
      <dgm:spPr/>
      <dgm:t>
        <a:bodyPr/>
        <a:lstStyle/>
        <a:p>
          <a:r>
            <a:rPr lang="en-US" sz="2000" err="1"/>
            <a:t>Fahrdienste</a:t>
          </a:r>
          <a:endParaRPr lang="en-US" sz="2000"/>
        </a:p>
      </dgm:t>
    </dgm:pt>
    <dgm:pt modelId="{AC44C5E2-E85C-40F7-9E9A-D902E2E8C15A}" type="parTrans" cxnId="{DBC4453A-9A22-4C4A-B661-59614998CB23}">
      <dgm:prSet/>
      <dgm:spPr/>
      <dgm:t>
        <a:bodyPr/>
        <a:lstStyle/>
        <a:p>
          <a:endParaRPr lang="de-DE" sz="2000"/>
        </a:p>
      </dgm:t>
    </dgm:pt>
    <dgm:pt modelId="{19A797C7-B4EA-4D09-95AC-FB332E490A29}" type="sibTrans" cxnId="{DBC4453A-9A22-4C4A-B661-59614998CB23}">
      <dgm:prSet/>
      <dgm:spPr/>
      <dgm:t>
        <a:bodyPr/>
        <a:lstStyle/>
        <a:p>
          <a:endParaRPr lang="de-DE" sz="2000"/>
        </a:p>
      </dgm:t>
    </dgm:pt>
    <dgm:pt modelId="{C20322A6-2840-4B32-8311-16F7B90C613C}">
      <dgm:prSet phldrT="[Text]" custT="1"/>
      <dgm:spPr/>
      <dgm:t>
        <a:bodyPr/>
        <a:lstStyle/>
        <a:p>
          <a:r>
            <a:rPr lang="en-US" sz="2000" err="1"/>
            <a:t>Rückgang</a:t>
          </a:r>
          <a:r>
            <a:rPr lang="en-US" sz="2000"/>
            <a:t> der </a:t>
          </a:r>
          <a:r>
            <a:rPr lang="en-US" sz="2000" err="1"/>
            <a:t>Fahrdienste</a:t>
          </a:r>
          <a:r>
            <a:rPr lang="en-US" sz="2000"/>
            <a:t> </a:t>
          </a:r>
          <a:r>
            <a:rPr lang="en-US" sz="2000" err="1"/>
            <a:t>aufgrund</a:t>
          </a:r>
          <a:r>
            <a:rPr lang="en-US" sz="2000"/>
            <a:t> von Lockdowns und </a:t>
          </a:r>
          <a:r>
            <a:rPr lang="en-US" sz="2000" err="1"/>
            <a:t>Distanzierungsmaßnahmen</a:t>
          </a:r>
          <a:endParaRPr lang="en-US" sz="2000"/>
        </a:p>
      </dgm:t>
    </dgm:pt>
    <dgm:pt modelId="{A3BA1F15-9503-4604-A9E3-A7F08C8CADD3}" type="parTrans" cxnId="{8008A9B8-1313-4E28-88BB-AB88E5A6600D}">
      <dgm:prSet/>
      <dgm:spPr/>
      <dgm:t>
        <a:bodyPr/>
        <a:lstStyle/>
        <a:p>
          <a:endParaRPr lang="de-DE" sz="2000"/>
        </a:p>
      </dgm:t>
    </dgm:pt>
    <dgm:pt modelId="{48C9E570-FF3C-4144-B0EF-AA061A6F4A5C}" type="sibTrans" cxnId="{8008A9B8-1313-4E28-88BB-AB88E5A6600D}">
      <dgm:prSet/>
      <dgm:spPr/>
      <dgm:t>
        <a:bodyPr/>
        <a:lstStyle/>
        <a:p>
          <a:endParaRPr lang="de-DE" sz="2000"/>
        </a:p>
      </dgm:t>
    </dgm:pt>
    <dgm:pt modelId="{5D59430A-FBDA-4D02-BD28-F80A2B85729B}">
      <dgm:prSet phldrT="[Text]" custT="1"/>
      <dgm:spPr/>
      <dgm:t>
        <a:bodyPr/>
        <a:lstStyle/>
        <a:p>
          <a:r>
            <a:rPr lang="en-US" sz="2000" err="1"/>
            <a:t>Lieferdienste</a:t>
          </a:r>
          <a:endParaRPr lang="en-US" sz="2000"/>
        </a:p>
      </dgm:t>
    </dgm:pt>
    <dgm:pt modelId="{83440555-4B8B-4C79-854F-72973F41714A}" type="parTrans" cxnId="{CED94E05-AA88-410D-8E69-AF44C31AB850}">
      <dgm:prSet/>
      <dgm:spPr/>
      <dgm:t>
        <a:bodyPr/>
        <a:lstStyle/>
        <a:p>
          <a:endParaRPr lang="de-DE" sz="2000"/>
        </a:p>
      </dgm:t>
    </dgm:pt>
    <dgm:pt modelId="{CD4D641D-7BCD-416B-8D66-0D2A56C01421}" type="sibTrans" cxnId="{CED94E05-AA88-410D-8E69-AF44C31AB850}">
      <dgm:prSet/>
      <dgm:spPr/>
      <dgm:t>
        <a:bodyPr/>
        <a:lstStyle/>
        <a:p>
          <a:endParaRPr lang="de-DE" sz="2000"/>
        </a:p>
      </dgm:t>
    </dgm:pt>
    <dgm:pt modelId="{4F6643DC-9EE3-4EAA-B166-4F90C934ADB7}">
      <dgm:prSet phldrT="[Text]" custT="1"/>
      <dgm:spPr/>
      <dgm:t>
        <a:bodyPr/>
        <a:lstStyle/>
        <a:p>
          <a:r>
            <a:rPr lang="en-US" sz="2000" err="1"/>
            <a:t>Anpassung</a:t>
          </a:r>
          <a:r>
            <a:rPr lang="en-US" sz="2000"/>
            <a:t> des </a:t>
          </a:r>
          <a:r>
            <a:rPr lang="en-US" sz="2000" err="1"/>
            <a:t>Geschäftsmodells</a:t>
          </a:r>
          <a:r>
            <a:rPr lang="en-US" sz="2000"/>
            <a:t>, </a:t>
          </a:r>
          <a:r>
            <a:rPr lang="en-US" sz="2000" err="1"/>
            <a:t>indem</a:t>
          </a:r>
          <a:r>
            <a:rPr lang="en-US" sz="2000"/>
            <a:t> auf </a:t>
          </a:r>
          <a:r>
            <a:rPr lang="en-US" sz="2000" err="1"/>
            <a:t>Lieferdienste</a:t>
          </a:r>
          <a:r>
            <a:rPr lang="en-US" sz="2000"/>
            <a:t> </a:t>
          </a:r>
          <a:r>
            <a:rPr lang="en-US" sz="2000" err="1"/>
            <a:t>umgestellt</a:t>
          </a:r>
          <a:r>
            <a:rPr lang="en-US" sz="2000"/>
            <a:t> </a:t>
          </a:r>
          <a:r>
            <a:rPr lang="en-US" sz="2000" err="1"/>
            <a:t>wurde</a:t>
          </a:r>
          <a:endParaRPr lang="en-US" sz="2000"/>
        </a:p>
      </dgm:t>
    </dgm:pt>
    <dgm:pt modelId="{C3E9BF22-820D-484E-80A7-DF35B9C3F34D}" type="parTrans" cxnId="{D90C946A-1611-4E9F-AC2D-C31AE48CFA1A}">
      <dgm:prSet/>
      <dgm:spPr/>
      <dgm:t>
        <a:bodyPr/>
        <a:lstStyle/>
        <a:p>
          <a:endParaRPr lang="de-DE" sz="2000"/>
        </a:p>
      </dgm:t>
    </dgm:pt>
    <dgm:pt modelId="{A9F6946E-F0C2-4063-A06D-613D7F8AC19E}" type="sibTrans" cxnId="{D90C946A-1611-4E9F-AC2D-C31AE48CFA1A}">
      <dgm:prSet/>
      <dgm:spPr/>
      <dgm:t>
        <a:bodyPr/>
        <a:lstStyle/>
        <a:p>
          <a:endParaRPr lang="de-DE" sz="2000"/>
        </a:p>
      </dgm:t>
    </dgm:pt>
    <dgm:pt modelId="{C8E29518-6DAC-4AE1-87B9-0556C63B9D52}">
      <dgm:prSet phldrT="[Text]" custT="1"/>
      <dgm:spPr/>
      <dgm:t>
        <a:bodyPr/>
        <a:lstStyle/>
        <a:p>
          <a:r>
            <a:rPr lang="en-US" sz="2000" err="1"/>
            <a:t>Mobilitätsangebote</a:t>
          </a:r>
          <a:endParaRPr lang="en-US" sz="2000"/>
        </a:p>
      </dgm:t>
    </dgm:pt>
    <dgm:pt modelId="{130827A5-0FE6-444A-9479-40E4CD7C1AA0}" type="parTrans" cxnId="{54EF9EE3-29CD-42A5-86CF-1796C298ED1B}">
      <dgm:prSet/>
      <dgm:spPr/>
      <dgm:t>
        <a:bodyPr/>
        <a:lstStyle/>
        <a:p>
          <a:endParaRPr lang="de-DE" sz="2000"/>
        </a:p>
      </dgm:t>
    </dgm:pt>
    <dgm:pt modelId="{23E12D2C-C7CE-4332-9B8C-21D9693E245D}" type="sibTrans" cxnId="{54EF9EE3-29CD-42A5-86CF-1796C298ED1B}">
      <dgm:prSet/>
      <dgm:spPr/>
      <dgm:t>
        <a:bodyPr/>
        <a:lstStyle/>
        <a:p>
          <a:endParaRPr lang="de-DE" sz="2000"/>
        </a:p>
      </dgm:t>
    </dgm:pt>
    <dgm:pt modelId="{900A3F3D-730C-4EFE-B7D4-81EC98CF834C}">
      <dgm:prSet phldrT="[Text]" custT="1"/>
      <dgm:spPr/>
      <dgm:t>
        <a:bodyPr/>
        <a:lstStyle/>
        <a:p>
          <a:r>
            <a:rPr lang="en-US" sz="2000" err="1"/>
            <a:t>Spezielle</a:t>
          </a:r>
          <a:r>
            <a:rPr lang="en-US" sz="2000"/>
            <a:t> </a:t>
          </a:r>
          <a:r>
            <a:rPr lang="en-US" sz="2000" err="1"/>
            <a:t>Mobilitätsangebote</a:t>
          </a:r>
          <a:r>
            <a:rPr lang="en-US" sz="2000"/>
            <a:t>, </a:t>
          </a:r>
          <a:r>
            <a:rPr lang="en-US" sz="2000" err="1"/>
            <a:t>angepasst</a:t>
          </a:r>
          <a:r>
            <a:rPr lang="en-US" sz="2000"/>
            <a:t> an die </a:t>
          </a:r>
          <a:r>
            <a:rPr lang="en-US" sz="2000" err="1"/>
            <a:t>Pandemie</a:t>
          </a:r>
          <a:endParaRPr lang="en-US" sz="2000"/>
        </a:p>
      </dgm:t>
    </dgm:pt>
    <dgm:pt modelId="{5F9B64A5-9E5C-46DC-8F34-7B185A3B5928}" type="parTrans" cxnId="{CEC3761E-83CD-4345-935F-BF7DEEF6E444}">
      <dgm:prSet/>
      <dgm:spPr/>
      <dgm:t>
        <a:bodyPr/>
        <a:lstStyle/>
        <a:p>
          <a:endParaRPr lang="de-DE" sz="2000"/>
        </a:p>
      </dgm:t>
    </dgm:pt>
    <dgm:pt modelId="{6AABF1ED-D0C7-47A7-99A3-16AA23DF0420}" type="sibTrans" cxnId="{CEC3761E-83CD-4345-935F-BF7DEEF6E444}">
      <dgm:prSet/>
      <dgm:spPr/>
      <dgm:t>
        <a:bodyPr/>
        <a:lstStyle/>
        <a:p>
          <a:endParaRPr lang="de-DE" sz="2000"/>
        </a:p>
      </dgm:t>
    </dgm:pt>
    <dgm:pt modelId="{FD4DF7A7-A114-4436-88B8-DB901E836278}">
      <dgm:prSet phldrT="[Text]" custT="1"/>
      <dgm:spPr/>
      <dgm:t>
        <a:bodyPr/>
        <a:lstStyle/>
        <a:p>
          <a:r>
            <a:rPr lang="en-US" sz="2000" err="1"/>
            <a:t>Nachfrage</a:t>
          </a:r>
          <a:r>
            <a:rPr lang="en-US" sz="2000"/>
            <a:t> </a:t>
          </a:r>
          <a:r>
            <a:rPr lang="en-US" sz="2000" err="1"/>
            <a:t>nach</a:t>
          </a:r>
          <a:r>
            <a:rPr lang="en-US" sz="2000"/>
            <a:t> </a:t>
          </a:r>
          <a:r>
            <a:rPr lang="en-US" sz="2000" err="1"/>
            <a:t>Lebensmittel</a:t>
          </a:r>
          <a:r>
            <a:rPr lang="en-US" sz="2000"/>
            <a:t>- und </a:t>
          </a:r>
          <a:r>
            <a:rPr lang="en-US" sz="2000" err="1"/>
            <a:t>Essenslieferungen</a:t>
          </a:r>
          <a:r>
            <a:rPr lang="en-US" sz="2000"/>
            <a:t> </a:t>
          </a:r>
          <a:r>
            <a:rPr lang="en-US" sz="2000" err="1"/>
            <a:t>stiegen</a:t>
          </a:r>
          <a:endParaRPr lang="en-US" sz="2000"/>
        </a:p>
      </dgm:t>
    </dgm:pt>
    <dgm:pt modelId="{DC7245AE-FFBD-4A40-9EE7-4E1301A92B85}" type="parTrans" cxnId="{88C03710-C8D9-44C5-8FD5-534D95535365}">
      <dgm:prSet/>
      <dgm:spPr/>
      <dgm:t>
        <a:bodyPr/>
        <a:lstStyle/>
        <a:p>
          <a:endParaRPr lang="de-DE" sz="2000"/>
        </a:p>
      </dgm:t>
    </dgm:pt>
    <dgm:pt modelId="{029B5783-A9BD-43A1-8CB7-08D3B30D29B1}" type="sibTrans" cxnId="{88C03710-C8D9-44C5-8FD5-534D95535365}">
      <dgm:prSet/>
      <dgm:spPr/>
      <dgm:t>
        <a:bodyPr/>
        <a:lstStyle/>
        <a:p>
          <a:endParaRPr lang="de-DE" sz="2000"/>
        </a:p>
      </dgm:t>
    </dgm:pt>
    <dgm:pt modelId="{0FEAA0BE-0AA8-4C07-993D-B3BE328B331A}">
      <dgm:prSet phldrT="[Text]" custT="1"/>
      <dgm:spPr/>
      <dgm:t>
        <a:bodyPr/>
        <a:lstStyle/>
        <a:p>
          <a:r>
            <a:rPr lang="en-US" sz="2000"/>
            <a:t>UberEats </a:t>
          </a:r>
          <a:r>
            <a:rPr lang="en-US" sz="2000" err="1"/>
            <a:t>gewann</a:t>
          </a:r>
          <a:r>
            <a:rPr lang="en-US" sz="2000"/>
            <a:t> an </a:t>
          </a:r>
          <a:r>
            <a:rPr lang="en-US" sz="2000" err="1"/>
            <a:t>Bedeutung</a:t>
          </a:r>
          <a:endParaRPr lang="en-US" sz="2000"/>
        </a:p>
      </dgm:t>
    </dgm:pt>
    <dgm:pt modelId="{A0F143B9-7C43-4A36-BE8A-AC1752764680}" type="parTrans" cxnId="{05EB3DCB-CC4D-48D3-8082-73D3F4420477}">
      <dgm:prSet/>
      <dgm:spPr/>
      <dgm:t>
        <a:bodyPr/>
        <a:lstStyle/>
        <a:p>
          <a:endParaRPr lang="de-DE" sz="2000"/>
        </a:p>
      </dgm:t>
    </dgm:pt>
    <dgm:pt modelId="{A2D09BB1-AA31-40BE-A39F-95B55920491D}" type="sibTrans" cxnId="{05EB3DCB-CC4D-48D3-8082-73D3F4420477}">
      <dgm:prSet/>
      <dgm:spPr/>
      <dgm:t>
        <a:bodyPr/>
        <a:lstStyle/>
        <a:p>
          <a:endParaRPr lang="de-DE" sz="2000"/>
        </a:p>
      </dgm:t>
    </dgm:pt>
    <dgm:pt modelId="{97A52A73-04A5-4F92-BCC6-99591CEE7177}">
      <dgm:prSet phldrT="[Text]" custT="1"/>
      <dgm:spPr/>
      <dgm:t>
        <a:bodyPr/>
        <a:lstStyle/>
        <a:p>
          <a:r>
            <a:rPr lang="en-US" sz="2000"/>
            <a:t>Car Rentals </a:t>
          </a:r>
          <a:r>
            <a:rPr lang="en-US" sz="2000" err="1"/>
            <a:t>oder</a:t>
          </a:r>
          <a:r>
            <a:rPr lang="en-US" sz="2000"/>
            <a:t> shared Rides mit </a:t>
          </a:r>
          <a:r>
            <a:rPr lang="en-US" sz="2000" err="1"/>
            <a:t>zusätzlichen</a:t>
          </a:r>
          <a:r>
            <a:rPr lang="en-US" sz="2000"/>
            <a:t> </a:t>
          </a:r>
          <a:r>
            <a:rPr lang="en-US" sz="2000" err="1"/>
            <a:t>Sicherheitsmaßnahmen</a:t>
          </a:r>
          <a:endParaRPr lang="en-US" sz="2000"/>
        </a:p>
      </dgm:t>
    </dgm:pt>
    <dgm:pt modelId="{8180C208-3B35-4D4A-A3AC-5DBF48721C70}" type="parTrans" cxnId="{1FC8EB5B-1AC0-4CC1-A972-90E40F00AC2C}">
      <dgm:prSet/>
      <dgm:spPr/>
      <dgm:t>
        <a:bodyPr/>
        <a:lstStyle/>
        <a:p>
          <a:endParaRPr lang="de-DE" sz="2000"/>
        </a:p>
      </dgm:t>
    </dgm:pt>
    <dgm:pt modelId="{807946A2-AC8F-4CA3-ACEE-3249BEBA94A3}" type="sibTrans" cxnId="{1FC8EB5B-1AC0-4CC1-A972-90E40F00AC2C}">
      <dgm:prSet/>
      <dgm:spPr/>
      <dgm:t>
        <a:bodyPr/>
        <a:lstStyle/>
        <a:p>
          <a:endParaRPr lang="de-DE" sz="2000"/>
        </a:p>
      </dgm:t>
    </dgm:pt>
    <dgm:pt modelId="{81A85EB5-C7E5-477A-B912-1B483AC776D7}" type="pres">
      <dgm:prSet presAssocID="{03CBC694-D972-4E30-AB64-0A027E2D836C}" presName="linear" presStyleCnt="0">
        <dgm:presLayoutVars>
          <dgm:animLvl val="lvl"/>
          <dgm:resizeHandles val="exact"/>
        </dgm:presLayoutVars>
      </dgm:prSet>
      <dgm:spPr/>
    </dgm:pt>
    <dgm:pt modelId="{0B86442C-C884-4F0A-B347-0FDC2B140C9F}" type="pres">
      <dgm:prSet presAssocID="{7D11E3B5-4F88-41B9-95AA-65D117582D43}" presName="parentText" presStyleLbl="node1" presStyleIdx="0" presStyleCnt="3">
        <dgm:presLayoutVars>
          <dgm:chMax val="0"/>
          <dgm:bulletEnabled val="1"/>
        </dgm:presLayoutVars>
      </dgm:prSet>
      <dgm:spPr/>
    </dgm:pt>
    <dgm:pt modelId="{B2BF7463-FBAC-4B25-8750-8A0CF17F339B}" type="pres">
      <dgm:prSet presAssocID="{7D11E3B5-4F88-41B9-95AA-65D117582D43}" presName="childText" presStyleLbl="revTx" presStyleIdx="0" presStyleCnt="3">
        <dgm:presLayoutVars>
          <dgm:bulletEnabled val="1"/>
        </dgm:presLayoutVars>
      </dgm:prSet>
      <dgm:spPr/>
    </dgm:pt>
    <dgm:pt modelId="{3C526582-BBC4-4D15-B651-7BE008F9A42A}" type="pres">
      <dgm:prSet presAssocID="{5D59430A-FBDA-4D02-BD28-F80A2B85729B}" presName="parentText" presStyleLbl="node1" presStyleIdx="1" presStyleCnt="3">
        <dgm:presLayoutVars>
          <dgm:chMax val="0"/>
          <dgm:bulletEnabled val="1"/>
        </dgm:presLayoutVars>
      </dgm:prSet>
      <dgm:spPr/>
    </dgm:pt>
    <dgm:pt modelId="{F727095A-76F6-440A-8122-0252AF027CBF}" type="pres">
      <dgm:prSet presAssocID="{5D59430A-FBDA-4D02-BD28-F80A2B85729B}" presName="childText" presStyleLbl="revTx" presStyleIdx="1" presStyleCnt="3">
        <dgm:presLayoutVars>
          <dgm:bulletEnabled val="1"/>
        </dgm:presLayoutVars>
      </dgm:prSet>
      <dgm:spPr/>
    </dgm:pt>
    <dgm:pt modelId="{007EA7B4-8276-408A-9681-9C1E6C13291B}" type="pres">
      <dgm:prSet presAssocID="{C8E29518-6DAC-4AE1-87B9-0556C63B9D52}" presName="parentText" presStyleLbl="node1" presStyleIdx="2" presStyleCnt="3">
        <dgm:presLayoutVars>
          <dgm:chMax val="0"/>
          <dgm:bulletEnabled val="1"/>
        </dgm:presLayoutVars>
      </dgm:prSet>
      <dgm:spPr/>
    </dgm:pt>
    <dgm:pt modelId="{35DD27F8-1D1F-4742-8030-0725A4694D74}" type="pres">
      <dgm:prSet presAssocID="{C8E29518-6DAC-4AE1-87B9-0556C63B9D52}" presName="childText" presStyleLbl="revTx" presStyleIdx="2" presStyleCnt="3">
        <dgm:presLayoutVars>
          <dgm:bulletEnabled val="1"/>
        </dgm:presLayoutVars>
      </dgm:prSet>
      <dgm:spPr/>
    </dgm:pt>
  </dgm:ptLst>
  <dgm:cxnLst>
    <dgm:cxn modelId="{CED94E05-AA88-410D-8E69-AF44C31AB850}" srcId="{03CBC694-D972-4E30-AB64-0A027E2D836C}" destId="{5D59430A-FBDA-4D02-BD28-F80A2B85729B}" srcOrd="1" destOrd="0" parTransId="{83440555-4B8B-4C79-854F-72973F41714A}" sibTransId="{CD4D641D-7BCD-416B-8D66-0D2A56C01421}"/>
    <dgm:cxn modelId="{4877B707-A1D5-47DA-A3BB-4CBA6F883B2D}" type="presOf" srcId="{C20322A6-2840-4B32-8311-16F7B90C613C}" destId="{B2BF7463-FBAC-4B25-8750-8A0CF17F339B}" srcOrd="0" destOrd="0" presId="urn:microsoft.com/office/officeart/2005/8/layout/vList2"/>
    <dgm:cxn modelId="{88C03710-C8D9-44C5-8FD5-534D95535365}" srcId="{5D59430A-FBDA-4D02-BD28-F80A2B85729B}" destId="{FD4DF7A7-A114-4436-88B8-DB901E836278}" srcOrd="1" destOrd="0" parTransId="{DC7245AE-FFBD-4A40-9EE7-4E1301A92B85}" sibTransId="{029B5783-A9BD-43A1-8CB7-08D3B30D29B1}"/>
    <dgm:cxn modelId="{CEC3761E-83CD-4345-935F-BF7DEEF6E444}" srcId="{C8E29518-6DAC-4AE1-87B9-0556C63B9D52}" destId="{900A3F3D-730C-4EFE-B7D4-81EC98CF834C}" srcOrd="0" destOrd="0" parTransId="{5F9B64A5-9E5C-46DC-8F34-7B185A3B5928}" sibTransId="{6AABF1ED-D0C7-47A7-99A3-16AA23DF0420}"/>
    <dgm:cxn modelId="{80389129-59A5-4E9E-B754-994C7B763AF4}" type="presOf" srcId="{C8E29518-6DAC-4AE1-87B9-0556C63B9D52}" destId="{007EA7B4-8276-408A-9681-9C1E6C13291B}" srcOrd="0" destOrd="0" presId="urn:microsoft.com/office/officeart/2005/8/layout/vList2"/>
    <dgm:cxn modelId="{A996602E-DFF4-4EB9-9580-4AB58F51E51C}" type="presOf" srcId="{03CBC694-D972-4E30-AB64-0A027E2D836C}" destId="{81A85EB5-C7E5-477A-B912-1B483AC776D7}" srcOrd="0" destOrd="0" presId="urn:microsoft.com/office/officeart/2005/8/layout/vList2"/>
    <dgm:cxn modelId="{DBC4453A-9A22-4C4A-B661-59614998CB23}" srcId="{03CBC694-D972-4E30-AB64-0A027E2D836C}" destId="{7D11E3B5-4F88-41B9-95AA-65D117582D43}" srcOrd="0" destOrd="0" parTransId="{AC44C5E2-E85C-40F7-9E9A-D902E2E8C15A}" sibTransId="{19A797C7-B4EA-4D09-95AC-FB332E490A29}"/>
    <dgm:cxn modelId="{1FC8EB5B-1AC0-4CC1-A972-90E40F00AC2C}" srcId="{C8E29518-6DAC-4AE1-87B9-0556C63B9D52}" destId="{97A52A73-04A5-4F92-BCC6-99591CEE7177}" srcOrd="1" destOrd="0" parTransId="{8180C208-3B35-4D4A-A3AC-5DBF48721C70}" sibTransId="{807946A2-AC8F-4CA3-ACEE-3249BEBA94A3}"/>
    <dgm:cxn modelId="{2F85B75D-4725-4EB7-8C2A-6F6A71933B2B}" type="presOf" srcId="{0FEAA0BE-0AA8-4C07-993D-B3BE328B331A}" destId="{F727095A-76F6-440A-8122-0252AF027CBF}" srcOrd="0" destOrd="2" presId="urn:microsoft.com/office/officeart/2005/8/layout/vList2"/>
    <dgm:cxn modelId="{D90C946A-1611-4E9F-AC2D-C31AE48CFA1A}" srcId="{5D59430A-FBDA-4D02-BD28-F80A2B85729B}" destId="{4F6643DC-9EE3-4EAA-B166-4F90C934ADB7}" srcOrd="0" destOrd="0" parTransId="{C3E9BF22-820D-484E-80A7-DF35B9C3F34D}" sibTransId="{A9F6946E-F0C2-4063-A06D-613D7F8AC19E}"/>
    <dgm:cxn modelId="{BE3D214D-6F1F-4C75-BD49-33B36D27CEDA}" type="presOf" srcId="{7D11E3B5-4F88-41B9-95AA-65D117582D43}" destId="{0B86442C-C884-4F0A-B347-0FDC2B140C9F}" srcOrd="0" destOrd="0" presId="urn:microsoft.com/office/officeart/2005/8/layout/vList2"/>
    <dgm:cxn modelId="{2A06BC4E-FDF0-4394-981F-DF0CB1C2B35C}" type="presOf" srcId="{FD4DF7A7-A114-4436-88B8-DB901E836278}" destId="{F727095A-76F6-440A-8122-0252AF027CBF}" srcOrd="0" destOrd="1" presId="urn:microsoft.com/office/officeart/2005/8/layout/vList2"/>
    <dgm:cxn modelId="{3639D271-992D-4B50-BED9-C4FDDAFFE660}" type="presOf" srcId="{900A3F3D-730C-4EFE-B7D4-81EC98CF834C}" destId="{35DD27F8-1D1F-4742-8030-0725A4694D74}" srcOrd="0" destOrd="0" presId="urn:microsoft.com/office/officeart/2005/8/layout/vList2"/>
    <dgm:cxn modelId="{4344E45A-9BDD-40CD-A1E5-D5A8C82BA83D}" type="presOf" srcId="{4F6643DC-9EE3-4EAA-B166-4F90C934ADB7}" destId="{F727095A-76F6-440A-8122-0252AF027CBF}" srcOrd="0" destOrd="0" presId="urn:microsoft.com/office/officeart/2005/8/layout/vList2"/>
    <dgm:cxn modelId="{F9EBF5AF-086E-40DA-99D4-07D700A979B8}" type="presOf" srcId="{5D59430A-FBDA-4D02-BD28-F80A2B85729B}" destId="{3C526582-BBC4-4D15-B651-7BE008F9A42A}" srcOrd="0" destOrd="0" presId="urn:microsoft.com/office/officeart/2005/8/layout/vList2"/>
    <dgm:cxn modelId="{8008A9B8-1313-4E28-88BB-AB88E5A6600D}" srcId="{7D11E3B5-4F88-41B9-95AA-65D117582D43}" destId="{C20322A6-2840-4B32-8311-16F7B90C613C}" srcOrd="0" destOrd="0" parTransId="{A3BA1F15-9503-4604-A9E3-A7F08C8CADD3}" sibTransId="{48C9E570-FF3C-4144-B0EF-AA061A6F4A5C}"/>
    <dgm:cxn modelId="{05EB3DCB-CC4D-48D3-8082-73D3F4420477}" srcId="{5D59430A-FBDA-4D02-BD28-F80A2B85729B}" destId="{0FEAA0BE-0AA8-4C07-993D-B3BE328B331A}" srcOrd="2" destOrd="0" parTransId="{A0F143B9-7C43-4A36-BE8A-AC1752764680}" sibTransId="{A2D09BB1-AA31-40BE-A39F-95B55920491D}"/>
    <dgm:cxn modelId="{2838BED6-A1F2-4DAE-9E4B-EA7DE5AD0576}" type="presOf" srcId="{97A52A73-04A5-4F92-BCC6-99591CEE7177}" destId="{35DD27F8-1D1F-4742-8030-0725A4694D74}" srcOrd="0" destOrd="1" presId="urn:microsoft.com/office/officeart/2005/8/layout/vList2"/>
    <dgm:cxn modelId="{54EF9EE3-29CD-42A5-86CF-1796C298ED1B}" srcId="{03CBC694-D972-4E30-AB64-0A027E2D836C}" destId="{C8E29518-6DAC-4AE1-87B9-0556C63B9D52}" srcOrd="2" destOrd="0" parTransId="{130827A5-0FE6-444A-9479-40E4CD7C1AA0}" sibTransId="{23E12D2C-C7CE-4332-9B8C-21D9693E245D}"/>
    <dgm:cxn modelId="{A9583FAD-C070-42B1-AD85-055CD50F55FB}" type="presParOf" srcId="{81A85EB5-C7E5-477A-B912-1B483AC776D7}" destId="{0B86442C-C884-4F0A-B347-0FDC2B140C9F}" srcOrd="0" destOrd="0" presId="urn:microsoft.com/office/officeart/2005/8/layout/vList2"/>
    <dgm:cxn modelId="{873AFD2A-0917-4859-9D14-935D621A2087}" type="presParOf" srcId="{81A85EB5-C7E5-477A-B912-1B483AC776D7}" destId="{B2BF7463-FBAC-4B25-8750-8A0CF17F339B}" srcOrd="1" destOrd="0" presId="urn:microsoft.com/office/officeart/2005/8/layout/vList2"/>
    <dgm:cxn modelId="{5F84FE40-DCAF-4E23-BA5C-DA6DC6B3201C}" type="presParOf" srcId="{81A85EB5-C7E5-477A-B912-1B483AC776D7}" destId="{3C526582-BBC4-4D15-B651-7BE008F9A42A}" srcOrd="2" destOrd="0" presId="urn:microsoft.com/office/officeart/2005/8/layout/vList2"/>
    <dgm:cxn modelId="{8EEB5F88-0129-4A6C-9854-871AB92083B3}" type="presParOf" srcId="{81A85EB5-C7E5-477A-B912-1B483AC776D7}" destId="{F727095A-76F6-440A-8122-0252AF027CBF}" srcOrd="3" destOrd="0" presId="urn:microsoft.com/office/officeart/2005/8/layout/vList2"/>
    <dgm:cxn modelId="{C14F9B0B-3198-4CCC-A622-A2FA42415A09}" type="presParOf" srcId="{81A85EB5-C7E5-477A-B912-1B483AC776D7}" destId="{007EA7B4-8276-408A-9681-9C1E6C13291B}" srcOrd="4" destOrd="0" presId="urn:microsoft.com/office/officeart/2005/8/layout/vList2"/>
    <dgm:cxn modelId="{66B03377-C06E-4741-8DD1-AA413E9FCFDB}" type="presParOf" srcId="{81A85EB5-C7E5-477A-B912-1B483AC776D7}" destId="{35DD27F8-1D1F-4742-8030-0725A4694D74}"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17A22B-3679-46AD-BB99-F7C8716442B6}">
      <dsp:nvSpPr>
        <dsp:cNvPr id="0" name=""/>
        <dsp:cNvSpPr/>
      </dsp:nvSpPr>
      <dsp:spPr>
        <a:xfrm rot="16200000">
          <a:off x="1035050" y="-1035050"/>
          <a:ext cx="2213768" cy="4283868"/>
        </a:xfrm>
        <a:prstGeom prst="round1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b="1" kern="1200" err="1"/>
            <a:t>Stärken</a:t>
          </a:r>
          <a:endParaRPr lang="en-US" sz="1600" b="1" kern="1200"/>
        </a:p>
        <a:p>
          <a:pPr marL="114300" lvl="1" indent="-114300" algn="l" defTabSz="533400">
            <a:lnSpc>
              <a:spcPct val="90000"/>
            </a:lnSpc>
            <a:spcBef>
              <a:spcPct val="0"/>
            </a:spcBef>
            <a:spcAft>
              <a:spcPct val="15000"/>
            </a:spcAft>
            <a:buFont typeface="Arial" panose="020B0604020202020204" pitchFamily="34" charset="0"/>
            <a:buChar char="•"/>
          </a:pPr>
          <a:r>
            <a:rPr lang="en-US" sz="1200" b="1" kern="1200" err="1"/>
            <a:t>Globale</a:t>
          </a:r>
          <a:r>
            <a:rPr lang="en-US" sz="1200" b="1" kern="1200"/>
            <a:t> </a:t>
          </a:r>
          <a:r>
            <a:rPr lang="en-US" sz="1200" b="1" kern="1200" err="1"/>
            <a:t>Präsenz</a:t>
          </a:r>
          <a:r>
            <a:rPr lang="en-US" sz="1200" b="1" kern="1200"/>
            <a:t> und </a:t>
          </a:r>
          <a:r>
            <a:rPr lang="en-US" sz="1200" b="1" kern="1200" err="1"/>
            <a:t>Reichweite</a:t>
          </a:r>
          <a:r>
            <a:rPr lang="en-US" sz="1200" b="1" kern="1200"/>
            <a:t>: </a:t>
          </a:r>
          <a:r>
            <a:rPr lang="en-US" sz="1200" kern="1200" err="1"/>
            <a:t>hohe</a:t>
          </a:r>
          <a:r>
            <a:rPr lang="en-US" sz="1200" kern="1200"/>
            <a:t> </a:t>
          </a:r>
          <a:r>
            <a:rPr lang="en-US" sz="1200" kern="1200" err="1"/>
            <a:t>Marktdurchdringung</a:t>
          </a:r>
          <a:r>
            <a:rPr lang="en-US" sz="1200" kern="1200"/>
            <a:t> </a:t>
          </a:r>
          <a:r>
            <a:rPr lang="en-US" sz="1200" kern="1200" err="1"/>
            <a:t>durch</a:t>
          </a:r>
          <a:r>
            <a:rPr lang="en-US" sz="1200" kern="1200"/>
            <a:t> </a:t>
          </a:r>
          <a:r>
            <a:rPr lang="en-US" sz="1200" kern="1200" err="1"/>
            <a:t>Präsenz</a:t>
          </a:r>
          <a:r>
            <a:rPr lang="en-US" sz="1200" kern="1200"/>
            <a:t> in </a:t>
          </a:r>
          <a:r>
            <a:rPr lang="en-US" sz="1200" kern="1200" err="1"/>
            <a:t>vielen</a:t>
          </a:r>
          <a:r>
            <a:rPr lang="en-US" sz="1200" kern="1200"/>
            <a:t> </a:t>
          </a:r>
          <a:r>
            <a:rPr lang="en-US" sz="1200" kern="1200" err="1"/>
            <a:t>Ländern</a:t>
          </a:r>
          <a:r>
            <a:rPr lang="en-US" sz="1200" kern="1200"/>
            <a:t> </a:t>
          </a:r>
          <a:r>
            <a:rPr lang="en-US" sz="1200" kern="1200" err="1"/>
            <a:t>weltweit</a:t>
          </a:r>
          <a:endParaRPr lang="en-US" sz="1200" kern="1200"/>
        </a:p>
        <a:p>
          <a:pPr marL="114300" lvl="1" indent="-114300" algn="l" defTabSz="533400">
            <a:lnSpc>
              <a:spcPct val="90000"/>
            </a:lnSpc>
            <a:spcBef>
              <a:spcPct val="0"/>
            </a:spcBef>
            <a:spcAft>
              <a:spcPct val="15000"/>
            </a:spcAft>
            <a:buChar char="•"/>
          </a:pPr>
          <a:r>
            <a:rPr lang="en-US" sz="1200" b="1" kern="1200"/>
            <a:t>Innovative </a:t>
          </a:r>
          <a:r>
            <a:rPr lang="en-US" sz="1200" b="1" kern="1200" err="1"/>
            <a:t>Technologien</a:t>
          </a:r>
          <a:r>
            <a:rPr lang="en-US" sz="1200" b="1" kern="1200"/>
            <a:t>:</a:t>
          </a:r>
          <a:r>
            <a:rPr lang="en-US" sz="1200" kern="1200"/>
            <a:t> </a:t>
          </a:r>
          <a:r>
            <a:rPr lang="en-US" sz="1200" kern="1200" err="1"/>
            <a:t>z.B.</a:t>
          </a:r>
          <a:r>
            <a:rPr lang="en-US" sz="1200" kern="1200"/>
            <a:t> mobile Apps, um </a:t>
          </a:r>
          <a:r>
            <a:rPr lang="en-US" sz="1200" kern="1200" err="1"/>
            <a:t>eine</a:t>
          </a:r>
          <a:r>
            <a:rPr lang="en-US" sz="1200" kern="1200"/>
            <a:t> </a:t>
          </a:r>
          <a:r>
            <a:rPr lang="en-US" sz="1200" kern="1200" err="1"/>
            <a:t>nahtlose</a:t>
          </a:r>
          <a:r>
            <a:rPr lang="en-US" sz="1200" kern="1200"/>
            <a:t> </a:t>
          </a:r>
          <a:r>
            <a:rPr lang="en-US" sz="1200" kern="1200" err="1"/>
            <a:t>Vermittlung</a:t>
          </a:r>
          <a:r>
            <a:rPr lang="en-US" sz="1200" kern="1200"/>
            <a:t> </a:t>
          </a:r>
          <a:r>
            <a:rPr lang="en-US" sz="1200" kern="1200" err="1"/>
            <a:t>zwischen</a:t>
          </a:r>
          <a:r>
            <a:rPr lang="en-US" sz="1200" kern="1200"/>
            <a:t> </a:t>
          </a:r>
          <a:r>
            <a:rPr lang="en-US" sz="1200" kern="1200" err="1"/>
            <a:t>Fahrern</a:t>
          </a:r>
          <a:r>
            <a:rPr lang="en-US" sz="1200" kern="1200"/>
            <a:t> und </a:t>
          </a:r>
          <a:r>
            <a:rPr lang="en-US" sz="1200" kern="1200" err="1"/>
            <a:t>Kunden</a:t>
          </a:r>
          <a:r>
            <a:rPr lang="en-US" sz="1200" kern="1200"/>
            <a:t> </a:t>
          </a:r>
          <a:r>
            <a:rPr lang="en-US" sz="1200" kern="1200" err="1"/>
            <a:t>zu</a:t>
          </a:r>
          <a:r>
            <a:rPr lang="en-US" sz="1200" kern="1200"/>
            <a:t> </a:t>
          </a:r>
          <a:r>
            <a:rPr lang="en-US" sz="1200" kern="1200" err="1"/>
            <a:t>ermöglichen</a:t>
          </a:r>
          <a:endParaRPr lang="en-US" sz="1200" kern="1200"/>
        </a:p>
        <a:p>
          <a:pPr marL="114300" lvl="1" indent="-114300" algn="l" defTabSz="533400">
            <a:lnSpc>
              <a:spcPct val="90000"/>
            </a:lnSpc>
            <a:spcBef>
              <a:spcPct val="0"/>
            </a:spcBef>
            <a:spcAft>
              <a:spcPct val="15000"/>
            </a:spcAft>
            <a:buChar char="•"/>
          </a:pPr>
          <a:r>
            <a:rPr lang="en-US" sz="1200" b="1" kern="1200" err="1"/>
            <a:t>Diversifizierte</a:t>
          </a:r>
          <a:r>
            <a:rPr lang="en-US" sz="1200" b="1" kern="1200"/>
            <a:t> </a:t>
          </a:r>
          <a:r>
            <a:rPr lang="en-US" sz="1200" b="1" kern="1200" err="1"/>
            <a:t>Dienstleistungen</a:t>
          </a:r>
          <a:r>
            <a:rPr lang="en-US" sz="1200" b="1" kern="1200"/>
            <a:t>: </a:t>
          </a:r>
          <a:r>
            <a:rPr lang="en-US" sz="1200" b="0" kern="1200" err="1"/>
            <a:t>z.B.</a:t>
          </a:r>
          <a:r>
            <a:rPr lang="en-US" sz="1200" b="0" kern="1200"/>
            <a:t> </a:t>
          </a:r>
          <a:r>
            <a:rPr lang="en-US" sz="1200" kern="1200"/>
            <a:t>Ride-Hailing, </a:t>
          </a:r>
          <a:r>
            <a:rPr lang="en-US" sz="1200" kern="1200" err="1"/>
            <a:t>Essenslieferungen</a:t>
          </a:r>
          <a:r>
            <a:rPr lang="en-US" sz="1200" kern="1200"/>
            <a:t> (UberEats) und </a:t>
          </a:r>
          <a:r>
            <a:rPr lang="en-US" sz="1200" kern="1200" err="1"/>
            <a:t>Frachttransport</a:t>
          </a:r>
          <a:r>
            <a:rPr lang="en-US" sz="1200" kern="1200"/>
            <a:t> (Uber Freight)</a:t>
          </a:r>
        </a:p>
      </dsp:txBody>
      <dsp:txXfrm rot="5400000">
        <a:off x="0" y="0"/>
        <a:ext cx="4283868" cy="1660326"/>
      </dsp:txXfrm>
    </dsp:sp>
    <dsp:sp modelId="{F2DF3EF7-6F61-4D3E-9C67-014040746221}">
      <dsp:nvSpPr>
        <dsp:cNvPr id="0" name=""/>
        <dsp:cNvSpPr/>
      </dsp:nvSpPr>
      <dsp:spPr>
        <a:xfrm>
          <a:off x="4283868" y="0"/>
          <a:ext cx="4283868" cy="2213768"/>
        </a:xfrm>
        <a:prstGeom prst="round1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r" defTabSz="711200">
            <a:lnSpc>
              <a:spcPct val="90000"/>
            </a:lnSpc>
            <a:spcBef>
              <a:spcPct val="0"/>
            </a:spcBef>
            <a:spcAft>
              <a:spcPct val="35000"/>
            </a:spcAft>
            <a:buNone/>
          </a:pPr>
          <a:r>
            <a:rPr lang="en-US" sz="1600" b="1" kern="1200" err="1"/>
            <a:t>Schwächen</a:t>
          </a:r>
          <a:endParaRPr lang="en-US" sz="1600" b="1" kern="1200"/>
        </a:p>
        <a:p>
          <a:pPr marL="114300" lvl="1" indent="-114300" algn="l" defTabSz="533400">
            <a:lnSpc>
              <a:spcPct val="90000"/>
            </a:lnSpc>
            <a:spcBef>
              <a:spcPct val="0"/>
            </a:spcBef>
            <a:spcAft>
              <a:spcPct val="15000"/>
            </a:spcAft>
            <a:buFont typeface="Arial" panose="020B0604020202020204" pitchFamily="34" charset="0"/>
            <a:buChar char="•"/>
          </a:pPr>
          <a:r>
            <a:rPr lang="en-US" sz="1200" b="1" kern="1200" err="1"/>
            <a:t>Abhängigkeit</a:t>
          </a:r>
          <a:r>
            <a:rPr lang="en-US" sz="1200" b="1" kern="1200"/>
            <a:t> von </a:t>
          </a:r>
          <a:r>
            <a:rPr lang="en-US" sz="1200" b="1" kern="1200" err="1"/>
            <a:t>externen</a:t>
          </a:r>
          <a:r>
            <a:rPr lang="en-US" sz="1200" b="1" kern="1200"/>
            <a:t> </a:t>
          </a:r>
          <a:r>
            <a:rPr lang="en-US" sz="1200" b="1" kern="1200" err="1"/>
            <a:t>Fahrern</a:t>
          </a:r>
          <a:r>
            <a:rPr lang="en-US" sz="1200" b="1" kern="1200"/>
            <a:t>:</a:t>
          </a:r>
          <a:r>
            <a:rPr lang="en-US" sz="1200" kern="1200"/>
            <a:t> </a:t>
          </a:r>
          <a:r>
            <a:rPr lang="en-US" sz="1200" kern="1200" err="1"/>
            <a:t>führt</a:t>
          </a:r>
          <a:r>
            <a:rPr lang="en-US" sz="1200" kern="1200"/>
            <a:t> </a:t>
          </a:r>
          <a:r>
            <a:rPr lang="en-US" sz="1200" kern="1200" err="1"/>
            <a:t>zu</a:t>
          </a:r>
          <a:r>
            <a:rPr lang="en-US" sz="1200" kern="1200"/>
            <a:t> </a:t>
          </a:r>
          <a:r>
            <a:rPr lang="en-US" sz="1200" kern="1200" err="1"/>
            <a:t>potenziellen</a:t>
          </a:r>
          <a:r>
            <a:rPr lang="en-US" sz="1200" kern="1200"/>
            <a:t> </a:t>
          </a:r>
          <a:r>
            <a:rPr lang="en-US" sz="1200" kern="1200" err="1"/>
            <a:t>Problemen</a:t>
          </a:r>
          <a:r>
            <a:rPr lang="en-US" sz="1200" kern="1200"/>
            <a:t> </a:t>
          </a:r>
          <a:r>
            <a:rPr lang="en-US" sz="1200" kern="1200" err="1"/>
            <a:t>bei</a:t>
          </a:r>
          <a:r>
            <a:rPr lang="en-US" sz="1200" kern="1200"/>
            <a:t> der </a:t>
          </a:r>
          <a:r>
            <a:rPr lang="en-US" sz="1200" kern="1200" err="1"/>
            <a:t>Fahrerverfügbarkeit</a:t>
          </a:r>
          <a:r>
            <a:rPr lang="en-US" sz="1200" kern="1200"/>
            <a:t> und der </a:t>
          </a:r>
          <a:r>
            <a:rPr lang="en-US" sz="1200" kern="1200" err="1"/>
            <a:t>Qualität</a:t>
          </a:r>
          <a:r>
            <a:rPr lang="en-US" sz="1200" kern="1200"/>
            <a:t> der </a:t>
          </a:r>
          <a:r>
            <a:rPr lang="en-US" sz="1200" kern="1200" err="1"/>
            <a:t>Dienstleistungen</a:t>
          </a:r>
          <a:endParaRPr lang="en-US" sz="1200" kern="1200"/>
        </a:p>
        <a:p>
          <a:pPr marL="114300" lvl="1" indent="-114300" algn="l" defTabSz="533400">
            <a:lnSpc>
              <a:spcPct val="90000"/>
            </a:lnSpc>
            <a:spcBef>
              <a:spcPct val="0"/>
            </a:spcBef>
            <a:spcAft>
              <a:spcPct val="15000"/>
            </a:spcAft>
            <a:buChar char="•"/>
          </a:pPr>
          <a:r>
            <a:rPr lang="en-US" sz="1200" b="1" kern="1200" err="1"/>
            <a:t>Regulatorische</a:t>
          </a:r>
          <a:r>
            <a:rPr lang="en-US" sz="1200" b="1" kern="1200"/>
            <a:t> </a:t>
          </a:r>
          <a:r>
            <a:rPr lang="en-US" sz="1200" b="1" kern="1200" err="1"/>
            <a:t>Herausforderungen</a:t>
          </a:r>
          <a:r>
            <a:rPr lang="en-US" sz="1200" b="1" kern="1200"/>
            <a:t>: </a:t>
          </a:r>
          <a:r>
            <a:rPr lang="en-US" sz="1200" kern="1200"/>
            <a:t>in </a:t>
          </a:r>
          <a:r>
            <a:rPr lang="en-US" sz="1200" kern="1200" err="1"/>
            <a:t>vielen</a:t>
          </a:r>
          <a:r>
            <a:rPr lang="en-US" sz="1200" kern="1200"/>
            <a:t> </a:t>
          </a:r>
          <a:r>
            <a:rPr lang="en-US" sz="1200" kern="1200" err="1"/>
            <a:t>Märkten</a:t>
          </a:r>
          <a:r>
            <a:rPr lang="en-US" sz="1200" kern="1200"/>
            <a:t> </a:t>
          </a:r>
          <a:r>
            <a:rPr lang="en-US" sz="1200" kern="1200" err="1"/>
            <a:t>gibt</a:t>
          </a:r>
          <a:r>
            <a:rPr lang="en-US" sz="1200" kern="1200"/>
            <a:t> es  </a:t>
          </a:r>
          <a:r>
            <a:rPr lang="en-US" sz="1200" kern="1200" err="1"/>
            <a:t>regulatorischen</a:t>
          </a:r>
          <a:r>
            <a:rPr lang="en-US" sz="1200" kern="1200"/>
            <a:t> </a:t>
          </a:r>
          <a:r>
            <a:rPr lang="en-US" sz="1200" kern="1200" err="1"/>
            <a:t>Einschränkungen</a:t>
          </a:r>
          <a:r>
            <a:rPr lang="en-US" sz="1200" kern="1200"/>
            <a:t> und </a:t>
          </a:r>
          <a:r>
            <a:rPr lang="en-US" sz="1200" kern="1200" err="1"/>
            <a:t>rechtliche</a:t>
          </a:r>
          <a:r>
            <a:rPr lang="en-US" sz="1200" kern="1200"/>
            <a:t> </a:t>
          </a:r>
          <a:r>
            <a:rPr lang="en-US" sz="1200" kern="1200" err="1"/>
            <a:t>Auseinandersetzungen</a:t>
          </a:r>
          <a:endParaRPr lang="en-US" sz="1200" kern="1200"/>
        </a:p>
        <a:p>
          <a:pPr marL="114300" lvl="1" indent="-114300" algn="l" defTabSz="533400">
            <a:lnSpc>
              <a:spcPct val="90000"/>
            </a:lnSpc>
            <a:spcBef>
              <a:spcPct val="0"/>
            </a:spcBef>
            <a:spcAft>
              <a:spcPct val="15000"/>
            </a:spcAft>
            <a:buChar char="•"/>
          </a:pPr>
          <a:r>
            <a:rPr lang="en-US" sz="1200" b="1" kern="1200" err="1"/>
            <a:t>Finanzielle</a:t>
          </a:r>
          <a:r>
            <a:rPr lang="en-US" sz="1200" b="1" kern="1200"/>
            <a:t> </a:t>
          </a:r>
          <a:r>
            <a:rPr lang="en-US" sz="1200" b="1" kern="1200" err="1"/>
            <a:t>Herausforderungen</a:t>
          </a:r>
          <a:r>
            <a:rPr lang="en-US" sz="1200" b="1" kern="1200"/>
            <a:t>: </a:t>
          </a:r>
          <a:r>
            <a:rPr lang="en-US" sz="1200" kern="1200" err="1"/>
            <a:t>hohe</a:t>
          </a:r>
          <a:r>
            <a:rPr lang="en-US" sz="1200" kern="1200"/>
            <a:t> </a:t>
          </a:r>
          <a:r>
            <a:rPr lang="en-US" sz="1200" kern="1200" err="1"/>
            <a:t>Verluste</a:t>
          </a:r>
          <a:r>
            <a:rPr lang="en-US" sz="1200" kern="1200"/>
            <a:t> </a:t>
          </a:r>
          <a:r>
            <a:rPr lang="en-US" sz="1200" kern="1200" err="1"/>
            <a:t>können</a:t>
          </a:r>
          <a:r>
            <a:rPr lang="en-US" sz="1200" kern="1200"/>
            <a:t> </a:t>
          </a:r>
          <a:r>
            <a:rPr lang="en-US" sz="1200" kern="1200" err="1"/>
            <a:t>aufgrund</a:t>
          </a:r>
          <a:r>
            <a:rPr lang="en-US" sz="1200" kern="1200"/>
            <a:t> von </a:t>
          </a:r>
          <a:r>
            <a:rPr lang="en-US" sz="1200" kern="1200" err="1"/>
            <a:t>zukünftigen</a:t>
          </a:r>
          <a:r>
            <a:rPr lang="en-US" sz="1200" kern="1200"/>
            <a:t> </a:t>
          </a:r>
          <a:r>
            <a:rPr lang="en-US" sz="1200" kern="1200" err="1"/>
            <a:t>Investitionen</a:t>
          </a:r>
          <a:r>
            <a:rPr lang="en-US" sz="1200" kern="1200"/>
            <a:t> in </a:t>
          </a:r>
          <a:r>
            <a:rPr lang="en-US" sz="1200" kern="1200" err="1"/>
            <a:t>neue</a:t>
          </a:r>
          <a:r>
            <a:rPr lang="en-US" sz="1200" kern="1200"/>
            <a:t> </a:t>
          </a:r>
          <a:r>
            <a:rPr lang="en-US" sz="1200" kern="1200" err="1"/>
            <a:t>Technologien</a:t>
          </a:r>
          <a:r>
            <a:rPr lang="en-US" sz="1200" kern="1200"/>
            <a:t> und </a:t>
          </a:r>
          <a:r>
            <a:rPr lang="en-US" sz="1200" kern="1200" err="1"/>
            <a:t>Marktexpansionen</a:t>
          </a:r>
          <a:r>
            <a:rPr lang="en-US" sz="1200" kern="1200"/>
            <a:t> </a:t>
          </a:r>
          <a:r>
            <a:rPr lang="en-US" sz="1200" kern="1200" err="1"/>
            <a:t>zu</a:t>
          </a:r>
          <a:r>
            <a:rPr lang="en-US" sz="1200" kern="1200"/>
            <a:t> </a:t>
          </a:r>
          <a:r>
            <a:rPr lang="en-US" sz="1200" kern="1200" err="1"/>
            <a:t>finanziellem</a:t>
          </a:r>
          <a:r>
            <a:rPr lang="en-US" sz="1200" kern="1200"/>
            <a:t> </a:t>
          </a:r>
          <a:r>
            <a:rPr lang="en-US" sz="1200" kern="1200" err="1"/>
            <a:t>Druck</a:t>
          </a:r>
          <a:r>
            <a:rPr lang="en-US" sz="1200" kern="1200"/>
            <a:t> </a:t>
          </a:r>
          <a:r>
            <a:rPr lang="en-US" sz="1200" kern="1200" err="1"/>
            <a:t>führen</a:t>
          </a:r>
          <a:endParaRPr lang="en-US" sz="1200" kern="1200"/>
        </a:p>
      </dsp:txBody>
      <dsp:txXfrm>
        <a:off x="4283868" y="0"/>
        <a:ext cx="4283868" cy="1660326"/>
      </dsp:txXfrm>
    </dsp:sp>
    <dsp:sp modelId="{1BA91992-3056-4442-AADF-5CF4272CD82A}">
      <dsp:nvSpPr>
        <dsp:cNvPr id="0" name=""/>
        <dsp:cNvSpPr/>
      </dsp:nvSpPr>
      <dsp:spPr>
        <a:xfrm rot="10800000">
          <a:off x="0" y="2213768"/>
          <a:ext cx="4283868" cy="2213768"/>
        </a:xfrm>
        <a:prstGeom prst="round1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b" anchorCtr="1">
          <a:noAutofit/>
        </a:bodyPr>
        <a:lstStyle/>
        <a:p>
          <a:pPr marL="0" lvl="0" indent="0" algn="l" defTabSz="711200">
            <a:lnSpc>
              <a:spcPct val="90000"/>
            </a:lnSpc>
            <a:spcBef>
              <a:spcPct val="0"/>
            </a:spcBef>
            <a:spcAft>
              <a:spcPct val="35000"/>
            </a:spcAft>
            <a:buNone/>
          </a:pPr>
          <a:r>
            <a:rPr lang="en-US" sz="1600" b="1" kern="1200" err="1"/>
            <a:t>Chancen</a:t>
          </a:r>
          <a:r>
            <a:rPr lang="en-US" sz="1600" b="1" kern="1200"/>
            <a:t> </a:t>
          </a:r>
        </a:p>
        <a:p>
          <a:pPr marL="114300" lvl="1" indent="-114300" algn="l" defTabSz="533400">
            <a:lnSpc>
              <a:spcPct val="90000"/>
            </a:lnSpc>
            <a:spcBef>
              <a:spcPct val="0"/>
            </a:spcBef>
            <a:spcAft>
              <a:spcPct val="15000"/>
            </a:spcAft>
            <a:buFont typeface="Arial" panose="020B0604020202020204" pitchFamily="34" charset="0"/>
            <a:buChar char="•"/>
          </a:pPr>
          <a:r>
            <a:rPr lang="en-US" sz="1200" b="1" kern="1200" err="1"/>
            <a:t>Autonome</a:t>
          </a:r>
          <a:r>
            <a:rPr lang="en-US" sz="1200" b="1" kern="1200"/>
            <a:t> </a:t>
          </a:r>
          <a:r>
            <a:rPr lang="en-US" sz="1200" b="1" kern="1200" err="1"/>
            <a:t>Fahrzeuge</a:t>
          </a:r>
          <a:r>
            <a:rPr lang="en-US" sz="1200" b="1" kern="1200"/>
            <a:t>:</a:t>
          </a:r>
          <a:r>
            <a:rPr lang="en-US" sz="1200" kern="1200"/>
            <a:t> </a:t>
          </a:r>
          <a:r>
            <a:rPr lang="en-US" sz="1200" kern="1200" err="1"/>
            <a:t>Investitionen</a:t>
          </a:r>
          <a:r>
            <a:rPr lang="en-US" sz="1200" kern="1200"/>
            <a:t> </a:t>
          </a:r>
          <a:r>
            <a:rPr lang="en-US" sz="1200" kern="1200" err="1"/>
            <a:t>können</a:t>
          </a:r>
          <a:r>
            <a:rPr lang="en-US" sz="1200" kern="1200"/>
            <a:t> </a:t>
          </a:r>
          <a:r>
            <a:rPr lang="en-US" sz="1200" kern="1200" err="1"/>
            <a:t>langfristig</a:t>
          </a:r>
          <a:r>
            <a:rPr lang="en-US" sz="1200" kern="1200"/>
            <a:t> die </a:t>
          </a:r>
          <a:r>
            <a:rPr lang="en-US" sz="1200" kern="1200" err="1"/>
            <a:t>Betriebskosten</a:t>
          </a:r>
          <a:r>
            <a:rPr lang="en-US" sz="1200" kern="1200"/>
            <a:t> </a:t>
          </a:r>
          <a:r>
            <a:rPr lang="en-US" sz="1200" kern="1200" err="1"/>
            <a:t>senken</a:t>
          </a:r>
          <a:r>
            <a:rPr lang="en-US" sz="1200" kern="1200"/>
            <a:t> und die </a:t>
          </a:r>
          <a:r>
            <a:rPr lang="en-US" sz="1200" kern="1200" err="1"/>
            <a:t>Effizienz</a:t>
          </a:r>
          <a:r>
            <a:rPr lang="en-US" sz="1200" kern="1200"/>
            <a:t> </a:t>
          </a:r>
          <a:r>
            <a:rPr lang="en-US" sz="1200" kern="1200" err="1"/>
            <a:t>steigern</a:t>
          </a:r>
          <a:endParaRPr lang="en-US" sz="1200" kern="1200"/>
        </a:p>
        <a:p>
          <a:pPr marL="114300" lvl="1" indent="-114300" algn="l" defTabSz="533400">
            <a:lnSpc>
              <a:spcPct val="90000"/>
            </a:lnSpc>
            <a:spcBef>
              <a:spcPct val="0"/>
            </a:spcBef>
            <a:spcAft>
              <a:spcPct val="15000"/>
            </a:spcAft>
            <a:buChar char="•"/>
          </a:pPr>
          <a:r>
            <a:rPr lang="en-US" sz="1200" b="1" kern="1200" err="1"/>
            <a:t>Marktwachstum</a:t>
          </a:r>
          <a:r>
            <a:rPr lang="en-US" sz="1200" b="1" kern="1200"/>
            <a:t>:</a:t>
          </a:r>
          <a:r>
            <a:rPr lang="en-US" sz="1200" kern="1200"/>
            <a:t> Die </a:t>
          </a:r>
          <a:r>
            <a:rPr lang="en-US" sz="1200" kern="1200" err="1"/>
            <a:t>Nachfrage</a:t>
          </a:r>
          <a:r>
            <a:rPr lang="en-US" sz="1200" kern="1200"/>
            <a:t> </a:t>
          </a:r>
          <a:r>
            <a:rPr lang="en-US" sz="1200" kern="1200" err="1"/>
            <a:t>nach</a:t>
          </a:r>
          <a:r>
            <a:rPr lang="en-US" sz="1200" kern="1200"/>
            <a:t> Ride-Hailing und </a:t>
          </a:r>
          <a:r>
            <a:rPr lang="en-US" sz="1200" kern="1200" err="1"/>
            <a:t>Lieferdiensten</a:t>
          </a:r>
          <a:r>
            <a:rPr lang="en-US" sz="1200" kern="1200"/>
            <a:t> </a:t>
          </a:r>
          <a:r>
            <a:rPr lang="en-US" sz="1200" kern="1200" err="1"/>
            <a:t>nimmt</a:t>
          </a:r>
          <a:r>
            <a:rPr lang="en-US" sz="1200" kern="1200"/>
            <a:t> </a:t>
          </a:r>
          <a:r>
            <a:rPr lang="en-US" sz="1200" kern="1200" err="1"/>
            <a:t>weltweit</a:t>
          </a:r>
          <a:r>
            <a:rPr lang="en-US" sz="1200" kern="1200"/>
            <a:t> </a:t>
          </a:r>
          <a:r>
            <a:rPr lang="en-US" sz="1200" kern="1200" err="1"/>
            <a:t>zu</a:t>
          </a:r>
          <a:r>
            <a:rPr lang="en-US" sz="1200" kern="1200"/>
            <a:t>, was </a:t>
          </a:r>
          <a:r>
            <a:rPr lang="en-US" sz="1200" kern="1200" err="1"/>
            <a:t>Chancen</a:t>
          </a:r>
          <a:r>
            <a:rPr lang="en-US" sz="1200" kern="1200"/>
            <a:t> für </a:t>
          </a:r>
          <a:r>
            <a:rPr lang="en-US" sz="1200" kern="1200" err="1"/>
            <a:t>Wachstum</a:t>
          </a:r>
          <a:r>
            <a:rPr lang="en-US" sz="1200" kern="1200"/>
            <a:t> und Expansion </a:t>
          </a:r>
          <a:r>
            <a:rPr lang="en-US" sz="1200" kern="1200" err="1"/>
            <a:t>bietet</a:t>
          </a:r>
          <a:endParaRPr lang="en-US" sz="1200" kern="1200"/>
        </a:p>
        <a:p>
          <a:pPr marL="114300" lvl="1" indent="-114300" algn="l" defTabSz="533400">
            <a:lnSpc>
              <a:spcPct val="90000"/>
            </a:lnSpc>
            <a:spcBef>
              <a:spcPct val="0"/>
            </a:spcBef>
            <a:spcAft>
              <a:spcPct val="15000"/>
            </a:spcAft>
            <a:buChar char="•"/>
          </a:pPr>
          <a:r>
            <a:rPr lang="en-US" sz="1200" b="1" kern="1200" err="1"/>
            <a:t>Diversifizierung</a:t>
          </a:r>
          <a:r>
            <a:rPr lang="en-US" sz="1200" b="1" kern="1200"/>
            <a:t> der </a:t>
          </a:r>
          <a:r>
            <a:rPr lang="en-US" sz="1200" b="1" kern="1200" err="1"/>
            <a:t>Dienstleistungen</a:t>
          </a:r>
          <a:r>
            <a:rPr lang="en-US" sz="1200" b="1" kern="1200"/>
            <a:t>:</a:t>
          </a:r>
          <a:r>
            <a:rPr lang="en-US" sz="1200" kern="1200"/>
            <a:t> Eine </a:t>
          </a:r>
          <a:r>
            <a:rPr lang="en-US" sz="1200" kern="1200" err="1"/>
            <a:t>weitere</a:t>
          </a:r>
          <a:r>
            <a:rPr lang="en-US" sz="1200" kern="1200"/>
            <a:t> </a:t>
          </a:r>
          <a:r>
            <a:rPr lang="en-US" sz="1200" kern="1200" err="1"/>
            <a:t>Diversifizierung</a:t>
          </a:r>
          <a:r>
            <a:rPr lang="en-US" sz="1200" kern="1200"/>
            <a:t> </a:t>
          </a:r>
          <a:r>
            <a:rPr lang="en-US" sz="1200" kern="1200" err="1"/>
            <a:t>oder</a:t>
          </a:r>
          <a:r>
            <a:rPr lang="en-US" sz="1200" kern="1200"/>
            <a:t> </a:t>
          </a:r>
          <a:r>
            <a:rPr lang="en-US" sz="1200" kern="1200" err="1"/>
            <a:t>Verbesserung</a:t>
          </a:r>
          <a:r>
            <a:rPr lang="en-US" sz="1200" kern="1200"/>
            <a:t> </a:t>
          </a:r>
          <a:r>
            <a:rPr lang="en-US" sz="1200" kern="1200" err="1"/>
            <a:t>bestehender</a:t>
          </a:r>
          <a:r>
            <a:rPr lang="en-US" sz="1200" kern="1200"/>
            <a:t> </a:t>
          </a:r>
          <a:r>
            <a:rPr lang="en-US" sz="1200" kern="1200" err="1"/>
            <a:t>Dienstleistungen</a:t>
          </a:r>
          <a:r>
            <a:rPr lang="en-US" sz="1200" kern="1200"/>
            <a:t> </a:t>
          </a:r>
          <a:r>
            <a:rPr lang="en-US" sz="1200" kern="1200" err="1"/>
            <a:t>kann</a:t>
          </a:r>
          <a:r>
            <a:rPr lang="en-US" sz="1200" kern="1200"/>
            <a:t> </a:t>
          </a:r>
          <a:r>
            <a:rPr lang="en-US" sz="1200" kern="1200" err="1"/>
            <a:t>neue</a:t>
          </a:r>
          <a:r>
            <a:rPr lang="en-US" sz="1200" kern="1200"/>
            <a:t> </a:t>
          </a:r>
          <a:r>
            <a:rPr lang="en-US" sz="1200" kern="1200" err="1"/>
            <a:t>Marktsegmente</a:t>
          </a:r>
          <a:r>
            <a:rPr lang="en-US" sz="1200" kern="1200"/>
            <a:t> </a:t>
          </a:r>
          <a:r>
            <a:rPr lang="en-US" sz="1200" kern="1200" err="1"/>
            <a:t>erschließen</a:t>
          </a:r>
          <a:endParaRPr lang="en-US" sz="1200" kern="1200"/>
        </a:p>
      </dsp:txBody>
      <dsp:txXfrm rot="10800000">
        <a:off x="0" y="2767210"/>
        <a:ext cx="4283868" cy="1660326"/>
      </dsp:txXfrm>
    </dsp:sp>
    <dsp:sp modelId="{DF902699-A8F7-4E2E-B14E-C634DCE04CB3}">
      <dsp:nvSpPr>
        <dsp:cNvPr id="0" name=""/>
        <dsp:cNvSpPr/>
      </dsp:nvSpPr>
      <dsp:spPr>
        <a:xfrm rot="5400000">
          <a:off x="5318918" y="1178718"/>
          <a:ext cx="2213768" cy="4283868"/>
        </a:xfrm>
        <a:prstGeom prst="round1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b" anchorCtr="0">
          <a:noAutofit/>
        </a:bodyPr>
        <a:lstStyle/>
        <a:p>
          <a:pPr marL="0" lvl="0" indent="0" algn="r" defTabSz="711200">
            <a:lnSpc>
              <a:spcPct val="90000"/>
            </a:lnSpc>
            <a:spcBef>
              <a:spcPct val="0"/>
            </a:spcBef>
            <a:spcAft>
              <a:spcPct val="35000"/>
            </a:spcAft>
            <a:buNone/>
          </a:pPr>
          <a:r>
            <a:rPr lang="en-US" sz="1600" b="1" kern="1200" err="1"/>
            <a:t>Risiken</a:t>
          </a:r>
          <a:endParaRPr lang="en-US" sz="1600" b="1" kern="1200"/>
        </a:p>
        <a:p>
          <a:pPr marL="114300" lvl="1" indent="-114300" algn="l" defTabSz="533400">
            <a:lnSpc>
              <a:spcPct val="90000"/>
            </a:lnSpc>
            <a:spcBef>
              <a:spcPct val="0"/>
            </a:spcBef>
            <a:spcAft>
              <a:spcPct val="15000"/>
            </a:spcAft>
            <a:buFont typeface="Arial" panose="020B0604020202020204" pitchFamily="34" charset="0"/>
            <a:buChar char="•"/>
          </a:pPr>
          <a:r>
            <a:rPr lang="en-US" sz="1200" b="1" kern="1200" err="1"/>
            <a:t>Wettbewerb</a:t>
          </a:r>
          <a:r>
            <a:rPr lang="en-US" sz="1200" b="1" kern="1200"/>
            <a:t>:</a:t>
          </a:r>
          <a:r>
            <a:rPr lang="en-US" sz="1200" kern="1200"/>
            <a:t> </a:t>
          </a:r>
          <a:r>
            <a:rPr lang="en-US" sz="1200" kern="1200" err="1"/>
            <a:t>Konkurrenz</a:t>
          </a:r>
          <a:r>
            <a:rPr lang="en-US" sz="1200" kern="1200"/>
            <a:t> von </a:t>
          </a:r>
          <a:r>
            <a:rPr lang="en-US" sz="1200" kern="1200" err="1"/>
            <a:t>anderen</a:t>
          </a:r>
          <a:r>
            <a:rPr lang="en-US" sz="1200" kern="1200"/>
            <a:t> Ride-Hailing-</a:t>
          </a:r>
          <a:r>
            <a:rPr lang="en-US" sz="1200" kern="1200" err="1"/>
            <a:t>Diensten</a:t>
          </a:r>
          <a:r>
            <a:rPr lang="en-US" sz="1200" kern="1200"/>
            <a:t>, </a:t>
          </a:r>
          <a:r>
            <a:rPr lang="en-US" sz="1200" kern="1200" err="1"/>
            <a:t>Lieferdiensten</a:t>
          </a:r>
          <a:r>
            <a:rPr lang="en-US" sz="1200" kern="1200"/>
            <a:t> und </a:t>
          </a:r>
          <a:r>
            <a:rPr lang="en-US" sz="1200" kern="1200" err="1"/>
            <a:t>potenziell</a:t>
          </a:r>
          <a:r>
            <a:rPr lang="en-US" sz="1200" kern="1200"/>
            <a:t> von </a:t>
          </a:r>
          <a:r>
            <a:rPr lang="en-US" sz="1200" kern="1200" err="1"/>
            <a:t>aufkommenden</a:t>
          </a:r>
          <a:r>
            <a:rPr lang="en-US" sz="1200" kern="1200"/>
            <a:t> </a:t>
          </a:r>
          <a:r>
            <a:rPr lang="en-US" sz="1200" kern="1200" err="1"/>
            <a:t>Technologien</a:t>
          </a:r>
          <a:r>
            <a:rPr lang="en-US" sz="1200" kern="1200"/>
            <a:t> </a:t>
          </a:r>
          <a:r>
            <a:rPr lang="en-US" sz="1200" kern="1200" err="1"/>
            <a:t>oder</a:t>
          </a:r>
          <a:r>
            <a:rPr lang="en-US" sz="1200" kern="1200"/>
            <a:t> </a:t>
          </a:r>
          <a:r>
            <a:rPr lang="en-US" sz="1200" kern="1200" err="1"/>
            <a:t>Branchenakteuren</a:t>
          </a:r>
          <a:endParaRPr lang="en-US" sz="1200" kern="1200"/>
        </a:p>
        <a:p>
          <a:pPr marL="114300" lvl="1" indent="-114300" algn="l" defTabSz="533400">
            <a:lnSpc>
              <a:spcPct val="90000"/>
            </a:lnSpc>
            <a:spcBef>
              <a:spcPct val="0"/>
            </a:spcBef>
            <a:spcAft>
              <a:spcPct val="15000"/>
            </a:spcAft>
            <a:buChar char="•"/>
          </a:pPr>
          <a:r>
            <a:rPr lang="en-US" sz="1200" b="1" kern="1200" err="1"/>
            <a:t>Technologische</a:t>
          </a:r>
          <a:r>
            <a:rPr lang="en-US" sz="1200" b="1" kern="1200"/>
            <a:t> </a:t>
          </a:r>
          <a:r>
            <a:rPr lang="en-US" sz="1200" b="1" kern="1200" err="1"/>
            <a:t>Störungen</a:t>
          </a:r>
          <a:r>
            <a:rPr lang="en-US" sz="1200" b="1" kern="1200"/>
            <a:t>:</a:t>
          </a:r>
          <a:r>
            <a:rPr lang="en-US" sz="1200" kern="1200"/>
            <a:t> </a:t>
          </a:r>
          <a:r>
            <a:rPr lang="en-US" sz="1200" kern="1200" err="1"/>
            <a:t>Abhängigkeit</a:t>
          </a:r>
          <a:r>
            <a:rPr lang="en-US" sz="1200" kern="1200"/>
            <a:t> von </a:t>
          </a:r>
          <a:r>
            <a:rPr lang="en-US" sz="1200" kern="1200" err="1"/>
            <a:t>Technologie</a:t>
          </a:r>
          <a:r>
            <a:rPr lang="en-US" sz="1200" kern="1200"/>
            <a:t> </a:t>
          </a:r>
          <a:r>
            <a:rPr lang="en-US" sz="1200" kern="1200" err="1"/>
            <a:t>birgt</a:t>
          </a:r>
          <a:r>
            <a:rPr lang="en-US" sz="1200" kern="1200"/>
            <a:t> das </a:t>
          </a:r>
          <a:r>
            <a:rPr lang="en-US" sz="1200" kern="1200" err="1"/>
            <a:t>Risiko</a:t>
          </a:r>
          <a:r>
            <a:rPr lang="en-US" sz="1200" kern="1200"/>
            <a:t> von </a:t>
          </a:r>
          <a:r>
            <a:rPr lang="en-US" sz="1200" kern="1200" err="1"/>
            <a:t>Sicherheitsproblemen</a:t>
          </a:r>
          <a:r>
            <a:rPr lang="en-US" sz="1200" kern="1200"/>
            <a:t>, </a:t>
          </a:r>
          <a:r>
            <a:rPr lang="en-US" sz="1200" kern="1200" err="1"/>
            <a:t>Datenschutzverletzungen</a:t>
          </a:r>
          <a:r>
            <a:rPr lang="en-US" sz="1200" kern="1200"/>
            <a:t> </a:t>
          </a:r>
          <a:r>
            <a:rPr lang="en-US" sz="1200" kern="1200" err="1"/>
            <a:t>oder</a:t>
          </a:r>
          <a:r>
            <a:rPr lang="en-US" sz="1200" kern="1200"/>
            <a:t> </a:t>
          </a:r>
          <a:r>
            <a:rPr lang="en-US" sz="1200" kern="1200" err="1"/>
            <a:t>Fehlfunktionen</a:t>
          </a:r>
          <a:endParaRPr lang="en-US" sz="1200" kern="1200"/>
        </a:p>
        <a:p>
          <a:pPr marL="114300" lvl="1" indent="-114300" algn="l" defTabSz="533400">
            <a:lnSpc>
              <a:spcPct val="90000"/>
            </a:lnSpc>
            <a:spcBef>
              <a:spcPct val="0"/>
            </a:spcBef>
            <a:spcAft>
              <a:spcPct val="15000"/>
            </a:spcAft>
            <a:buChar char="•"/>
          </a:pPr>
          <a:r>
            <a:rPr lang="en-US" sz="1200" b="1" kern="1200" err="1"/>
            <a:t>Öffentliche</a:t>
          </a:r>
          <a:r>
            <a:rPr lang="en-US" sz="1200" b="1" kern="1200"/>
            <a:t> </a:t>
          </a:r>
          <a:r>
            <a:rPr lang="en-US" sz="1200" b="1" kern="1200" err="1"/>
            <a:t>Wahrnehmung</a:t>
          </a:r>
          <a:r>
            <a:rPr lang="en-US" sz="1200" b="1" kern="1200"/>
            <a:t>:</a:t>
          </a:r>
          <a:r>
            <a:rPr lang="en-US" sz="1200" kern="1200"/>
            <a:t> Negative </a:t>
          </a:r>
          <a:r>
            <a:rPr lang="en-US" sz="1200" kern="1200" err="1"/>
            <a:t>öffentliche</a:t>
          </a:r>
          <a:r>
            <a:rPr lang="en-US" sz="1200" kern="1200"/>
            <a:t> </a:t>
          </a:r>
          <a:r>
            <a:rPr lang="en-US" sz="1200" kern="1200" err="1"/>
            <a:t>Wahrnehmung</a:t>
          </a:r>
          <a:r>
            <a:rPr lang="en-US" sz="1200" kern="1200"/>
            <a:t> </a:t>
          </a:r>
          <a:r>
            <a:rPr lang="en-US" sz="1200" kern="1200" err="1"/>
            <a:t>aufgrund</a:t>
          </a:r>
          <a:r>
            <a:rPr lang="en-US" sz="1200" kern="1200"/>
            <a:t> von </a:t>
          </a:r>
          <a:r>
            <a:rPr lang="en-US" sz="1200" kern="1200" err="1"/>
            <a:t>Sicherheitsbedenken</a:t>
          </a:r>
          <a:r>
            <a:rPr lang="en-US" sz="1200" kern="1200"/>
            <a:t>, </a:t>
          </a:r>
          <a:r>
            <a:rPr lang="en-US" sz="1200" kern="1200" err="1"/>
            <a:t>Arbeitsbedingungen</a:t>
          </a:r>
          <a:r>
            <a:rPr lang="en-US" sz="1200" kern="1200"/>
            <a:t> der </a:t>
          </a:r>
          <a:r>
            <a:rPr lang="en-US" sz="1200" kern="1200" err="1"/>
            <a:t>Fahrer</a:t>
          </a:r>
          <a:r>
            <a:rPr lang="en-US" sz="1200" kern="1200"/>
            <a:t> </a:t>
          </a:r>
          <a:r>
            <a:rPr lang="en-US" sz="1200" kern="1200" err="1"/>
            <a:t>oder</a:t>
          </a:r>
          <a:r>
            <a:rPr lang="en-US" sz="1200" kern="1200"/>
            <a:t> </a:t>
          </a:r>
          <a:r>
            <a:rPr lang="en-US" sz="1200" kern="1200" err="1"/>
            <a:t>ethischen</a:t>
          </a:r>
          <a:r>
            <a:rPr lang="en-US" sz="1200" kern="1200"/>
            <a:t> </a:t>
          </a:r>
          <a:r>
            <a:rPr lang="en-US" sz="1200" kern="1200" err="1"/>
            <a:t>Fragen</a:t>
          </a:r>
          <a:r>
            <a:rPr lang="en-US" sz="1200" kern="1200"/>
            <a:t> </a:t>
          </a:r>
          <a:r>
            <a:rPr lang="en-US" sz="1200" kern="1200" err="1"/>
            <a:t>kann</a:t>
          </a:r>
          <a:r>
            <a:rPr lang="en-US" sz="1200" kern="1200"/>
            <a:t> das Image von Uber </a:t>
          </a:r>
          <a:r>
            <a:rPr lang="en-US" sz="1200" kern="1200" err="1"/>
            <a:t>beeinträchtigen</a:t>
          </a:r>
          <a:endParaRPr lang="en-US" sz="1200" kern="1200"/>
        </a:p>
      </dsp:txBody>
      <dsp:txXfrm rot="-5400000">
        <a:off x="4283868" y="2767210"/>
        <a:ext cx="4283868" cy="1660326"/>
      </dsp:txXfrm>
    </dsp:sp>
    <dsp:sp modelId="{AE57FA91-BF31-44C0-9468-E0BD9FABB91D}">
      <dsp:nvSpPr>
        <dsp:cNvPr id="0" name=""/>
        <dsp:cNvSpPr/>
      </dsp:nvSpPr>
      <dsp:spPr>
        <a:xfrm>
          <a:off x="3410164" y="1981306"/>
          <a:ext cx="1747407" cy="464924"/>
        </a:xfrm>
        <a:prstGeom prst="roundRect">
          <a:avLst/>
        </a:prstGeom>
        <a:solidFill>
          <a:schemeClr val="accent2">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SWOT</a:t>
          </a:r>
        </a:p>
      </dsp:txBody>
      <dsp:txXfrm>
        <a:off x="3432860" y="2004002"/>
        <a:ext cx="1702015" cy="41953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C6614A-F1D1-41A9-AA59-5377704DEBE3}">
      <dsp:nvSpPr>
        <dsp:cNvPr id="0" name=""/>
        <dsp:cNvSpPr/>
      </dsp:nvSpPr>
      <dsp:spPr>
        <a:xfrm>
          <a:off x="0" y="20603"/>
          <a:ext cx="8567737" cy="4305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err="1"/>
            <a:t>Finanzielle</a:t>
          </a:r>
          <a:r>
            <a:rPr lang="en-US" sz="1800" kern="1200"/>
            <a:t> </a:t>
          </a:r>
          <a:r>
            <a:rPr lang="en-US" sz="1800" kern="1200" err="1"/>
            <a:t>Unterstützung</a:t>
          </a:r>
          <a:r>
            <a:rPr lang="en-US" sz="1800" kern="1200"/>
            <a:t> für </a:t>
          </a:r>
          <a:r>
            <a:rPr lang="en-US" sz="1800" kern="1200" err="1"/>
            <a:t>Fahrer</a:t>
          </a:r>
          <a:endParaRPr lang="en-US" sz="1800" kern="1200"/>
        </a:p>
      </dsp:txBody>
      <dsp:txXfrm>
        <a:off x="21018" y="41621"/>
        <a:ext cx="8525701" cy="388524"/>
      </dsp:txXfrm>
    </dsp:sp>
    <dsp:sp modelId="{52EB617B-72AE-4293-826C-146B838D221C}">
      <dsp:nvSpPr>
        <dsp:cNvPr id="0" name=""/>
        <dsp:cNvSpPr/>
      </dsp:nvSpPr>
      <dsp:spPr>
        <a:xfrm>
          <a:off x="0" y="451163"/>
          <a:ext cx="8567737" cy="856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err="1"/>
            <a:t>Einführung</a:t>
          </a:r>
          <a:r>
            <a:rPr lang="en-US" sz="1800" kern="1200"/>
            <a:t> von </a:t>
          </a:r>
          <a:r>
            <a:rPr lang="en-US" sz="1800" kern="1200" err="1"/>
            <a:t>Programmen</a:t>
          </a:r>
          <a:r>
            <a:rPr lang="en-US" sz="1800" kern="1200"/>
            <a:t>, um </a:t>
          </a:r>
          <a:r>
            <a:rPr lang="en-US" sz="1800" kern="1200" err="1"/>
            <a:t>Fahrern</a:t>
          </a:r>
          <a:r>
            <a:rPr lang="en-US" sz="1800" kern="1200"/>
            <a:t> </a:t>
          </a:r>
          <a:r>
            <a:rPr lang="en-US" sz="1800" kern="1200" err="1"/>
            <a:t>finanziell</a:t>
          </a:r>
          <a:r>
            <a:rPr lang="en-US" sz="1800" kern="1200"/>
            <a:t> </a:t>
          </a:r>
          <a:r>
            <a:rPr lang="en-US" sz="1800" kern="1200" err="1"/>
            <a:t>zu</a:t>
          </a:r>
          <a:r>
            <a:rPr lang="en-US" sz="1800" kern="1200"/>
            <a:t> </a:t>
          </a:r>
          <a:r>
            <a:rPr lang="en-US" sz="1800" kern="1200" err="1"/>
            <a:t>unterstützen</a:t>
          </a:r>
          <a:r>
            <a:rPr lang="en-US" sz="1800" kern="1200"/>
            <a:t>, </a:t>
          </a:r>
          <a:r>
            <a:rPr lang="en-US" sz="1800" kern="1200" err="1"/>
            <a:t>wegen</a:t>
          </a:r>
          <a:r>
            <a:rPr lang="en-US" sz="1800" kern="1200"/>
            <a:t> </a:t>
          </a:r>
          <a:r>
            <a:rPr lang="en-US" sz="1800" kern="1200" err="1"/>
            <a:t>Einkommenseinbußen</a:t>
          </a:r>
          <a:r>
            <a:rPr lang="en-US" sz="1800" kern="1200"/>
            <a:t> von </a:t>
          </a:r>
          <a:r>
            <a:rPr lang="en-US" sz="1800" kern="1200" err="1"/>
            <a:t>reduzierter</a:t>
          </a:r>
          <a:r>
            <a:rPr lang="en-US" sz="1800" kern="1200"/>
            <a:t> </a:t>
          </a:r>
          <a:r>
            <a:rPr lang="en-US" sz="1800" kern="1200" err="1"/>
            <a:t>Fahrtätigkeit</a:t>
          </a:r>
          <a:endParaRPr lang="en-US" sz="1800" kern="1200"/>
        </a:p>
        <a:p>
          <a:pPr marL="171450" lvl="1" indent="-171450" algn="l" defTabSz="800100">
            <a:lnSpc>
              <a:spcPct val="90000"/>
            </a:lnSpc>
            <a:spcBef>
              <a:spcPct val="0"/>
            </a:spcBef>
            <a:spcAft>
              <a:spcPct val="20000"/>
            </a:spcAft>
            <a:buChar char="•"/>
          </a:pPr>
          <a:r>
            <a:rPr lang="en-US" sz="1800" kern="1200"/>
            <a:t>Fonds für </a:t>
          </a:r>
          <a:r>
            <a:rPr lang="en-US" sz="1800" kern="1200" err="1"/>
            <a:t>Fahrer</a:t>
          </a:r>
          <a:r>
            <a:rPr lang="en-US" sz="1800" kern="1200"/>
            <a:t>, die </a:t>
          </a:r>
          <a:r>
            <a:rPr lang="en-US" sz="1800" kern="1200" err="1"/>
            <a:t>positiv</a:t>
          </a:r>
          <a:r>
            <a:rPr lang="en-US" sz="1800" kern="1200"/>
            <a:t> auf Covid-19 </a:t>
          </a:r>
          <a:r>
            <a:rPr lang="en-US" sz="1800" kern="1200" err="1"/>
            <a:t>getestet</a:t>
          </a:r>
          <a:r>
            <a:rPr lang="en-US" sz="1800" kern="1200"/>
            <a:t> </a:t>
          </a:r>
          <a:r>
            <a:rPr lang="en-US" sz="1800" kern="1200" err="1"/>
            <a:t>wurden</a:t>
          </a:r>
          <a:endParaRPr lang="en-US" sz="1800" kern="1200"/>
        </a:p>
      </dsp:txBody>
      <dsp:txXfrm>
        <a:off x="0" y="451163"/>
        <a:ext cx="8567737" cy="856980"/>
      </dsp:txXfrm>
    </dsp:sp>
    <dsp:sp modelId="{D4F754B9-D957-436B-8332-3D4509128270}">
      <dsp:nvSpPr>
        <dsp:cNvPr id="0" name=""/>
        <dsp:cNvSpPr/>
      </dsp:nvSpPr>
      <dsp:spPr>
        <a:xfrm>
          <a:off x="0" y="1308143"/>
          <a:ext cx="8567737" cy="4305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err="1"/>
            <a:t>Sicherheitsmaßnahmen</a:t>
          </a:r>
          <a:r>
            <a:rPr lang="en-US" sz="1800" kern="1200"/>
            <a:t> für </a:t>
          </a:r>
          <a:r>
            <a:rPr lang="en-US" sz="1800" kern="1200" err="1"/>
            <a:t>Kunden</a:t>
          </a:r>
          <a:endParaRPr lang="en-US" sz="1800" kern="1200"/>
        </a:p>
      </dsp:txBody>
      <dsp:txXfrm>
        <a:off x="21018" y="1329161"/>
        <a:ext cx="8525701" cy="388524"/>
      </dsp:txXfrm>
    </dsp:sp>
    <dsp:sp modelId="{AD2961DC-D112-4DC8-8358-26748A7E7F7A}">
      <dsp:nvSpPr>
        <dsp:cNvPr id="0" name=""/>
        <dsp:cNvSpPr/>
      </dsp:nvSpPr>
      <dsp:spPr>
        <a:xfrm>
          <a:off x="0" y="1738703"/>
          <a:ext cx="8567737" cy="11188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err="1"/>
            <a:t>Implementierung</a:t>
          </a:r>
          <a:r>
            <a:rPr lang="en-US" sz="1800" kern="1200"/>
            <a:t> </a:t>
          </a:r>
          <a:r>
            <a:rPr lang="en-US" sz="1800" kern="1200" err="1"/>
            <a:t>strenger</a:t>
          </a:r>
          <a:r>
            <a:rPr lang="en-US" sz="1800" kern="1200"/>
            <a:t> </a:t>
          </a:r>
          <a:r>
            <a:rPr lang="en-US" sz="1800" kern="1200" err="1"/>
            <a:t>Sicherheitsrichtlinien</a:t>
          </a:r>
          <a:r>
            <a:rPr lang="en-US" sz="1800" kern="1200"/>
            <a:t> für </a:t>
          </a:r>
          <a:r>
            <a:rPr lang="en-US" sz="1800" kern="1200" err="1"/>
            <a:t>Fahrer</a:t>
          </a:r>
          <a:r>
            <a:rPr lang="en-US" sz="1800" kern="1200"/>
            <a:t> und </a:t>
          </a:r>
          <a:r>
            <a:rPr lang="en-US" sz="1800" kern="1200" err="1"/>
            <a:t>Fahrgäste</a:t>
          </a:r>
          <a:r>
            <a:rPr lang="en-US" sz="1800" kern="1200"/>
            <a:t>, um </a:t>
          </a:r>
          <a:r>
            <a:rPr lang="en-US" sz="1800" kern="1200" err="1"/>
            <a:t>Virusübertragung</a:t>
          </a:r>
          <a:r>
            <a:rPr lang="en-US" sz="1800" kern="1200"/>
            <a:t> </a:t>
          </a:r>
          <a:r>
            <a:rPr lang="en-US" sz="1800" kern="1200" err="1"/>
            <a:t>zu</a:t>
          </a:r>
          <a:r>
            <a:rPr lang="en-US" sz="1800" kern="1200"/>
            <a:t> </a:t>
          </a:r>
          <a:r>
            <a:rPr lang="en-US" sz="1800" kern="1200" err="1"/>
            <a:t>vermeiden</a:t>
          </a:r>
          <a:endParaRPr lang="en-US" sz="1800" kern="1200"/>
        </a:p>
        <a:p>
          <a:pPr marL="171450" lvl="1" indent="-171450" algn="l" defTabSz="800100">
            <a:lnSpc>
              <a:spcPct val="90000"/>
            </a:lnSpc>
            <a:spcBef>
              <a:spcPct val="0"/>
            </a:spcBef>
            <a:spcAft>
              <a:spcPct val="20000"/>
            </a:spcAft>
            <a:buChar char="•"/>
          </a:pPr>
          <a:r>
            <a:rPr lang="en-US" sz="1800" kern="1200" err="1"/>
            <a:t>Richtlinien</a:t>
          </a:r>
          <a:r>
            <a:rPr lang="en-US" sz="1800" kern="1200"/>
            <a:t> für das </a:t>
          </a:r>
          <a:r>
            <a:rPr lang="en-US" sz="1800" kern="1200" err="1"/>
            <a:t>Tragen</a:t>
          </a:r>
          <a:r>
            <a:rPr lang="en-US" sz="1800" kern="1200"/>
            <a:t> von </a:t>
          </a:r>
          <a:r>
            <a:rPr lang="en-US" sz="1800" kern="1200" err="1"/>
            <a:t>Masken</a:t>
          </a:r>
          <a:r>
            <a:rPr lang="en-US" sz="1800" kern="1200"/>
            <a:t>, </a:t>
          </a:r>
          <a:r>
            <a:rPr lang="en-US" sz="1800" kern="1200" err="1"/>
            <a:t>Desinfektion</a:t>
          </a:r>
          <a:r>
            <a:rPr lang="en-US" sz="1800" kern="1200"/>
            <a:t> von </a:t>
          </a:r>
          <a:r>
            <a:rPr lang="en-US" sz="1800" kern="1200" err="1"/>
            <a:t>Fahrzeugen</a:t>
          </a:r>
          <a:r>
            <a:rPr lang="en-US" sz="1800" kern="1200"/>
            <a:t> und </a:t>
          </a:r>
          <a:r>
            <a:rPr lang="en-US" sz="1800" kern="1200" err="1"/>
            <a:t>kontaktlose</a:t>
          </a:r>
          <a:r>
            <a:rPr lang="en-US" sz="1800" kern="1200"/>
            <a:t> </a:t>
          </a:r>
          <a:r>
            <a:rPr lang="en-US" sz="1800" kern="1200" err="1"/>
            <a:t>Transaktionen</a:t>
          </a:r>
          <a:endParaRPr lang="en-US" sz="1800" kern="1200"/>
        </a:p>
      </dsp:txBody>
      <dsp:txXfrm>
        <a:off x="0" y="1738703"/>
        <a:ext cx="8567737" cy="1118835"/>
      </dsp:txXfrm>
    </dsp:sp>
    <dsp:sp modelId="{C60E2016-B0CD-4F3C-8C33-46E9CDC75457}">
      <dsp:nvSpPr>
        <dsp:cNvPr id="0" name=""/>
        <dsp:cNvSpPr/>
      </dsp:nvSpPr>
      <dsp:spPr>
        <a:xfrm>
          <a:off x="0" y="2857538"/>
          <a:ext cx="8567737" cy="4305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err="1"/>
            <a:t>Initiativen</a:t>
          </a:r>
          <a:r>
            <a:rPr lang="en-US" sz="1800" kern="1200"/>
            <a:t> für </a:t>
          </a:r>
          <a:r>
            <a:rPr lang="en-US" sz="1800" kern="1200" err="1"/>
            <a:t>lokale</a:t>
          </a:r>
          <a:r>
            <a:rPr lang="en-US" sz="1800" kern="1200"/>
            <a:t> </a:t>
          </a:r>
          <a:r>
            <a:rPr lang="en-US" sz="1800" kern="1200" err="1"/>
            <a:t>Gemeinschaften</a:t>
          </a:r>
          <a:endParaRPr lang="en-US" sz="1800" kern="1200"/>
        </a:p>
      </dsp:txBody>
      <dsp:txXfrm>
        <a:off x="21018" y="2878556"/>
        <a:ext cx="8525701" cy="388524"/>
      </dsp:txXfrm>
    </dsp:sp>
    <dsp:sp modelId="{BCC80B85-B328-4F39-8248-D9DEF643BFF6}">
      <dsp:nvSpPr>
        <dsp:cNvPr id="0" name=""/>
        <dsp:cNvSpPr/>
      </dsp:nvSpPr>
      <dsp:spPr>
        <a:xfrm>
          <a:off x="0" y="3288098"/>
          <a:ext cx="8567737" cy="11188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err="1"/>
            <a:t>Startete</a:t>
          </a:r>
          <a:r>
            <a:rPr lang="en-US" sz="1800" kern="1200"/>
            <a:t> </a:t>
          </a:r>
          <a:r>
            <a:rPr lang="en-US" sz="1800" kern="1200" err="1"/>
            <a:t>lokale</a:t>
          </a:r>
          <a:r>
            <a:rPr lang="en-US" sz="1800" kern="1200"/>
            <a:t> </a:t>
          </a:r>
          <a:r>
            <a:rPr lang="en-US" sz="1800" kern="1200" err="1"/>
            <a:t>Initiativen</a:t>
          </a:r>
          <a:r>
            <a:rPr lang="en-US" sz="1800" kern="1200"/>
            <a:t>, um </a:t>
          </a:r>
          <a:r>
            <a:rPr lang="en-US" sz="1800" kern="1200" err="1"/>
            <a:t>Gemeinschaften</a:t>
          </a:r>
          <a:r>
            <a:rPr lang="en-US" sz="1800" kern="1200"/>
            <a:t> </a:t>
          </a:r>
          <a:r>
            <a:rPr lang="en-US" sz="1800" kern="1200" err="1"/>
            <a:t>während</a:t>
          </a:r>
          <a:r>
            <a:rPr lang="en-US" sz="1800" kern="1200"/>
            <a:t> der </a:t>
          </a:r>
          <a:r>
            <a:rPr lang="en-US" sz="1800" kern="1200" err="1"/>
            <a:t>Pandemie</a:t>
          </a:r>
          <a:r>
            <a:rPr lang="en-US" sz="1800" kern="1200"/>
            <a:t> </a:t>
          </a:r>
          <a:r>
            <a:rPr lang="en-US" sz="1800" kern="1200" err="1"/>
            <a:t>zu</a:t>
          </a:r>
          <a:r>
            <a:rPr lang="en-US" sz="1800" kern="1200"/>
            <a:t> </a:t>
          </a:r>
          <a:r>
            <a:rPr lang="en-US" sz="1800" kern="1200" err="1"/>
            <a:t>unterstützen</a:t>
          </a:r>
          <a:endParaRPr lang="en-US" sz="1800" kern="1200"/>
        </a:p>
        <a:p>
          <a:pPr marL="171450" lvl="1" indent="-171450" algn="l" defTabSz="800100">
            <a:lnSpc>
              <a:spcPct val="90000"/>
            </a:lnSpc>
            <a:spcBef>
              <a:spcPct val="0"/>
            </a:spcBef>
            <a:spcAft>
              <a:spcPct val="20000"/>
            </a:spcAft>
            <a:buFont typeface="Arial" panose="020B0604020202020204" pitchFamily="34" charset="0"/>
            <a:buChar char="•"/>
          </a:pPr>
          <a:r>
            <a:rPr lang="en-US" sz="1800" kern="1200" err="1"/>
            <a:t>Partnerschaften</a:t>
          </a:r>
          <a:r>
            <a:rPr lang="en-US" sz="1800" kern="1200"/>
            <a:t> mit Restaurants und </a:t>
          </a:r>
          <a:r>
            <a:rPr lang="en-US" sz="1800" kern="1200" err="1"/>
            <a:t>lokalen</a:t>
          </a:r>
          <a:r>
            <a:rPr lang="en-US" sz="1800" kern="1200"/>
            <a:t> </a:t>
          </a:r>
          <a:r>
            <a:rPr lang="en-US" sz="1800" kern="1200" err="1"/>
            <a:t>Geschäften</a:t>
          </a:r>
          <a:r>
            <a:rPr lang="en-US" sz="1800" kern="1200"/>
            <a:t>, um </a:t>
          </a:r>
          <a:r>
            <a:rPr lang="en-US" sz="1800" kern="1200" err="1"/>
            <a:t>ihre</a:t>
          </a:r>
          <a:r>
            <a:rPr lang="en-US" sz="1800" kern="1200"/>
            <a:t> </a:t>
          </a:r>
          <a:r>
            <a:rPr lang="en-US" sz="1800" kern="1200" err="1"/>
            <a:t>Sichtbarkeit</a:t>
          </a:r>
          <a:r>
            <a:rPr lang="en-US" sz="1800" kern="1200"/>
            <a:t> </a:t>
          </a:r>
          <a:r>
            <a:rPr lang="en-US" sz="1800" kern="1200" err="1"/>
            <a:t>zu</a:t>
          </a:r>
          <a:r>
            <a:rPr lang="en-US" sz="1800" kern="1200"/>
            <a:t> </a:t>
          </a:r>
          <a:r>
            <a:rPr lang="en-US" sz="1800" kern="1200" err="1"/>
            <a:t>erhöhen</a:t>
          </a:r>
          <a:endParaRPr lang="en-US" sz="1800" kern="1200"/>
        </a:p>
      </dsp:txBody>
      <dsp:txXfrm>
        <a:off x="0" y="3288098"/>
        <a:ext cx="8567737" cy="111883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CFC981-BFB9-4D82-9659-512178A00358}">
      <dsp:nvSpPr>
        <dsp:cNvPr id="0" name=""/>
        <dsp:cNvSpPr/>
      </dsp:nvSpPr>
      <dsp:spPr>
        <a:xfrm>
          <a:off x="0" y="44048"/>
          <a:ext cx="8567737" cy="7675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err="1"/>
            <a:t>Umsatzrückgang</a:t>
          </a:r>
          <a:r>
            <a:rPr lang="en-US" sz="2000" kern="1200"/>
            <a:t> </a:t>
          </a:r>
          <a:r>
            <a:rPr lang="en-US" sz="2000" kern="1200" err="1"/>
            <a:t>im</a:t>
          </a:r>
          <a:r>
            <a:rPr lang="en-US" sz="2000" kern="1200"/>
            <a:t> </a:t>
          </a:r>
          <a:r>
            <a:rPr lang="en-US" sz="2000" kern="1200" err="1"/>
            <a:t>Fahrdienst</a:t>
          </a:r>
          <a:endParaRPr lang="en-US" sz="2000" kern="1200"/>
        </a:p>
      </dsp:txBody>
      <dsp:txXfrm>
        <a:off x="37467" y="81515"/>
        <a:ext cx="8492803" cy="692586"/>
      </dsp:txXfrm>
    </dsp:sp>
    <dsp:sp modelId="{65546F03-7EA9-49E9-B138-248CE96BD6C4}">
      <dsp:nvSpPr>
        <dsp:cNvPr id="0" name=""/>
        <dsp:cNvSpPr/>
      </dsp:nvSpPr>
      <dsp:spPr>
        <a:xfrm>
          <a:off x="0" y="811568"/>
          <a:ext cx="8567737" cy="678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err="1"/>
            <a:t>Rückgang</a:t>
          </a:r>
          <a:r>
            <a:rPr lang="en-US" sz="2000" kern="1200"/>
            <a:t> der </a:t>
          </a:r>
          <a:r>
            <a:rPr lang="en-US" sz="2000" kern="1200" err="1"/>
            <a:t>Nachfrage</a:t>
          </a:r>
          <a:r>
            <a:rPr lang="en-US" sz="2000" kern="1200"/>
            <a:t> an </a:t>
          </a:r>
          <a:r>
            <a:rPr lang="en-US" sz="2000" kern="1200" err="1"/>
            <a:t>Fahrdiensten</a:t>
          </a:r>
          <a:r>
            <a:rPr lang="en-US" sz="2000" kern="1200"/>
            <a:t> </a:t>
          </a:r>
          <a:r>
            <a:rPr lang="en-US" sz="2000" kern="1200" err="1"/>
            <a:t>führte</a:t>
          </a:r>
          <a:r>
            <a:rPr lang="en-US" sz="2000" kern="1200"/>
            <a:t> </a:t>
          </a:r>
          <a:r>
            <a:rPr lang="en-US" sz="2000" kern="1200" err="1"/>
            <a:t>zum</a:t>
          </a:r>
          <a:r>
            <a:rPr lang="en-US" sz="2000" kern="1200"/>
            <a:t> </a:t>
          </a:r>
          <a:r>
            <a:rPr lang="en-US" sz="2000" kern="1200" err="1"/>
            <a:t>Umsatzrückgang</a:t>
          </a:r>
          <a:endParaRPr lang="en-US" sz="2000" kern="1200"/>
        </a:p>
      </dsp:txBody>
      <dsp:txXfrm>
        <a:off x="0" y="811568"/>
        <a:ext cx="8567737" cy="678960"/>
      </dsp:txXfrm>
    </dsp:sp>
    <dsp:sp modelId="{7914E82F-967A-46F8-BCE6-F3237B632724}">
      <dsp:nvSpPr>
        <dsp:cNvPr id="0" name=""/>
        <dsp:cNvSpPr/>
      </dsp:nvSpPr>
      <dsp:spPr>
        <a:xfrm>
          <a:off x="0" y="1490528"/>
          <a:ext cx="8567737" cy="7675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err="1"/>
            <a:t>Umsatzsteigerung</a:t>
          </a:r>
          <a:r>
            <a:rPr lang="en-US" sz="2000" kern="1200"/>
            <a:t> </a:t>
          </a:r>
          <a:r>
            <a:rPr lang="en-US" sz="2000" kern="1200" err="1"/>
            <a:t>bei</a:t>
          </a:r>
          <a:r>
            <a:rPr lang="en-US" sz="2000" kern="1200"/>
            <a:t> </a:t>
          </a:r>
          <a:r>
            <a:rPr lang="en-US" sz="2000" kern="1200" err="1"/>
            <a:t>Lieferdiensten</a:t>
          </a:r>
          <a:endParaRPr lang="en-US" sz="2000" kern="1200"/>
        </a:p>
      </dsp:txBody>
      <dsp:txXfrm>
        <a:off x="37467" y="1527995"/>
        <a:ext cx="8492803" cy="692586"/>
      </dsp:txXfrm>
    </dsp:sp>
    <dsp:sp modelId="{CA013621-BE69-4B50-AC78-BAC02D6D805D}">
      <dsp:nvSpPr>
        <dsp:cNvPr id="0" name=""/>
        <dsp:cNvSpPr/>
      </dsp:nvSpPr>
      <dsp:spPr>
        <a:xfrm>
          <a:off x="0" y="2258048"/>
          <a:ext cx="8567737" cy="678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err="1"/>
            <a:t>Verstärkte</a:t>
          </a:r>
          <a:r>
            <a:rPr lang="en-US" sz="2000" kern="1200"/>
            <a:t> </a:t>
          </a:r>
          <a:r>
            <a:rPr lang="en-US" sz="2000" kern="1200" err="1"/>
            <a:t>Nachfrage</a:t>
          </a:r>
          <a:r>
            <a:rPr lang="en-US" sz="2000" kern="1200"/>
            <a:t> an </a:t>
          </a:r>
          <a:r>
            <a:rPr lang="en-US" sz="2000" kern="1200" err="1"/>
            <a:t>Lieferdiensten</a:t>
          </a:r>
          <a:r>
            <a:rPr lang="en-US" sz="2000" kern="1200"/>
            <a:t> (UberEats) </a:t>
          </a:r>
          <a:r>
            <a:rPr lang="en-US" sz="2000" kern="1200" err="1"/>
            <a:t>führte</a:t>
          </a:r>
          <a:r>
            <a:rPr lang="en-US" sz="2000" kern="1200"/>
            <a:t> </a:t>
          </a:r>
          <a:r>
            <a:rPr lang="en-US" sz="2000" kern="1200" err="1"/>
            <a:t>zur</a:t>
          </a:r>
          <a:r>
            <a:rPr lang="en-US" sz="2000" kern="1200"/>
            <a:t> </a:t>
          </a:r>
          <a:r>
            <a:rPr lang="en-US" sz="2000" kern="1200" err="1"/>
            <a:t>Umsatzsteigerung</a:t>
          </a:r>
          <a:endParaRPr lang="en-US" sz="2000" kern="1200"/>
        </a:p>
      </dsp:txBody>
      <dsp:txXfrm>
        <a:off x="0" y="2258048"/>
        <a:ext cx="8567737" cy="678960"/>
      </dsp:txXfrm>
    </dsp:sp>
    <dsp:sp modelId="{8CFD4B9D-887C-408A-8355-77E74FDD7664}">
      <dsp:nvSpPr>
        <dsp:cNvPr id="0" name=""/>
        <dsp:cNvSpPr/>
      </dsp:nvSpPr>
      <dsp:spPr>
        <a:xfrm>
          <a:off x="0" y="2937008"/>
          <a:ext cx="8567737" cy="7675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err="1"/>
            <a:t>Kosteneinsparungen</a:t>
          </a:r>
          <a:endParaRPr lang="en-US" sz="2000" kern="1200"/>
        </a:p>
      </dsp:txBody>
      <dsp:txXfrm>
        <a:off x="37467" y="2974475"/>
        <a:ext cx="8492803" cy="692586"/>
      </dsp:txXfrm>
    </dsp:sp>
    <dsp:sp modelId="{478B1198-761F-4142-967D-3CF97649E9DC}">
      <dsp:nvSpPr>
        <dsp:cNvPr id="0" name=""/>
        <dsp:cNvSpPr/>
      </dsp:nvSpPr>
      <dsp:spPr>
        <a:xfrm>
          <a:off x="0" y="3704528"/>
          <a:ext cx="8567737" cy="678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err="1"/>
            <a:t>Maßnahmen</a:t>
          </a:r>
          <a:r>
            <a:rPr lang="en-US" sz="2000" kern="1200"/>
            <a:t> </a:t>
          </a:r>
          <a:r>
            <a:rPr lang="en-US" sz="2000" kern="1200" err="1"/>
            <a:t>zur</a:t>
          </a:r>
          <a:r>
            <a:rPr lang="en-US" sz="2000" kern="1200"/>
            <a:t> </a:t>
          </a:r>
          <a:r>
            <a:rPr lang="en-US" sz="2000" kern="1200" err="1"/>
            <a:t>Kosteneinsparung</a:t>
          </a:r>
          <a:endParaRPr lang="en-US" sz="2000" kern="1200"/>
        </a:p>
        <a:p>
          <a:pPr marL="228600" lvl="1" indent="-228600" algn="l" defTabSz="889000">
            <a:lnSpc>
              <a:spcPct val="90000"/>
            </a:lnSpc>
            <a:spcBef>
              <a:spcPct val="0"/>
            </a:spcBef>
            <a:spcAft>
              <a:spcPct val="20000"/>
            </a:spcAft>
            <a:buChar char="•"/>
          </a:pPr>
          <a:r>
            <a:rPr lang="en-US" sz="2000" kern="1200" err="1"/>
            <a:t>Reduzierung</a:t>
          </a:r>
          <a:r>
            <a:rPr lang="en-US" sz="2000" kern="1200"/>
            <a:t> von Personal und </a:t>
          </a:r>
          <a:r>
            <a:rPr lang="en-US" sz="2000" kern="1200" err="1"/>
            <a:t>anderen</a:t>
          </a:r>
          <a:r>
            <a:rPr lang="en-US" sz="2000" kern="1200"/>
            <a:t> </a:t>
          </a:r>
          <a:r>
            <a:rPr lang="en-US" sz="2000" kern="1200" err="1"/>
            <a:t>operativen</a:t>
          </a:r>
          <a:r>
            <a:rPr lang="en-US" sz="2000" kern="1200"/>
            <a:t> </a:t>
          </a:r>
          <a:r>
            <a:rPr lang="en-US" sz="2000" kern="1200" err="1"/>
            <a:t>Anpassungen</a:t>
          </a:r>
          <a:endParaRPr lang="en-US" sz="2000" kern="1200"/>
        </a:p>
      </dsp:txBody>
      <dsp:txXfrm>
        <a:off x="0" y="3704528"/>
        <a:ext cx="8567737" cy="67896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B913EC-9650-487F-BBF2-0B16EAF87046}">
      <dsp:nvSpPr>
        <dsp:cNvPr id="0" name=""/>
        <dsp:cNvSpPr/>
      </dsp:nvSpPr>
      <dsp:spPr>
        <a:xfrm>
          <a:off x="0" y="26408"/>
          <a:ext cx="8567737" cy="1160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err="1"/>
            <a:t>Betonung</a:t>
          </a:r>
          <a:r>
            <a:rPr lang="en-US" sz="2000" kern="1200"/>
            <a:t> auf </a:t>
          </a:r>
          <a:r>
            <a:rPr lang="en-US" sz="2000" kern="1200" err="1"/>
            <a:t>Diversifizierung</a:t>
          </a:r>
          <a:endParaRPr lang="en-US" sz="2000" kern="1200"/>
        </a:p>
      </dsp:txBody>
      <dsp:txXfrm>
        <a:off x="56658" y="83066"/>
        <a:ext cx="8454421" cy="1047324"/>
      </dsp:txXfrm>
    </dsp:sp>
    <dsp:sp modelId="{A62D38DB-E028-49E9-98B2-C5205DCC0B2C}">
      <dsp:nvSpPr>
        <dsp:cNvPr id="0" name=""/>
        <dsp:cNvSpPr/>
      </dsp:nvSpPr>
      <dsp:spPr>
        <a:xfrm>
          <a:off x="0" y="1187048"/>
          <a:ext cx="8567737" cy="1026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err="1"/>
            <a:t>Wichtigkeit</a:t>
          </a:r>
          <a:r>
            <a:rPr lang="en-US" sz="2000" kern="1200"/>
            <a:t> der </a:t>
          </a:r>
          <a:r>
            <a:rPr lang="en-US" sz="2000" kern="1200" err="1"/>
            <a:t>Diversifizierung</a:t>
          </a:r>
          <a:r>
            <a:rPr lang="en-US" sz="2000" kern="1200"/>
            <a:t> des </a:t>
          </a:r>
          <a:r>
            <a:rPr lang="en-US" sz="2000" kern="1200" err="1"/>
            <a:t>Geschäftsmodells</a:t>
          </a:r>
          <a:r>
            <a:rPr lang="en-US" sz="2000" kern="1200"/>
            <a:t> von Uber (</a:t>
          </a:r>
          <a:r>
            <a:rPr lang="en-US" sz="2000" kern="1200" err="1"/>
            <a:t>z.B.</a:t>
          </a:r>
          <a:r>
            <a:rPr lang="en-US" sz="2000" kern="1200"/>
            <a:t> UberEats)</a:t>
          </a:r>
        </a:p>
        <a:p>
          <a:pPr marL="228600" lvl="1" indent="-228600" algn="l" defTabSz="889000">
            <a:lnSpc>
              <a:spcPct val="90000"/>
            </a:lnSpc>
            <a:spcBef>
              <a:spcPct val="0"/>
            </a:spcBef>
            <a:spcAft>
              <a:spcPct val="20000"/>
            </a:spcAft>
            <a:buFont typeface="Arial" panose="020B0604020202020204" pitchFamily="34" charset="0"/>
            <a:buChar char="•"/>
          </a:pPr>
          <a:r>
            <a:rPr lang="en-US" sz="2000" kern="1200" err="1"/>
            <a:t>langfristige</a:t>
          </a:r>
          <a:r>
            <a:rPr lang="en-US" sz="2000" kern="1200"/>
            <a:t> </a:t>
          </a:r>
          <a:r>
            <a:rPr lang="en-US" sz="2000" kern="1200" err="1"/>
            <a:t>Auswirkungen</a:t>
          </a:r>
          <a:r>
            <a:rPr lang="en-US" sz="2000" kern="1200"/>
            <a:t> auf die </a:t>
          </a:r>
          <a:r>
            <a:rPr lang="en-US" sz="2000" kern="1200" err="1"/>
            <a:t>strategische</a:t>
          </a:r>
          <a:r>
            <a:rPr lang="en-US" sz="2000" kern="1200"/>
            <a:t> </a:t>
          </a:r>
          <a:r>
            <a:rPr lang="en-US" sz="2000" kern="1200" err="1"/>
            <a:t>Ausrichtung</a:t>
          </a:r>
          <a:r>
            <a:rPr lang="en-US" sz="2000" kern="1200"/>
            <a:t> von Uber</a:t>
          </a:r>
        </a:p>
      </dsp:txBody>
      <dsp:txXfrm>
        <a:off x="0" y="1187048"/>
        <a:ext cx="8567737" cy="1026720"/>
      </dsp:txXfrm>
    </dsp:sp>
    <dsp:sp modelId="{E7ACB1D9-9580-4DA3-8E6F-B108E6FF3C3C}">
      <dsp:nvSpPr>
        <dsp:cNvPr id="0" name=""/>
        <dsp:cNvSpPr/>
      </dsp:nvSpPr>
      <dsp:spPr>
        <a:xfrm>
          <a:off x="0" y="2213768"/>
          <a:ext cx="8567737" cy="1160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err="1"/>
            <a:t>Anpassungsfähigkeit</a:t>
          </a:r>
          <a:r>
            <a:rPr lang="en-US" sz="2000" kern="1200"/>
            <a:t> und </a:t>
          </a:r>
          <a:r>
            <a:rPr lang="en-US" sz="2000" kern="1200" err="1"/>
            <a:t>Flexibilität</a:t>
          </a:r>
          <a:endParaRPr lang="en-US" sz="2000" kern="1200"/>
        </a:p>
      </dsp:txBody>
      <dsp:txXfrm>
        <a:off x="56658" y="2270426"/>
        <a:ext cx="8454421" cy="1047324"/>
      </dsp:txXfrm>
    </dsp:sp>
    <dsp:sp modelId="{68B38FE7-10E0-4333-B071-6414C964A230}">
      <dsp:nvSpPr>
        <dsp:cNvPr id="0" name=""/>
        <dsp:cNvSpPr/>
      </dsp:nvSpPr>
      <dsp:spPr>
        <a:xfrm>
          <a:off x="0" y="3374408"/>
          <a:ext cx="8567737" cy="1026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err="1"/>
            <a:t>Notwendigkeit</a:t>
          </a:r>
          <a:r>
            <a:rPr lang="en-US" sz="2000" kern="1200"/>
            <a:t> von Uber, flexible und </a:t>
          </a:r>
          <a:r>
            <a:rPr lang="en-US" sz="2000" kern="1200" err="1"/>
            <a:t>anpassungsfähig</a:t>
          </a:r>
          <a:r>
            <a:rPr lang="en-US" sz="2000" kern="1200"/>
            <a:t> </a:t>
          </a:r>
          <a:r>
            <a:rPr lang="en-US" sz="2000" kern="1200" err="1"/>
            <a:t>reagieren</a:t>
          </a:r>
          <a:r>
            <a:rPr lang="en-US" sz="2000" kern="1200"/>
            <a:t> </a:t>
          </a:r>
          <a:r>
            <a:rPr lang="en-US" sz="2000" kern="1200" err="1"/>
            <a:t>zu</a:t>
          </a:r>
          <a:r>
            <a:rPr lang="en-US" sz="2000" kern="1200"/>
            <a:t> </a:t>
          </a:r>
          <a:r>
            <a:rPr lang="en-US" sz="2000" kern="1200" err="1"/>
            <a:t>können</a:t>
          </a:r>
          <a:endParaRPr lang="en-US" sz="2000" kern="1200"/>
        </a:p>
        <a:p>
          <a:pPr marL="228600" lvl="1" indent="-228600" algn="l" defTabSz="889000">
            <a:lnSpc>
              <a:spcPct val="90000"/>
            </a:lnSpc>
            <a:spcBef>
              <a:spcPct val="0"/>
            </a:spcBef>
            <a:spcAft>
              <a:spcPct val="20000"/>
            </a:spcAft>
            <a:buChar char="•"/>
          </a:pPr>
          <a:r>
            <a:rPr lang="en-US" sz="2000" kern="1200"/>
            <a:t>Auf </a:t>
          </a:r>
          <a:r>
            <a:rPr lang="en-US" sz="2000" kern="1200" err="1"/>
            <a:t>unvorhersehbare</a:t>
          </a:r>
          <a:r>
            <a:rPr lang="en-US" sz="2000" kern="1200"/>
            <a:t> </a:t>
          </a:r>
          <a:r>
            <a:rPr lang="en-US" sz="2000" kern="1200" err="1"/>
            <a:t>Herausforderungen</a:t>
          </a:r>
          <a:r>
            <a:rPr lang="en-US" sz="2000" kern="1200"/>
            <a:t> muss </a:t>
          </a:r>
          <a:r>
            <a:rPr lang="en-US" sz="2000" kern="1200" err="1"/>
            <a:t>reagiert</a:t>
          </a:r>
          <a:r>
            <a:rPr lang="en-US" sz="2000" kern="1200"/>
            <a:t> </a:t>
          </a:r>
          <a:r>
            <a:rPr lang="en-US" sz="2000" kern="1200" err="1"/>
            <a:t>werden</a:t>
          </a:r>
          <a:r>
            <a:rPr lang="en-US" sz="2000" kern="1200"/>
            <a:t> </a:t>
          </a:r>
          <a:r>
            <a:rPr lang="en-US" sz="2000" kern="1200" err="1"/>
            <a:t>können</a:t>
          </a:r>
          <a:endParaRPr lang="en-US" sz="2000" kern="1200"/>
        </a:p>
      </dsp:txBody>
      <dsp:txXfrm>
        <a:off x="0" y="3374408"/>
        <a:ext cx="8567737" cy="102672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EA0D68-7010-40B2-913F-2C332EDB5B32}">
      <dsp:nvSpPr>
        <dsp:cNvPr id="0" name=""/>
        <dsp:cNvSpPr/>
      </dsp:nvSpPr>
      <dsp:spPr>
        <a:xfrm>
          <a:off x="0" y="52887"/>
          <a:ext cx="8567737" cy="655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b="1" kern="1200" err="1"/>
            <a:t>Agilität</a:t>
          </a:r>
          <a:r>
            <a:rPr lang="en-US" sz="1600" b="1" kern="1200"/>
            <a:t> und </a:t>
          </a:r>
          <a:r>
            <a:rPr lang="en-US" sz="1600" b="1" kern="1200" err="1"/>
            <a:t>Anpassungsfähigkeit</a:t>
          </a:r>
          <a:endParaRPr lang="en-US" sz="1600" kern="1200"/>
        </a:p>
      </dsp:txBody>
      <dsp:txXfrm>
        <a:off x="31984" y="84871"/>
        <a:ext cx="8503769" cy="591232"/>
      </dsp:txXfrm>
    </dsp:sp>
    <dsp:sp modelId="{42320B2A-9D42-4020-8AB1-3645392E95A4}">
      <dsp:nvSpPr>
        <dsp:cNvPr id="0" name=""/>
        <dsp:cNvSpPr/>
      </dsp:nvSpPr>
      <dsp:spPr>
        <a:xfrm>
          <a:off x="0" y="708087"/>
          <a:ext cx="8567737"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0320" rIns="113792" bIns="20320" numCol="1" spcCol="1270" anchor="t" anchorCtr="0">
          <a:noAutofit/>
        </a:bodyPr>
        <a:lstStyle/>
        <a:p>
          <a:pPr marL="171450" lvl="1" indent="-171450" algn="l" defTabSz="711200">
            <a:lnSpc>
              <a:spcPct val="90000"/>
            </a:lnSpc>
            <a:spcBef>
              <a:spcPct val="0"/>
            </a:spcBef>
            <a:spcAft>
              <a:spcPct val="20000"/>
            </a:spcAft>
            <a:buFont typeface="Arial" panose="020B0604020202020204" pitchFamily="34" charset="0"/>
            <a:buChar char="•"/>
          </a:pPr>
          <a:r>
            <a:rPr lang="en-US" sz="1600" kern="1200"/>
            <a:t>Die </a:t>
          </a:r>
          <a:r>
            <a:rPr lang="en-US" sz="1600" kern="1200" err="1"/>
            <a:t>Pandemie</a:t>
          </a:r>
          <a:r>
            <a:rPr lang="en-US" sz="1600" kern="1200"/>
            <a:t> hat die </a:t>
          </a:r>
          <a:r>
            <a:rPr lang="en-US" sz="1600" kern="1200" err="1"/>
            <a:t>Bedeutung</a:t>
          </a:r>
          <a:r>
            <a:rPr lang="en-US" sz="1600" kern="1200"/>
            <a:t> von </a:t>
          </a:r>
          <a:r>
            <a:rPr lang="en-US" sz="1600" kern="1200" err="1"/>
            <a:t>Agilität</a:t>
          </a:r>
          <a:r>
            <a:rPr lang="en-US" sz="1600" kern="1200"/>
            <a:t> und </a:t>
          </a:r>
          <a:r>
            <a:rPr lang="en-US" sz="1600" kern="1200" err="1"/>
            <a:t>schnellen</a:t>
          </a:r>
          <a:r>
            <a:rPr lang="en-US" sz="1600" kern="1200"/>
            <a:t> </a:t>
          </a:r>
          <a:r>
            <a:rPr lang="en-US" sz="1600" kern="1200" err="1"/>
            <a:t>Anpassungen</a:t>
          </a:r>
          <a:r>
            <a:rPr lang="en-US" sz="1600" kern="1200"/>
            <a:t> an </a:t>
          </a:r>
          <a:r>
            <a:rPr lang="en-US" sz="1600" kern="1200" err="1"/>
            <a:t>sich</a:t>
          </a:r>
          <a:r>
            <a:rPr lang="en-US" sz="1600" kern="1200"/>
            <a:t> </a:t>
          </a:r>
          <a:r>
            <a:rPr lang="en-US" sz="1600" kern="1200" err="1"/>
            <a:t>verändernde</a:t>
          </a:r>
          <a:r>
            <a:rPr lang="en-US" sz="1600" kern="1200"/>
            <a:t> </a:t>
          </a:r>
          <a:r>
            <a:rPr lang="en-US" sz="1600" kern="1200" err="1"/>
            <a:t>Umstände</a:t>
          </a:r>
          <a:r>
            <a:rPr lang="en-US" sz="1600" kern="1200"/>
            <a:t> </a:t>
          </a:r>
          <a:r>
            <a:rPr lang="en-US" sz="1600" kern="1200" err="1"/>
            <a:t>betont</a:t>
          </a:r>
          <a:endParaRPr lang="en-US" sz="1600" kern="1200"/>
        </a:p>
      </dsp:txBody>
      <dsp:txXfrm>
        <a:off x="0" y="708087"/>
        <a:ext cx="8567737" cy="579600"/>
      </dsp:txXfrm>
    </dsp:sp>
    <dsp:sp modelId="{BCCADC90-414A-49D5-8F58-EA1C37DA6718}">
      <dsp:nvSpPr>
        <dsp:cNvPr id="0" name=""/>
        <dsp:cNvSpPr/>
      </dsp:nvSpPr>
      <dsp:spPr>
        <a:xfrm>
          <a:off x="0" y="1287687"/>
          <a:ext cx="8567737" cy="655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err="1"/>
            <a:t>Digitalisierung</a:t>
          </a:r>
          <a:endParaRPr lang="en-US" sz="1600" kern="1200"/>
        </a:p>
      </dsp:txBody>
      <dsp:txXfrm>
        <a:off x="31984" y="1319671"/>
        <a:ext cx="8503769" cy="591232"/>
      </dsp:txXfrm>
    </dsp:sp>
    <dsp:sp modelId="{79229664-C205-4D42-8322-C2B1CC56A87C}">
      <dsp:nvSpPr>
        <dsp:cNvPr id="0" name=""/>
        <dsp:cNvSpPr/>
      </dsp:nvSpPr>
      <dsp:spPr>
        <a:xfrm>
          <a:off x="0" y="1942887"/>
          <a:ext cx="8567737"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Die </a:t>
          </a:r>
          <a:r>
            <a:rPr lang="en-US" sz="1600" kern="1200" err="1"/>
            <a:t>verstärkte</a:t>
          </a:r>
          <a:r>
            <a:rPr lang="en-US" sz="1600" kern="1200"/>
            <a:t> </a:t>
          </a:r>
          <a:r>
            <a:rPr lang="en-US" sz="1600" kern="1200" err="1"/>
            <a:t>Nutzung</a:t>
          </a:r>
          <a:r>
            <a:rPr lang="en-US" sz="1600" kern="1200"/>
            <a:t> von </a:t>
          </a:r>
          <a:r>
            <a:rPr lang="en-US" sz="1600" kern="1200" err="1"/>
            <a:t>Lieferdiensten</a:t>
          </a:r>
          <a:r>
            <a:rPr lang="en-US" sz="1600" kern="1200"/>
            <a:t> </a:t>
          </a:r>
          <a:r>
            <a:rPr lang="en-US" sz="1600" kern="1200" err="1"/>
            <a:t>verdeutlicht</a:t>
          </a:r>
          <a:r>
            <a:rPr lang="en-US" sz="1600" kern="1200"/>
            <a:t> die </a:t>
          </a:r>
          <a:r>
            <a:rPr lang="en-US" sz="1600" kern="1200" err="1"/>
            <a:t>wachsende</a:t>
          </a:r>
          <a:r>
            <a:rPr lang="en-US" sz="1600" kern="1200"/>
            <a:t> </a:t>
          </a:r>
          <a:r>
            <a:rPr lang="en-US" sz="1600" kern="1200" err="1"/>
            <a:t>Bedeutung</a:t>
          </a:r>
          <a:r>
            <a:rPr lang="en-US" sz="1600" kern="1200"/>
            <a:t> der </a:t>
          </a:r>
          <a:r>
            <a:rPr lang="en-US" sz="1600" kern="1200" err="1"/>
            <a:t>Digitalisierung</a:t>
          </a:r>
          <a:r>
            <a:rPr lang="en-US" sz="1600" kern="1200"/>
            <a:t> und des E-Commerce in </a:t>
          </a:r>
          <a:r>
            <a:rPr lang="en-US" sz="1600" kern="1200" err="1"/>
            <a:t>Zeiten</a:t>
          </a:r>
          <a:r>
            <a:rPr lang="en-US" sz="1600" kern="1200"/>
            <a:t> von </a:t>
          </a:r>
          <a:r>
            <a:rPr lang="en-US" sz="1600" kern="1200" err="1"/>
            <a:t>Krisen</a:t>
          </a:r>
          <a:endParaRPr lang="en-US" sz="1600" kern="1200"/>
        </a:p>
      </dsp:txBody>
      <dsp:txXfrm>
        <a:off x="0" y="1942887"/>
        <a:ext cx="8567737" cy="579600"/>
      </dsp:txXfrm>
    </dsp:sp>
    <dsp:sp modelId="{D59AD07F-75F9-49BB-9F6A-182C91765DF4}">
      <dsp:nvSpPr>
        <dsp:cNvPr id="0" name=""/>
        <dsp:cNvSpPr/>
      </dsp:nvSpPr>
      <dsp:spPr>
        <a:xfrm>
          <a:off x="0" y="2522487"/>
          <a:ext cx="8567737" cy="655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err="1"/>
            <a:t>Kundenbindung</a:t>
          </a:r>
          <a:r>
            <a:rPr lang="en-US" sz="1600" b="1" kern="1200"/>
            <a:t> und </a:t>
          </a:r>
          <a:r>
            <a:rPr lang="en-US" sz="1600" b="1" kern="1200" err="1"/>
            <a:t>soziale</a:t>
          </a:r>
          <a:r>
            <a:rPr lang="en-US" sz="1600" b="1" kern="1200"/>
            <a:t> </a:t>
          </a:r>
          <a:r>
            <a:rPr lang="en-US" sz="1600" b="1" kern="1200" err="1"/>
            <a:t>Verantwortung</a:t>
          </a:r>
          <a:endParaRPr lang="en-US" sz="1600" kern="1200"/>
        </a:p>
      </dsp:txBody>
      <dsp:txXfrm>
        <a:off x="31984" y="2554471"/>
        <a:ext cx="8503769" cy="591232"/>
      </dsp:txXfrm>
    </dsp:sp>
    <dsp:sp modelId="{79598328-7F66-4A37-B10F-2D6A25503F4F}">
      <dsp:nvSpPr>
        <dsp:cNvPr id="0" name=""/>
        <dsp:cNvSpPr/>
      </dsp:nvSpPr>
      <dsp:spPr>
        <a:xfrm>
          <a:off x="0" y="3177687"/>
          <a:ext cx="8567737"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Die </a:t>
          </a:r>
          <a:r>
            <a:rPr lang="en-US" sz="1600" kern="1200" err="1"/>
            <a:t>Unterstützung</a:t>
          </a:r>
          <a:r>
            <a:rPr lang="en-US" sz="1600" kern="1200"/>
            <a:t> von </a:t>
          </a:r>
          <a:r>
            <a:rPr lang="en-US" sz="1600" kern="1200" err="1"/>
            <a:t>Fahrern</a:t>
          </a:r>
          <a:r>
            <a:rPr lang="en-US" sz="1600" kern="1200"/>
            <a:t> und </a:t>
          </a:r>
          <a:r>
            <a:rPr lang="en-US" sz="1600" kern="1200" err="1"/>
            <a:t>lokalen</a:t>
          </a:r>
          <a:r>
            <a:rPr lang="en-US" sz="1600" kern="1200"/>
            <a:t> </a:t>
          </a:r>
          <a:r>
            <a:rPr lang="en-US" sz="1600" kern="1200" err="1"/>
            <a:t>Gemeinschaften</a:t>
          </a:r>
          <a:r>
            <a:rPr lang="en-US" sz="1600" kern="1200"/>
            <a:t> </a:t>
          </a:r>
          <a:r>
            <a:rPr lang="en-US" sz="1600" kern="1200" err="1"/>
            <a:t>zeigt</a:t>
          </a:r>
          <a:r>
            <a:rPr lang="en-US" sz="1600" kern="1200"/>
            <a:t> die </a:t>
          </a:r>
          <a:r>
            <a:rPr lang="en-US" sz="1600" kern="1200" err="1"/>
            <a:t>Bedeutung</a:t>
          </a:r>
          <a:r>
            <a:rPr lang="en-US" sz="1600" kern="1200"/>
            <a:t> </a:t>
          </a:r>
          <a:r>
            <a:rPr lang="en-US" sz="1600" kern="1200" err="1"/>
            <a:t>einer</a:t>
          </a:r>
          <a:r>
            <a:rPr lang="en-US" sz="1600" kern="1200"/>
            <a:t> starken </a:t>
          </a:r>
          <a:r>
            <a:rPr lang="en-US" sz="1600" kern="1200" err="1"/>
            <a:t>Kundenbindung</a:t>
          </a:r>
          <a:r>
            <a:rPr lang="en-US" sz="1600" kern="1200"/>
            <a:t> und </a:t>
          </a:r>
          <a:r>
            <a:rPr lang="en-US" sz="1600" kern="1200" err="1"/>
            <a:t>sozialen</a:t>
          </a:r>
          <a:r>
            <a:rPr lang="en-US" sz="1600" kern="1200"/>
            <a:t> </a:t>
          </a:r>
          <a:r>
            <a:rPr lang="en-US" sz="1600" kern="1200" err="1"/>
            <a:t>Verantwortung</a:t>
          </a:r>
          <a:endParaRPr lang="en-US" sz="1600" kern="1200"/>
        </a:p>
      </dsp:txBody>
      <dsp:txXfrm>
        <a:off x="0" y="3177687"/>
        <a:ext cx="8567737" cy="5796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53C147-A476-4426-B7C4-6C6087668D43}">
      <dsp:nvSpPr>
        <dsp:cNvPr id="0" name=""/>
        <dsp:cNvSpPr/>
      </dsp:nvSpPr>
      <dsp:spPr>
        <a:xfrm>
          <a:off x="2070100" y="0"/>
          <a:ext cx="4427537" cy="4427537"/>
        </a:xfrm>
        <a:prstGeom prst="diamond">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1CA5EAE-5AEE-4448-8A22-1F9DBB56A9E8}">
      <dsp:nvSpPr>
        <dsp:cNvPr id="0" name=""/>
        <dsp:cNvSpPr/>
      </dsp:nvSpPr>
      <dsp:spPr>
        <a:xfrm>
          <a:off x="2490716" y="420616"/>
          <a:ext cx="1726739" cy="17267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b="1" kern="1200" err="1"/>
            <a:t>Stärken</a:t>
          </a:r>
          <a:endParaRPr lang="en-US" sz="1200" b="1" kern="1200"/>
        </a:p>
        <a:p>
          <a:pPr marL="114300" lvl="1" indent="-114300" algn="l" defTabSz="533400">
            <a:lnSpc>
              <a:spcPct val="90000"/>
            </a:lnSpc>
            <a:spcBef>
              <a:spcPct val="0"/>
            </a:spcBef>
            <a:spcAft>
              <a:spcPct val="15000"/>
            </a:spcAft>
            <a:buChar char="•"/>
          </a:pPr>
          <a:r>
            <a:rPr lang="en-US" sz="1200" kern="1200" err="1"/>
            <a:t>globale</a:t>
          </a:r>
          <a:r>
            <a:rPr lang="en-US" sz="1200" kern="1200"/>
            <a:t> </a:t>
          </a:r>
          <a:r>
            <a:rPr lang="en-US" sz="1200" kern="1200" err="1"/>
            <a:t>Präsenz</a:t>
          </a:r>
          <a:endParaRPr lang="en-US" sz="1200" kern="1200"/>
        </a:p>
        <a:p>
          <a:pPr marL="114300" lvl="1" indent="-114300" algn="l" defTabSz="533400">
            <a:lnSpc>
              <a:spcPct val="90000"/>
            </a:lnSpc>
            <a:spcBef>
              <a:spcPct val="0"/>
            </a:spcBef>
            <a:spcAft>
              <a:spcPct val="15000"/>
            </a:spcAft>
            <a:buChar char="•"/>
          </a:pPr>
          <a:r>
            <a:rPr lang="en-US" sz="1200" kern="1200" err="1"/>
            <a:t>Nutzung</a:t>
          </a:r>
          <a:r>
            <a:rPr lang="en-US" sz="1200" kern="1200"/>
            <a:t> </a:t>
          </a:r>
          <a:r>
            <a:rPr lang="en-US" sz="1200" kern="1200" err="1"/>
            <a:t>innovativer</a:t>
          </a:r>
          <a:r>
            <a:rPr lang="en-US" sz="1200" kern="1200"/>
            <a:t> </a:t>
          </a:r>
          <a:r>
            <a:rPr lang="en-US" sz="1200" kern="1200" err="1"/>
            <a:t>Technologien</a:t>
          </a:r>
          <a:endParaRPr lang="en-US" sz="1200" kern="1200"/>
        </a:p>
        <a:p>
          <a:pPr marL="114300" lvl="1" indent="-114300" algn="l" defTabSz="533400">
            <a:lnSpc>
              <a:spcPct val="90000"/>
            </a:lnSpc>
            <a:spcBef>
              <a:spcPct val="0"/>
            </a:spcBef>
            <a:spcAft>
              <a:spcPct val="15000"/>
            </a:spcAft>
            <a:buChar char="•"/>
          </a:pPr>
          <a:r>
            <a:rPr lang="en-US" sz="1200" kern="1200" err="1"/>
            <a:t>breite</a:t>
          </a:r>
          <a:r>
            <a:rPr lang="en-US" sz="1200" kern="1200"/>
            <a:t> </a:t>
          </a:r>
          <a:r>
            <a:rPr lang="en-US" sz="1200" kern="1200" err="1"/>
            <a:t>Verfügbarkeit</a:t>
          </a:r>
          <a:r>
            <a:rPr lang="en-US" sz="1200" kern="1200"/>
            <a:t> </a:t>
          </a:r>
          <a:r>
            <a:rPr lang="en-US" sz="1200" kern="1200" err="1"/>
            <a:t>verschiedener</a:t>
          </a:r>
          <a:r>
            <a:rPr lang="en-US" sz="1200" kern="1200"/>
            <a:t> </a:t>
          </a:r>
          <a:r>
            <a:rPr lang="en-US" sz="1200" kern="1200" err="1"/>
            <a:t>Dienste</a:t>
          </a:r>
          <a:endParaRPr lang="en-US" sz="1200" kern="1200"/>
        </a:p>
      </dsp:txBody>
      <dsp:txXfrm>
        <a:off x="2575008" y="504908"/>
        <a:ext cx="1558155" cy="1558155"/>
      </dsp:txXfrm>
    </dsp:sp>
    <dsp:sp modelId="{A5CD618D-8254-4931-A8AE-74D2865EC1E3}">
      <dsp:nvSpPr>
        <dsp:cNvPr id="0" name=""/>
        <dsp:cNvSpPr/>
      </dsp:nvSpPr>
      <dsp:spPr>
        <a:xfrm>
          <a:off x="4350281" y="420616"/>
          <a:ext cx="1726739" cy="17267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b="1" kern="1200" err="1"/>
            <a:t>Schwächen</a:t>
          </a:r>
          <a:r>
            <a:rPr lang="en-US" sz="1200" b="1" kern="1200"/>
            <a:t> </a:t>
          </a:r>
        </a:p>
        <a:p>
          <a:pPr marL="114300" lvl="1" indent="-114300" algn="l" defTabSz="533400">
            <a:lnSpc>
              <a:spcPct val="90000"/>
            </a:lnSpc>
            <a:spcBef>
              <a:spcPct val="0"/>
            </a:spcBef>
            <a:spcAft>
              <a:spcPct val="15000"/>
            </a:spcAft>
            <a:buChar char="•"/>
          </a:pPr>
          <a:r>
            <a:rPr lang="en-US" sz="1200" kern="1200" err="1"/>
            <a:t>rechtliche</a:t>
          </a:r>
          <a:r>
            <a:rPr lang="en-US" sz="1200" kern="1200"/>
            <a:t> und </a:t>
          </a:r>
          <a:r>
            <a:rPr lang="en-US" sz="1200" kern="1200" err="1"/>
            <a:t>regulatorische</a:t>
          </a:r>
          <a:r>
            <a:rPr lang="en-US" sz="1200" kern="1200"/>
            <a:t>  </a:t>
          </a:r>
          <a:r>
            <a:rPr lang="en-US" sz="1200" kern="1200" err="1"/>
            <a:t>Herausforderungen</a:t>
          </a:r>
          <a:endParaRPr lang="en-US" sz="1200" kern="1200"/>
        </a:p>
        <a:p>
          <a:pPr marL="114300" lvl="1" indent="-114300" algn="l" defTabSz="533400">
            <a:lnSpc>
              <a:spcPct val="90000"/>
            </a:lnSpc>
            <a:spcBef>
              <a:spcPct val="0"/>
            </a:spcBef>
            <a:spcAft>
              <a:spcPct val="15000"/>
            </a:spcAft>
            <a:buChar char="•"/>
          </a:pPr>
          <a:r>
            <a:rPr lang="en-US" sz="1200" kern="1200" err="1"/>
            <a:t>Abhängigkeit</a:t>
          </a:r>
          <a:r>
            <a:rPr lang="en-US" sz="1200" kern="1200"/>
            <a:t> von </a:t>
          </a:r>
          <a:r>
            <a:rPr lang="en-US" sz="1200" kern="1200" err="1"/>
            <a:t>externen</a:t>
          </a:r>
          <a:r>
            <a:rPr lang="en-US" sz="1200" kern="1200"/>
            <a:t> </a:t>
          </a:r>
          <a:r>
            <a:rPr lang="en-US" sz="1200" kern="1200" err="1"/>
            <a:t>Fahrern</a:t>
          </a:r>
          <a:endParaRPr lang="en-US" sz="1200" kern="1200"/>
        </a:p>
        <a:p>
          <a:pPr marL="114300" lvl="1" indent="-114300" algn="l" defTabSz="533400">
            <a:lnSpc>
              <a:spcPct val="90000"/>
            </a:lnSpc>
            <a:spcBef>
              <a:spcPct val="0"/>
            </a:spcBef>
            <a:spcAft>
              <a:spcPct val="15000"/>
            </a:spcAft>
            <a:buChar char="•"/>
          </a:pPr>
          <a:r>
            <a:rPr lang="en-US" sz="1200" kern="1200" err="1"/>
            <a:t>Reputationsschäden</a:t>
          </a:r>
          <a:endParaRPr lang="en-US" sz="1200" kern="1200"/>
        </a:p>
      </dsp:txBody>
      <dsp:txXfrm>
        <a:off x="4434573" y="504908"/>
        <a:ext cx="1558155" cy="1558155"/>
      </dsp:txXfrm>
    </dsp:sp>
    <dsp:sp modelId="{6575E715-0518-4C90-B610-463F1DE32885}">
      <dsp:nvSpPr>
        <dsp:cNvPr id="0" name=""/>
        <dsp:cNvSpPr/>
      </dsp:nvSpPr>
      <dsp:spPr>
        <a:xfrm>
          <a:off x="2490716" y="2280181"/>
          <a:ext cx="1726739" cy="17267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b="1" kern="1200" err="1"/>
            <a:t>Verbesserungen</a:t>
          </a:r>
          <a:endParaRPr lang="en-US" sz="1200" b="1" kern="1200"/>
        </a:p>
        <a:p>
          <a:pPr marL="114300" lvl="1" indent="-114300" algn="l" defTabSz="533400">
            <a:lnSpc>
              <a:spcPct val="90000"/>
            </a:lnSpc>
            <a:spcBef>
              <a:spcPct val="0"/>
            </a:spcBef>
            <a:spcAft>
              <a:spcPct val="15000"/>
            </a:spcAft>
            <a:buChar char="•"/>
          </a:pPr>
          <a:r>
            <a:rPr lang="en-US" sz="1200" kern="1200" err="1"/>
            <a:t>verstärkte</a:t>
          </a:r>
          <a:r>
            <a:rPr lang="en-US" sz="1200" kern="1200"/>
            <a:t> </a:t>
          </a:r>
          <a:r>
            <a:rPr lang="en-US" sz="1200" kern="1200" err="1"/>
            <a:t>Investitionen</a:t>
          </a:r>
          <a:r>
            <a:rPr lang="en-US" sz="1200" kern="1200"/>
            <a:t> in </a:t>
          </a:r>
          <a:r>
            <a:rPr lang="en-US" sz="1200" kern="1200" err="1"/>
            <a:t>autonome</a:t>
          </a:r>
          <a:r>
            <a:rPr lang="en-US" sz="1200" kern="1200"/>
            <a:t> </a:t>
          </a:r>
          <a:r>
            <a:rPr lang="en-US" sz="1200" kern="1200" err="1"/>
            <a:t>Technologien</a:t>
          </a:r>
          <a:endParaRPr lang="en-US" sz="1200" kern="1200"/>
        </a:p>
        <a:p>
          <a:pPr marL="114300" lvl="1" indent="-114300" algn="l" defTabSz="533400">
            <a:lnSpc>
              <a:spcPct val="90000"/>
            </a:lnSpc>
            <a:spcBef>
              <a:spcPct val="0"/>
            </a:spcBef>
            <a:spcAft>
              <a:spcPct val="15000"/>
            </a:spcAft>
            <a:buChar char="•"/>
          </a:pPr>
          <a:r>
            <a:rPr lang="en-US" sz="1200" kern="1200" err="1"/>
            <a:t>diversifizierte</a:t>
          </a:r>
          <a:r>
            <a:rPr lang="en-US" sz="1200" kern="1200"/>
            <a:t> </a:t>
          </a:r>
          <a:r>
            <a:rPr lang="en-US" sz="1200" kern="1200" err="1"/>
            <a:t>Dienstleistungen</a:t>
          </a:r>
          <a:endParaRPr lang="en-US" sz="1200" kern="1200"/>
        </a:p>
        <a:p>
          <a:pPr marL="114300" lvl="1" indent="-114300" algn="l" defTabSz="533400">
            <a:lnSpc>
              <a:spcPct val="90000"/>
            </a:lnSpc>
            <a:spcBef>
              <a:spcPct val="0"/>
            </a:spcBef>
            <a:spcAft>
              <a:spcPct val="15000"/>
            </a:spcAft>
            <a:buChar char="•"/>
          </a:pPr>
          <a:r>
            <a:rPr lang="en-US" sz="1200" kern="1200" err="1"/>
            <a:t>verbesserte</a:t>
          </a:r>
          <a:r>
            <a:rPr lang="en-US" sz="1200" kern="1200"/>
            <a:t> </a:t>
          </a:r>
          <a:r>
            <a:rPr lang="en-US" sz="1200" kern="1200" err="1"/>
            <a:t>Fahrer-Kunden-Beziehung</a:t>
          </a:r>
          <a:endParaRPr lang="en-US" sz="1200" kern="1200"/>
        </a:p>
      </dsp:txBody>
      <dsp:txXfrm>
        <a:off x="2575008" y="2364473"/>
        <a:ext cx="1558155" cy="1558155"/>
      </dsp:txXfrm>
    </dsp:sp>
    <dsp:sp modelId="{902E4691-60D1-42D5-A66E-D71A35F28B12}">
      <dsp:nvSpPr>
        <dsp:cNvPr id="0" name=""/>
        <dsp:cNvSpPr/>
      </dsp:nvSpPr>
      <dsp:spPr>
        <a:xfrm>
          <a:off x="4350281" y="2280181"/>
          <a:ext cx="1726739" cy="17267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b="1" kern="1200" err="1"/>
            <a:t>Störungen</a:t>
          </a:r>
          <a:endParaRPr lang="en-US" sz="1200" b="1" kern="1200"/>
        </a:p>
        <a:p>
          <a:pPr marL="114300" lvl="1" indent="-114300" algn="l" defTabSz="533400">
            <a:lnSpc>
              <a:spcPct val="90000"/>
            </a:lnSpc>
            <a:spcBef>
              <a:spcPct val="0"/>
            </a:spcBef>
            <a:spcAft>
              <a:spcPct val="15000"/>
            </a:spcAft>
            <a:buChar char="•"/>
          </a:pPr>
          <a:r>
            <a:rPr lang="en-US" sz="1200" kern="1200" err="1"/>
            <a:t>regulatorische</a:t>
          </a:r>
          <a:r>
            <a:rPr lang="en-US" sz="1200" kern="1200"/>
            <a:t> </a:t>
          </a:r>
          <a:r>
            <a:rPr lang="en-US" sz="1200" kern="1200" err="1"/>
            <a:t>Veränderungen</a:t>
          </a:r>
          <a:endParaRPr lang="en-US" sz="1200" kern="1200"/>
        </a:p>
        <a:p>
          <a:pPr marL="114300" lvl="1" indent="-114300" algn="l" defTabSz="533400">
            <a:lnSpc>
              <a:spcPct val="90000"/>
            </a:lnSpc>
            <a:spcBef>
              <a:spcPct val="0"/>
            </a:spcBef>
            <a:spcAft>
              <a:spcPct val="15000"/>
            </a:spcAft>
            <a:buChar char="•"/>
          </a:pPr>
          <a:r>
            <a:rPr lang="en-US" sz="1200" kern="1200" err="1"/>
            <a:t>Wettbewerb</a:t>
          </a:r>
          <a:r>
            <a:rPr lang="en-US" sz="1200" kern="1200"/>
            <a:t> &amp; </a:t>
          </a:r>
          <a:r>
            <a:rPr lang="en-US" sz="1200" kern="1200" err="1"/>
            <a:t>Konkurrenzdruck</a:t>
          </a:r>
          <a:endParaRPr lang="en-US" sz="1200" kern="1200"/>
        </a:p>
        <a:p>
          <a:pPr marL="114300" lvl="1" indent="-114300" algn="l" defTabSz="533400">
            <a:lnSpc>
              <a:spcPct val="90000"/>
            </a:lnSpc>
            <a:spcBef>
              <a:spcPct val="0"/>
            </a:spcBef>
            <a:spcAft>
              <a:spcPct val="15000"/>
            </a:spcAft>
            <a:buChar char="•"/>
          </a:pPr>
          <a:r>
            <a:rPr lang="en-US" sz="1200" kern="1200" err="1"/>
            <a:t>technologische</a:t>
          </a:r>
          <a:r>
            <a:rPr lang="en-US" sz="1200" kern="1200"/>
            <a:t> Disruption </a:t>
          </a:r>
        </a:p>
      </dsp:txBody>
      <dsp:txXfrm>
        <a:off x="4434573" y="2364473"/>
        <a:ext cx="1558155" cy="15581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4AB906-66E1-4462-84F4-E765E235B0ED}">
      <dsp:nvSpPr>
        <dsp:cNvPr id="0" name=""/>
        <dsp:cNvSpPr/>
      </dsp:nvSpPr>
      <dsp:spPr>
        <a:xfrm>
          <a:off x="0" y="824"/>
          <a:ext cx="8567737" cy="27495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Font typeface="+mj-lt"/>
            <a:buNone/>
          </a:pPr>
          <a:r>
            <a:rPr lang="en-US" sz="1200" b="1" kern="1200" err="1"/>
            <a:t>Technologieplattform</a:t>
          </a:r>
          <a:r>
            <a:rPr lang="en-US" sz="1200" b="1" kern="1200"/>
            <a:t> und App-</a:t>
          </a:r>
          <a:r>
            <a:rPr lang="en-US" sz="1200" b="1" kern="1200" err="1"/>
            <a:t>Entwicklung</a:t>
          </a:r>
          <a:endParaRPr lang="en-US" sz="1200" kern="1200"/>
        </a:p>
      </dsp:txBody>
      <dsp:txXfrm>
        <a:off x="13422" y="14246"/>
        <a:ext cx="8540893" cy="248114"/>
      </dsp:txXfrm>
    </dsp:sp>
    <dsp:sp modelId="{11FDFCEA-0327-4E41-945D-98F8104A21A9}">
      <dsp:nvSpPr>
        <dsp:cNvPr id="0" name=""/>
        <dsp:cNvSpPr/>
      </dsp:nvSpPr>
      <dsp:spPr>
        <a:xfrm>
          <a:off x="0" y="275783"/>
          <a:ext cx="8567737" cy="2910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15240" rIns="85344" bIns="15240" numCol="1" spcCol="1270" anchor="t" anchorCtr="0">
          <a:noAutofit/>
        </a:bodyPr>
        <a:lstStyle/>
        <a:p>
          <a:pPr marL="114300" lvl="1" indent="-114300" algn="l" defTabSz="533400">
            <a:lnSpc>
              <a:spcPct val="90000"/>
            </a:lnSpc>
            <a:spcBef>
              <a:spcPct val="0"/>
            </a:spcBef>
            <a:spcAft>
              <a:spcPct val="20000"/>
            </a:spcAft>
            <a:buFont typeface="Arial" panose="020B0604020202020204" pitchFamily="34" charset="0"/>
            <a:buChar char="•"/>
          </a:pPr>
          <a:r>
            <a:rPr lang="en-US" sz="1200" kern="1200"/>
            <a:t>Die </a:t>
          </a:r>
          <a:r>
            <a:rPr lang="en-US" sz="1200" kern="1200" err="1"/>
            <a:t>Entwicklung</a:t>
          </a:r>
          <a:r>
            <a:rPr lang="en-US" sz="1200" kern="1200"/>
            <a:t> und </a:t>
          </a:r>
          <a:r>
            <a:rPr lang="en-US" sz="1200" kern="1200" err="1"/>
            <a:t>Wartung</a:t>
          </a:r>
          <a:r>
            <a:rPr lang="en-US" sz="1200" kern="1200"/>
            <a:t> der </a:t>
          </a:r>
          <a:r>
            <a:rPr lang="en-US" sz="1200" kern="1200" err="1"/>
            <a:t>Technologieplattform</a:t>
          </a:r>
          <a:r>
            <a:rPr lang="en-US" sz="1200" kern="1200"/>
            <a:t>, </a:t>
          </a:r>
          <a:r>
            <a:rPr lang="en-US" sz="1200" kern="1200" err="1"/>
            <a:t>einschließlich</a:t>
          </a:r>
          <a:r>
            <a:rPr lang="en-US" sz="1200" kern="1200"/>
            <a:t> der </a:t>
          </a:r>
          <a:r>
            <a:rPr lang="en-US" sz="1200" kern="1200" err="1"/>
            <a:t>mobilen</a:t>
          </a:r>
          <a:r>
            <a:rPr lang="en-US" sz="1200" kern="1200"/>
            <a:t> App für </a:t>
          </a:r>
          <a:r>
            <a:rPr lang="en-US" sz="1200" kern="1200" err="1"/>
            <a:t>Fahrer</a:t>
          </a:r>
          <a:r>
            <a:rPr lang="en-US" sz="1200" kern="1200"/>
            <a:t> und </a:t>
          </a:r>
          <a:r>
            <a:rPr lang="en-US" sz="1200" kern="1200" err="1"/>
            <a:t>Passagiere</a:t>
          </a:r>
          <a:r>
            <a:rPr lang="en-US" sz="1200" kern="1200"/>
            <a:t>, </a:t>
          </a:r>
          <a:r>
            <a:rPr lang="en-US" sz="1200" kern="1200" err="1"/>
            <a:t>ist</a:t>
          </a:r>
          <a:r>
            <a:rPr lang="en-US" sz="1200" kern="1200"/>
            <a:t> </a:t>
          </a:r>
          <a:r>
            <a:rPr lang="en-US" sz="1200" kern="1200" err="1"/>
            <a:t>entscheidend</a:t>
          </a:r>
          <a:r>
            <a:rPr lang="en-US" sz="1200" kern="1200"/>
            <a:t>. Eine intuitive, stabile und </a:t>
          </a:r>
          <a:r>
            <a:rPr lang="en-US" sz="1200" kern="1200" err="1"/>
            <a:t>sichere</a:t>
          </a:r>
          <a:r>
            <a:rPr lang="en-US" sz="1200" kern="1200"/>
            <a:t> App </a:t>
          </a:r>
          <a:r>
            <a:rPr lang="en-US" sz="1200" kern="1200" err="1"/>
            <a:t>ist</a:t>
          </a:r>
          <a:r>
            <a:rPr lang="en-US" sz="1200" kern="1200"/>
            <a:t> </a:t>
          </a:r>
          <a:r>
            <a:rPr lang="en-US" sz="1200" kern="1200" err="1"/>
            <a:t>grundlegend</a:t>
          </a:r>
          <a:r>
            <a:rPr lang="en-US" sz="1200" kern="1200"/>
            <a:t> für die </a:t>
          </a:r>
          <a:r>
            <a:rPr lang="en-US" sz="1200" kern="1200" err="1"/>
            <a:t>Vermittlung</a:t>
          </a:r>
          <a:r>
            <a:rPr lang="en-US" sz="1200" kern="1200"/>
            <a:t> von </a:t>
          </a:r>
          <a:r>
            <a:rPr lang="en-US" sz="1200" kern="1200" err="1"/>
            <a:t>Fahrern</a:t>
          </a:r>
          <a:r>
            <a:rPr lang="en-US" sz="1200" kern="1200"/>
            <a:t> und </a:t>
          </a:r>
          <a:r>
            <a:rPr lang="en-US" sz="1200" kern="1200" err="1"/>
            <a:t>Kunden</a:t>
          </a:r>
          <a:r>
            <a:rPr lang="en-US" sz="1200" kern="1200"/>
            <a:t> in </a:t>
          </a:r>
          <a:r>
            <a:rPr lang="en-US" sz="1200" kern="1200" err="1"/>
            <a:t>Echtzeit</a:t>
          </a:r>
          <a:r>
            <a:rPr lang="en-US" sz="1200" kern="1200"/>
            <a:t>.</a:t>
          </a:r>
        </a:p>
      </dsp:txBody>
      <dsp:txXfrm>
        <a:off x="0" y="275783"/>
        <a:ext cx="8567737" cy="291063"/>
      </dsp:txXfrm>
    </dsp:sp>
    <dsp:sp modelId="{D9487047-447A-476F-B92C-7F0FB476542E}">
      <dsp:nvSpPr>
        <dsp:cNvPr id="0" name=""/>
        <dsp:cNvSpPr/>
      </dsp:nvSpPr>
      <dsp:spPr>
        <a:xfrm>
          <a:off x="0" y="566846"/>
          <a:ext cx="8567737" cy="27495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b="1" kern="1200" err="1"/>
            <a:t>Fahrerakquise</a:t>
          </a:r>
          <a:r>
            <a:rPr lang="en-US" sz="1200" b="1" kern="1200"/>
            <a:t> und -</a:t>
          </a:r>
          <a:r>
            <a:rPr lang="en-US" sz="1200" b="1" kern="1200" err="1"/>
            <a:t>bindung</a:t>
          </a:r>
          <a:endParaRPr lang="en-US" sz="1200" kern="1200"/>
        </a:p>
      </dsp:txBody>
      <dsp:txXfrm>
        <a:off x="13422" y="580268"/>
        <a:ext cx="8540893" cy="248114"/>
      </dsp:txXfrm>
    </dsp:sp>
    <dsp:sp modelId="{F9FC5CC6-81B4-4176-9B5D-DDF44ECF03AB}">
      <dsp:nvSpPr>
        <dsp:cNvPr id="0" name=""/>
        <dsp:cNvSpPr/>
      </dsp:nvSpPr>
      <dsp:spPr>
        <a:xfrm>
          <a:off x="0" y="841805"/>
          <a:ext cx="8567737" cy="2910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a:t> Die </a:t>
          </a:r>
          <a:r>
            <a:rPr lang="en-US" sz="1200" kern="1200" err="1"/>
            <a:t>Gewinnung</a:t>
          </a:r>
          <a:r>
            <a:rPr lang="en-US" sz="1200" kern="1200"/>
            <a:t> und </a:t>
          </a:r>
          <a:r>
            <a:rPr lang="en-US" sz="1200" kern="1200" err="1"/>
            <a:t>Bindung</a:t>
          </a:r>
          <a:r>
            <a:rPr lang="en-US" sz="1200" kern="1200"/>
            <a:t> von </a:t>
          </a:r>
          <a:r>
            <a:rPr lang="en-US" sz="1200" kern="1200" err="1"/>
            <a:t>Fahrern</a:t>
          </a:r>
          <a:r>
            <a:rPr lang="en-US" sz="1200" kern="1200"/>
            <a:t> </a:t>
          </a:r>
          <a:r>
            <a:rPr lang="en-US" sz="1200" kern="1200" err="1"/>
            <a:t>ist</a:t>
          </a:r>
          <a:r>
            <a:rPr lang="en-US" sz="1200" kern="1200"/>
            <a:t> </a:t>
          </a:r>
          <a:r>
            <a:rPr lang="en-US" sz="1200" kern="1200" err="1"/>
            <a:t>kritisch</a:t>
          </a:r>
          <a:r>
            <a:rPr lang="en-US" sz="1200" kern="1200"/>
            <a:t>, da Uber von </a:t>
          </a:r>
          <a:r>
            <a:rPr lang="en-US" sz="1200" kern="1200" err="1"/>
            <a:t>einer</a:t>
          </a:r>
          <a:r>
            <a:rPr lang="en-US" sz="1200" kern="1200"/>
            <a:t> </a:t>
          </a:r>
          <a:r>
            <a:rPr lang="en-US" sz="1200" kern="1200" err="1"/>
            <a:t>aktiven</a:t>
          </a:r>
          <a:r>
            <a:rPr lang="en-US" sz="1200" kern="1200"/>
            <a:t> und </a:t>
          </a:r>
          <a:r>
            <a:rPr lang="en-US" sz="1200" kern="1200" err="1"/>
            <a:t>engagierten</a:t>
          </a:r>
          <a:r>
            <a:rPr lang="en-US" sz="1200" kern="1200"/>
            <a:t> </a:t>
          </a:r>
          <a:r>
            <a:rPr lang="en-US" sz="1200" kern="1200" err="1"/>
            <a:t>Fahrer</a:t>
          </a:r>
          <a:r>
            <a:rPr lang="en-US" sz="1200" kern="1200"/>
            <a:t>-Basis </a:t>
          </a:r>
          <a:r>
            <a:rPr lang="en-US" sz="1200" kern="1200" err="1"/>
            <a:t>abhängig</a:t>
          </a:r>
          <a:r>
            <a:rPr lang="en-US" sz="1200" kern="1200"/>
            <a:t> </a:t>
          </a:r>
          <a:r>
            <a:rPr lang="en-US" sz="1200" kern="1200" err="1"/>
            <a:t>ist</a:t>
          </a:r>
          <a:r>
            <a:rPr lang="en-US" sz="1200" kern="1200"/>
            <a:t>, um die </a:t>
          </a:r>
          <a:r>
            <a:rPr lang="en-US" sz="1200" kern="1200" err="1"/>
            <a:t>Dienste</a:t>
          </a:r>
          <a:r>
            <a:rPr lang="en-US" sz="1200" kern="1200"/>
            <a:t> </a:t>
          </a:r>
          <a:r>
            <a:rPr lang="en-US" sz="1200" kern="1200" err="1"/>
            <a:t>bereitzustellen</a:t>
          </a:r>
          <a:r>
            <a:rPr lang="en-US" sz="1200" kern="1200"/>
            <a:t>.</a:t>
          </a:r>
        </a:p>
      </dsp:txBody>
      <dsp:txXfrm>
        <a:off x="0" y="841805"/>
        <a:ext cx="8567737" cy="291063"/>
      </dsp:txXfrm>
    </dsp:sp>
    <dsp:sp modelId="{90264B59-C575-42DD-BAB7-0A7458C45793}">
      <dsp:nvSpPr>
        <dsp:cNvPr id="0" name=""/>
        <dsp:cNvSpPr/>
      </dsp:nvSpPr>
      <dsp:spPr>
        <a:xfrm>
          <a:off x="0" y="1132868"/>
          <a:ext cx="8567737" cy="27495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b="1" kern="1200" err="1"/>
            <a:t>Vermittlung</a:t>
          </a:r>
          <a:r>
            <a:rPr lang="en-US" sz="1200" b="1" kern="1200"/>
            <a:t> und Matching</a:t>
          </a:r>
          <a:endParaRPr lang="en-US" sz="1200" kern="1200"/>
        </a:p>
      </dsp:txBody>
      <dsp:txXfrm>
        <a:off x="13422" y="1146290"/>
        <a:ext cx="8540893" cy="248114"/>
      </dsp:txXfrm>
    </dsp:sp>
    <dsp:sp modelId="{BB261BA6-B772-44D5-ACC3-DCE9DA7A3155}">
      <dsp:nvSpPr>
        <dsp:cNvPr id="0" name=""/>
        <dsp:cNvSpPr/>
      </dsp:nvSpPr>
      <dsp:spPr>
        <a:xfrm>
          <a:off x="0" y="1407827"/>
          <a:ext cx="8567737" cy="4416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a:t>Der </a:t>
          </a:r>
          <a:r>
            <a:rPr lang="en-US" sz="1200" kern="1200" err="1"/>
            <a:t>Vermittlungsprozess</a:t>
          </a:r>
          <a:r>
            <a:rPr lang="en-US" sz="1200" kern="1200"/>
            <a:t> </a:t>
          </a:r>
          <a:r>
            <a:rPr lang="en-US" sz="1200" kern="1200" err="1"/>
            <a:t>zwischen</a:t>
          </a:r>
          <a:r>
            <a:rPr lang="en-US" sz="1200" kern="1200"/>
            <a:t> </a:t>
          </a:r>
          <a:r>
            <a:rPr lang="en-US" sz="1200" kern="1200" err="1"/>
            <a:t>Fahrern</a:t>
          </a:r>
          <a:r>
            <a:rPr lang="en-US" sz="1200" kern="1200"/>
            <a:t> und </a:t>
          </a:r>
          <a:r>
            <a:rPr lang="en-US" sz="1200" kern="1200" err="1"/>
            <a:t>Kunden</a:t>
          </a:r>
          <a:r>
            <a:rPr lang="en-US" sz="1200" kern="1200"/>
            <a:t> muss </a:t>
          </a:r>
          <a:r>
            <a:rPr lang="en-US" sz="1200" kern="1200" err="1"/>
            <a:t>reibungslos</a:t>
          </a:r>
          <a:r>
            <a:rPr lang="en-US" sz="1200" kern="1200"/>
            <a:t> </a:t>
          </a:r>
          <a:r>
            <a:rPr lang="en-US" sz="1200" kern="1200" err="1"/>
            <a:t>funktionieren</a:t>
          </a:r>
          <a:r>
            <a:rPr lang="en-US" sz="1200" kern="1200"/>
            <a:t>, um </a:t>
          </a:r>
          <a:r>
            <a:rPr lang="en-US" sz="1200" kern="1200" err="1"/>
            <a:t>eine</a:t>
          </a:r>
          <a:r>
            <a:rPr lang="en-US" sz="1200" kern="1200"/>
            <a:t> </a:t>
          </a:r>
          <a:r>
            <a:rPr lang="en-US" sz="1200" kern="1200" err="1"/>
            <a:t>schnelle</a:t>
          </a:r>
          <a:r>
            <a:rPr lang="en-US" sz="1200" kern="1200"/>
            <a:t> und </a:t>
          </a:r>
          <a:r>
            <a:rPr lang="en-US" sz="1200" kern="1200" err="1"/>
            <a:t>effiziente</a:t>
          </a:r>
          <a:r>
            <a:rPr lang="en-US" sz="1200" kern="1200"/>
            <a:t> </a:t>
          </a:r>
          <a:r>
            <a:rPr lang="en-US" sz="1200" kern="1200" err="1"/>
            <a:t>Servicebereitstellung</a:t>
          </a:r>
          <a:r>
            <a:rPr lang="en-US" sz="1200" kern="1200"/>
            <a:t> </a:t>
          </a:r>
          <a:r>
            <a:rPr lang="en-US" sz="1200" kern="1200" err="1"/>
            <a:t>zu</a:t>
          </a:r>
          <a:r>
            <a:rPr lang="en-US" sz="1200" kern="1200"/>
            <a:t> </a:t>
          </a:r>
          <a:r>
            <a:rPr lang="en-US" sz="1200" kern="1200" err="1"/>
            <a:t>gewährleisten</a:t>
          </a:r>
          <a:r>
            <a:rPr lang="en-US" sz="1200" kern="1200"/>
            <a:t>. Die </a:t>
          </a:r>
          <a:r>
            <a:rPr lang="en-US" sz="1200" kern="1200" err="1"/>
            <a:t>Algorithmen</a:t>
          </a:r>
          <a:r>
            <a:rPr lang="en-US" sz="1200" kern="1200"/>
            <a:t>, die </a:t>
          </a:r>
          <a:r>
            <a:rPr lang="en-US" sz="1200" kern="1200" err="1"/>
            <a:t>Fahrer</a:t>
          </a:r>
          <a:r>
            <a:rPr lang="en-US" sz="1200" kern="1200"/>
            <a:t> und </a:t>
          </a:r>
          <a:r>
            <a:rPr lang="en-US" sz="1200" kern="1200" err="1"/>
            <a:t>Kunden</a:t>
          </a:r>
          <a:r>
            <a:rPr lang="en-US" sz="1200" kern="1200"/>
            <a:t> </a:t>
          </a:r>
          <a:r>
            <a:rPr lang="en-US" sz="1200" kern="1200" err="1"/>
            <a:t>basierend</a:t>
          </a:r>
          <a:r>
            <a:rPr lang="en-US" sz="1200" kern="1200"/>
            <a:t> auf </a:t>
          </a:r>
          <a:r>
            <a:rPr lang="en-US" sz="1200" kern="1200" err="1"/>
            <a:t>Standort</a:t>
          </a:r>
          <a:r>
            <a:rPr lang="en-US" sz="1200" kern="1200"/>
            <a:t>, </a:t>
          </a:r>
          <a:r>
            <a:rPr lang="en-US" sz="1200" kern="1200" err="1"/>
            <a:t>Verfügbarkeit</a:t>
          </a:r>
          <a:r>
            <a:rPr lang="en-US" sz="1200" kern="1200"/>
            <a:t> und </a:t>
          </a:r>
          <a:r>
            <a:rPr lang="en-US" sz="1200" kern="1200" err="1"/>
            <a:t>Präferenzen</a:t>
          </a:r>
          <a:r>
            <a:rPr lang="en-US" sz="1200" kern="1200"/>
            <a:t> </a:t>
          </a:r>
          <a:r>
            <a:rPr lang="en-US" sz="1200" kern="1200" err="1"/>
            <a:t>matchen</a:t>
          </a:r>
          <a:r>
            <a:rPr lang="en-US" sz="1200" kern="1200"/>
            <a:t>, </a:t>
          </a:r>
          <a:r>
            <a:rPr lang="en-US" sz="1200" kern="1200" err="1"/>
            <a:t>sind</a:t>
          </a:r>
          <a:r>
            <a:rPr lang="en-US" sz="1200" kern="1200"/>
            <a:t> </a:t>
          </a:r>
          <a:r>
            <a:rPr lang="en-US" sz="1200" kern="1200" err="1"/>
            <a:t>entscheidend</a:t>
          </a:r>
          <a:r>
            <a:rPr lang="en-US" sz="1200" kern="1200"/>
            <a:t>.</a:t>
          </a:r>
        </a:p>
      </dsp:txBody>
      <dsp:txXfrm>
        <a:off x="0" y="1407827"/>
        <a:ext cx="8567737" cy="441613"/>
      </dsp:txXfrm>
    </dsp:sp>
    <dsp:sp modelId="{CE86FB9F-A00B-464F-AE53-9704177AB94A}">
      <dsp:nvSpPr>
        <dsp:cNvPr id="0" name=""/>
        <dsp:cNvSpPr/>
      </dsp:nvSpPr>
      <dsp:spPr>
        <a:xfrm>
          <a:off x="0" y="1849440"/>
          <a:ext cx="8567737" cy="27495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b="1" kern="1200" err="1"/>
            <a:t>Kundenservice</a:t>
          </a:r>
          <a:r>
            <a:rPr lang="en-US" sz="1200" b="1" kern="1200"/>
            <a:t> und -</a:t>
          </a:r>
          <a:r>
            <a:rPr lang="en-US" sz="1200" b="1" kern="1200" err="1"/>
            <a:t>erfahrung</a:t>
          </a:r>
          <a:endParaRPr lang="en-US" sz="1200" kern="1200"/>
        </a:p>
      </dsp:txBody>
      <dsp:txXfrm>
        <a:off x="13422" y="1862862"/>
        <a:ext cx="8540893" cy="248114"/>
      </dsp:txXfrm>
    </dsp:sp>
    <dsp:sp modelId="{703D8708-AA83-4E0E-8ABD-E402EB52D026}">
      <dsp:nvSpPr>
        <dsp:cNvPr id="0" name=""/>
        <dsp:cNvSpPr/>
      </dsp:nvSpPr>
      <dsp:spPr>
        <a:xfrm>
          <a:off x="0" y="2124398"/>
          <a:ext cx="8567737" cy="3211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a:t>Die </a:t>
          </a:r>
          <a:r>
            <a:rPr lang="en-US" sz="1200" kern="1200" err="1"/>
            <a:t>Kundenerfahrung</a:t>
          </a:r>
          <a:r>
            <a:rPr lang="en-US" sz="1200" kern="1200"/>
            <a:t>, </a:t>
          </a:r>
          <a:r>
            <a:rPr lang="en-US" sz="1200" kern="1200" err="1"/>
            <a:t>angefangen</a:t>
          </a:r>
          <a:r>
            <a:rPr lang="en-US" sz="1200" kern="1200"/>
            <a:t> von der </a:t>
          </a:r>
          <a:r>
            <a:rPr lang="en-US" sz="1200" kern="1200" err="1"/>
            <a:t>Buchung</a:t>
          </a:r>
          <a:r>
            <a:rPr lang="en-US" sz="1200" kern="1200"/>
            <a:t> bis </a:t>
          </a:r>
          <a:r>
            <a:rPr lang="en-US" sz="1200" kern="1200" err="1"/>
            <a:t>zur</a:t>
          </a:r>
          <a:r>
            <a:rPr lang="en-US" sz="1200" kern="1200"/>
            <a:t> </a:t>
          </a:r>
          <a:r>
            <a:rPr lang="en-US" sz="1200" kern="1200" err="1"/>
            <a:t>Fahrt</a:t>
          </a:r>
          <a:r>
            <a:rPr lang="en-US" sz="1200" kern="1200"/>
            <a:t>/</a:t>
          </a:r>
          <a:r>
            <a:rPr lang="en-US" sz="1200" kern="1200" err="1"/>
            <a:t>Lieferung</a:t>
          </a:r>
          <a:r>
            <a:rPr lang="en-US" sz="1200" kern="1200"/>
            <a:t> und der </a:t>
          </a:r>
          <a:r>
            <a:rPr lang="en-US" sz="1200" kern="1200" err="1"/>
            <a:t>Abrechnung</a:t>
          </a:r>
          <a:r>
            <a:rPr lang="en-US" sz="1200" kern="1200"/>
            <a:t>, </a:t>
          </a:r>
          <a:r>
            <a:rPr lang="en-US" sz="1200" kern="1200" err="1"/>
            <a:t>spielt</a:t>
          </a:r>
          <a:r>
            <a:rPr lang="en-US" sz="1200" kern="1200"/>
            <a:t> </a:t>
          </a:r>
          <a:r>
            <a:rPr lang="en-US" sz="1200" kern="1200" err="1"/>
            <a:t>eine</a:t>
          </a:r>
          <a:r>
            <a:rPr lang="en-US" sz="1200" kern="1200"/>
            <a:t> </a:t>
          </a:r>
          <a:r>
            <a:rPr lang="en-US" sz="1200" kern="1200" err="1"/>
            <a:t>wichtige</a:t>
          </a:r>
          <a:r>
            <a:rPr lang="en-US" sz="1200" kern="1200"/>
            <a:t> Rolle für die </a:t>
          </a:r>
          <a:r>
            <a:rPr lang="en-US" sz="1200" kern="1200" err="1"/>
            <a:t>Kundenzufriedenheit</a:t>
          </a:r>
          <a:r>
            <a:rPr lang="en-US" sz="1200" kern="1200"/>
            <a:t> und -</a:t>
          </a:r>
          <a:r>
            <a:rPr lang="en-US" sz="1200" kern="1200" err="1"/>
            <a:t>bindung</a:t>
          </a:r>
          <a:r>
            <a:rPr lang="en-US" sz="1200" kern="1200"/>
            <a:t>.</a:t>
          </a:r>
        </a:p>
      </dsp:txBody>
      <dsp:txXfrm>
        <a:off x="0" y="2124398"/>
        <a:ext cx="8567737" cy="321173"/>
      </dsp:txXfrm>
    </dsp:sp>
    <dsp:sp modelId="{06CB6770-01E9-40BB-A260-A2ACAA812BEC}">
      <dsp:nvSpPr>
        <dsp:cNvPr id="0" name=""/>
        <dsp:cNvSpPr/>
      </dsp:nvSpPr>
      <dsp:spPr>
        <a:xfrm>
          <a:off x="0" y="2445572"/>
          <a:ext cx="8567737" cy="27495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b="1" kern="1200" err="1"/>
            <a:t>Regulatorische</a:t>
          </a:r>
          <a:r>
            <a:rPr lang="en-US" sz="1200" b="1" kern="1200"/>
            <a:t> Compliance</a:t>
          </a:r>
          <a:endParaRPr lang="en-US" sz="1200" kern="1200"/>
        </a:p>
      </dsp:txBody>
      <dsp:txXfrm>
        <a:off x="13422" y="2458994"/>
        <a:ext cx="8540893" cy="248114"/>
      </dsp:txXfrm>
    </dsp:sp>
    <dsp:sp modelId="{4873B3B1-8D07-4424-96BC-B909CEE7A8DD}">
      <dsp:nvSpPr>
        <dsp:cNvPr id="0" name=""/>
        <dsp:cNvSpPr/>
      </dsp:nvSpPr>
      <dsp:spPr>
        <a:xfrm>
          <a:off x="0" y="2720530"/>
          <a:ext cx="8567737" cy="34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a:t>Uber muss </a:t>
          </a:r>
          <a:r>
            <a:rPr lang="en-US" sz="1200" kern="1200" err="1"/>
            <a:t>sich</a:t>
          </a:r>
          <a:r>
            <a:rPr lang="en-US" sz="1200" kern="1200"/>
            <a:t> an </a:t>
          </a:r>
          <a:r>
            <a:rPr lang="en-US" sz="1200" kern="1200" err="1"/>
            <a:t>lokale</a:t>
          </a:r>
          <a:r>
            <a:rPr lang="en-US" sz="1200" kern="1200"/>
            <a:t> und </a:t>
          </a:r>
          <a:r>
            <a:rPr lang="en-US" sz="1200" kern="1200" err="1"/>
            <a:t>regionale</a:t>
          </a:r>
          <a:r>
            <a:rPr lang="en-US" sz="1200" kern="1200"/>
            <a:t> </a:t>
          </a:r>
          <a:r>
            <a:rPr lang="en-US" sz="1200" kern="1200" err="1"/>
            <a:t>Gesetze</a:t>
          </a:r>
          <a:r>
            <a:rPr lang="en-US" sz="1200" kern="1200"/>
            <a:t> und </a:t>
          </a:r>
          <a:r>
            <a:rPr lang="en-US" sz="1200" kern="1200" err="1"/>
            <a:t>Vorschriften</a:t>
          </a:r>
          <a:r>
            <a:rPr lang="en-US" sz="1200" kern="1200"/>
            <a:t> </a:t>
          </a:r>
          <a:r>
            <a:rPr lang="en-US" sz="1200" kern="1200" err="1"/>
            <a:t>halten</a:t>
          </a:r>
          <a:r>
            <a:rPr lang="en-US" sz="1200" kern="1200"/>
            <a:t>. Dies </a:t>
          </a:r>
          <a:r>
            <a:rPr lang="en-US" sz="1200" kern="1200" err="1"/>
            <a:t>beinhaltet</a:t>
          </a:r>
          <a:r>
            <a:rPr lang="en-US" sz="1200" kern="1200"/>
            <a:t> </a:t>
          </a:r>
          <a:r>
            <a:rPr lang="en-US" sz="1200" kern="1200" err="1"/>
            <a:t>rechtliche</a:t>
          </a:r>
          <a:r>
            <a:rPr lang="en-US" sz="1200" kern="1200"/>
            <a:t> und </a:t>
          </a:r>
          <a:r>
            <a:rPr lang="en-US" sz="1200" kern="1200" err="1"/>
            <a:t>regulatorische</a:t>
          </a:r>
          <a:r>
            <a:rPr lang="en-US" sz="1200" kern="1200"/>
            <a:t> </a:t>
          </a:r>
          <a:r>
            <a:rPr lang="en-US" sz="1200" kern="1200" err="1"/>
            <a:t>Aspekte</a:t>
          </a:r>
          <a:r>
            <a:rPr lang="en-US" sz="1200" kern="1200"/>
            <a:t> </a:t>
          </a:r>
          <a:r>
            <a:rPr lang="en-US" sz="1200" kern="1200" err="1"/>
            <a:t>wie</a:t>
          </a:r>
          <a:r>
            <a:rPr lang="en-US" sz="1200" kern="1200"/>
            <a:t> </a:t>
          </a:r>
          <a:r>
            <a:rPr lang="en-US" sz="1200" kern="1200" err="1"/>
            <a:t>Fahrerlizenzen</a:t>
          </a:r>
          <a:r>
            <a:rPr lang="en-US" sz="1200" kern="1200"/>
            <a:t>, </a:t>
          </a:r>
          <a:r>
            <a:rPr lang="en-US" sz="1200" kern="1200" err="1"/>
            <a:t>Versicherungen</a:t>
          </a:r>
          <a:r>
            <a:rPr lang="en-US" sz="1200" kern="1200"/>
            <a:t> und </a:t>
          </a:r>
          <a:r>
            <a:rPr lang="en-US" sz="1200" kern="1200" err="1"/>
            <a:t>Datenschutzbestimmungen</a:t>
          </a:r>
          <a:r>
            <a:rPr lang="en-US" sz="1200" kern="1200"/>
            <a:t>.</a:t>
          </a:r>
        </a:p>
      </dsp:txBody>
      <dsp:txXfrm>
        <a:off x="0" y="2720530"/>
        <a:ext cx="8567737" cy="341246"/>
      </dsp:txXfrm>
    </dsp:sp>
    <dsp:sp modelId="{2E9EC1EE-E41E-4109-9A4C-20D0C5CB53CE}">
      <dsp:nvSpPr>
        <dsp:cNvPr id="0" name=""/>
        <dsp:cNvSpPr/>
      </dsp:nvSpPr>
      <dsp:spPr>
        <a:xfrm>
          <a:off x="0" y="3061777"/>
          <a:ext cx="8567737" cy="27495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b="1" kern="1200"/>
            <a:t>Innovation und </a:t>
          </a:r>
          <a:r>
            <a:rPr lang="en-US" sz="1200" b="1" kern="1200" err="1"/>
            <a:t>Forschung</a:t>
          </a:r>
          <a:endParaRPr lang="en-US" sz="1200" kern="1200"/>
        </a:p>
      </dsp:txBody>
      <dsp:txXfrm>
        <a:off x="13422" y="3075199"/>
        <a:ext cx="8540893" cy="248114"/>
      </dsp:txXfrm>
    </dsp:sp>
    <dsp:sp modelId="{47A337E5-3EEA-4F57-AD31-620C82CBCB19}">
      <dsp:nvSpPr>
        <dsp:cNvPr id="0" name=""/>
        <dsp:cNvSpPr/>
      </dsp:nvSpPr>
      <dsp:spPr>
        <a:xfrm>
          <a:off x="0" y="3336735"/>
          <a:ext cx="8567737" cy="361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a:t>Die </a:t>
          </a:r>
          <a:r>
            <a:rPr lang="en-US" sz="1200" kern="1200" err="1"/>
            <a:t>kontinuierliche</a:t>
          </a:r>
          <a:r>
            <a:rPr lang="en-US" sz="1200" kern="1200"/>
            <a:t> Innovation, sei es in </a:t>
          </a:r>
          <a:r>
            <a:rPr lang="en-US" sz="1200" kern="1200" err="1"/>
            <a:t>Bezug</a:t>
          </a:r>
          <a:r>
            <a:rPr lang="en-US" sz="1200" kern="1200"/>
            <a:t> auf </a:t>
          </a:r>
          <a:r>
            <a:rPr lang="en-US" sz="1200" kern="1200" err="1"/>
            <a:t>neue</a:t>
          </a:r>
          <a:r>
            <a:rPr lang="en-US" sz="1200" kern="1200"/>
            <a:t> </a:t>
          </a:r>
          <a:r>
            <a:rPr lang="en-US" sz="1200" kern="1200" err="1"/>
            <a:t>Dienstleistungen</a:t>
          </a:r>
          <a:r>
            <a:rPr lang="en-US" sz="1200" kern="1200"/>
            <a:t>, </a:t>
          </a:r>
          <a:r>
            <a:rPr lang="en-US" sz="1200" kern="1200" err="1"/>
            <a:t>Technologien</a:t>
          </a:r>
          <a:r>
            <a:rPr lang="en-US" sz="1200" kern="1200"/>
            <a:t> </a:t>
          </a:r>
          <a:r>
            <a:rPr lang="en-US" sz="1200" kern="1200" err="1"/>
            <a:t>oder</a:t>
          </a:r>
          <a:r>
            <a:rPr lang="en-US" sz="1200" kern="1200"/>
            <a:t> </a:t>
          </a:r>
          <a:r>
            <a:rPr lang="en-US" sz="1200" kern="1200" err="1"/>
            <a:t>Geschäftsmodelle</a:t>
          </a:r>
          <a:r>
            <a:rPr lang="en-US" sz="1200" kern="1200"/>
            <a:t>, </a:t>
          </a:r>
          <a:r>
            <a:rPr lang="en-US" sz="1200" kern="1200" err="1"/>
            <a:t>ist</a:t>
          </a:r>
          <a:r>
            <a:rPr lang="en-US" sz="1200" kern="1200"/>
            <a:t> </a:t>
          </a:r>
          <a:r>
            <a:rPr lang="en-US" sz="1200" kern="1200" err="1"/>
            <a:t>entscheidend</a:t>
          </a:r>
          <a:r>
            <a:rPr lang="en-US" sz="1200" kern="1200"/>
            <a:t>, um </a:t>
          </a:r>
          <a:r>
            <a:rPr lang="en-US" sz="1200" kern="1200" err="1"/>
            <a:t>wettbewerbsfähig</a:t>
          </a:r>
          <a:r>
            <a:rPr lang="en-US" sz="1200" kern="1200"/>
            <a:t> </a:t>
          </a:r>
          <a:r>
            <a:rPr lang="en-US" sz="1200" kern="1200" err="1"/>
            <a:t>zu</a:t>
          </a:r>
          <a:r>
            <a:rPr lang="en-US" sz="1200" kern="1200"/>
            <a:t> </a:t>
          </a:r>
          <a:r>
            <a:rPr lang="en-US" sz="1200" kern="1200" err="1"/>
            <a:t>bleiben</a:t>
          </a:r>
          <a:r>
            <a:rPr lang="en-US" sz="1200" kern="1200"/>
            <a:t> und den </a:t>
          </a:r>
          <a:r>
            <a:rPr lang="en-US" sz="1200" kern="1200" err="1"/>
            <a:t>sich</a:t>
          </a:r>
          <a:r>
            <a:rPr lang="en-US" sz="1200" kern="1200"/>
            <a:t> </a:t>
          </a:r>
          <a:r>
            <a:rPr lang="en-US" sz="1200" kern="1200" err="1"/>
            <a:t>ändernden</a:t>
          </a:r>
          <a:r>
            <a:rPr lang="en-US" sz="1200" kern="1200"/>
            <a:t> </a:t>
          </a:r>
          <a:r>
            <a:rPr lang="en-US" sz="1200" kern="1200" err="1"/>
            <a:t>Marktanforderungen</a:t>
          </a:r>
          <a:r>
            <a:rPr lang="en-US" sz="1200" kern="1200"/>
            <a:t> </a:t>
          </a:r>
          <a:r>
            <a:rPr lang="en-US" sz="1200" kern="1200" err="1"/>
            <a:t>gerecht</a:t>
          </a:r>
          <a:r>
            <a:rPr lang="en-US" sz="1200" kern="1200"/>
            <a:t> </a:t>
          </a:r>
          <a:r>
            <a:rPr lang="en-US" sz="1200" kern="1200" err="1"/>
            <a:t>zu</a:t>
          </a:r>
          <a:r>
            <a:rPr lang="en-US" sz="1200" kern="1200"/>
            <a:t> </a:t>
          </a:r>
          <a:r>
            <a:rPr lang="en-US" sz="1200" kern="1200" err="1"/>
            <a:t>werden</a:t>
          </a:r>
          <a:r>
            <a:rPr lang="en-US" sz="1200" kern="1200"/>
            <a:t>.</a:t>
          </a:r>
        </a:p>
      </dsp:txBody>
      <dsp:txXfrm>
        <a:off x="0" y="3336735"/>
        <a:ext cx="8567737" cy="3613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C6BF7-88CF-4705-AE13-4D8DF1BA2CA0}">
      <dsp:nvSpPr>
        <dsp:cNvPr id="0" name=""/>
        <dsp:cNvSpPr/>
      </dsp:nvSpPr>
      <dsp:spPr>
        <a:xfrm>
          <a:off x="4016" y="20370"/>
          <a:ext cx="1539515" cy="615806"/>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err="1"/>
            <a:t>Regulatorische</a:t>
          </a:r>
          <a:r>
            <a:rPr lang="en-US" sz="1200" kern="1200"/>
            <a:t> </a:t>
          </a:r>
          <a:r>
            <a:rPr lang="en-US" sz="1200" kern="1200" err="1"/>
            <a:t>Hindernisse</a:t>
          </a:r>
          <a:endParaRPr lang="en-US" sz="1200" kern="1200"/>
        </a:p>
      </dsp:txBody>
      <dsp:txXfrm>
        <a:off x="4016" y="20370"/>
        <a:ext cx="1539515" cy="615806"/>
      </dsp:txXfrm>
    </dsp:sp>
    <dsp:sp modelId="{5A846B1F-80CB-43D1-B2F9-6F58D0E82285}">
      <dsp:nvSpPr>
        <dsp:cNvPr id="0" name=""/>
        <dsp:cNvSpPr/>
      </dsp:nvSpPr>
      <dsp:spPr>
        <a:xfrm>
          <a:off x="4016" y="636176"/>
          <a:ext cx="1539515"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en-US" sz="1200" kern="1200" err="1"/>
            <a:t>Viele</a:t>
          </a:r>
          <a:r>
            <a:rPr lang="en-US" sz="1200" kern="1200"/>
            <a:t> Länder und </a:t>
          </a:r>
          <a:r>
            <a:rPr lang="en-US" sz="1200" kern="1200" err="1"/>
            <a:t>Städte</a:t>
          </a:r>
          <a:r>
            <a:rPr lang="en-US" sz="1200" kern="1200"/>
            <a:t> </a:t>
          </a:r>
          <a:r>
            <a:rPr lang="en-US" sz="1200" kern="1200" err="1"/>
            <a:t>haben</a:t>
          </a:r>
          <a:r>
            <a:rPr lang="en-US" sz="1200" kern="1200"/>
            <a:t> </a:t>
          </a:r>
          <a:r>
            <a:rPr lang="en-US" sz="1200" kern="1200" err="1"/>
            <a:t>unterschiedliche</a:t>
          </a:r>
          <a:r>
            <a:rPr lang="en-US" sz="1200" kern="1200"/>
            <a:t> </a:t>
          </a:r>
          <a:r>
            <a:rPr lang="en-US" sz="1200" kern="1200" err="1"/>
            <a:t>Gesetze</a:t>
          </a:r>
          <a:r>
            <a:rPr lang="en-US" sz="1200" kern="1200"/>
            <a:t> und </a:t>
          </a:r>
          <a:r>
            <a:rPr lang="en-US" sz="1200" kern="1200" err="1"/>
            <a:t>Vorschriften</a:t>
          </a:r>
          <a:r>
            <a:rPr lang="en-US" sz="1200" kern="1200"/>
            <a:t> für Ride-Hailing-</a:t>
          </a:r>
          <a:r>
            <a:rPr lang="en-US" sz="1200" kern="1200" err="1"/>
            <a:t>Dienste</a:t>
          </a:r>
          <a:endParaRPr lang="en-US" sz="1200" kern="1200"/>
        </a:p>
        <a:p>
          <a:pPr marL="114300" lvl="1" indent="-114300" algn="l" defTabSz="533400">
            <a:lnSpc>
              <a:spcPct val="90000"/>
            </a:lnSpc>
            <a:spcBef>
              <a:spcPct val="0"/>
            </a:spcBef>
            <a:spcAft>
              <a:spcPct val="15000"/>
            </a:spcAft>
            <a:buFont typeface="Arial" panose="020B0604020202020204" pitchFamily="34" charset="0"/>
            <a:buChar char="•"/>
          </a:pPr>
          <a:r>
            <a:rPr lang="en-US" sz="1200" kern="1200" err="1"/>
            <a:t>verschiedene</a:t>
          </a:r>
          <a:r>
            <a:rPr lang="en-US" sz="1200" kern="1200"/>
            <a:t> </a:t>
          </a:r>
          <a:r>
            <a:rPr lang="en-US" sz="1200" kern="1200" err="1"/>
            <a:t>regulatorische</a:t>
          </a:r>
          <a:r>
            <a:rPr lang="en-US" sz="1200" kern="1200"/>
            <a:t> </a:t>
          </a:r>
          <a:r>
            <a:rPr lang="en-US" sz="1200" kern="1200" err="1"/>
            <a:t>Anforderungen</a:t>
          </a:r>
          <a:endParaRPr lang="en-US" sz="1200" kern="1200"/>
        </a:p>
        <a:p>
          <a:pPr marL="114300" lvl="1" indent="-114300" algn="l" defTabSz="533400">
            <a:lnSpc>
              <a:spcPct val="90000"/>
            </a:lnSpc>
            <a:spcBef>
              <a:spcPct val="0"/>
            </a:spcBef>
            <a:spcAft>
              <a:spcPct val="15000"/>
            </a:spcAft>
            <a:buFont typeface="Arial" panose="020B0604020202020204" pitchFamily="34" charset="0"/>
            <a:buChar char="•"/>
          </a:pPr>
          <a:r>
            <a:rPr lang="en-US" sz="1200" kern="1200" err="1"/>
            <a:t>rechtliche</a:t>
          </a:r>
          <a:r>
            <a:rPr lang="en-US" sz="1200" kern="1200"/>
            <a:t> </a:t>
          </a:r>
          <a:r>
            <a:rPr lang="en-US" sz="1200" kern="1200" err="1"/>
            <a:t>Hürden</a:t>
          </a:r>
          <a:endParaRPr lang="en-US" sz="1200" kern="1200"/>
        </a:p>
      </dsp:txBody>
      <dsp:txXfrm>
        <a:off x="4016" y="636176"/>
        <a:ext cx="1539515" cy="2854800"/>
      </dsp:txXfrm>
    </dsp:sp>
    <dsp:sp modelId="{6CABF41C-3202-4904-B94C-2363652EB737}">
      <dsp:nvSpPr>
        <dsp:cNvPr id="0" name=""/>
        <dsp:cNvSpPr/>
      </dsp:nvSpPr>
      <dsp:spPr>
        <a:xfrm>
          <a:off x="1759063" y="20370"/>
          <a:ext cx="1539515" cy="615806"/>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err="1"/>
            <a:t>Arbeitsbedingungen</a:t>
          </a:r>
          <a:r>
            <a:rPr lang="en-US" sz="1200" kern="1200"/>
            <a:t> und </a:t>
          </a:r>
          <a:r>
            <a:rPr lang="en-US" sz="1200" kern="1200" err="1"/>
            <a:t>Fahrerbeziehungen</a:t>
          </a:r>
          <a:endParaRPr lang="en-US" sz="1200" kern="1200"/>
        </a:p>
      </dsp:txBody>
      <dsp:txXfrm>
        <a:off x="1759063" y="20370"/>
        <a:ext cx="1539515" cy="615806"/>
      </dsp:txXfrm>
    </dsp:sp>
    <dsp:sp modelId="{D036E80C-FCCE-49AA-8BA8-06ACAEC001F5}">
      <dsp:nvSpPr>
        <dsp:cNvPr id="0" name=""/>
        <dsp:cNvSpPr/>
      </dsp:nvSpPr>
      <dsp:spPr>
        <a:xfrm>
          <a:off x="1759063" y="636176"/>
          <a:ext cx="1539515"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en-US" sz="1200" kern="1200" err="1"/>
            <a:t>Beziehung</a:t>
          </a:r>
          <a:r>
            <a:rPr lang="en-US" sz="1200" kern="1200"/>
            <a:t> </a:t>
          </a:r>
          <a:r>
            <a:rPr lang="en-US" sz="1200" kern="1200" err="1"/>
            <a:t>zu</a:t>
          </a:r>
          <a:r>
            <a:rPr lang="en-US" sz="1200" kern="1200"/>
            <a:t> den </a:t>
          </a:r>
          <a:r>
            <a:rPr lang="en-US" sz="1200" kern="1200" err="1"/>
            <a:t>Fahrern</a:t>
          </a:r>
          <a:r>
            <a:rPr lang="en-US" sz="1200" kern="1200"/>
            <a:t> </a:t>
          </a:r>
          <a:r>
            <a:rPr lang="en-US" sz="1200" kern="1200" err="1"/>
            <a:t>ist</a:t>
          </a:r>
          <a:r>
            <a:rPr lang="en-US" sz="1200" kern="1200"/>
            <a:t> von </a:t>
          </a:r>
          <a:r>
            <a:rPr lang="en-US" sz="1200" kern="1200" err="1"/>
            <a:t>Bedeutung</a:t>
          </a:r>
          <a:r>
            <a:rPr lang="en-US" sz="1200" kern="1200"/>
            <a:t>, da es </a:t>
          </a:r>
          <a:r>
            <a:rPr lang="en-US" sz="1200" kern="1200" err="1"/>
            <a:t>kontroverse</a:t>
          </a:r>
          <a:r>
            <a:rPr lang="en-US" sz="1200" kern="1200"/>
            <a:t> </a:t>
          </a:r>
          <a:r>
            <a:rPr lang="en-US" sz="1200" kern="1200" err="1"/>
            <a:t>Diskussionen</a:t>
          </a:r>
          <a:r>
            <a:rPr lang="en-US" sz="1200" kern="1200"/>
            <a:t> </a:t>
          </a:r>
          <a:r>
            <a:rPr lang="en-US" sz="1200" kern="1200" err="1"/>
            <a:t>über</a:t>
          </a:r>
          <a:r>
            <a:rPr lang="en-US" sz="1200" kern="1200"/>
            <a:t> </a:t>
          </a:r>
          <a:r>
            <a:rPr lang="en-US" sz="1200" kern="1200" err="1"/>
            <a:t>Arbeits-bedingungen</a:t>
          </a:r>
          <a:r>
            <a:rPr lang="en-US" sz="1200" kern="1200"/>
            <a:t>, </a:t>
          </a:r>
          <a:r>
            <a:rPr lang="en-US" sz="1200" kern="1200" err="1"/>
            <a:t>Entlohnung</a:t>
          </a:r>
          <a:r>
            <a:rPr lang="en-US" sz="1200" kern="1200"/>
            <a:t> und Status der </a:t>
          </a:r>
          <a:r>
            <a:rPr lang="en-US" sz="1200" kern="1200" err="1"/>
            <a:t>Fahrer</a:t>
          </a:r>
          <a:r>
            <a:rPr lang="en-US" sz="1200" kern="1200"/>
            <a:t> </a:t>
          </a:r>
          <a:r>
            <a:rPr lang="en-US" sz="1200" kern="1200" err="1"/>
            <a:t>als</a:t>
          </a:r>
          <a:r>
            <a:rPr lang="en-US" sz="1200" kern="1200"/>
            <a:t> </a:t>
          </a:r>
          <a:r>
            <a:rPr lang="en-US" sz="1200" kern="1200" err="1"/>
            <a:t>unabhängige</a:t>
          </a:r>
          <a:r>
            <a:rPr lang="en-US" sz="1200" kern="1200"/>
            <a:t> </a:t>
          </a:r>
          <a:r>
            <a:rPr lang="en-US" sz="1200" kern="1200" err="1"/>
            <a:t>Auftragnehmer</a:t>
          </a:r>
          <a:r>
            <a:rPr lang="en-US" sz="1200" kern="1200"/>
            <a:t> gab</a:t>
          </a:r>
        </a:p>
        <a:p>
          <a:pPr marL="114300" lvl="1" indent="-114300" algn="l" defTabSz="533400">
            <a:lnSpc>
              <a:spcPct val="90000"/>
            </a:lnSpc>
            <a:spcBef>
              <a:spcPct val="0"/>
            </a:spcBef>
            <a:spcAft>
              <a:spcPct val="15000"/>
            </a:spcAft>
            <a:buFont typeface="Arial" panose="020B0604020202020204" pitchFamily="34" charset="0"/>
            <a:buChar char="•"/>
          </a:pPr>
          <a:r>
            <a:rPr lang="en-US" sz="1200" kern="1200" err="1"/>
            <a:t>verbesserte</a:t>
          </a:r>
          <a:r>
            <a:rPr lang="en-US" sz="1200" kern="1200"/>
            <a:t> </a:t>
          </a:r>
          <a:r>
            <a:rPr lang="en-US" sz="1200" kern="1200" err="1"/>
            <a:t>Fahrerbindung</a:t>
          </a:r>
          <a:r>
            <a:rPr lang="en-US" sz="1200" kern="1200"/>
            <a:t> und </a:t>
          </a:r>
          <a:r>
            <a:rPr lang="en-US" sz="1200" kern="1200" err="1"/>
            <a:t>Arbeitsbedingungen</a:t>
          </a:r>
          <a:endParaRPr lang="en-US" sz="1200" kern="1200"/>
        </a:p>
      </dsp:txBody>
      <dsp:txXfrm>
        <a:off x="1759063" y="636176"/>
        <a:ext cx="1539515" cy="2854800"/>
      </dsp:txXfrm>
    </dsp:sp>
    <dsp:sp modelId="{FC7BAC7F-BD63-41A7-BFB1-4AA3ABA32995}">
      <dsp:nvSpPr>
        <dsp:cNvPr id="0" name=""/>
        <dsp:cNvSpPr/>
      </dsp:nvSpPr>
      <dsp:spPr>
        <a:xfrm>
          <a:off x="3514110" y="20370"/>
          <a:ext cx="1539515" cy="615806"/>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err="1"/>
            <a:t>Wettbewerb</a:t>
          </a:r>
          <a:endParaRPr lang="en-US" sz="1200" kern="1200"/>
        </a:p>
      </dsp:txBody>
      <dsp:txXfrm>
        <a:off x="3514110" y="20370"/>
        <a:ext cx="1539515" cy="615806"/>
      </dsp:txXfrm>
    </dsp:sp>
    <dsp:sp modelId="{6B34C1B7-8406-46C4-AB90-D6E73B5C4923}">
      <dsp:nvSpPr>
        <dsp:cNvPr id="0" name=""/>
        <dsp:cNvSpPr/>
      </dsp:nvSpPr>
      <dsp:spPr>
        <a:xfrm>
          <a:off x="3514110" y="636176"/>
          <a:ext cx="1539515"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err="1"/>
            <a:t>Wettbewerbs-landschaft</a:t>
          </a:r>
          <a:r>
            <a:rPr lang="en-US" sz="1200" kern="1200"/>
            <a:t> </a:t>
          </a:r>
          <a:r>
            <a:rPr lang="en-US" sz="1200" kern="1200" err="1"/>
            <a:t>im</a:t>
          </a:r>
          <a:r>
            <a:rPr lang="en-US" sz="1200" kern="1200"/>
            <a:t> </a:t>
          </a:r>
          <a:r>
            <a:rPr lang="en-US" sz="1200" kern="1200" err="1"/>
            <a:t>Bereich</a:t>
          </a:r>
          <a:r>
            <a:rPr lang="en-US" sz="1200" kern="1200"/>
            <a:t> der </a:t>
          </a:r>
          <a:r>
            <a:rPr lang="en-US" sz="1200" kern="1200" err="1"/>
            <a:t>Mobilität</a:t>
          </a:r>
          <a:r>
            <a:rPr lang="en-US" sz="1200" kern="1200"/>
            <a:t> und </a:t>
          </a:r>
          <a:r>
            <a:rPr lang="en-US" sz="1200" kern="1200" err="1"/>
            <a:t>Logistik</a:t>
          </a:r>
          <a:r>
            <a:rPr lang="en-US" sz="1200" kern="1200"/>
            <a:t> </a:t>
          </a:r>
          <a:r>
            <a:rPr lang="en-US" sz="1200" kern="1200" err="1"/>
            <a:t>ist</a:t>
          </a:r>
          <a:r>
            <a:rPr lang="en-US" sz="1200" kern="1200"/>
            <a:t> </a:t>
          </a:r>
          <a:r>
            <a:rPr lang="en-US" sz="1200" kern="1200" err="1"/>
            <a:t>intensiv</a:t>
          </a:r>
          <a:endParaRPr lang="en-US" sz="1200" kern="1200"/>
        </a:p>
        <a:p>
          <a:pPr marL="114300" lvl="1" indent="-114300" algn="l" defTabSz="533400">
            <a:lnSpc>
              <a:spcPct val="90000"/>
            </a:lnSpc>
            <a:spcBef>
              <a:spcPct val="0"/>
            </a:spcBef>
            <a:spcAft>
              <a:spcPct val="15000"/>
            </a:spcAft>
            <a:buChar char="•"/>
          </a:pPr>
          <a:r>
            <a:rPr lang="en-US" sz="1200" kern="1200" err="1"/>
            <a:t>Wettbewerbsdruck</a:t>
          </a:r>
          <a:r>
            <a:rPr lang="en-US" sz="1200" kern="1200"/>
            <a:t> für Uber </a:t>
          </a:r>
          <a:r>
            <a:rPr lang="en-US" sz="1200" kern="1200" err="1"/>
            <a:t>durch</a:t>
          </a:r>
          <a:r>
            <a:rPr lang="en-US" sz="1200" kern="1200"/>
            <a:t> </a:t>
          </a:r>
          <a:r>
            <a:rPr lang="en-US" sz="1200" kern="1200" err="1"/>
            <a:t>nationale</a:t>
          </a:r>
          <a:r>
            <a:rPr lang="en-US" sz="1200" kern="1200"/>
            <a:t> und </a:t>
          </a:r>
          <a:r>
            <a:rPr lang="en-US" sz="1200" kern="1200" err="1"/>
            <a:t>internationale</a:t>
          </a:r>
          <a:r>
            <a:rPr lang="en-US" sz="1200" kern="1200"/>
            <a:t> </a:t>
          </a:r>
          <a:r>
            <a:rPr lang="en-US" sz="1200" kern="1200" err="1"/>
            <a:t>Konkurrenten</a:t>
          </a:r>
          <a:endParaRPr lang="en-US" sz="1200" kern="1200"/>
        </a:p>
      </dsp:txBody>
      <dsp:txXfrm>
        <a:off x="3514110" y="636176"/>
        <a:ext cx="1539515" cy="2854800"/>
      </dsp:txXfrm>
    </dsp:sp>
    <dsp:sp modelId="{A9626A2B-0C91-411A-8A5F-4EBA2E1EBB66}">
      <dsp:nvSpPr>
        <dsp:cNvPr id="0" name=""/>
        <dsp:cNvSpPr/>
      </dsp:nvSpPr>
      <dsp:spPr>
        <a:xfrm>
          <a:off x="5269158" y="20370"/>
          <a:ext cx="1539515" cy="615806"/>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err="1"/>
            <a:t>Technologische</a:t>
          </a:r>
          <a:r>
            <a:rPr lang="en-US" sz="1200" kern="1200"/>
            <a:t> </a:t>
          </a:r>
          <a:r>
            <a:rPr lang="en-US" sz="1200" kern="1200" err="1"/>
            <a:t>Entwicklung</a:t>
          </a:r>
          <a:r>
            <a:rPr lang="en-US" sz="1200" kern="1200"/>
            <a:t> und Innovation</a:t>
          </a:r>
        </a:p>
      </dsp:txBody>
      <dsp:txXfrm>
        <a:off x="5269158" y="20370"/>
        <a:ext cx="1539515" cy="615806"/>
      </dsp:txXfrm>
    </dsp:sp>
    <dsp:sp modelId="{8CA7C03D-C6D1-49B1-AFE8-E1F615298B03}">
      <dsp:nvSpPr>
        <dsp:cNvPr id="0" name=""/>
        <dsp:cNvSpPr/>
      </dsp:nvSpPr>
      <dsp:spPr>
        <a:xfrm>
          <a:off x="5269158" y="636176"/>
          <a:ext cx="1539515"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err="1"/>
            <a:t>ständige</a:t>
          </a:r>
          <a:r>
            <a:rPr lang="en-US" sz="1200" kern="1200"/>
            <a:t> </a:t>
          </a:r>
          <a:r>
            <a:rPr lang="en-US" sz="1200" kern="1200" err="1"/>
            <a:t>Weiterentwicklung</a:t>
          </a:r>
          <a:r>
            <a:rPr lang="en-US" sz="1200" kern="1200"/>
            <a:t> von </a:t>
          </a:r>
          <a:r>
            <a:rPr lang="en-US" sz="1200" kern="1200" err="1"/>
            <a:t>Technologien</a:t>
          </a:r>
          <a:r>
            <a:rPr lang="en-US" sz="1200" kern="1200"/>
            <a:t> </a:t>
          </a:r>
          <a:r>
            <a:rPr lang="en-US" sz="1200" kern="1200" err="1"/>
            <a:t>wie</a:t>
          </a:r>
          <a:r>
            <a:rPr lang="en-US" sz="1200" kern="1200"/>
            <a:t> </a:t>
          </a:r>
          <a:r>
            <a:rPr lang="en-US" sz="1200" kern="1200" err="1"/>
            <a:t>autonome</a:t>
          </a:r>
          <a:r>
            <a:rPr lang="en-US" sz="1200" kern="1200"/>
            <a:t> </a:t>
          </a:r>
          <a:r>
            <a:rPr lang="en-US" sz="1200" kern="1200" err="1"/>
            <a:t>Fahrzeuge</a:t>
          </a:r>
          <a:r>
            <a:rPr lang="en-US" sz="1200" kern="1200"/>
            <a:t>, alternative </a:t>
          </a:r>
          <a:r>
            <a:rPr lang="en-US" sz="1200" kern="1200" err="1"/>
            <a:t>Antriebsformen</a:t>
          </a:r>
          <a:r>
            <a:rPr lang="en-US" sz="1200" kern="1200"/>
            <a:t> und die Integration </a:t>
          </a:r>
          <a:r>
            <a:rPr lang="en-US" sz="1200" kern="1200" err="1"/>
            <a:t>neuer</a:t>
          </a:r>
          <a:r>
            <a:rPr lang="en-US" sz="1200" kern="1200"/>
            <a:t> </a:t>
          </a:r>
          <a:r>
            <a:rPr lang="en-US" sz="1200" kern="1200" err="1"/>
            <a:t>Technologien</a:t>
          </a:r>
          <a:r>
            <a:rPr lang="en-US" sz="1200" kern="1200"/>
            <a:t> in die </a:t>
          </a:r>
          <a:r>
            <a:rPr lang="en-US" sz="1200" kern="1200" err="1"/>
            <a:t>Plattform</a:t>
          </a:r>
          <a:r>
            <a:rPr lang="en-US" sz="1200" kern="1200"/>
            <a:t> </a:t>
          </a:r>
          <a:r>
            <a:rPr lang="en-US" sz="1200" kern="1200" err="1"/>
            <a:t>sind</a:t>
          </a:r>
          <a:r>
            <a:rPr lang="en-US" sz="1200" kern="1200"/>
            <a:t> </a:t>
          </a:r>
          <a:r>
            <a:rPr lang="en-US" sz="1200" kern="1200" err="1"/>
            <a:t>Herausforderungen</a:t>
          </a:r>
          <a:r>
            <a:rPr lang="en-US" sz="1200" kern="1200"/>
            <a:t>, um </a:t>
          </a:r>
          <a:r>
            <a:rPr lang="en-US" sz="1200" kern="1200" err="1"/>
            <a:t>wettbewerbsfähig</a:t>
          </a:r>
          <a:r>
            <a:rPr lang="en-US" sz="1200" kern="1200"/>
            <a:t> </a:t>
          </a:r>
          <a:r>
            <a:rPr lang="en-US" sz="1200" kern="1200" err="1"/>
            <a:t>zu</a:t>
          </a:r>
          <a:r>
            <a:rPr lang="en-US" sz="1200" kern="1200"/>
            <a:t> </a:t>
          </a:r>
          <a:r>
            <a:rPr lang="en-US" sz="1200" kern="1200" err="1"/>
            <a:t>bleiben</a:t>
          </a:r>
          <a:r>
            <a:rPr lang="en-US" sz="1200" kern="1200"/>
            <a:t> und die </a:t>
          </a:r>
          <a:r>
            <a:rPr lang="en-US" sz="1200" kern="1200" err="1"/>
            <a:t>Kundenerfahrung</a:t>
          </a:r>
          <a:r>
            <a:rPr lang="en-US" sz="1200" kern="1200"/>
            <a:t> </a:t>
          </a:r>
          <a:r>
            <a:rPr lang="en-US" sz="1200" kern="1200" err="1"/>
            <a:t>zu</a:t>
          </a:r>
          <a:r>
            <a:rPr lang="en-US" sz="1200" kern="1200"/>
            <a:t> </a:t>
          </a:r>
          <a:r>
            <a:rPr lang="en-US" sz="1200" kern="1200" err="1"/>
            <a:t>verbessern</a:t>
          </a:r>
          <a:endParaRPr lang="en-US" sz="1200" kern="1200"/>
        </a:p>
      </dsp:txBody>
      <dsp:txXfrm>
        <a:off x="5269158" y="636176"/>
        <a:ext cx="1539515" cy="2854800"/>
      </dsp:txXfrm>
    </dsp:sp>
    <dsp:sp modelId="{B12BCFBA-DF3B-4709-86AD-369C0C8B98DD}">
      <dsp:nvSpPr>
        <dsp:cNvPr id="0" name=""/>
        <dsp:cNvSpPr/>
      </dsp:nvSpPr>
      <dsp:spPr>
        <a:xfrm>
          <a:off x="7024205" y="20370"/>
          <a:ext cx="1539515" cy="615806"/>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err="1"/>
            <a:t>Öffentliches</a:t>
          </a:r>
          <a:r>
            <a:rPr lang="en-US" sz="1200" kern="1200"/>
            <a:t> Image und </a:t>
          </a:r>
          <a:r>
            <a:rPr lang="en-US" sz="1200" kern="1200" err="1"/>
            <a:t>Vertrauen</a:t>
          </a:r>
          <a:endParaRPr lang="en-US" sz="1200" kern="1200"/>
        </a:p>
      </dsp:txBody>
      <dsp:txXfrm>
        <a:off x="7024205" y="20370"/>
        <a:ext cx="1539515" cy="615806"/>
      </dsp:txXfrm>
    </dsp:sp>
    <dsp:sp modelId="{272829E8-F9D7-4BEC-AEDD-469B9CD5C0AE}">
      <dsp:nvSpPr>
        <dsp:cNvPr id="0" name=""/>
        <dsp:cNvSpPr/>
      </dsp:nvSpPr>
      <dsp:spPr>
        <a:xfrm>
          <a:off x="7024205" y="636176"/>
          <a:ext cx="1539515"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t>Uber hat in der </a:t>
          </a:r>
          <a:r>
            <a:rPr lang="en-US" sz="1200" kern="1200" err="1"/>
            <a:t>Vergangenheit</a:t>
          </a:r>
          <a:r>
            <a:rPr lang="en-US" sz="1200" kern="1200"/>
            <a:t> negative </a:t>
          </a:r>
          <a:r>
            <a:rPr lang="en-US" sz="1200" kern="1200" err="1"/>
            <a:t>Schlagzeilen</a:t>
          </a:r>
          <a:r>
            <a:rPr lang="en-US" sz="1200" kern="1200"/>
            <a:t> </a:t>
          </a:r>
          <a:r>
            <a:rPr lang="en-US" sz="1200" kern="1200" err="1"/>
            <a:t>gemacht</a:t>
          </a:r>
          <a:r>
            <a:rPr lang="en-US" sz="1200" kern="1200"/>
            <a:t>, sei es </a:t>
          </a:r>
          <a:r>
            <a:rPr lang="en-US" sz="1200" kern="1200" err="1"/>
            <a:t>aufgrund</a:t>
          </a:r>
          <a:r>
            <a:rPr lang="en-US" sz="1200" kern="1200"/>
            <a:t> von </a:t>
          </a:r>
          <a:r>
            <a:rPr lang="en-US" sz="1200" kern="1200" err="1"/>
            <a:t>Datenschutz-verletzungen</a:t>
          </a:r>
          <a:r>
            <a:rPr lang="en-US" sz="1200" kern="1200"/>
            <a:t>, </a:t>
          </a:r>
          <a:r>
            <a:rPr lang="en-US" sz="1200" kern="1200" err="1"/>
            <a:t>ethischen</a:t>
          </a:r>
          <a:r>
            <a:rPr lang="en-US" sz="1200" kern="1200"/>
            <a:t> </a:t>
          </a:r>
          <a:r>
            <a:rPr lang="en-US" sz="1200" kern="1200" err="1"/>
            <a:t>Fragen</a:t>
          </a:r>
          <a:r>
            <a:rPr lang="en-US" sz="1200" kern="1200"/>
            <a:t> </a:t>
          </a:r>
          <a:r>
            <a:rPr lang="en-US" sz="1200" kern="1200" err="1"/>
            <a:t>oder</a:t>
          </a:r>
          <a:r>
            <a:rPr lang="en-US" sz="1200" kern="1200"/>
            <a:t> </a:t>
          </a:r>
          <a:r>
            <a:rPr lang="en-US" sz="1200" kern="1200" err="1"/>
            <a:t>Sicherheits-bedenken</a:t>
          </a:r>
          <a:endParaRPr lang="en-US" sz="1200" kern="1200"/>
        </a:p>
        <a:p>
          <a:pPr marL="114300" lvl="1" indent="-114300" algn="l" defTabSz="533400">
            <a:lnSpc>
              <a:spcPct val="90000"/>
            </a:lnSpc>
            <a:spcBef>
              <a:spcPct val="0"/>
            </a:spcBef>
            <a:spcAft>
              <a:spcPct val="15000"/>
            </a:spcAft>
            <a:buChar char="•"/>
          </a:pPr>
          <a:r>
            <a:rPr lang="en-US" sz="1200" kern="1200" err="1"/>
            <a:t>Verbesserung</a:t>
          </a:r>
          <a:r>
            <a:rPr lang="en-US" sz="1200" kern="1200"/>
            <a:t> des Images und des </a:t>
          </a:r>
          <a:r>
            <a:rPr lang="en-US" sz="1200" kern="1200" err="1"/>
            <a:t>Vertrauens</a:t>
          </a:r>
          <a:r>
            <a:rPr lang="en-US" sz="1200" kern="1200"/>
            <a:t> der </a:t>
          </a:r>
          <a:r>
            <a:rPr lang="en-US" sz="1200" kern="1200" err="1"/>
            <a:t>Öffentlichkeit</a:t>
          </a:r>
          <a:endParaRPr lang="en-US" sz="1200" kern="1200"/>
        </a:p>
      </dsp:txBody>
      <dsp:txXfrm>
        <a:off x="7024205" y="636176"/>
        <a:ext cx="1539515" cy="28548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F1178-925F-41EB-B98E-CCC2332E49B3}">
      <dsp:nvSpPr>
        <dsp:cNvPr id="0" name=""/>
        <dsp:cNvSpPr/>
      </dsp:nvSpPr>
      <dsp:spPr>
        <a:xfrm>
          <a:off x="1821510" y="0"/>
          <a:ext cx="4348764" cy="2214382"/>
        </a:xfrm>
        <a:prstGeom prst="trapezoid">
          <a:avLst>
            <a:gd name="adj" fmla="val 98194"/>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a:effectLst/>
            <a:latin typeface="Calibri"/>
            <a:ea typeface="Times New Roman" panose="02020603050405020304" pitchFamily="18" charset="0"/>
            <a:cs typeface="Times New Roman"/>
          </a:endParaRPr>
        </a:p>
        <a:p>
          <a:pPr marL="0" lvl="0" indent="0" algn="ctr" defTabSz="533400">
            <a:lnSpc>
              <a:spcPct val="90000"/>
            </a:lnSpc>
            <a:spcBef>
              <a:spcPct val="0"/>
            </a:spcBef>
            <a:spcAft>
              <a:spcPct val="35000"/>
            </a:spcAft>
            <a:buNone/>
          </a:pPr>
          <a:endParaRPr lang="en-US" sz="1200" kern="1200">
            <a:effectLst/>
            <a:latin typeface="Calibri"/>
            <a:ea typeface="Times New Roman" panose="02020603050405020304" pitchFamily="18" charset="0"/>
            <a:cs typeface="Times New Roman"/>
          </a:endParaRPr>
        </a:p>
        <a:p>
          <a:pPr marL="0" lvl="0" indent="0" algn="ctr" defTabSz="533400">
            <a:lnSpc>
              <a:spcPct val="90000"/>
            </a:lnSpc>
            <a:spcBef>
              <a:spcPct val="0"/>
            </a:spcBef>
            <a:spcAft>
              <a:spcPct val="35000"/>
            </a:spcAft>
            <a:buNone/>
          </a:pPr>
          <a:endParaRPr lang="en-US" sz="1200" kern="1200">
            <a:effectLst/>
            <a:latin typeface="Calibri"/>
            <a:ea typeface="Times New Roman" panose="02020603050405020304" pitchFamily="18" charset="0"/>
            <a:cs typeface="Times New Roman"/>
          </a:endParaRPr>
        </a:p>
        <a:p>
          <a:pPr marL="0" lvl="0" indent="0" algn="ctr" defTabSz="533400">
            <a:lnSpc>
              <a:spcPct val="90000"/>
            </a:lnSpc>
            <a:spcBef>
              <a:spcPct val="0"/>
            </a:spcBef>
            <a:spcAft>
              <a:spcPct val="35000"/>
            </a:spcAft>
            <a:buNone/>
          </a:pPr>
          <a:endParaRPr lang="en-US" sz="1200" kern="1200">
            <a:effectLst/>
            <a:latin typeface="Calibri"/>
            <a:ea typeface="Times New Roman" panose="02020603050405020304" pitchFamily="18" charset="0"/>
            <a:cs typeface="Times New Roman"/>
          </a:endParaRPr>
        </a:p>
        <a:p>
          <a:pPr marL="0" lvl="0" indent="0" algn="ctr" defTabSz="533400">
            <a:lnSpc>
              <a:spcPct val="90000"/>
            </a:lnSpc>
            <a:spcBef>
              <a:spcPct val="0"/>
            </a:spcBef>
            <a:spcAft>
              <a:spcPct val="35000"/>
            </a:spcAft>
            <a:buNone/>
          </a:pPr>
          <a:endParaRPr lang="en-US" sz="1200" kern="1200">
            <a:effectLst/>
            <a:latin typeface="Calibri"/>
            <a:ea typeface="Times New Roman" panose="02020603050405020304" pitchFamily="18" charset="0"/>
            <a:cs typeface="Times New Roman"/>
          </a:endParaRPr>
        </a:p>
        <a:p>
          <a:pPr marL="0" lvl="0" indent="0" algn="ctr" defTabSz="533400">
            <a:lnSpc>
              <a:spcPct val="90000"/>
            </a:lnSpc>
            <a:spcBef>
              <a:spcPct val="0"/>
            </a:spcBef>
            <a:spcAft>
              <a:spcPct val="35000"/>
            </a:spcAft>
            <a:buNone/>
          </a:pPr>
          <a:r>
            <a:rPr lang="en-US" sz="1200" kern="1200" err="1">
              <a:effectLst/>
              <a:latin typeface="Calibri"/>
              <a:ea typeface="Times New Roman" panose="02020603050405020304" pitchFamily="18" charset="0"/>
              <a:cs typeface="Times New Roman"/>
            </a:rPr>
            <a:t>Entwicklung</a:t>
          </a:r>
          <a:r>
            <a:rPr lang="en-US" sz="1200" kern="1200">
              <a:effectLst/>
              <a:latin typeface="Calibri"/>
              <a:ea typeface="Times New Roman" panose="02020603050405020304" pitchFamily="18" charset="0"/>
              <a:cs typeface="Times New Roman"/>
            </a:rPr>
            <a:t> </a:t>
          </a:r>
          <a:r>
            <a:rPr lang="en-US" sz="1200" kern="1200" err="1">
              <a:effectLst/>
              <a:latin typeface="Calibri"/>
              <a:ea typeface="Times New Roman" panose="02020603050405020304" pitchFamily="18" charset="0"/>
              <a:cs typeface="Times New Roman"/>
            </a:rPr>
            <a:t>einer</a:t>
          </a:r>
          <a:endParaRPr lang="en-US" sz="1200" kern="1200">
            <a:effectLst/>
            <a:latin typeface="Calibri"/>
            <a:ea typeface="Times New Roman" panose="02020603050405020304" pitchFamily="18" charset="0"/>
            <a:cs typeface="Times New Roman"/>
          </a:endParaRPr>
        </a:p>
        <a:p>
          <a:pPr marL="0" lvl="0" indent="0" algn="ctr" defTabSz="533400">
            <a:lnSpc>
              <a:spcPct val="90000"/>
            </a:lnSpc>
            <a:spcBef>
              <a:spcPct val="0"/>
            </a:spcBef>
            <a:spcAft>
              <a:spcPct val="35000"/>
            </a:spcAft>
            <a:buNone/>
          </a:pPr>
          <a:r>
            <a:rPr lang="en-US" sz="1200" kern="1200" err="1">
              <a:effectLst/>
              <a:latin typeface="Calibri"/>
              <a:ea typeface="Times New Roman" panose="02020603050405020304" pitchFamily="18" charset="0"/>
              <a:cs typeface="Times New Roman"/>
            </a:rPr>
            <a:t>klaren</a:t>
          </a:r>
          <a:r>
            <a:rPr lang="en-US" sz="1200" kern="1200">
              <a:effectLst/>
              <a:latin typeface="Calibri"/>
              <a:ea typeface="Times New Roman" panose="02020603050405020304" pitchFamily="18" charset="0"/>
              <a:cs typeface="Times New Roman"/>
            </a:rPr>
            <a:t> Vision und </a:t>
          </a:r>
          <a:r>
            <a:rPr lang="en-US" sz="1200" kern="1200" err="1">
              <a:effectLst/>
              <a:latin typeface="Calibri"/>
              <a:ea typeface="Times New Roman" panose="02020603050405020304" pitchFamily="18" charset="0"/>
              <a:cs typeface="Times New Roman"/>
            </a:rPr>
            <a:t>strategischer</a:t>
          </a:r>
          <a:r>
            <a:rPr lang="en-US" sz="1200" kern="1200">
              <a:effectLst/>
              <a:latin typeface="Calibri"/>
              <a:ea typeface="Times New Roman" panose="02020603050405020304" pitchFamily="18" charset="0"/>
              <a:cs typeface="Times New Roman"/>
            </a:rPr>
            <a:t> </a:t>
          </a:r>
          <a:r>
            <a:rPr lang="en-US" sz="1200" kern="1200" err="1">
              <a:effectLst/>
              <a:latin typeface="Calibri"/>
              <a:ea typeface="Times New Roman" panose="02020603050405020304" pitchFamily="18" charset="0"/>
              <a:cs typeface="Times New Roman"/>
            </a:rPr>
            <a:t>Ziele</a:t>
          </a:r>
          <a:r>
            <a:rPr lang="en-US" sz="1200" kern="1200">
              <a:effectLst/>
              <a:latin typeface="Calibri"/>
              <a:ea typeface="Times New Roman" panose="02020603050405020304" pitchFamily="18" charset="0"/>
              <a:cs typeface="Times New Roman"/>
            </a:rPr>
            <a:t>, </a:t>
          </a:r>
        </a:p>
        <a:p>
          <a:pPr marL="0" lvl="0" indent="0" algn="ctr" defTabSz="533400">
            <a:lnSpc>
              <a:spcPct val="90000"/>
            </a:lnSpc>
            <a:spcBef>
              <a:spcPct val="0"/>
            </a:spcBef>
            <a:spcAft>
              <a:spcPct val="35000"/>
            </a:spcAft>
            <a:buNone/>
          </a:pPr>
          <a:r>
            <a:rPr lang="en-US" sz="1200" kern="1200" err="1">
              <a:effectLst/>
              <a:latin typeface="Calibri"/>
              <a:ea typeface="Times New Roman" panose="02020603050405020304" pitchFamily="18" charset="0"/>
              <a:cs typeface="Times New Roman"/>
            </a:rPr>
            <a:t>tiefes</a:t>
          </a:r>
          <a:r>
            <a:rPr lang="en-US" sz="1200" kern="1200">
              <a:effectLst/>
              <a:latin typeface="Calibri"/>
              <a:ea typeface="Times New Roman" panose="02020603050405020304" pitchFamily="18" charset="0"/>
              <a:cs typeface="Times New Roman"/>
            </a:rPr>
            <a:t> </a:t>
          </a:r>
          <a:r>
            <a:rPr lang="en-US" sz="1200" kern="1200" err="1">
              <a:effectLst/>
              <a:latin typeface="Calibri"/>
              <a:ea typeface="Times New Roman" panose="02020603050405020304" pitchFamily="18" charset="0"/>
              <a:cs typeface="Times New Roman"/>
            </a:rPr>
            <a:t>Verständnis</a:t>
          </a:r>
          <a:r>
            <a:rPr lang="en-US" sz="1200" kern="1200">
              <a:effectLst/>
              <a:latin typeface="Calibri"/>
              <a:ea typeface="Times New Roman" panose="02020603050405020304" pitchFamily="18" charset="0"/>
              <a:cs typeface="Times New Roman"/>
            </a:rPr>
            <a:t> für das </a:t>
          </a:r>
          <a:r>
            <a:rPr lang="en-US" sz="1200" kern="1200" err="1">
              <a:effectLst/>
              <a:latin typeface="Calibri"/>
              <a:ea typeface="Times New Roman" panose="02020603050405020304" pitchFamily="18" charset="0"/>
              <a:cs typeface="Times New Roman"/>
            </a:rPr>
            <a:t>Geschäft</a:t>
          </a:r>
          <a:r>
            <a:rPr lang="en-US" sz="1200" kern="1200">
              <a:effectLst/>
              <a:latin typeface="Calibri"/>
              <a:ea typeface="Times New Roman" panose="02020603050405020304" pitchFamily="18" charset="0"/>
              <a:cs typeface="Times New Roman"/>
            </a:rPr>
            <a:t> von Uber,</a:t>
          </a:r>
        </a:p>
        <a:p>
          <a:pPr marL="0" lvl="0" indent="0" algn="ctr" defTabSz="533400">
            <a:lnSpc>
              <a:spcPct val="90000"/>
            </a:lnSpc>
            <a:spcBef>
              <a:spcPct val="0"/>
            </a:spcBef>
            <a:spcAft>
              <a:spcPct val="35000"/>
            </a:spcAft>
            <a:buNone/>
          </a:pPr>
          <a:r>
            <a:rPr lang="en-US" sz="1200" kern="1200" err="1">
              <a:effectLst/>
              <a:latin typeface="Calibri"/>
              <a:ea typeface="Times New Roman" panose="02020603050405020304" pitchFamily="18" charset="0"/>
              <a:cs typeface="Times New Roman"/>
            </a:rPr>
            <a:t>ausgeprägte</a:t>
          </a:r>
          <a:r>
            <a:rPr lang="en-US" sz="1200" kern="1200">
              <a:effectLst/>
              <a:latin typeface="Calibri"/>
              <a:ea typeface="Times New Roman" panose="02020603050405020304" pitchFamily="18" charset="0"/>
              <a:cs typeface="Times New Roman"/>
            </a:rPr>
            <a:t> </a:t>
          </a:r>
          <a:r>
            <a:rPr lang="en-US" sz="1200" kern="1200" err="1">
              <a:effectLst/>
              <a:latin typeface="Calibri"/>
              <a:ea typeface="Times New Roman" panose="02020603050405020304" pitchFamily="18" charset="0"/>
              <a:cs typeface="Times New Roman"/>
            </a:rPr>
            <a:t>Führungskompetenzen</a:t>
          </a:r>
          <a:endParaRPr lang="en-US" sz="1200" kern="1200">
            <a:effectLst/>
            <a:latin typeface="Calibri"/>
            <a:ea typeface="Times New Roman" panose="02020603050405020304" pitchFamily="18" charset="0"/>
            <a:cs typeface="Times New Roman"/>
          </a:endParaRPr>
        </a:p>
        <a:p>
          <a:pPr marL="0" lvl="0" indent="0" algn="ctr" defTabSz="533400">
            <a:lnSpc>
              <a:spcPct val="90000"/>
            </a:lnSpc>
            <a:spcBef>
              <a:spcPct val="0"/>
            </a:spcBef>
            <a:spcAft>
              <a:spcPct val="35000"/>
            </a:spcAft>
            <a:buNone/>
          </a:pPr>
          <a:r>
            <a:rPr lang="en-US" sz="1200" kern="1200">
              <a:effectLst/>
              <a:latin typeface="Calibri"/>
              <a:ea typeface="Times New Roman" panose="02020603050405020304" pitchFamily="18" charset="0"/>
              <a:cs typeface="Times New Roman"/>
            </a:rPr>
            <a:t>um das </a:t>
          </a:r>
          <a:r>
            <a:rPr lang="en-US" sz="1200" kern="1200" err="1">
              <a:effectLst/>
              <a:latin typeface="Calibri"/>
              <a:ea typeface="Times New Roman" panose="02020603050405020304" pitchFamily="18" charset="0"/>
              <a:cs typeface="Times New Roman"/>
            </a:rPr>
            <a:t>Unternehmen</a:t>
          </a:r>
          <a:r>
            <a:rPr lang="en-US" sz="1200" kern="1200">
              <a:effectLst/>
              <a:latin typeface="Calibri"/>
              <a:ea typeface="Times New Roman" panose="02020603050405020304" pitchFamily="18" charset="0"/>
              <a:cs typeface="Times New Roman"/>
            </a:rPr>
            <a:t> </a:t>
          </a:r>
          <a:r>
            <a:rPr lang="en-US" sz="1200" kern="1200" err="1">
              <a:effectLst/>
              <a:latin typeface="Calibri"/>
              <a:ea typeface="Times New Roman" panose="02020603050405020304" pitchFamily="18" charset="0"/>
              <a:cs typeface="Times New Roman"/>
            </a:rPr>
            <a:t>zu</a:t>
          </a:r>
          <a:r>
            <a:rPr lang="en-US" sz="1200" kern="1200">
              <a:effectLst/>
              <a:latin typeface="Calibri"/>
              <a:ea typeface="Times New Roman" panose="02020603050405020304" pitchFamily="18" charset="0"/>
              <a:cs typeface="Times New Roman"/>
            </a:rPr>
            <a:t> </a:t>
          </a:r>
          <a:r>
            <a:rPr lang="en-US" sz="1200" kern="1200" err="1">
              <a:effectLst/>
              <a:latin typeface="Calibri"/>
              <a:ea typeface="Times New Roman" panose="02020603050405020304" pitchFamily="18" charset="0"/>
              <a:cs typeface="Times New Roman"/>
            </a:rPr>
            <a:t>führen</a:t>
          </a:r>
          <a:endParaRPr lang="en-US" sz="1200" kern="1200"/>
        </a:p>
      </dsp:txBody>
      <dsp:txXfrm>
        <a:off x="1821510" y="0"/>
        <a:ext cx="4348764" cy="2214382"/>
      </dsp:txXfrm>
    </dsp:sp>
    <dsp:sp modelId="{C35ED2EC-F13D-4C8C-A48E-FCD8909FFFAA}">
      <dsp:nvSpPr>
        <dsp:cNvPr id="0" name=""/>
        <dsp:cNvSpPr/>
      </dsp:nvSpPr>
      <dsp:spPr>
        <a:xfrm>
          <a:off x="910755" y="2214382"/>
          <a:ext cx="6170274" cy="927509"/>
        </a:xfrm>
        <a:prstGeom prst="trapezoid">
          <a:avLst>
            <a:gd name="adj" fmla="val 98194"/>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err="1">
              <a:effectLst/>
              <a:latin typeface="Calibri"/>
              <a:ea typeface="Times New Roman" panose="02020603050405020304" pitchFamily="18" charset="0"/>
              <a:cs typeface="Times New Roman"/>
            </a:rPr>
            <a:t>klare</a:t>
          </a:r>
          <a:r>
            <a:rPr lang="en-US" sz="1200" kern="1200">
              <a:effectLst/>
              <a:latin typeface="Calibri"/>
              <a:ea typeface="Times New Roman" panose="02020603050405020304" pitchFamily="18" charset="0"/>
              <a:cs typeface="Times New Roman"/>
            </a:rPr>
            <a:t> </a:t>
          </a:r>
          <a:r>
            <a:rPr lang="en-US" sz="1200" kern="1200" err="1">
              <a:effectLst/>
              <a:latin typeface="Calibri"/>
              <a:ea typeface="Times New Roman" panose="02020603050405020304" pitchFamily="18" charset="0"/>
              <a:cs typeface="Times New Roman"/>
            </a:rPr>
            <a:t>Ziele</a:t>
          </a:r>
          <a:r>
            <a:rPr lang="en-US" sz="1200" kern="1200">
              <a:effectLst/>
              <a:latin typeface="Calibri"/>
              <a:ea typeface="Times New Roman" panose="02020603050405020304" pitchFamily="18" charset="0"/>
              <a:cs typeface="Times New Roman"/>
            </a:rPr>
            <a:t> für das Team </a:t>
          </a:r>
          <a:r>
            <a:rPr lang="en-US" sz="1200" kern="1200" err="1">
              <a:effectLst/>
              <a:latin typeface="Calibri"/>
              <a:ea typeface="Times New Roman" panose="02020603050405020304" pitchFamily="18" charset="0"/>
              <a:cs typeface="Times New Roman"/>
            </a:rPr>
            <a:t>setzen</a:t>
          </a:r>
          <a:r>
            <a:rPr lang="en-US" sz="1200" kern="1200">
              <a:effectLst/>
              <a:latin typeface="Calibri"/>
              <a:ea typeface="Times New Roman" panose="02020603050405020304" pitchFamily="18" charset="0"/>
              <a:cs typeface="Times New Roman"/>
            </a:rPr>
            <a:t>, </a:t>
          </a:r>
        </a:p>
        <a:p>
          <a:pPr marL="0" lvl="0" indent="0" algn="ctr" defTabSz="533400">
            <a:lnSpc>
              <a:spcPct val="90000"/>
            </a:lnSpc>
            <a:spcBef>
              <a:spcPct val="0"/>
            </a:spcBef>
            <a:spcAft>
              <a:spcPct val="35000"/>
            </a:spcAft>
            <a:buNone/>
          </a:pPr>
          <a:r>
            <a:rPr lang="en-US" sz="1200" kern="1200" err="1">
              <a:effectLst/>
              <a:latin typeface="Calibri"/>
              <a:cs typeface="Times New Roman"/>
            </a:rPr>
            <a:t>Effektive</a:t>
          </a:r>
          <a:r>
            <a:rPr lang="en-US" sz="1200" kern="1200">
              <a:effectLst/>
              <a:latin typeface="Calibri"/>
              <a:cs typeface="Times New Roman"/>
            </a:rPr>
            <a:t> </a:t>
          </a:r>
          <a:r>
            <a:rPr lang="en-US" sz="1200" kern="1200" err="1">
              <a:effectLst/>
              <a:latin typeface="Calibri"/>
              <a:cs typeface="Times New Roman"/>
            </a:rPr>
            <a:t>Teamführung</a:t>
          </a:r>
          <a:r>
            <a:rPr lang="en-US" sz="1200" kern="1200">
              <a:effectLst/>
              <a:latin typeface="Calibri"/>
              <a:cs typeface="Times New Roman"/>
            </a:rPr>
            <a:t>,</a:t>
          </a:r>
        </a:p>
        <a:p>
          <a:pPr marL="0" lvl="0" indent="0" algn="ctr" defTabSz="533400">
            <a:lnSpc>
              <a:spcPct val="90000"/>
            </a:lnSpc>
            <a:spcBef>
              <a:spcPct val="0"/>
            </a:spcBef>
            <a:spcAft>
              <a:spcPct val="35000"/>
            </a:spcAft>
            <a:buNone/>
          </a:pPr>
          <a:r>
            <a:rPr lang="en-US" sz="1200" kern="1200" err="1">
              <a:effectLst/>
              <a:latin typeface="Calibri"/>
              <a:cs typeface="Times New Roman"/>
            </a:rPr>
            <a:t>Problemanalyse</a:t>
          </a:r>
          <a:r>
            <a:rPr lang="en-US" sz="1200" kern="1200">
              <a:effectLst/>
              <a:latin typeface="Calibri"/>
              <a:cs typeface="Times New Roman"/>
            </a:rPr>
            <a:t>- und </a:t>
          </a:r>
          <a:r>
            <a:rPr lang="en-US" sz="1200" kern="1200" err="1">
              <a:effectLst/>
              <a:latin typeface="Calibri"/>
              <a:cs typeface="Times New Roman"/>
            </a:rPr>
            <a:t>Problemlösungsfähigkeit</a:t>
          </a:r>
          <a:endParaRPr lang="en-US" sz="1200" kern="1200"/>
        </a:p>
      </dsp:txBody>
      <dsp:txXfrm>
        <a:off x="1990553" y="2214382"/>
        <a:ext cx="4010678" cy="927509"/>
      </dsp:txXfrm>
    </dsp:sp>
    <dsp:sp modelId="{A9758F97-2C9D-4F74-9F73-B25DD5BF4754}">
      <dsp:nvSpPr>
        <dsp:cNvPr id="0" name=""/>
        <dsp:cNvSpPr/>
      </dsp:nvSpPr>
      <dsp:spPr>
        <a:xfrm>
          <a:off x="0" y="3141891"/>
          <a:ext cx="7991785" cy="927509"/>
        </a:xfrm>
        <a:prstGeom prst="trapezoid">
          <a:avLst>
            <a:gd name="adj" fmla="val 98194"/>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err="1">
              <a:effectLst/>
              <a:latin typeface="Calibri"/>
              <a:ea typeface="Times New Roman" panose="02020603050405020304" pitchFamily="18" charset="0"/>
              <a:cs typeface="Times New Roman"/>
            </a:rPr>
            <a:t>Anweisungen</a:t>
          </a:r>
          <a:r>
            <a:rPr lang="en-US" sz="1300" kern="1200">
              <a:effectLst/>
              <a:latin typeface="Calibri"/>
              <a:ea typeface="Times New Roman" panose="02020603050405020304" pitchFamily="18" charset="0"/>
              <a:cs typeface="Times New Roman"/>
            </a:rPr>
            <a:t> des </a:t>
          </a:r>
          <a:r>
            <a:rPr lang="en-US" sz="1300" kern="1200" err="1">
              <a:effectLst/>
              <a:latin typeface="Calibri"/>
              <a:ea typeface="Times New Roman" panose="02020603050405020304" pitchFamily="18" charset="0"/>
              <a:cs typeface="Times New Roman"/>
            </a:rPr>
            <a:t>mittleren</a:t>
          </a:r>
          <a:r>
            <a:rPr lang="en-US" sz="1300" kern="1200">
              <a:effectLst/>
              <a:latin typeface="Calibri"/>
              <a:ea typeface="Times New Roman" panose="02020603050405020304" pitchFamily="18" charset="0"/>
              <a:cs typeface="Times New Roman"/>
            </a:rPr>
            <a:t> Managements </a:t>
          </a:r>
          <a:r>
            <a:rPr lang="en-US" sz="1300" kern="1200" err="1">
              <a:effectLst/>
              <a:latin typeface="Calibri"/>
              <a:ea typeface="Times New Roman" panose="02020603050405020304" pitchFamily="18" charset="0"/>
              <a:cs typeface="Times New Roman"/>
            </a:rPr>
            <a:t>umsetzen</a:t>
          </a:r>
          <a:r>
            <a:rPr lang="en-US" sz="1300" kern="1200">
              <a:effectLst/>
              <a:latin typeface="Calibri"/>
              <a:ea typeface="Times New Roman" panose="02020603050405020304" pitchFamily="18" charset="0"/>
              <a:cs typeface="Times New Roman"/>
            </a:rPr>
            <a:t> und </a:t>
          </a:r>
          <a:r>
            <a:rPr lang="en-US" sz="1300" kern="1200" err="1">
              <a:effectLst/>
              <a:latin typeface="Calibri"/>
              <a:ea typeface="Times New Roman" panose="02020603050405020304" pitchFamily="18" charset="0"/>
              <a:cs typeface="Times New Roman"/>
            </a:rPr>
            <a:t>sicherzustellen</a:t>
          </a:r>
          <a:endParaRPr lang="en-US" sz="1300" kern="1200">
            <a:effectLst/>
            <a:latin typeface="Calibri"/>
            <a:ea typeface="Times New Roman" panose="02020603050405020304" pitchFamily="18" charset="0"/>
            <a:cs typeface="Times New Roman"/>
          </a:endParaRPr>
        </a:p>
        <a:p>
          <a:pPr marL="0" lvl="0" indent="0" algn="ctr" defTabSz="577850">
            <a:lnSpc>
              <a:spcPct val="90000"/>
            </a:lnSpc>
            <a:spcBef>
              <a:spcPct val="0"/>
            </a:spcBef>
            <a:spcAft>
              <a:spcPct val="35000"/>
            </a:spcAft>
            <a:buNone/>
          </a:pPr>
          <a:r>
            <a:rPr lang="en-US" sz="1300" kern="1200" err="1"/>
            <a:t>Effektives</a:t>
          </a:r>
          <a:r>
            <a:rPr lang="en-US" sz="1300" kern="1200"/>
            <a:t> Teamwork </a:t>
          </a:r>
        </a:p>
        <a:p>
          <a:pPr marL="0" lvl="0" indent="0" algn="ctr" defTabSz="577850">
            <a:lnSpc>
              <a:spcPct val="90000"/>
            </a:lnSpc>
            <a:spcBef>
              <a:spcPct val="0"/>
            </a:spcBef>
            <a:spcAft>
              <a:spcPct val="35000"/>
            </a:spcAft>
            <a:buNone/>
          </a:pPr>
          <a:r>
            <a:rPr lang="en-US" sz="1300" kern="1200" err="1"/>
            <a:t>Hohe</a:t>
          </a:r>
          <a:r>
            <a:rPr lang="en-US" sz="1300" kern="1200"/>
            <a:t> </a:t>
          </a:r>
          <a:r>
            <a:rPr lang="en-US" sz="1300" kern="1200" err="1"/>
            <a:t>Flexibilität</a:t>
          </a:r>
          <a:endParaRPr lang="en-US" sz="1300" kern="1200"/>
        </a:p>
      </dsp:txBody>
      <dsp:txXfrm>
        <a:off x="1398562" y="3141891"/>
        <a:ext cx="5194660" cy="92750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F0D035-92B3-429E-AEFB-314C5C5A6D97}">
      <dsp:nvSpPr>
        <dsp:cNvPr id="0" name=""/>
        <dsp:cNvSpPr/>
      </dsp:nvSpPr>
      <dsp:spPr>
        <a:xfrm rot="16200000">
          <a:off x="1035050" y="-1021634"/>
          <a:ext cx="2213768" cy="4283868"/>
        </a:xfrm>
        <a:prstGeom prst="round1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u="none" kern="1200">
              <a:latin typeface="Calibri"/>
              <a:ea typeface="Calibri"/>
              <a:cs typeface="Calibri"/>
            </a:rPr>
            <a:t>Hardwire creativity and innovation in daily practices</a:t>
          </a:r>
          <a:endParaRPr lang="en-US" sz="1000" b="1" u="none" kern="1200">
            <a:latin typeface="Calibri"/>
            <a:cs typeface="Calibri"/>
          </a:endParaRPr>
        </a:p>
        <a:p>
          <a:pPr marL="0" lvl="0" indent="0" algn="l" defTabSz="444500">
            <a:lnSpc>
              <a:spcPct val="90000"/>
            </a:lnSpc>
            <a:spcBef>
              <a:spcPct val="0"/>
            </a:spcBef>
            <a:spcAft>
              <a:spcPct val="35000"/>
            </a:spcAft>
            <a:buNone/>
          </a:pPr>
          <a:r>
            <a:rPr lang="en-US" sz="1000" b="1" u="none" kern="1200" err="1">
              <a:latin typeface="Calibri"/>
              <a:cs typeface="Calibri"/>
            </a:rPr>
            <a:t>Problemstellung</a:t>
          </a:r>
          <a:r>
            <a:rPr lang="en-US" sz="1000" b="1" u="none" kern="1200">
              <a:latin typeface="Calibri"/>
              <a:cs typeface="Calibri"/>
            </a:rPr>
            <a:t>:</a:t>
          </a:r>
        </a:p>
        <a:p>
          <a:pPr marL="0" lvl="0" indent="0" algn="l" defTabSz="444500">
            <a:lnSpc>
              <a:spcPct val="90000"/>
            </a:lnSpc>
            <a:spcBef>
              <a:spcPct val="0"/>
            </a:spcBef>
            <a:spcAft>
              <a:spcPct val="35000"/>
            </a:spcAft>
            <a:buNone/>
          </a:pPr>
          <a:r>
            <a:rPr lang="en-US" sz="1000" b="0" kern="1200" err="1">
              <a:solidFill>
                <a:srgbClr val="0065AD"/>
              </a:solidFill>
              <a:ea typeface="+mn-lt"/>
              <a:cs typeface="+mn-lt"/>
            </a:rPr>
            <a:t>Finanzieller</a:t>
          </a:r>
          <a:r>
            <a:rPr lang="en-US" sz="1000" b="0" kern="1200">
              <a:solidFill>
                <a:srgbClr val="0065AD"/>
              </a:solidFill>
              <a:ea typeface="+mn-lt"/>
              <a:cs typeface="+mn-lt"/>
            </a:rPr>
            <a:t> </a:t>
          </a:r>
          <a:r>
            <a:rPr lang="en-US" sz="1000" b="0" kern="1200" err="1">
              <a:solidFill>
                <a:srgbClr val="0065AD"/>
              </a:solidFill>
              <a:ea typeface="+mn-lt"/>
              <a:cs typeface="+mn-lt"/>
            </a:rPr>
            <a:t>Druck</a:t>
          </a:r>
          <a:r>
            <a:rPr lang="en-US" sz="1000" b="0" kern="1200">
              <a:solidFill>
                <a:srgbClr val="0065AD"/>
              </a:solidFill>
              <a:ea typeface="+mn-lt"/>
              <a:cs typeface="+mn-lt"/>
            </a:rPr>
            <a:t>, Disruption der Branche, </a:t>
          </a:r>
          <a:r>
            <a:rPr lang="en-US" sz="1000" b="0" kern="1200" err="1">
              <a:solidFill>
                <a:srgbClr val="0065AD"/>
              </a:solidFill>
              <a:ea typeface="+mn-lt"/>
              <a:cs typeface="+mn-lt"/>
            </a:rPr>
            <a:t>intensiver</a:t>
          </a:r>
          <a:r>
            <a:rPr lang="en-US" sz="1000" b="0" kern="1200">
              <a:solidFill>
                <a:srgbClr val="0065AD"/>
              </a:solidFill>
              <a:ea typeface="+mn-lt"/>
              <a:cs typeface="+mn-lt"/>
            </a:rPr>
            <a:t> </a:t>
          </a:r>
          <a:r>
            <a:rPr lang="en-US" sz="1000" b="0" kern="1200" err="1">
              <a:solidFill>
                <a:srgbClr val="0065AD"/>
              </a:solidFill>
              <a:ea typeface="+mn-lt"/>
              <a:cs typeface="+mn-lt"/>
            </a:rPr>
            <a:t>Wettbewerb</a:t>
          </a:r>
          <a:r>
            <a:rPr lang="en-US" sz="1000" b="0" kern="1200">
              <a:solidFill>
                <a:srgbClr val="0065AD"/>
              </a:solidFill>
              <a:ea typeface="+mn-lt"/>
              <a:cs typeface="+mn-lt"/>
            </a:rPr>
            <a:t> und </a:t>
          </a:r>
          <a:r>
            <a:rPr lang="en-US" sz="1000" b="0" kern="1200" err="1">
              <a:solidFill>
                <a:srgbClr val="0065AD"/>
              </a:solidFill>
              <a:ea typeface="+mn-lt"/>
              <a:cs typeface="+mn-lt"/>
            </a:rPr>
            <a:t>kulturelle</a:t>
          </a:r>
          <a:r>
            <a:rPr lang="en-US" sz="1000" b="0" kern="1200">
              <a:solidFill>
                <a:srgbClr val="0065AD"/>
              </a:solidFill>
              <a:ea typeface="+mn-lt"/>
              <a:cs typeface="+mn-lt"/>
            </a:rPr>
            <a:t> </a:t>
          </a:r>
          <a:r>
            <a:rPr lang="en-US" sz="1000" b="0" kern="1200" err="1">
              <a:solidFill>
                <a:srgbClr val="0065AD"/>
              </a:solidFill>
              <a:ea typeface="+mn-lt"/>
              <a:cs typeface="+mn-lt"/>
            </a:rPr>
            <a:t>Herausforderungen</a:t>
          </a:r>
          <a:endParaRPr lang="en-US" sz="1000" b="0" kern="1200">
            <a:solidFill>
              <a:srgbClr val="0065AD"/>
            </a:solidFill>
            <a:ea typeface="+mn-lt"/>
            <a:cs typeface="+mn-lt"/>
          </a:endParaRPr>
        </a:p>
        <a:p>
          <a:pPr marL="0" lvl="0" indent="0" algn="l" defTabSz="444500">
            <a:lnSpc>
              <a:spcPct val="90000"/>
            </a:lnSpc>
            <a:spcBef>
              <a:spcPct val="0"/>
            </a:spcBef>
            <a:spcAft>
              <a:spcPct val="35000"/>
            </a:spcAft>
            <a:buNone/>
          </a:pPr>
          <a:r>
            <a:rPr lang="en-US" sz="1000" b="1" kern="1200" err="1">
              <a:solidFill>
                <a:schemeClr val="tx1"/>
              </a:solidFill>
              <a:latin typeface="+mn-lt"/>
              <a:ea typeface="+mn-lt"/>
              <a:cs typeface="+mn-lt"/>
            </a:rPr>
            <a:t>Kreatives</a:t>
          </a:r>
          <a:r>
            <a:rPr lang="en-US" sz="1000" b="1" kern="1200">
              <a:solidFill>
                <a:schemeClr val="tx1"/>
              </a:solidFill>
              <a:latin typeface="+mn-lt"/>
              <a:ea typeface="+mn-lt"/>
              <a:cs typeface="+mn-lt"/>
            </a:rPr>
            <a:t> Element</a:t>
          </a:r>
          <a:r>
            <a:rPr lang="en-US" sz="1000" b="0" kern="1200">
              <a:solidFill>
                <a:srgbClr val="0065AD"/>
              </a:solidFill>
              <a:latin typeface="+mn-lt"/>
              <a:ea typeface="+mn-lt"/>
              <a:cs typeface="+mn-lt"/>
            </a:rPr>
            <a:t>:</a:t>
          </a:r>
        </a:p>
        <a:p>
          <a:pPr marL="0" lvl="0" indent="0" algn="l" defTabSz="444500">
            <a:lnSpc>
              <a:spcPct val="90000"/>
            </a:lnSpc>
            <a:spcBef>
              <a:spcPct val="0"/>
            </a:spcBef>
            <a:spcAft>
              <a:spcPct val="35000"/>
            </a:spcAft>
            <a:buNone/>
          </a:pPr>
          <a:r>
            <a:rPr lang="en-US" sz="1000" b="0" kern="1200" err="1">
              <a:solidFill>
                <a:srgbClr val="0065AD"/>
              </a:solidFill>
              <a:ea typeface="+mn-lt"/>
              <a:cs typeface="+mn-lt"/>
            </a:rPr>
            <a:t>Investitionen</a:t>
          </a:r>
          <a:r>
            <a:rPr lang="en-US" sz="1000" b="0" kern="1200">
              <a:solidFill>
                <a:srgbClr val="0065AD"/>
              </a:solidFill>
              <a:ea typeface="+mn-lt"/>
              <a:cs typeface="+mn-lt"/>
            </a:rPr>
            <a:t> in </a:t>
          </a:r>
          <a:r>
            <a:rPr lang="en-US" sz="1000" b="0" kern="1200" err="1">
              <a:solidFill>
                <a:srgbClr val="0065AD"/>
              </a:solidFill>
              <a:ea typeface="+mn-lt"/>
              <a:cs typeface="+mn-lt"/>
            </a:rPr>
            <a:t>Forschung</a:t>
          </a:r>
          <a:r>
            <a:rPr lang="en-US" sz="1000" b="0" kern="1200">
              <a:solidFill>
                <a:srgbClr val="0065AD"/>
              </a:solidFill>
              <a:ea typeface="+mn-lt"/>
              <a:cs typeface="+mn-lt"/>
            </a:rPr>
            <a:t> und </a:t>
          </a:r>
          <a:r>
            <a:rPr lang="en-US" sz="1000" b="0" kern="1200" err="1">
              <a:solidFill>
                <a:srgbClr val="0065AD"/>
              </a:solidFill>
              <a:ea typeface="+mn-lt"/>
              <a:cs typeface="+mn-lt"/>
            </a:rPr>
            <a:t>Entwicklung</a:t>
          </a:r>
          <a:r>
            <a:rPr lang="en-US" sz="1000" b="0" kern="1200">
              <a:solidFill>
                <a:srgbClr val="0065AD"/>
              </a:solidFill>
              <a:ea typeface="+mn-lt"/>
              <a:cs typeface="+mn-lt"/>
            </a:rPr>
            <a:t>, E-Autos und </a:t>
          </a:r>
          <a:r>
            <a:rPr lang="en-US" sz="1000" b="0" kern="1200" err="1">
              <a:solidFill>
                <a:srgbClr val="0065AD"/>
              </a:solidFill>
              <a:ea typeface="+mn-lt"/>
              <a:cs typeface="+mn-lt"/>
            </a:rPr>
            <a:t>neue</a:t>
          </a:r>
          <a:r>
            <a:rPr lang="en-US" sz="1000" b="0" kern="1200">
              <a:solidFill>
                <a:srgbClr val="0065AD"/>
              </a:solidFill>
              <a:ea typeface="+mn-lt"/>
              <a:cs typeface="+mn-lt"/>
            </a:rPr>
            <a:t> </a:t>
          </a:r>
          <a:r>
            <a:rPr lang="en-US" sz="1000" b="0" kern="1200" err="1">
              <a:solidFill>
                <a:srgbClr val="0065AD"/>
              </a:solidFill>
              <a:ea typeface="+mn-lt"/>
              <a:cs typeface="+mn-lt"/>
            </a:rPr>
            <a:t>Dienstleistungen</a:t>
          </a:r>
          <a:endParaRPr lang="en-US" sz="1000" b="0" kern="1200">
            <a:solidFill>
              <a:srgbClr val="0065AD"/>
            </a:solidFill>
            <a:ea typeface="+mn-lt"/>
            <a:cs typeface="+mn-lt"/>
          </a:endParaRPr>
        </a:p>
      </dsp:txBody>
      <dsp:txXfrm rot="5400000">
        <a:off x="0" y="13416"/>
        <a:ext cx="4283868" cy="1660326"/>
      </dsp:txXfrm>
    </dsp:sp>
    <dsp:sp modelId="{79AA2EFF-2B80-497B-A78E-1340B6B3B4C3}">
      <dsp:nvSpPr>
        <dsp:cNvPr id="0" name=""/>
        <dsp:cNvSpPr/>
      </dsp:nvSpPr>
      <dsp:spPr>
        <a:xfrm>
          <a:off x="4283868" y="0"/>
          <a:ext cx="4283868" cy="2213768"/>
        </a:xfrm>
        <a:prstGeom prst="round1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u="none" kern="1200">
              <a:ea typeface="+mn-lt"/>
              <a:cs typeface="+mn-lt"/>
            </a:rPr>
            <a:t>Adapt or die</a:t>
          </a:r>
        </a:p>
        <a:p>
          <a:pPr marL="0" lvl="0" indent="0" algn="l" defTabSz="444500">
            <a:lnSpc>
              <a:spcPct val="90000"/>
            </a:lnSpc>
            <a:spcBef>
              <a:spcPct val="0"/>
            </a:spcBef>
            <a:spcAft>
              <a:spcPct val="35000"/>
            </a:spcAft>
            <a:buNone/>
          </a:pPr>
          <a:r>
            <a:rPr lang="en-US" sz="1000" b="1" u="none" kern="1200" err="1">
              <a:latin typeface="Calibri"/>
              <a:cs typeface="Calibri"/>
            </a:rPr>
            <a:t>Problemstellung</a:t>
          </a:r>
          <a:r>
            <a:rPr lang="en-US" sz="1000" b="1" u="none" kern="1200">
              <a:latin typeface="Calibri"/>
              <a:cs typeface="Calibri"/>
            </a:rPr>
            <a:t>:</a:t>
          </a:r>
        </a:p>
        <a:p>
          <a:pPr marL="0" lvl="0" indent="0" algn="l" defTabSz="444500">
            <a:lnSpc>
              <a:spcPct val="90000"/>
            </a:lnSpc>
            <a:spcBef>
              <a:spcPct val="0"/>
            </a:spcBef>
            <a:spcAft>
              <a:spcPct val="35000"/>
            </a:spcAft>
            <a:buNone/>
          </a:pPr>
          <a:r>
            <a:rPr lang="en-US" sz="1000" u="none" kern="1200"/>
            <a:t>Auf </a:t>
          </a:r>
          <a:r>
            <a:rPr lang="en-US" sz="1000" u="none" kern="1200" err="1"/>
            <a:t>Verändernde</a:t>
          </a:r>
          <a:r>
            <a:rPr lang="en-US" sz="1000" u="none" kern="1200"/>
            <a:t> </a:t>
          </a:r>
          <a:r>
            <a:rPr lang="en-US" sz="1000" u="none" kern="1200" err="1"/>
            <a:t>Anforderungen</a:t>
          </a:r>
          <a:r>
            <a:rPr lang="en-US" sz="1000" u="none" kern="1200"/>
            <a:t> </a:t>
          </a:r>
          <a:r>
            <a:rPr lang="en-US" sz="1000" u="none" kern="1200" err="1"/>
            <a:t>reagieren</a:t>
          </a:r>
          <a:r>
            <a:rPr lang="en-US" sz="1000" u="none" kern="1200"/>
            <a:t> und </a:t>
          </a:r>
          <a:r>
            <a:rPr lang="en-US" sz="1000" u="none" kern="1200" err="1"/>
            <a:t>Produkte</a:t>
          </a:r>
          <a:r>
            <a:rPr lang="en-US" sz="1000" u="none" kern="1200"/>
            <a:t> </a:t>
          </a:r>
          <a:r>
            <a:rPr lang="en-US" sz="1000" u="none" kern="1200" err="1"/>
            <a:t>verbessern</a:t>
          </a:r>
          <a:r>
            <a:rPr lang="en-US" sz="1000" u="none" kern="1200"/>
            <a:t>, </a:t>
          </a:r>
          <a:r>
            <a:rPr lang="en-US" sz="1000" u="none" kern="1200" err="1"/>
            <a:t>zu</a:t>
          </a:r>
          <a:r>
            <a:rPr lang="en-US" sz="1000" u="none" kern="1200"/>
            <a:t> </a:t>
          </a:r>
          <a:r>
            <a:rPr lang="en-US" sz="1000" u="none" kern="1200" err="1"/>
            <a:t>häufige</a:t>
          </a:r>
          <a:r>
            <a:rPr lang="en-US" sz="1000" u="none" kern="1200"/>
            <a:t> </a:t>
          </a:r>
          <a:r>
            <a:rPr lang="en-US" sz="1000" u="none" kern="1200" err="1"/>
            <a:t>oder</a:t>
          </a:r>
          <a:r>
            <a:rPr lang="en-US" sz="1000" u="none" kern="1200"/>
            <a:t> </a:t>
          </a:r>
          <a:r>
            <a:rPr lang="en-US" sz="1000" u="none" kern="1200" err="1"/>
            <a:t>zu</a:t>
          </a:r>
          <a:r>
            <a:rPr lang="en-US" sz="1000" u="none" kern="1200"/>
            <a:t> schnell </a:t>
          </a:r>
          <a:r>
            <a:rPr lang="en-US" sz="1000" u="none" kern="1200" err="1"/>
            <a:t>Veränderungen</a:t>
          </a:r>
          <a:r>
            <a:rPr lang="en-US" sz="1000" u="none" kern="1200"/>
            <a:t> </a:t>
          </a:r>
          <a:r>
            <a:rPr lang="en-US" sz="1000" u="none" kern="1200" err="1"/>
            <a:t>könnten</a:t>
          </a:r>
          <a:r>
            <a:rPr lang="en-US" sz="1000" u="none" kern="1200"/>
            <a:t> das </a:t>
          </a:r>
          <a:r>
            <a:rPr lang="en-US" sz="1000" u="none" kern="1200" err="1"/>
            <a:t>Kundenerlebnis</a:t>
          </a:r>
          <a:r>
            <a:rPr lang="en-US" sz="1000" u="none" kern="1200"/>
            <a:t> </a:t>
          </a:r>
          <a:r>
            <a:rPr lang="en-US" sz="1000" u="none" kern="1200" err="1"/>
            <a:t>beeinträchtigen</a:t>
          </a:r>
          <a:endParaRPr lang="en-US" sz="1000" u="none" kern="1200"/>
        </a:p>
        <a:p>
          <a:pPr marL="0" lvl="0" indent="0" algn="l" defTabSz="444500">
            <a:lnSpc>
              <a:spcPct val="90000"/>
            </a:lnSpc>
            <a:spcBef>
              <a:spcPct val="0"/>
            </a:spcBef>
            <a:spcAft>
              <a:spcPct val="35000"/>
            </a:spcAft>
            <a:buNone/>
          </a:pPr>
          <a:r>
            <a:rPr lang="en-US" sz="1000" b="1" kern="1200" err="1">
              <a:solidFill>
                <a:schemeClr val="tx1"/>
              </a:solidFill>
              <a:latin typeface="+mn-lt"/>
              <a:ea typeface="+mn-lt"/>
              <a:cs typeface="+mn-lt"/>
            </a:rPr>
            <a:t>Kreatives</a:t>
          </a:r>
          <a:r>
            <a:rPr lang="en-US" sz="1000" b="1" kern="1200">
              <a:solidFill>
                <a:schemeClr val="tx1"/>
              </a:solidFill>
              <a:latin typeface="+mn-lt"/>
              <a:ea typeface="+mn-lt"/>
              <a:cs typeface="+mn-lt"/>
            </a:rPr>
            <a:t> Element</a:t>
          </a:r>
          <a:r>
            <a:rPr lang="en-US" sz="1000" b="0" kern="1200">
              <a:solidFill>
                <a:srgbClr val="0065AD"/>
              </a:solidFill>
              <a:latin typeface="+mn-lt"/>
              <a:ea typeface="+mn-lt"/>
              <a:cs typeface="+mn-lt"/>
            </a:rPr>
            <a:t>:</a:t>
          </a:r>
        </a:p>
        <a:p>
          <a:pPr marL="0" lvl="0" indent="0" algn="l" defTabSz="444500">
            <a:lnSpc>
              <a:spcPct val="90000"/>
            </a:lnSpc>
            <a:spcBef>
              <a:spcPct val="0"/>
            </a:spcBef>
            <a:spcAft>
              <a:spcPct val="35000"/>
            </a:spcAft>
            <a:buNone/>
          </a:pPr>
          <a:r>
            <a:rPr lang="en-US" sz="1000" b="0" u="none" kern="1200" err="1">
              <a:solidFill>
                <a:srgbClr val="0065AD"/>
              </a:solidFill>
              <a:latin typeface="+mn-lt"/>
              <a:ea typeface="+mn-lt"/>
              <a:cs typeface="+mn-lt"/>
            </a:rPr>
            <a:t>Analyse</a:t>
          </a:r>
          <a:r>
            <a:rPr lang="en-US" sz="1000" b="0" u="none" kern="1200">
              <a:solidFill>
                <a:srgbClr val="0065AD"/>
              </a:solidFill>
              <a:latin typeface="+mn-lt"/>
              <a:ea typeface="+mn-lt"/>
              <a:cs typeface="+mn-lt"/>
            </a:rPr>
            <a:t> und </a:t>
          </a:r>
          <a:r>
            <a:rPr lang="en-US" sz="1000" b="0" u="none" kern="1200" err="1">
              <a:solidFill>
                <a:srgbClr val="0065AD"/>
              </a:solidFill>
              <a:latin typeface="+mn-lt"/>
              <a:ea typeface="+mn-lt"/>
              <a:cs typeface="+mn-lt"/>
            </a:rPr>
            <a:t>Lernen</a:t>
          </a:r>
          <a:r>
            <a:rPr lang="en-US" sz="1000" b="0" u="none" kern="1200">
              <a:solidFill>
                <a:srgbClr val="0065AD"/>
              </a:solidFill>
              <a:latin typeface="+mn-lt"/>
              <a:ea typeface="+mn-lt"/>
              <a:cs typeface="+mn-lt"/>
            </a:rPr>
            <a:t> von </a:t>
          </a:r>
          <a:r>
            <a:rPr lang="en-US" sz="1000" b="0" u="none" kern="1200" err="1">
              <a:solidFill>
                <a:srgbClr val="0065AD"/>
              </a:solidFill>
              <a:latin typeface="+mn-lt"/>
              <a:ea typeface="+mn-lt"/>
              <a:cs typeface="+mn-lt"/>
            </a:rPr>
            <a:t>Marktsignalen</a:t>
          </a:r>
          <a:endParaRPr lang="en-US" sz="1000" u="none" kern="1200"/>
        </a:p>
      </dsp:txBody>
      <dsp:txXfrm>
        <a:off x="4283868" y="0"/>
        <a:ext cx="4283868" cy="1660326"/>
      </dsp:txXfrm>
    </dsp:sp>
    <dsp:sp modelId="{8861E752-01F6-4F88-92B9-D31AEBC8DCC3}">
      <dsp:nvSpPr>
        <dsp:cNvPr id="0" name=""/>
        <dsp:cNvSpPr/>
      </dsp:nvSpPr>
      <dsp:spPr>
        <a:xfrm rot="10800000">
          <a:off x="0" y="2213768"/>
          <a:ext cx="4283868" cy="2213768"/>
        </a:xfrm>
        <a:prstGeom prst="round1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u="none" kern="1200">
              <a:ea typeface="+mn-lt"/>
              <a:cs typeface="+mn-lt"/>
            </a:rPr>
            <a:t>Become customer fanatics</a:t>
          </a:r>
        </a:p>
        <a:p>
          <a:pPr marL="0" lvl="0" indent="0" algn="l" defTabSz="444500">
            <a:lnSpc>
              <a:spcPct val="90000"/>
            </a:lnSpc>
            <a:spcBef>
              <a:spcPct val="0"/>
            </a:spcBef>
            <a:spcAft>
              <a:spcPct val="35000"/>
            </a:spcAft>
            <a:buNone/>
          </a:pPr>
          <a:r>
            <a:rPr lang="en-US" sz="1000" b="1" u="none" kern="1200" err="1">
              <a:latin typeface="Calibri"/>
              <a:cs typeface="Calibri"/>
            </a:rPr>
            <a:t>Fahrerperspektive</a:t>
          </a:r>
          <a:r>
            <a:rPr lang="en-US" sz="1000" b="1" u="none" kern="1200">
              <a:latin typeface="Calibri"/>
              <a:cs typeface="Calibri"/>
            </a:rPr>
            <a:t>:</a:t>
          </a:r>
        </a:p>
        <a:p>
          <a:pPr marL="0" lvl="0" indent="0" algn="l" defTabSz="444500">
            <a:lnSpc>
              <a:spcPct val="90000"/>
            </a:lnSpc>
            <a:spcBef>
              <a:spcPct val="0"/>
            </a:spcBef>
            <a:spcAft>
              <a:spcPct val="35000"/>
            </a:spcAft>
            <a:buFont typeface="Arial" panose="020B0604020202020204" pitchFamily="34" charset="0"/>
            <a:buNone/>
          </a:pPr>
          <a:r>
            <a:rPr lang="en-US" sz="1000" b="0" u="none" kern="1200">
              <a:latin typeface="Calibri"/>
              <a:cs typeface="Calibri"/>
            </a:rPr>
            <a:t>- </a:t>
          </a:r>
          <a:r>
            <a:rPr lang="en-US" sz="1000" b="0" u="none" kern="1200" err="1">
              <a:latin typeface="Calibri"/>
              <a:cs typeface="Calibri"/>
            </a:rPr>
            <a:t>Boni</a:t>
          </a:r>
          <a:r>
            <a:rPr lang="en-US" sz="1000" b="0" u="none" kern="1200">
              <a:latin typeface="Calibri"/>
              <a:cs typeface="Calibri"/>
            </a:rPr>
            <a:t> für </a:t>
          </a:r>
          <a:r>
            <a:rPr lang="en-US" sz="1000" b="0" u="none" kern="1200" err="1">
              <a:latin typeface="Calibri"/>
              <a:cs typeface="Calibri"/>
            </a:rPr>
            <a:t>mehr</a:t>
          </a:r>
          <a:r>
            <a:rPr lang="en-US" sz="1000" b="0" u="none" kern="1200">
              <a:latin typeface="Calibri"/>
              <a:cs typeface="Calibri"/>
            </a:rPr>
            <a:t> </a:t>
          </a:r>
          <a:r>
            <a:rPr lang="en-US" sz="1000" b="0" u="none" kern="1200" err="1">
              <a:latin typeface="Calibri"/>
              <a:cs typeface="Calibri"/>
            </a:rPr>
            <a:t>Fahrten</a:t>
          </a:r>
          <a:r>
            <a:rPr lang="en-US" sz="1000" b="0" u="none" kern="1200">
              <a:latin typeface="Calibri"/>
              <a:cs typeface="Calibri"/>
            </a:rPr>
            <a:t>			- </a:t>
          </a:r>
          <a:r>
            <a:rPr lang="en-US" sz="1000" b="0" u="none" kern="1200" err="1">
              <a:latin typeface="Calibri"/>
              <a:cs typeface="Calibri"/>
            </a:rPr>
            <a:t>Versicherungsschutz</a:t>
          </a:r>
          <a:endParaRPr lang="en-US" sz="1000" b="0" u="none" kern="1200">
            <a:latin typeface="Calibri"/>
            <a:cs typeface="Calibri"/>
          </a:endParaRPr>
        </a:p>
        <a:p>
          <a:pPr marL="0" lvl="0" indent="0" algn="l" defTabSz="444500">
            <a:lnSpc>
              <a:spcPct val="90000"/>
            </a:lnSpc>
            <a:spcBef>
              <a:spcPct val="0"/>
            </a:spcBef>
            <a:spcAft>
              <a:spcPct val="35000"/>
            </a:spcAft>
            <a:buFont typeface="Arial" panose="020B0604020202020204" pitchFamily="34" charset="0"/>
            <a:buNone/>
          </a:pPr>
          <a:r>
            <a:rPr lang="en-US" sz="1000" b="0" u="none" kern="1200">
              <a:latin typeface="Calibri"/>
              <a:cs typeface="Calibri"/>
            </a:rPr>
            <a:t>- Tools </a:t>
          </a:r>
          <a:r>
            <a:rPr lang="en-US" sz="1000" b="0" u="none" kern="1200" err="1">
              <a:latin typeface="Calibri"/>
              <a:cs typeface="Calibri"/>
            </a:rPr>
            <a:t>zur</a:t>
          </a:r>
          <a:r>
            <a:rPr lang="en-US" sz="1000" b="0" u="none" kern="1200">
              <a:latin typeface="Calibri"/>
              <a:cs typeface="Calibri"/>
            </a:rPr>
            <a:t> GPS-Navigation		- </a:t>
          </a:r>
          <a:r>
            <a:rPr lang="en-US" sz="1000" b="0" u="none" kern="1200" err="1">
              <a:latin typeface="Calibri"/>
              <a:cs typeface="Calibri"/>
            </a:rPr>
            <a:t>Fahrer</a:t>
          </a:r>
          <a:r>
            <a:rPr lang="en-US" sz="1000" b="0" u="none" kern="1200">
              <a:latin typeface="Calibri"/>
              <a:cs typeface="Calibri"/>
            </a:rPr>
            <a:t>-App</a:t>
          </a:r>
        </a:p>
        <a:p>
          <a:pPr marL="0" lvl="0" indent="0" algn="l" defTabSz="444500">
            <a:lnSpc>
              <a:spcPct val="90000"/>
            </a:lnSpc>
            <a:spcBef>
              <a:spcPct val="0"/>
            </a:spcBef>
            <a:spcAft>
              <a:spcPct val="35000"/>
            </a:spcAft>
            <a:buFont typeface="Arial" panose="020B0604020202020204" pitchFamily="34" charset="0"/>
            <a:buNone/>
          </a:pPr>
          <a:r>
            <a:rPr lang="en-US" sz="1000" b="0" u="none" kern="1200">
              <a:latin typeface="Calibri"/>
              <a:cs typeface="Calibri"/>
            </a:rPr>
            <a:t>- </a:t>
          </a:r>
          <a:r>
            <a:rPr lang="en-US" sz="1000" b="1" kern="1200" err="1">
              <a:solidFill>
                <a:schemeClr val="tx1"/>
              </a:solidFill>
              <a:latin typeface="+mn-lt"/>
              <a:ea typeface="+mn-lt"/>
              <a:cs typeface="+mn-lt"/>
            </a:rPr>
            <a:t>Nutzerperspektive</a:t>
          </a:r>
          <a:r>
            <a:rPr lang="en-US" sz="1000" b="0" kern="1200">
              <a:solidFill>
                <a:srgbClr val="0065AD"/>
              </a:solidFill>
              <a:latin typeface="+mn-lt"/>
              <a:ea typeface="+mn-lt"/>
              <a:cs typeface="+mn-lt"/>
            </a:rPr>
            <a:t>:</a:t>
          </a:r>
        </a:p>
        <a:p>
          <a:pPr marL="0" lvl="0" indent="0" algn="l" defTabSz="444500">
            <a:lnSpc>
              <a:spcPct val="90000"/>
            </a:lnSpc>
            <a:spcBef>
              <a:spcPct val="0"/>
            </a:spcBef>
            <a:spcAft>
              <a:spcPct val="35000"/>
            </a:spcAft>
            <a:buNone/>
          </a:pPr>
          <a:r>
            <a:rPr lang="en-US" sz="1000" u="none" kern="1200"/>
            <a:t>- </a:t>
          </a:r>
          <a:r>
            <a:rPr lang="en-US" sz="1000" u="none" kern="1200" err="1"/>
            <a:t>Maximierung</a:t>
          </a:r>
          <a:r>
            <a:rPr lang="en-US" sz="1000" u="none" kern="1200"/>
            <a:t> der </a:t>
          </a:r>
          <a:r>
            <a:rPr lang="en-US" sz="1000" u="none" kern="1200" err="1"/>
            <a:t>Bequemlichkeit</a:t>
          </a:r>
          <a:r>
            <a:rPr lang="en-US" sz="1000" u="none" kern="1200"/>
            <a:t>	- </a:t>
          </a:r>
          <a:r>
            <a:rPr lang="en-US" sz="1000" u="none" kern="1200" err="1"/>
            <a:t>Echtzeit-Standortverfolgung</a:t>
          </a:r>
          <a:endParaRPr lang="en-US" sz="1000" u="none" kern="1200"/>
        </a:p>
        <a:p>
          <a:pPr marL="0" lvl="0" indent="0" algn="l" defTabSz="444500">
            <a:lnSpc>
              <a:spcPct val="90000"/>
            </a:lnSpc>
            <a:spcBef>
              <a:spcPct val="0"/>
            </a:spcBef>
            <a:spcAft>
              <a:spcPct val="35000"/>
            </a:spcAft>
            <a:buNone/>
          </a:pPr>
          <a:r>
            <a:rPr lang="en-US" sz="1000" u="none" kern="1200"/>
            <a:t>- </a:t>
          </a:r>
          <a:r>
            <a:rPr lang="en-US" sz="1000" u="none" kern="1200" err="1"/>
            <a:t>Transparente</a:t>
          </a:r>
          <a:r>
            <a:rPr lang="en-US" sz="1000" u="none" kern="1200"/>
            <a:t> </a:t>
          </a:r>
          <a:r>
            <a:rPr lang="en-US" sz="1000" u="none" kern="1200" err="1"/>
            <a:t>Preise</a:t>
          </a:r>
          <a:r>
            <a:rPr lang="en-US" sz="1000" u="none" kern="1200"/>
            <a:t>			- </a:t>
          </a:r>
          <a:r>
            <a:rPr lang="en-US" sz="1000" u="none" kern="1200" err="1"/>
            <a:t>Versch</a:t>
          </a:r>
          <a:r>
            <a:rPr lang="en-US" sz="1000" u="none" kern="1200"/>
            <a:t>. </a:t>
          </a:r>
          <a:r>
            <a:rPr lang="en-US" sz="1000" u="none" kern="1200" err="1"/>
            <a:t>Serviceklassen</a:t>
          </a:r>
          <a:r>
            <a:rPr lang="en-US" sz="1000" u="none" kern="1200"/>
            <a:t>		</a:t>
          </a:r>
        </a:p>
      </dsp:txBody>
      <dsp:txXfrm rot="10800000">
        <a:off x="0" y="2767210"/>
        <a:ext cx="4283868" cy="1660326"/>
      </dsp:txXfrm>
    </dsp:sp>
    <dsp:sp modelId="{C1D2606F-DD7E-4E9E-9509-47D709E0884C}">
      <dsp:nvSpPr>
        <dsp:cNvPr id="0" name=""/>
        <dsp:cNvSpPr/>
      </dsp:nvSpPr>
      <dsp:spPr>
        <a:xfrm rot="5400000">
          <a:off x="5318918" y="1178718"/>
          <a:ext cx="2213768" cy="4283868"/>
        </a:xfrm>
        <a:prstGeom prst="round1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u="none" kern="1200">
              <a:ea typeface="+mn-lt"/>
              <a:cs typeface="+mn-lt"/>
            </a:rPr>
            <a:t>Feed the need for speed</a:t>
          </a:r>
        </a:p>
        <a:p>
          <a:pPr marL="0" lvl="0" indent="0" algn="l" defTabSz="444500">
            <a:lnSpc>
              <a:spcPct val="90000"/>
            </a:lnSpc>
            <a:spcBef>
              <a:spcPct val="0"/>
            </a:spcBef>
            <a:spcAft>
              <a:spcPct val="35000"/>
            </a:spcAft>
            <a:buNone/>
          </a:pPr>
          <a:r>
            <a:rPr lang="en-US" sz="1000" b="1" u="none" kern="1200" err="1">
              <a:latin typeface="+mn-lt"/>
              <a:ea typeface="+mn-lt"/>
              <a:cs typeface="+mn-lt"/>
            </a:rPr>
            <a:t>Problemstellung</a:t>
          </a:r>
          <a:r>
            <a:rPr lang="en-US" sz="1000" b="1" u="none" kern="1200">
              <a:latin typeface="+mn-lt"/>
              <a:ea typeface="+mn-lt"/>
              <a:cs typeface="+mn-lt"/>
            </a:rPr>
            <a:t>:</a:t>
          </a:r>
          <a:br>
            <a:rPr lang="en-US" sz="1000" b="1" u="none" kern="1200">
              <a:latin typeface="+mn-lt"/>
              <a:ea typeface="+mn-lt"/>
              <a:cs typeface="+mn-lt"/>
            </a:rPr>
          </a:br>
          <a:r>
            <a:rPr lang="en-US" sz="1000" b="0" kern="1200" err="1">
              <a:solidFill>
                <a:srgbClr val="0065AD"/>
              </a:solidFill>
              <a:ea typeface="+mn-lt"/>
              <a:cs typeface="+mn-lt"/>
            </a:rPr>
            <a:t>vernachlässigte</a:t>
          </a:r>
          <a:r>
            <a:rPr lang="en-US" sz="1000" b="0" kern="1200">
              <a:solidFill>
                <a:srgbClr val="0065AD"/>
              </a:solidFill>
              <a:ea typeface="+mn-lt"/>
              <a:cs typeface="+mn-lt"/>
            </a:rPr>
            <a:t> </a:t>
          </a:r>
          <a:r>
            <a:rPr lang="en-US" sz="1000" b="0" kern="1200" err="1">
              <a:solidFill>
                <a:srgbClr val="0065AD"/>
              </a:solidFill>
              <a:ea typeface="+mn-lt"/>
              <a:cs typeface="+mn-lt"/>
            </a:rPr>
            <a:t>Nachhaltigkeit</a:t>
          </a:r>
          <a:r>
            <a:rPr lang="en-US" sz="1000" b="0" kern="1200">
              <a:solidFill>
                <a:srgbClr val="0065AD"/>
              </a:solidFill>
              <a:ea typeface="+mn-lt"/>
              <a:cs typeface="+mn-lt"/>
            </a:rPr>
            <a:t>, </a:t>
          </a:r>
          <a:r>
            <a:rPr lang="en-US" sz="1000" b="0" kern="1200" err="1">
              <a:solidFill>
                <a:srgbClr val="0065AD"/>
              </a:solidFill>
              <a:ea typeface="+mn-lt"/>
              <a:cs typeface="+mn-lt"/>
            </a:rPr>
            <a:t>Qualitätskontrolle</a:t>
          </a:r>
          <a:r>
            <a:rPr lang="en-US" sz="1000" b="0" kern="1200">
              <a:solidFill>
                <a:srgbClr val="0065AD"/>
              </a:solidFill>
              <a:ea typeface="+mn-lt"/>
              <a:cs typeface="+mn-lt"/>
            </a:rPr>
            <a:t> und </a:t>
          </a:r>
          <a:r>
            <a:rPr lang="en-US" sz="1000" b="0" kern="1200" err="1">
              <a:solidFill>
                <a:srgbClr val="0065AD"/>
              </a:solidFill>
              <a:ea typeface="+mn-lt"/>
              <a:cs typeface="+mn-lt"/>
            </a:rPr>
            <a:t>daraus</a:t>
          </a:r>
          <a:r>
            <a:rPr lang="en-US" sz="1000" b="0" kern="1200">
              <a:solidFill>
                <a:srgbClr val="0065AD"/>
              </a:solidFill>
              <a:ea typeface="+mn-lt"/>
              <a:cs typeface="+mn-lt"/>
            </a:rPr>
            <a:t> </a:t>
          </a:r>
          <a:r>
            <a:rPr lang="en-US" sz="1000" b="0" kern="1200" err="1">
              <a:solidFill>
                <a:srgbClr val="0065AD"/>
              </a:solidFill>
              <a:ea typeface="+mn-lt"/>
              <a:cs typeface="+mn-lt"/>
            </a:rPr>
            <a:t>resultierendes</a:t>
          </a:r>
          <a:r>
            <a:rPr lang="en-US" sz="1000" b="0" kern="1200">
              <a:solidFill>
                <a:srgbClr val="0065AD"/>
              </a:solidFill>
              <a:ea typeface="+mn-lt"/>
              <a:cs typeface="+mn-lt"/>
            </a:rPr>
            <a:t> </a:t>
          </a:r>
          <a:r>
            <a:rPr lang="en-US" sz="1000" b="0" kern="1200" err="1">
              <a:solidFill>
                <a:srgbClr val="0065AD"/>
              </a:solidFill>
              <a:ea typeface="+mn-lt"/>
              <a:cs typeface="+mn-lt"/>
            </a:rPr>
            <a:t>geringeres</a:t>
          </a:r>
          <a:r>
            <a:rPr lang="en-US" sz="1000" b="0" kern="1200">
              <a:solidFill>
                <a:srgbClr val="0065AD"/>
              </a:solidFill>
              <a:ea typeface="+mn-lt"/>
              <a:cs typeface="+mn-lt"/>
            </a:rPr>
            <a:t> </a:t>
          </a:r>
          <a:r>
            <a:rPr lang="en-US" sz="1000" b="0" kern="1200" err="1">
              <a:solidFill>
                <a:srgbClr val="0065AD"/>
              </a:solidFill>
              <a:ea typeface="+mn-lt"/>
              <a:cs typeface="+mn-lt"/>
            </a:rPr>
            <a:t>Kundenvertrauen</a:t>
          </a:r>
          <a:r>
            <a:rPr lang="en-US" sz="1000" b="0" kern="1200">
              <a:solidFill>
                <a:srgbClr val="0065AD"/>
              </a:solidFill>
              <a:ea typeface="+mn-lt"/>
              <a:cs typeface="+mn-lt"/>
            </a:rPr>
            <a:t> </a:t>
          </a:r>
        </a:p>
        <a:p>
          <a:pPr marL="0" lvl="0" indent="0" algn="l" defTabSz="444500">
            <a:lnSpc>
              <a:spcPct val="90000"/>
            </a:lnSpc>
            <a:spcBef>
              <a:spcPct val="0"/>
            </a:spcBef>
            <a:spcAft>
              <a:spcPct val="35000"/>
            </a:spcAft>
            <a:buNone/>
          </a:pPr>
          <a:r>
            <a:rPr lang="en-US" sz="1000" b="1" kern="1200" err="1">
              <a:solidFill>
                <a:schemeClr val="tx1"/>
              </a:solidFill>
              <a:latin typeface="+mn-lt"/>
              <a:ea typeface="+mn-lt"/>
              <a:cs typeface="+mn-lt"/>
            </a:rPr>
            <a:t>Kreatives</a:t>
          </a:r>
          <a:r>
            <a:rPr lang="en-US" sz="1000" b="1" kern="1200">
              <a:solidFill>
                <a:schemeClr val="tx1"/>
              </a:solidFill>
              <a:latin typeface="+mn-lt"/>
              <a:ea typeface="+mn-lt"/>
              <a:cs typeface="+mn-lt"/>
            </a:rPr>
            <a:t> Element</a:t>
          </a:r>
          <a:r>
            <a:rPr lang="en-US" sz="1000" b="0" kern="1200">
              <a:solidFill>
                <a:srgbClr val="0065AD"/>
              </a:solidFill>
              <a:latin typeface="+mn-lt"/>
              <a:ea typeface="+mn-lt"/>
              <a:cs typeface="+mn-lt"/>
            </a:rPr>
            <a:t>:</a:t>
          </a:r>
        </a:p>
        <a:p>
          <a:pPr marL="0" lvl="0" indent="0" algn="l" defTabSz="444500">
            <a:lnSpc>
              <a:spcPct val="90000"/>
            </a:lnSpc>
            <a:spcBef>
              <a:spcPct val="0"/>
            </a:spcBef>
            <a:spcAft>
              <a:spcPct val="35000"/>
            </a:spcAft>
            <a:buNone/>
          </a:pPr>
          <a:r>
            <a:rPr lang="en-US" sz="1000" b="0" u="none" kern="1200">
              <a:solidFill>
                <a:srgbClr val="0065AD"/>
              </a:solidFill>
              <a:latin typeface="+mn-lt"/>
              <a:ea typeface="+mn-lt"/>
              <a:cs typeface="+mn-lt"/>
            </a:rPr>
            <a:t>- Agile </a:t>
          </a:r>
          <a:r>
            <a:rPr lang="en-US" sz="1000" b="0" u="none" kern="1200" err="1">
              <a:solidFill>
                <a:srgbClr val="0065AD"/>
              </a:solidFill>
              <a:latin typeface="+mn-lt"/>
              <a:ea typeface="+mn-lt"/>
              <a:cs typeface="+mn-lt"/>
            </a:rPr>
            <a:t>Reaktionen</a:t>
          </a:r>
          <a:r>
            <a:rPr lang="en-US" sz="1000" b="0" u="none" kern="1200">
              <a:solidFill>
                <a:srgbClr val="0065AD"/>
              </a:solidFill>
              <a:latin typeface="+mn-lt"/>
              <a:ea typeface="+mn-lt"/>
              <a:cs typeface="+mn-lt"/>
            </a:rPr>
            <a:t> auf </a:t>
          </a:r>
          <a:r>
            <a:rPr lang="en-US" sz="1000" b="0" u="none" kern="1200" err="1">
              <a:solidFill>
                <a:srgbClr val="0065AD"/>
              </a:solidFill>
              <a:latin typeface="+mn-lt"/>
              <a:ea typeface="+mn-lt"/>
              <a:cs typeface="+mn-lt"/>
            </a:rPr>
            <a:t>Markttrends</a:t>
          </a:r>
          <a:endParaRPr lang="en-US" sz="1000" b="0" u="none" kern="1200">
            <a:solidFill>
              <a:srgbClr val="0065AD"/>
            </a:solidFill>
            <a:latin typeface="+mn-lt"/>
            <a:ea typeface="+mn-lt"/>
            <a:cs typeface="+mn-lt"/>
          </a:endParaRPr>
        </a:p>
        <a:p>
          <a:pPr marL="0" lvl="0" indent="0" algn="l" defTabSz="444500">
            <a:lnSpc>
              <a:spcPct val="90000"/>
            </a:lnSpc>
            <a:spcBef>
              <a:spcPct val="0"/>
            </a:spcBef>
            <a:spcAft>
              <a:spcPct val="35000"/>
            </a:spcAft>
            <a:buNone/>
          </a:pPr>
          <a:r>
            <a:rPr lang="en-US" sz="1000" u="none" kern="1200"/>
            <a:t>- </a:t>
          </a:r>
          <a:r>
            <a:rPr lang="en-US" sz="1000" b="0" kern="1200" err="1">
              <a:solidFill>
                <a:srgbClr val="0065AD"/>
              </a:solidFill>
              <a:ea typeface="+mn-lt"/>
              <a:cs typeface="+mn-lt"/>
            </a:rPr>
            <a:t>Datenanalysen</a:t>
          </a:r>
          <a:r>
            <a:rPr lang="en-US" sz="1000" b="0" kern="1200">
              <a:solidFill>
                <a:srgbClr val="0065AD"/>
              </a:solidFill>
              <a:ea typeface="+mn-lt"/>
              <a:cs typeface="+mn-lt"/>
            </a:rPr>
            <a:t> für operative </a:t>
          </a:r>
          <a:r>
            <a:rPr lang="en-US" sz="1000" b="0" kern="1200" err="1">
              <a:solidFill>
                <a:srgbClr val="0065AD"/>
              </a:solidFill>
              <a:ea typeface="+mn-lt"/>
              <a:cs typeface="+mn-lt"/>
            </a:rPr>
            <a:t>Entscheidungen</a:t>
          </a:r>
          <a:endParaRPr lang="en-US" sz="1000" b="0" u="none" kern="1200"/>
        </a:p>
      </dsp:txBody>
      <dsp:txXfrm rot="-5400000">
        <a:off x="4283868" y="2767210"/>
        <a:ext cx="4283868" cy="1660326"/>
      </dsp:txXfrm>
    </dsp:sp>
    <dsp:sp modelId="{C5C71603-72D7-4392-981F-99F92781007E}">
      <dsp:nvSpPr>
        <dsp:cNvPr id="0" name=""/>
        <dsp:cNvSpPr/>
      </dsp:nvSpPr>
      <dsp:spPr>
        <a:xfrm>
          <a:off x="2998707" y="1660326"/>
          <a:ext cx="2570321" cy="1106884"/>
        </a:xfrm>
        <a:prstGeom prst="roundRect">
          <a:avLst/>
        </a:prstGeom>
        <a:solidFill>
          <a:schemeClr val="dk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1" u="none" kern="1200" err="1"/>
            <a:t>Kreatives</a:t>
          </a:r>
          <a:r>
            <a:rPr lang="en-US" sz="1000" b="1" u="none" kern="1200"/>
            <a:t> Management </a:t>
          </a:r>
          <a:r>
            <a:rPr lang="en-US" sz="1000" b="1" u="none" kern="1200" err="1"/>
            <a:t>bei</a:t>
          </a:r>
          <a:r>
            <a:rPr lang="en-US" sz="1000" b="1" u="none" kern="1200"/>
            <a:t> UBER</a:t>
          </a:r>
        </a:p>
      </dsp:txBody>
      <dsp:txXfrm>
        <a:off x="3052741" y="1714360"/>
        <a:ext cx="2462253" cy="99881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C43945-EE10-4348-9C18-DB88A08E286F}">
      <dsp:nvSpPr>
        <dsp:cNvPr id="0" name=""/>
        <dsp:cNvSpPr/>
      </dsp:nvSpPr>
      <dsp:spPr>
        <a:xfrm>
          <a:off x="0" y="248798"/>
          <a:ext cx="8567737" cy="1455299"/>
        </a:xfrm>
        <a:prstGeom prst="rect">
          <a:avLst/>
        </a:prstGeom>
        <a:solidFill>
          <a:schemeClr val="dk1">
            <a:alpha val="90000"/>
            <a:tint val="40000"/>
            <a:hueOff val="0"/>
            <a:satOff val="0"/>
            <a:lumOff val="0"/>
            <a:alphaOff val="0"/>
          </a:scheme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64952" tIns="291592" rIns="664952" bIns="99568"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b="0" i="0" kern="1200"/>
            <a:t>Uber hat </a:t>
          </a:r>
          <a:r>
            <a:rPr lang="en-US" sz="1400" b="0" i="0" kern="1200" err="1"/>
            <a:t>durch</a:t>
          </a:r>
          <a:r>
            <a:rPr lang="en-US" sz="1400" b="0" i="0" kern="1200"/>
            <a:t> disruptive </a:t>
          </a:r>
          <a:r>
            <a:rPr lang="en-US" sz="1400" b="0" i="0" kern="1200" err="1"/>
            <a:t>Technologien</a:t>
          </a:r>
          <a:r>
            <a:rPr lang="en-US" sz="1400" b="0" i="0" kern="1200"/>
            <a:t> und innovative </a:t>
          </a:r>
          <a:r>
            <a:rPr lang="en-US" sz="1400" b="0" i="0" kern="1200" err="1"/>
            <a:t>Geschäftsmodelle</a:t>
          </a:r>
          <a:r>
            <a:rPr lang="en-US" sz="1400" b="0" i="0" kern="1200"/>
            <a:t> den </a:t>
          </a:r>
          <a:r>
            <a:rPr lang="en-US" sz="1400" b="0" i="0" kern="1200" err="1"/>
            <a:t>Mobilitätsmarkt</a:t>
          </a:r>
          <a:r>
            <a:rPr lang="en-US" sz="1400" b="0" i="0" kern="1200"/>
            <a:t> </a:t>
          </a:r>
          <a:r>
            <a:rPr lang="en-US" sz="1400" b="0" i="0" kern="1200" err="1"/>
            <a:t>verändert</a:t>
          </a:r>
          <a:r>
            <a:rPr lang="en-US" sz="1400" b="0" i="0" kern="1200"/>
            <a:t>.</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b="0" i="0" kern="1200" err="1"/>
            <a:t>Innovationskultur</a:t>
          </a:r>
          <a:r>
            <a:rPr lang="en-US" sz="1400" b="0" i="0" kern="1200"/>
            <a:t> </a:t>
          </a:r>
          <a:r>
            <a:rPr lang="en-US" sz="1400" b="0" i="0" kern="1200" err="1"/>
            <a:t>ermöglicht</a:t>
          </a:r>
          <a:r>
            <a:rPr lang="en-US" sz="1400" b="0" i="0" kern="1200"/>
            <a:t> </a:t>
          </a:r>
          <a:r>
            <a:rPr lang="en-US" sz="1400" b="0" i="0" kern="1200" err="1"/>
            <a:t>schnelle</a:t>
          </a:r>
          <a:r>
            <a:rPr lang="en-US" sz="1400" b="0" i="0" kern="1200"/>
            <a:t> </a:t>
          </a:r>
          <a:r>
            <a:rPr lang="en-US" sz="1400" b="0" i="0" kern="1200" err="1"/>
            <a:t>Reaktion</a:t>
          </a:r>
          <a:r>
            <a:rPr lang="en-US" sz="1400" b="0" i="0" kern="1200"/>
            <a:t> auf </a:t>
          </a:r>
          <a:r>
            <a:rPr lang="en-US" sz="1400" b="0" i="0" kern="1200" err="1"/>
            <a:t>Marktveränderungen</a:t>
          </a:r>
          <a:r>
            <a:rPr lang="en-US" sz="1400" b="0" i="0" kern="1200"/>
            <a:t> und </a:t>
          </a:r>
          <a:r>
            <a:rPr lang="en-US" sz="1400" b="0" i="0" kern="1200" err="1"/>
            <a:t>Entwicklung</a:t>
          </a:r>
          <a:r>
            <a:rPr lang="en-US" sz="1400" b="0" i="0" kern="1200"/>
            <a:t> </a:t>
          </a:r>
          <a:r>
            <a:rPr lang="en-US" sz="1400" b="0" i="0" kern="1200" err="1"/>
            <a:t>neuer</a:t>
          </a:r>
          <a:r>
            <a:rPr lang="en-US" sz="1400" b="0" i="0" kern="1200"/>
            <a:t> </a:t>
          </a:r>
          <a:r>
            <a:rPr lang="en-US" sz="1400" b="0" i="0" kern="1200" err="1"/>
            <a:t>Produkte</a:t>
          </a:r>
          <a:r>
            <a:rPr lang="en-US" sz="1400" b="0" i="0" kern="1200"/>
            <a:t>.</a:t>
          </a:r>
        </a:p>
        <a:p>
          <a:pPr marL="114300" lvl="1" indent="-114300" algn="l" defTabSz="622300">
            <a:lnSpc>
              <a:spcPct val="90000"/>
            </a:lnSpc>
            <a:spcBef>
              <a:spcPct val="0"/>
            </a:spcBef>
            <a:spcAft>
              <a:spcPct val="15000"/>
            </a:spcAft>
            <a:buFont typeface="Arial" panose="020B0604020202020204" pitchFamily="34" charset="0"/>
            <a:buChar char="•"/>
          </a:pPr>
          <a:r>
            <a:rPr lang="en-US" sz="1400" b="0" i="0" kern="1200" err="1"/>
            <a:t>Schlüssel</a:t>
          </a:r>
          <a:r>
            <a:rPr lang="en-US" sz="1400" b="0" i="0" kern="1200"/>
            <a:t> </a:t>
          </a:r>
          <a:r>
            <a:rPr lang="en-US" sz="1400" b="0" i="0" kern="1200" err="1"/>
            <a:t>zur</a:t>
          </a:r>
          <a:r>
            <a:rPr lang="en-US" sz="1400" b="0" i="0" kern="1200"/>
            <a:t> </a:t>
          </a:r>
          <a:r>
            <a:rPr lang="en-US" sz="1400" b="0" i="0" kern="1200" err="1"/>
            <a:t>strategischen</a:t>
          </a:r>
          <a:r>
            <a:rPr lang="en-US" sz="1400" b="0" i="0" kern="1200"/>
            <a:t> </a:t>
          </a:r>
          <a:r>
            <a:rPr lang="en-US" sz="1400" b="0" i="0" kern="1200" err="1"/>
            <a:t>Positionierung</a:t>
          </a:r>
          <a:r>
            <a:rPr lang="en-US" sz="1400" b="0" i="0" kern="1200"/>
            <a:t> und </a:t>
          </a:r>
          <a:r>
            <a:rPr lang="en-US" sz="1400" b="0" i="0" kern="1200" err="1"/>
            <a:t>Etablierung</a:t>
          </a:r>
          <a:r>
            <a:rPr lang="en-US" sz="1400" b="0" i="0" kern="1200"/>
            <a:t> </a:t>
          </a:r>
          <a:r>
            <a:rPr lang="en-US" sz="1400" b="0" i="0" kern="1200" err="1"/>
            <a:t>als</a:t>
          </a:r>
          <a:r>
            <a:rPr lang="en-US" sz="1400" b="0" i="0" kern="1200"/>
            <a:t> </a:t>
          </a:r>
          <a:r>
            <a:rPr lang="en-US" sz="1400" b="0" i="0" kern="1200" err="1"/>
            <a:t>Branchenführer</a:t>
          </a:r>
          <a:r>
            <a:rPr lang="en-US" sz="1400" b="0" i="0" kern="1200"/>
            <a:t>.</a:t>
          </a:r>
        </a:p>
      </dsp:txBody>
      <dsp:txXfrm>
        <a:off x="0" y="248798"/>
        <a:ext cx="8567737" cy="1455299"/>
      </dsp:txXfrm>
    </dsp:sp>
    <dsp:sp modelId="{952F2A58-A577-4DA7-AA9D-6848602C7EEC}">
      <dsp:nvSpPr>
        <dsp:cNvPr id="0" name=""/>
        <dsp:cNvSpPr/>
      </dsp:nvSpPr>
      <dsp:spPr>
        <a:xfrm>
          <a:off x="428386" y="42158"/>
          <a:ext cx="5997415" cy="41328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6688" tIns="0" rIns="226688" bIns="0" numCol="1" spcCol="1270" anchor="ctr" anchorCtr="0">
          <a:noAutofit/>
        </a:bodyPr>
        <a:lstStyle/>
        <a:p>
          <a:pPr marL="0" lvl="0" indent="0" algn="l" defTabSz="622300">
            <a:lnSpc>
              <a:spcPct val="90000"/>
            </a:lnSpc>
            <a:spcBef>
              <a:spcPct val="0"/>
            </a:spcBef>
            <a:spcAft>
              <a:spcPct val="35000"/>
            </a:spcAft>
            <a:buNone/>
          </a:pPr>
          <a:r>
            <a:rPr lang="en-US" sz="1400" b="1" i="0" kern="1200" err="1"/>
            <a:t>Strategisch</a:t>
          </a:r>
          <a:endParaRPr lang="en-US" sz="1400" b="1" i="0" kern="1200"/>
        </a:p>
      </dsp:txBody>
      <dsp:txXfrm>
        <a:off x="448561" y="62333"/>
        <a:ext cx="5957065" cy="372930"/>
      </dsp:txXfrm>
    </dsp:sp>
    <dsp:sp modelId="{CF472498-BCA1-4929-B705-FF7F4E9C46ED}">
      <dsp:nvSpPr>
        <dsp:cNvPr id="0" name=""/>
        <dsp:cNvSpPr/>
      </dsp:nvSpPr>
      <dsp:spPr>
        <a:xfrm>
          <a:off x="0" y="1986338"/>
          <a:ext cx="8567737" cy="1058400"/>
        </a:xfrm>
        <a:prstGeom prst="rect">
          <a:avLst/>
        </a:prstGeom>
        <a:solidFill>
          <a:schemeClr val="dk1">
            <a:alpha val="90000"/>
            <a:tint val="40000"/>
            <a:hueOff val="0"/>
            <a:satOff val="0"/>
            <a:lumOff val="0"/>
            <a:alphaOff val="0"/>
          </a:scheme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64952" tIns="291592" rIns="664952" bIns="99568"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b="0" i="0" kern="1200"/>
            <a:t>Ride-Sharing, Uber Eats und </a:t>
          </a:r>
          <a:r>
            <a:rPr lang="en-US" sz="1400" b="0" i="0" kern="1200" err="1"/>
            <a:t>andere</a:t>
          </a:r>
          <a:r>
            <a:rPr lang="en-US" sz="1400" b="0" i="0" kern="1200"/>
            <a:t> </a:t>
          </a:r>
          <a:r>
            <a:rPr lang="en-US" sz="1400" b="0" i="0" kern="1200" err="1"/>
            <a:t>Dienstleistungen</a:t>
          </a:r>
          <a:r>
            <a:rPr lang="en-US" sz="1400" b="0" i="0" kern="1200"/>
            <a:t> </a:t>
          </a:r>
          <a:r>
            <a:rPr lang="en-US" sz="1400" b="0" i="0" kern="1200" err="1"/>
            <a:t>treiben</a:t>
          </a:r>
          <a:r>
            <a:rPr lang="en-US" sz="1400" b="0" i="0" kern="1200"/>
            <a:t> </a:t>
          </a:r>
          <a:r>
            <a:rPr lang="en-US" sz="1400" b="0" i="0" kern="1200" err="1"/>
            <a:t>Umsatzwachstum</a:t>
          </a:r>
          <a:r>
            <a:rPr lang="en-US" sz="1400" b="0" i="0" kern="1200"/>
            <a:t> </a:t>
          </a:r>
          <a:r>
            <a:rPr lang="en-US" sz="1400" b="0" i="0" kern="1200" err="1"/>
            <a:t>voran</a:t>
          </a:r>
          <a:r>
            <a:rPr lang="en-US" sz="1400" b="0" i="0" kern="1200"/>
            <a:t>.</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b="0" i="0" kern="1200" err="1"/>
            <a:t>Innovationskultur</a:t>
          </a:r>
          <a:r>
            <a:rPr lang="en-US" sz="1400" b="0" i="0" kern="1200"/>
            <a:t> </a:t>
          </a:r>
          <a:r>
            <a:rPr lang="en-US" sz="1400" b="0" i="0" kern="1200" err="1"/>
            <a:t>sichert</a:t>
          </a:r>
          <a:r>
            <a:rPr lang="en-US" sz="1400" b="0" i="0" kern="1200"/>
            <a:t> </a:t>
          </a:r>
          <a:r>
            <a:rPr lang="en-US" sz="1400" b="0" i="0" kern="1200" err="1"/>
            <a:t>Investitionen</a:t>
          </a:r>
          <a:r>
            <a:rPr lang="en-US" sz="1400" b="0" i="0" kern="1200"/>
            <a:t> und Kapital, </a:t>
          </a:r>
          <a:r>
            <a:rPr lang="en-US" sz="1400" b="0" i="0" kern="1200" err="1"/>
            <a:t>gewährleistet</a:t>
          </a:r>
          <a:r>
            <a:rPr lang="en-US" sz="1400" b="0" i="0" kern="1200"/>
            <a:t> </a:t>
          </a:r>
          <a:r>
            <a:rPr lang="en-US" sz="1400" b="0" i="0" kern="1200" err="1"/>
            <a:t>finanzielle</a:t>
          </a:r>
          <a:r>
            <a:rPr lang="en-US" sz="1400" b="0" i="0" kern="1200"/>
            <a:t> </a:t>
          </a:r>
          <a:r>
            <a:rPr lang="en-US" sz="1400" b="0" i="0" kern="1200" err="1"/>
            <a:t>Nachhaltigkeit</a:t>
          </a:r>
          <a:r>
            <a:rPr lang="en-US" sz="1400" b="0" i="0" kern="1200"/>
            <a:t>.</a:t>
          </a:r>
        </a:p>
        <a:p>
          <a:pPr marL="114300" lvl="1" indent="-114300" algn="l" defTabSz="622300">
            <a:lnSpc>
              <a:spcPct val="90000"/>
            </a:lnSpc>
            <a:spcBef>
              <a:spcPct val="0"/>
            </a:spcBef>
            <a:spcAft>
              <a:spcPct val="15000"/>
            </a:spcAft>
            <a:buFont typeface="Arial" panose="020B0604020202020204" pitchFamily="34" charset="0"/>
            <a:buChar char="•"/>
          </a:pPr>
          <a:r>
            <a:rPr lang="en-US" sz="1400" b="0" i="0" kern="1200" err="1"/>
            <a:t>Fähigkeit</a:t>
          </a:r>
          <a:r>
            <a:rPr lang="en-US" sz="1400" b="0" i="0" kern="1200"/>
            <a:t>, </a:t>
          </a:r>
          <a:r>
            <a:rPr lang="en-US" sz="1400" b="0" i="0" kern="1200" err="1"/>
            <a:t>neue</a:t>
          </a:r>
          <a:r>
            <a:rPr lang="en-US" sz="1400" b="0" i="0" kern="1200"/>
            <a:t> </a:t>
          </a:r>
          <a:r>
            <a:rPr lang="en-US" sz="1400" b="0" i="0" kern="1200" err="1"/>
            <a:t>Einnahmequellen</a:t>
          </a:r>
          <a:r>
            <a:rPr lang="en-US" sz="1400" b="0" i="0" kern="1200"/>
            <a:t> </a:t>
          </a:r>
          <a:r>
            <a:rPr lang="en-US" sz="1400" b="0" i="0" kern="1200" err="1"/>
            <a:t>zu</a:t>
          </a:r>
          <a:r>
            <a:rPr lang="en-US" sz="1400" b="0" i="0" kern="1200"/>
            <a:t> </a:t>
          </a:r>
          <a:r>
            <a:rPr lang="en-US" sz="1400" b="0" i="0" kern="1200" err="1"/>
            <a:t>erschließen</a:t>
          </a:r>
          <a:r>
            <a:rPr lang="en-US" sz="1400" b="0" i="0" kern="1200"/>
            <a:t> und </a:t>
          </a:r>
          <a:r>
            <a:rPr lang="en-US" sz="1400" b="0" i="0" kern="1200" err="1"/>
            <a:t>sich</a:t>
          </a:r>
          <a:r>
            <a:rPr lang="en-US" sz="1400" b="0" i="0" kern="1200"/>
            <a:t> an </a:t>
          </a:r>
          <a:r>
            <a:rPr lang="en-US" sz="1400" b="0" i="0" kern="1200" err="1"/>
            <a:t>Marktbedingungen</a:t>
          </a:r>
          <a:r>
            <a:rPr lang="en-US" sz="1400" b="0" i="0" kern="1200"/>
            <a:t> </a:t>
          </a:r>
          <a:r>
            <a:rPr lang="en-US" sz="1400" b="0" i="0" kern="1200" err="1"/>
            <a:t>anzupassen</a:t>
          </a:r>
          <a:r>
            <a:rPr lang="en-US" sz="1400" b="0" i="0" kern="1200"/>
            <a:t>.</a:t>
          </a:r>
        </a:p>
      </dsp:txBody>
      <dsp:txXfrm>
        <a:off x="0" y="1986338"/>
        <a:ext cx="8567737" cy="1058400"/>
      </dsp:txXfrm>
    </dsp:sp>
    <dsp:sp modelId="{F501C350-990F-4880-B220-F830BF407773}">
      <dsp:nvSpPr>
        <dsp:cNvPr id="0" name=""/>
        <dsp:cNvSpPr/>
      </dsp:nvSpPr>
      <dsp:spPr>
        <a:xfrm>
          <a:off x="428386" y="1779698"/>
          <a:ext cx="5997415" cy="41328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6688" tIns="0" rIns="226688" bIns="0" numCol="1" spcCol="1270" anchor="ctr" anchorCtr="0">
          <a:noAutofit/>
        </a:bodyPr>
        <a:lstStyle/>
        <a:p>
          <a:pPr marL="0" lvl="0" indent="0" algn="l" defTabSz="622300">
            <a:lnSpc>
              <a:spcPct val="90000"/>
            </a:lnSpc>
            <a:spcBef>
              <a:spcPct val="0"/>
            </a:spcBef>
            <a:spcAft>
              <a:spcPct val="35000"/>
            </a:spcAft>
            <a:buNone/>
          </a:pPr>
          <a:r>
            <a:rPr lang="en-US" sz="1400" b="1" i="0" kern="1200" err="1"/>
            <a:t>Finanziell</a:t>
          </a:r>
          <a:endParaRPr lang="en-US" sz="1400" b="1" i="0" kern="1200"/>
        </a:p>
      </dsp:txBody>
      <dsp:txXfrm>
        <a:off x="448561" y="1799873"/>
        <a:ext cx="5957065" cy="372930"/>
      </dsp:txXfrm>
    </dsp:sp>
    <dsp:sp modelId="{0BA120E5-3691-4D4C-A00F-54E72E511A71}">
      <dsp:nvSpPr>
        <dsp:cNvPr id="0" name=""/>
        <dsp:cNvSpPr/>
      </dsp:nvSpPr>
      <dsp:spPr>
        <a:xfrm>
          <a:off x="0" y="3326978"/>
          <a:ext cx="8567737" cy="1058400"/>
        </a:xfrm>
        <a:prstGeom prst="rect">
          <a:avLst/>
        </a:prstGeom>
        <a:solidFill>
          <a:schemeClr val="dk1">
            <a:alpha val="90000"/>
            <a:tint val="40000"/>
            <a:hueOff val="0"/>
            <a:satOff val="0"/>
            <a:lumOff val="0"/>
            <a:alphaOff val="0"/>
          </a:scheme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64952" tIns="291592" rIns="664952" bIns="99568"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b="0" i="0" kern="1200" err="1"/>
            <a:t>Unternehmenskultur</a:t>
          </a:r>
          <a:r>
            <a:rPr lang="en-US" sz="1400" b="0" i="0" kern="1200"/>
            <a:t> </a:t>
          </a:r>
          <a:r>
            <a:rPr lang="en-US" sz="1400" b="0" i="0" kern="1200" err="1"/>
            <a:t>betont</a:t>
          </a:r>
          <a:r>
            <a:rPr lang="en-US" sz="1400" b="0" i="0" kern="1200"/>
            <a:t> Innovation und Risikobereitschaft.</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b="0" i="0" kern="1200" err="1"/>
            <a:t>Anziehung</a:t>
          </a:r>
          <a:r>
            <a:rPr lang="en-US" sz="1400" b="0" i="0" kern="1200"/>
            <a:t> </a:t>
          </a:r>
          <a:r>
            <a:rPr lang="en-US" sz="1400" b="0" i="0" kern="1200" err="1"/>
            <a:t>junger</a:t>
          </a:r>
          <a:r>
            <a:rPr lang="en-US" sz="1400" b="0" i="0" kern="1200"/>
            <a:t>, </a:t>
          </a:r>
          <a:r>
            <a:rPr lang="en-US" sz="1400" b="0" i="0" kern="1200" err="1"/>
            <a:t>kreativer</a:t>
          </a:r>
          <a:r>
            <a:rPr lang="en-US" sz="1400" b="0" i="0" kern="1200"/>
            <a:t> </a:t>
          </a:r>
          <a:r>
            <a:rPr lang="en-US" sz="1400" b="0" i="0" kern="1200" err="1"/>
            <a:t>Talente</a:t>
          </a:r>
          <a:r>
            <a:rPr lang="en-US" sz="1400" b="0" i="0" kern="1200"/>
            <a:t>, </a:t>
          </a:r>
          <a:r>
            <a:rPr lang="en-US" sz="1400" b="0" i="0" kern="1200" err="1"/>
            <a:t>jedoch</a:t>
          </a:r>
          <a:r>
            <a:rPr lang="en-US" sz="1400" b="0" i="0" kern="1200"/>
            <a:t> </a:t>
          </a:r>
          <a:r>
            <a:rPr lang="en-US" sz="1400" b="0" i="0" kern="1200" err="1"/>
            <a:t>auch</a:t>
          </a:r>
          <a:r>
            <a:rPr lang="en-US" sz="1400" b="0" i="0" kern="1200"/>
            <a:t> </a:t>
          </a:r>
          <a:r>
            <a:rPr lang="en-US" sz="1400" b="0" i="0" kern="1200" err="1"/>
            <a:t>Kontroversen</a:t>
          </a:r>
          <a:r>
            <a:rPr lang="en-US" sz="1400" b="0" i="0" kern="1200"/>
            <a:t> und </a:t>
          </a:r>
          <a:r>
            <a:rPr lang="en-US" sz="1400" b="0" i="0" kern="1200" err="1"/>
            <a:t>Ethikfragen</a:t>
          </a:r>
          <a:r>
            <a:rPr lang="en-US" sz="1400" b="0" i="0" kern="1200"/>
            <a:t>.</a:t>
          </a:r>
        </a:p>
        <a:p>
          <a:pPr marL="114300" lvl="1" indent="-114300" algn="l" defTabSz="622300">
            <a:lnSpc>
              <a:spcPct val="90000"/>
            </a:lnSpc>
            <a:spcBef>
              <a:spcPct val="0"/>
            </a:spcBef>
            <a:spcAft>
              <a:spcPct val="15000"/>
            </a:spcAft>
            <a:buFont typeface="Arial" panose="020B0604020202020204" pitchFamily="34" charset="0"/>
            <a:buChar char="•"/>
          </a:pPr>
          <a:r>
            <a:rPr lang="en-US" sz="1400" b="0" i="0" kern="1200" err="1"/>
            <a:t>Bemühungen</a:t>
          </a:r>
          <a:r>
            <a:rPr lang="en-US" sz="1400" b="0" i="0" kern="1200"/>
            <a:t> um </a:t>
          </a:r>
          <a:r>
            <a:rPr lang="en-US" sz="1400" b="0" i="0" kern="1200" err="1"/>
            <a:t>Verbesserung</a:t>
          </a:r>
          <a:r>
            <a:rPr lang="en-US" sz="1400" b="0" i="0" kern="1200"/>
            <a:t> der </a:t>
          </a:r>
          <a:r>
            <a:rPr lang="en-US" sz="1400" b="0" i="0" kern="1200" err="1"/>
            <a:t>Unternehmenskultur</a:t>
          </a:r>
          <a:r>
            <a:rPr lang="en-US" sz="1400" b="0" i="0" kern="1200"/>
            <a:t> in den </a:t>
          </a:r>
          <a:r>
            <a:rPr lang="en-US" sz="1400" b="0" i="0" kern="1200" err="1"/>
            <a:t>letzten</a:t>
          </a:r>
          <a:r>
            <a:rPr lang="en-US" sz="1400" b="0" i="0" kern="1200"/>
            <a:t> Jahren.</a:t>
          </a:r>
        </a:p>
      </dsp:txBody>
      <dsp:txXfrm>
        <a:off x="0" y="3326978"/>
        <a:ext cx="8567737" cy="1058400"/>
      </dsp:txXfrm>
    </dsp:sp>
    <dsp:sp modelId="{E6479689-3F50-4CCE-8978-12EDDE4F4290}">
      <dsp:nvSpPr>
        <dsp:cNvPr id="0" name=""/>
        <dsp:cNvSpPr/>
      </dsp:nvSpPr>
      <dsp:spPr>
        <a:xfrm>
          <a:off x="428386" y="3120338"/>
          <a:ext cx="5997415" cy="41328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6688" tIns="0" rIns="226688" bIns="0" numCol="1" spcCol="1270" anchor="ctr" anchorCtr="0">
          <a:noAutofit/>
        </a:bodyPr>
        <a:lstStyle/>
        <a:p>
          <a:pPr marL="0" lvl="0" indent="0" algn="l" defTabSz="622300">
            <a:lnSpc>
              <a:spcPct val="90000"/>
            </a:lnSpc>
            <a:spcBef>
              <a:spcPct val="0"/>
            </a:spcBef>
            <a:spcAft>
              <a:spcPct val="35000"/>
            </a:spcAft>
            <a:buNone/>
          </a:pPr>
          <a:r>
            <a:rPr lang="en-US" sz="1400" b="1" i="0" kern="1200" err="1"/>
            <a:t>Kulturell</a:t>
          </a:r>
          <a:endParaRPr lang="en-US" sz="1400" b="1" i="0" kern="1200"/>
        </a:p>
      </dsp:txBody>
      <dsp:txXfrm>
        <a:off x="448561" y="3140513"/>
        <a:ext cx="5957065" cy="37293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CA925D-02A4-41B5-912C-2BE6E69D17A5}">
      <dsp:nvSpPr>
        <dsp:cNvPr id="0" name=""/>
        <dsp:cNvSpPr/>
      </dsp:nvSpPr>
      <dsp:spPr>
        <a:xfrm>
          <a:off x="1194576" y="1834"/>
          <a:ext cx="795348" cy="795348"/>
        </a:xfrm>
        <a:prstGeom prst="ellipse">
          <a:avLst/>
        </a:prstGeom>
        <a:solidFill>
          <a:schemeClr val="accent2">
            <a:lumMod val="40000"/>
            <a:lumOff val="60000"/>
          </a:schemeClr>
        </a:solidFill>
        <a:ln w="12700" cap="flat" cmpd="sng" algn="ctr">
          <a:solidFill>
            <a:schemeClr val="accent2">
              <a:lumMod val="40000"/>
              <a:lumOff val="60000"/>
            </a:schemeClr>
          </a:solidFill>
          <a:prstDash val="solid"/>
          <a:miter lim="800000"/>
        </a:ln>
        <a:effectLst/>
      </dsp:spPr>
      <dsp:style>
        <a:lnRef idx="2">
          <a:schemeClr val="dk1">
            <a:shade val="15000"/>
          </a:schemeClr>
        </a:lnRef>
        <a:fillRef idx="1">
          <a:schemeClr val="dk1"/>
        </a:fillRef>
        <a:effectRef idx="0">
          <a:schemeClr val="dk1"/>
        </a:effectRef>
        <a:fontRef idx="minor">
          <a:schemeClr val="lt1"/>
        </a:fontRef>
      </dsp:style>
      <dsp:txBody>
        <a:bodyPr spcFirstLastPara="0" vert="horz" wrap="square" lIns="12700" tIns="12700" rIns="12700" bIns="12700" numCol="1" spcCol="1270" anchor="ctr" anchorCtr="0">
          <a:noAutofit/>
        </a:bodyPr>
        <a:lstStyle/>
        <a:p>
          <a:pPr marL="0" lvl="0" algn="ctr" defTabSz="444500">
            <a:lnSpc>
              <a:spcPct val="90000"/>
            </a:lnSpc>
            <a:spcBef>
              <a:spcPct val="0"/>
            </a:spcBef>
            <a:spcAft>
              <a:spcPct val="35000"/>
            </a:spcAft>
            <a:buNone/>
          </a:pPr>
          <a:endParaRPr lang="en-US" sz="1000" kern="1200"/>
        </a:p>
        <a:p>
          <a:pPr marL="0" lvl="0" indent="0" algn="ctr" defTabSz="444500">
            <a:lnSpc>
              <a:spcPct val="90000"/>
            </a:lnSpc>
            <a:spcBef>
              <a:spcPct val="0"/>
            </a:spcBef>
            <a:spcAft>
              <a:spcPct val="35000"/>
            </a:spcAft>
            <a:buNone/>
          </a:pPr>
          <a:r>
            <a:rPr lang="en-US" sz="1000" kern="1200">
              <a:solidFill>
                <a:srgbClr val="0065AD">
                  <a:hueOff val="0"/>
                  <a:satOff val="0"/>
                  <a:lumOff val="0"/>
                  <a:alphaOff val="0"/>
                </a:srgbClr>
              </a:solidFill>
              <a:latin typeface="Calibri" panose="020F0502020204030204"/>
              <a:ea typeface="+mn-ea"/>
              <a:cs typeface="+mn-cs"/>
            </a:rPr>
            <a:t>IDEE</a:t>
          </a:r>
        </a:p>
      </dsp:txBody>
      <dsp:txXfrm>
        <a:off x="1311052" y="118310"/>
        <a:ext cx="562396" cy="562396"/>
      </dsp:txXfrm>
    </dsp:sp>
    <dsp:sp modelId="{6DCEC118-4EAC-483F-B7BC-88901A3185FE}">
      <dsp:nvSpPr>
        <dsp:cNvPr id="0" name=""/>
        <dsp:cNvSpPr/>
      </dsp:nvSpPr>
      <dsp:spPr>
        <a:xfrm rot="1800000">
          <a:off x="1998490" y="560872"/>
          <a:ext cx="211434" cy="268429"/>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a:off x="2002739" y="598701"/>
        <a:ext cx="148004" cy="161057"/>
      </dsp:txXfrm>
    </dsp:sp>
    <dsp:sp modelId="{253ED50B-0ADC-46A4-92C7-F8899F82989F}">
      <dsp:nvSpPr>
        <dsp:cNvPr id="0" name=""/>
        <dsp:cNvSpPr/>
      </dsp:nvSpPr>
      <dsp:spPr>
        <a:xfrm>
          <a:off x="2228855" y="598975"/>
          <a:ext cx="795348" cy="795348"/>
        </a:xfrm>
        <a:prstGeom prst="ellipse">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BAUEN</a:t>
          </a:r>
        </a:p>
      </dsp:txBody>
      <dsp:txXfrm>
        <a:off x="2345331" y="715451"/>
        <a:ext cx="562396" cy="562396"/>
      </dsp:txXfrm>
    </dsp:sp>
    <dsp:sp modelId="{BC3C0B74-D1D2-46D4-8F35-A01B95B0AF44}">
      <dsp:nvSpPr>
        <dsp:cNvPr id="0" name=""/>
        <dsp:cNvSpPr/>
      </dsp:nvSpPr>
      <dsp:spPr>
        <a:xfrm rot="5400000">
          <a:off x="2520811" y="1453591"/>
          <a:ext cx="211434" cy="268429"/>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a:off x="2552526" y="1475562"/>
        <a:ext cx="148004" cy="161057"/>
      </dsp:txXfrm>
    </dsp:sp>
    <dsp:sp modelId="{BE9A8D58-CBAA-4B44-90F7-27046B046BC4}">
      <dsp:nvSpPr>
        <dsp:cNvPr id="0" name=""/>
        <dsp:cNvSpPr/>
      </dsp:nvSpPr>
      <dsp:spPr>
        <a:xfrm>
          <a:off x="2228855" y="1793257"/>
          <a:ext cx="795348" cy="795348"/>
        </a:xfrm>
        <a:prstGeom prst="ellipse">
          <a:avLst/>
        </a:prstGeom>
        <a:solidFill>
          <a:schemeClr val="accent2">
            <a:lumMod val="40000"/>
            <a:lumOff val="60000"/>
          </a:schemeClr>
        </a:solidFill>
        <a:ln w="12700" cap="flat" cmpd="sng" algn="ctr">
          <a:solidFill>
            <a:schemeClr val="accent2">
              <a:lumMod val="40000"/>
              <a:lumOff val="60000"/>
            </a:schemeClr>
          </a:solidFill>
          <a:prstDash val="solid"/>
          <a:miter lim="800000"/>
        </a:ln>
        <a:effectLst/>
      </dsp:spPr>
      <dsp:style>
        <a:lnRef idx="2">
          <a:schemeClr val="dk1">
            <a:shade val="15000"/>
          </a:schemeClr>
        </a:lnRef>
        <a:fillRef idx="1">
          <a:schemeClr val="dk1"/>
        </a:fillRef>
        <a:effectRef idx="0">
          <a:schemeClr val="dk1"/>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endParaRPr lang="en-US" sz="1000" kern="1200"/>
        </a:p>
        <a:p>
          <a:pPr marL="0" lvl="0" indent="0" algn="ctr" defTabSz="444500">
            <a:lnSpc>
              <a:spcPct val="90000"/>
            </a:lnSpc>
            <a:spcBef>
              <a:spcPct val="0"/>
            </a:spcBef>
            <a:spcAft>
              <a:spcPct val="35000"/>
            </a:spcAft>
            <a:buNone/>
          </a:pPr>
          <a:r>
            <a:rPr lang="en-US" sz="1000" kern="1200">
              <a:solidFill>
                <a:srgbClr val="0065AD">
                  <a:hueOff val="0"/>
                  <a:satOff val="0"/>
                  <a:lumOff val="0"/>
                  <a:alphaOff val="0"/>
                </a:srgbClr>
              </a:solidFill>
              <a:latin typeface="Calibri" panose="020F0502020204030204"/>
              <a:ea typeface="+mn-ea"/>
              <a:cs typeface="+mn-cs"/>
            </a:rPr>
            <a:t>PRODUKT / MVP</a:t>
          </a:r>
        </a:p>
      </dsp:txBody>
      <dsp:txXfrm>
        <a:off x="2345331" y="1909733"/>
        <a:ext cx="562396" cy="562396"/>
      </dsp:txXfrm>
    </dsp:sp>
    <dsp:sp modelId="{F8E000A2-9858-4124-B7A4-EF0E1AD25271}">
      <dsp:nvSpPr>
        <dsp:cNvPr id="0" name=""/>
        <dsp:cNvSpPr/>
      </dsp:nvSpPr>
      <dsp:spPr>
        <a:xfrm rot="9000000">
          <a:off x="2008854" y="2352294"/>
          <a:ext cx="211434" cy="268429"/>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rot="10800000">
        <a:off x="2068035" y="2390123"/>
        <a:ext cx="148004" cy="161057"/>
      </dsp:txXfrm>
    </dsp:sp>
    <dsp:sp modelId="{934E1EA9-8565-4D57-9AF0-D5A5AC9768EC}">
      <dsp:nvSpPr>
        <dsp:cNvPr id="0" name=""/>
        <dsp:cNvSpPr/>
      </dsp:nvSpPr>
      <dsp:spPr>
        <a:xfrm>
          <a:off x="1194576" y="2390397"/>
          <a:ext cx="795348" cy="795348"/>
        </a:xfrm>
        <a:prstGeom prst="ellipse">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MESSEN</a:t>
          </a:r>
        </a:p>
      </dsp:txBody>
      <dsp:txXfrm>
        <a:off x="1311052" y="2506873"/>
        <a:ext cx="562396" cy="562396"/>
      </dsp:txXfrm>
    </dsp:sp>
    <dsp:sp modelId="{164A9CF0-89B3-4D3F-A88A-4C4935906862}">
      <dsp:nvSpPr>
        <dsp:cNvPr id="0" name=""/>
        <dsp:cNvSpPr/>
      </dsp:nvSpPr>
      <dsp:spPr>
        <a:xfrm rot="12600000">
          <a:off x="974576" y="2358278"/>
          <a:ext cx="211434" cy="268429"/>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rot="10800000">
        <a:off x="1033757" y="2427822"/>
        <a:ext cx="148004" cy="161057"/>
      </dsp:txXfrm>
    </dsp:sp>
    <dsp:sp modelId="{9DA07184-D1AB-4631-AC35-91E27F16DC8F}">
      <dsp:nvSpPr>
        <dsp:cNvPr id="0" name=""/>
        <dsp:cNvSpPr/>
      </dsp:nvSpPr>
      <dsp:spPr>
        <a:xfrm>
          <a:off x="160298" y="1793257"/>
          <a:ext cx="795348" cy="795348"/>
        </a:xfrm>
        <a:prstGeom prst="ellipse">
          <a:avLst/>
        </a:prstGeom>
        <a:solidFill>
          <a:schemeClr val="accent2">
            <a:lumMod val="40000"/>
            <a:lumOff val="60000"/>
          </a:schemeClr>
        </a:solidFill>
        <a:ln w="12700" cap="flat" cmpd="sng" algn="ctr">
          <a:solidFill>
            <a:schemeClr val="accent2">
              <a:lumMod val="40000"/>
              <a:lumOff val="60000"/>
            </a:schemeClr>
          </a:solidFill>
          <a:prstDash val="solid"/>
          <a:miter lim="800000"/>
        </a:ln>
        <a:effectLst/>
      </dsp:spPr>
      <dsp:style>
        <a:lnRef idx="2">
          <a:schemeClr val="dk1">
            <a:shade val="15000"/>
          </a:schemeClr>
        </a:lnRef>
        <a:fillRef idx="1">
          <a:schemeClr val="dk1"/>
        </a:fillRef>
        <a:effectRef idx="0">
          <a:schemeClr val="dk1"/>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r>
            <a:rPr lang="en-US" sz="1200" kern="1200">
              <a:solidFill>
                <a:srgbClr val="0065AD">
                  <a:hueOff val="0"/>
                  <a:satOff val="0"/>
                  <a:lumOff val="0"/>
                  <a:alphaOff val="0"/>
                </a:srgbClr>
              </a:solidFill>
              <a:latin typeface="Calibri" panose="020F0502020204030204"/>
              <a:ea typeface="+mn-ea"/>
              <a:cs typeface="+mn-cs"/>
            </a:rPr>
            <a:t>DATEN</a:t>
          </a:r>
        </a:p>
      </dsp:txBody>
      <dsp:txXfrm>
        <a:off x="276774" y="1909733"/>
        <a:ext cx="562396" cy="562396"/>
      </dsp:txXfrm>
    </dsp:sp>
    <dsp:sp modelId="{500B7657-ED0B-49E6-82D1-F21D9CAC25CA}">
      <dsp:nvSpPr>
        <dsp:cNvPr id="0" name=""/>
        <dsp:cNvSpPr/>
      </dsp:nvSpPr>
      <dsp:spPr>
        <a:xfrm rot="16200000">
          <a:off x="452255" y="1465559"/>
          <a:ext cx="211434" cy="268429"/>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a:off x="483970" y="1550960"/>
        <a:ext cx="148004" cy="161057"/>
      </dsp:txXfrm>
    </dsp:sp>
    <dsp:sp modelId="{92612A3E-D540-41CB-BD31-C86F7B692208}">
      <dsp:nvSpPr>
        <dsp:cNvPr id="0" name=""/>
        <dsp:cNvSpPr/>
      </dsp:nvSpPr>
      <dsp:spPr>
        <a:xfrm>
          <a:off x="160298" y="598975"/>
          <a:ext cx="795348" cy="795348"/>
        </a:xfrm>
        <a:prstGeom prst="ellipse">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LERNEN</a:t>
          </a:r>
        </a:p>
      </dsp:txBody>
      <dsp:txXfrm>
        <a:off x="276774" y="715451"/>
        <a:ext cx="562396" cy="562396"/>
      </dsp:txXfrm>
    </dsp:sp>
    <dsp:sp modelId="{0824946E-4B5A-444D-83C0-6E0E7FE939C8}">
      <dsp:nvSpPr>
        <dsp:cNvPr id="0" name=""/>
        <dsp:cNvSpPr/>
      </dsp:nvSpPr>
      <dsp:spPr>
        <a:xfrm rot="19800000">
          <a:off x="964212" y="566856"/>
          <a:ext cx="211434" cy="268429"/>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a:off x="968461" y="636400"/>
        <a:ext cx="148004" cy="16105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86442C-C884-4F0A-B347-0FDC2B140C9F}">
      <dsp:nvSpPr>
        <dsp:cNvPr id="0" name=""/>
        <dsp:cNvSpPr/>
      </dsp:nvSpPr>
      <dsp:spPr>
        <a:xfrm>
          <a:off x="0" y="16384"/>
          <a:ext cx="8567737" cy="692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err="1"/>
            <a:t>Fahrdienste</a:t>
          </a:r>
          <a:endParaRPr lang="en-US" sz="2000" kern="1200"/>
        </a:p>
      </dsp:txBody>
      <dsp:txXfrm>
        <a:off x="33812" y="50196"/>
        <a:ext cx="8500113" cy="625016"/>
      </dsp:txXfrm>
    </dsp:sp>
    <dsp:sp modelId="{B2BF7463-FBAC-4B25-8750-8A0CF17F339B}">
      <dsp:nvSpPr>
        <dsp:cNvPr id="0" name=""/>
        <dsp:cNvSpPr/>
      </dsp:nvSpPr>
      <dsp:spPr>
        <a:xfrm>
          <a:off x="0" y="709024"/>
          <a:ext cx="8567737" cy="612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err="1"/>
            <a:t>Rückgang</a:t>
          </a:r>
          <a:r>
            <a:rPr lang="en-US" sz="2000" kern="1200"/>
            <a:t> der </a:t>
          </a:r>
          <a:r>
            <a:rPr lang="en-US" sz="2000" kern="1200" err="1"/>
            <a:t>Fahrdienste</a:t>
          </a:r>
          <a:r>
            <a:rPr lang="en-US" sz="2000" kern="1200"/>
            <a:t> </a:t>
          </a:r>
          <a:r>
            <a:rPr lang="en-US" sz="2000" kern="1200" err="1"/>
            <a:t>aufgrund</a:t>
          </a:r>
          <a:r>
            <a:rPr lang="en-US" sz="2000" kern="1200"/>
            <a:t> von Lockdowns und </a:t>
          </a:r>
          <a:r>
            <a:rPr lang="en-US" sz="2000" kern="1200" err="1"/>
            <a:t>Distanzierungsmaßnahmen</a:t>
          </a:r>
          <a:endParaRPr lang="en-US" sz="2000" kern="1200"/>
        </a:p>
      </dsp:txBody>
      <dsp:txXfrm>
        <a:off x="0" y="709024"/>
        <a:ext cx="8567737" cy="612720"/>
      </dsp:txXfrm>
    </dsp:sp>
    <dsp:sp modelId="{3C526582-BBC4-4D15-B651-7BE008F9A42A}">
      <dsp:nvSpPr>
        <dsp:cNvPr id="0" name=""/>
        <dsp:cNvSpPr/>
      </dsp:nvSpPr>
      <dsp:spPr>
        <a:xfrm>
          <a:off x="0" y="1321744"/>
          <a:ext cx="8567737" cy="692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err="1"/>
            <a:t>Lieferdienste</a:t>
          </a:r>
          <a:endParaRPr lang="en-US" sz="2000" kern="1200"/>
        </a:p>
      </dsp:txBody>
      <dsp:txXfrm>
        <a:off x="33812" y="1355556"/>
        <a:ext cx="8500113" cy="625016"/>
      </dsp:txXfrm>
    </dsp:sp>
    <dsp:sp modelId="{F727095A-76F6-440A-8122-0252AF027CBF}">
      <dsp:nvSpPr>
        <dsp:cNvPr id="0" name=""/>
        <dsp:cNvSpPr/>
      </dsp:nvSpPr>
      <dsp:spPr>
        <a:xfrm>
          <a:off x="0" y="2014384"/>
          <a:ext cx="8567737" cy="1014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err="1"/>
            <a:t>Anpassung</a:t>
          </a:r>
          <a:r>
            <a:rPr lang="en-US" sz="2000" kern="1200"/>
            <a:t> des </a:t>
          </a:r>
          <a:r>
            <a:rPr lang="en-US" sz="2000" kern="1200" err="1"/>
            <a:t>Geschäftsmodells</a:t>
          </a:r>
          <a:r>
            <a:rPr lang="en-US" sz="2000" kern="1200"/>
            <a:t>, </a:t>
          </a:r>
          <a:r>
            <a:rPr lang="en-US" sz="2000" kern="1200" err="1"/>
            <a:t>indem</a:t>
          </a:r>
          <a:r>
            <a:rPr lang="en-US" sz="2000" kern="1200"/>
            <a:t> auf </a:t>
          </a:r>
          <a:r>
            <a:rPr lang="en-US" sz="2000" kern="1200" err="1"/>
            <a:t>Lieferdienste</a:t>
          </a:r>
          <a:r>
            <a:rPr lang="en-US" sz="2000" kern="1200"/>
            <a:t> </a:t>
          </a:r>
          <a:r>
            <a:rPr lang="en-US" sz="2000" kern="1200" err="1"/>
            <a:t>umgestellt</a:t>
          </a:r>
          <a:r>
            <a:rPr lang="en-US" sz="2000" kern="1200"/>
            <a:t> </a:t>
          </a:r>
          <a:r>
            <a:rPr lang="en-US" sz="2000" kern="1200" err="1"/>
            <a:t>wurde</a:t>
          </a:r>
          <a:endParaRPr lang="en-US" sz="2000" kern="1200"/>
        </a:p>
        <a:p>
          <a:pPr marL="228600" lvl="1" indent="-228600" algn="l" defTabSz="889000">
            <a:lnSpc>
              <a:spcPct val="90000"/>
            </a:lnSpc>
            <a:spcBef>
              <a:spcPct val="0"/>
            </a:spcBef>
            <a:spcAft>
              <a:spcPct val="20000"/>
            </a:spcAft>
            <a:buChar char="•"/>
          </a:pPr>
          <a:r>
            <a:rPr lang="en-US" sz="2000" kern="1200" err="1"/>
            <a:t>Nachfrage</a:t>
          </a:r>
          <a:r>
            <a:rPr lang="en-US" sz="2000" kern="1200"/>
            <a:t> </a:t>
          </a:r>
          <a:r>
            <a:rPr lang="en-US" sz="2000" kern="1200" err="1"/>
            <a:t>nach</a:t>
          </a:r>
          <a:r>
            <a:rPr lang="en-US" sz="2000" kern="1200"/>
            <a:t> </a:t>
          </a:r>
          <a:r>
            <a:rPr lang="en-US" sz="2000" kern="1200" err="1"/>
            <a:t>Lebensmittel</a:t>
          </a:r>
          <a:r>
            <a:rPr lang="en-US" sz="2000" kern="1200"/>
            <a:t>- und </a:t>
          </a:r>
          <a:r>
            <a:rPr lang="en-US" sz="2000" kern="1200" err="1"/>
            <a:t>Essenslieferungen</a:t>
          </a:r>
          <a:r>
            <a:rPr lang="en-US" sz="2000" kern="1200"/>
            <a:t> </a:t>
          </a:r>
          <a:r>
            <a:rPr lang="en-US" sz="2000" kern="1200" err="1"/>
            <a:t>stiegen</a:t>
          </a:r>
          <a:endParaRPr lang="en-US" sz="2000" kern="1200"/>
        </a:p>
        <a:p>
          <a:pPr marL="228600" lvl="1" indent="-228600" algn="l" defTabSz="889000">
            <a:lnSpc>
              <a:spcPct val="90000"/>
            </a:lnSpc>
            <a:spcBef>
              <a:spcPct val="0"/>
            </a:spcBef>
            <a:spcAft>
              <a:spcPct val="20000"/>
            </a:spcAft>
            <a:buChar char="•"/>
          </a:pPr>
          <a:r>
            <a:rPr lang="en-US" sz="2000" kern="1200"/>
            <a:t>UberEats </a:t>
          </a:r>
          <a:r>
            <a:rPr lang="en-US" sz="2000" kern="1200" err="1"/>
            <a:t>gewann</a:t>
          </a:r>
          <a:r>
            <a:rPr lang="en-US" sz="2000" kern="1200"/>
            <a:t> an </a:t>
          </a:r>
          <a:r>
            <a:rPr lang="en-US" sz="2000" kern="1200" err="1"/>
            <a:t>Bedeutung</a:t>
          </a:r>
          <a:endParaRPr lang="en-US" sz="2000" kern="1200"/>
        </a:p>
      </dsp:txBody>
      <dsp:txXfrm>
        <a:off x="0" y="2014384"/>
        <a:ext cx="8567737" cy="1014817"/>
      </dsp:txXfrm>
    </dsp:sp>
    <dsp:sp modelId="{007EA7B4-8276-408A-9681-9C1E6C13291B}">
      <dsp:nvSpPr>
        <dsp:cNvPr id="0" name=""/>
        <dsp:cNvSpPr/>
      </dsp:nvSpPr>
      <dsp:spPr>
        <a:xfrm>
          <a:off x="0" y="3029202"/>
          <a:ext cx="8567737" cy="692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err="1"/>
            <a:t>Mobilitätsangebote</a:t>
          </a:r>
          <a:endParaRPr lang="en-US" sz="2000" kern="1200"/>
        </a:p>
      </dsp:txBody>
      <dsp:txXfrm>
        <a:off x="33812" y="3063014"/>
        <a:ext cx="8500113" cy="625016"/>
      </dsp:txXfrm>
    </dsp:sp>
    <dsp:sp modelId="{35DD27F8-1D1F-4742-8030-0725A4694D74}">
      <dsp:nvSpPr>
        <dsp:cNvPr id="0" name=""/>
        <dsp:cNvSpPr/>
      </dsp:nvSpPr>
      <dsp:spPr>
        <a:xfrm>
          <a:off x="0" y="3721842"/>
          <a:ext cx="8567737" cy="689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2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err="1"/>
            <a:t>Spezielle</a:t>
          </a:r>
          <a:r>
            <a:rPr lang="en-US" sz="2000" kern="1200"/>
            <a:t> </a:t>
          </a:r>
          <a:r>
            <a:rPr lang="en-US" sz="2000" kern="1200" err="1"/>
            <a:t>Mobilitätsangebote</a:t>
          </a:r>
          <a:r>
            <a:rPr lang="en-US" sz="2000" kern="1200"/>
            <a:t>, </a:t>
          </a:r>
          <a:r>
            <a:rPr lang="en-US" sz="2000" kern="1200" err="1"/>
            <a:t>angepasst</a:t>
          </a:r>
          <a:r>
            <a:rPr lang="en-US" sz="2000" kern="1200"/>
            <a:t> an die </a:t>
          </a:r>
          <a:r>
            <a:rPr lang="en-US" sz="2000" kern="1200" err="1"/>
            <a:t>Pandemie</a:t>
          </a:r>
          <a:endParaRPr lang="en-US" sz="2000" kern="1200"/>
        </a:p>
        <a:p>
          <a:pPr marL="228600" lvl="1" indent="-228600" algn="l" defTabSz="889000">
            <a:lnSpc>
              <a:spcPct val="90000"/>
            </a:lnSpc>
            <a:spcBef>
              <a:spcPct val="0"/>
            </a:spcBef>
            <a:spcAft>
              <a:spcPct val="20000"/>
            </a:spcAft>
            <a:buChar char="•"/>
          </a:pPr>
          <a:r>
            <a:rPr lang="en-US" sz="2000" kern="1200"/>
            <a:t>Car Rentals </a:t>
          </a:r>
          <a:r>
            <a:rPr lang="en-US" sz="2000" kern="1200" err="1"/>
            <a:t>oder</a:t>
          </a:r>
          <a:r>
            <a:rPr lang="en-US" sz="2000" kern="1200"/>
            <a:t> shared Rides mit </a:t>
          </a:r>
          <a:r>
            <a:rPr lang="en-US" sz="2000" kern="1200" err="1"/>
            <a:t>zusätzlichen</a:t>
          </a:r>
          <a:r>
            <a:rPr lang="en-US" sz="2000" kern="1200"/>
            <a:t> </a:t>
          </a:r>
          <a:r>
            <a:rPr lang="en-US" sz="2000" kern="1200" err="1"/>
            <a:t>Sicherheitsmaßnahmen</a:t>
          </a:r>
          <a:endParaRPr lang="en-US" sz="2000" kern="1200"/>
        </a:p>
      </dsp:txBody>
      <dsp:txXfrm>
        <a:off x="0" y="3721842"/>
        <a:ext cx="8567737" cy="689310"/>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2125</cdr:x>
      <cdr:y>0.43884</cdr:y>
    </cdr:from>
    <cdr:to>
      <cdr:x>0.95553</cdr:x>
      <cdr:y>0.56116</cdr:y>
    </cdr:to>
    <cdr:sp macro="" textlink="">
      <cdr:nvSpPr>
        <cdr:cNvPr id="2" name="Textfeld 1">
          <a:extLst xmlns:a="http://schemas.openxmlformats.org/drawingml/2006/main">
            <a:ext uri="{FF2B5EF4-FFF2-40B4-BE49-F238E27FC236}">
              <a16:creationId xmlns:a16="http://schemas.microsoft.com/office/drawing/2014/main" id="{6CF3A465-F956-B9E3-F54A-9B0E69D72222}"/>
            </a:ext>
          </a:extLst>
        </cdr:cNvPr>
        <cdr:cNvSpPr txBox="1"/>
      </cdr:nvSpPr>
      <cdr:spPr>
        <a:xfrm xmlns:a="http://schemas.openxmlformats.org/drawingml/2006/main">
          <a:off x="2433208" y="828633"/>
          <a:ext cx="790379" cy="23098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dirty="0">
              <a:solidFill>
                <a:schemeClr val="tx1"/>
              </a:solidFill>
            </a:rPr>
            <a:t>DoorDash</a:t>
          </a:r>
        </a:p>
      </cdr:txBody>
    </cdr:sp>
  </cdr:relSizeAnchor>
  <cdr:relSizeAnchor xmlns:cdr="http://schemas.openxmlformats.org/drawingml/2006/chartDrawing">
    <cdr:from>
      <cdr:x>0.07328</cdr:x>
      <cdr:y>0.43884</cdr:y>
    </cdr:from>
    <cdr:to>
      <cdr:x>0.30756</cdr:x>
      <cdr:y>0.56116</cdr:y>
    </cdr:to>
    <cdr:sp macro="" textlink="">
      <cdr:nvSpPr>
        <cdr:cNvPr id="3" name="Textfeld 2">
          <a:extLst xmlns:a="http://schemas.openxmlformats.org/drawingml/2006/main">
            <a:ext uri="{FF2B5EF4-FFF2-40B4-BE49-F238E27FC236}">
              <a16:creationId xmlns:a16="http://schemas.microsoft.com/office/drawing/2014/main" id="{63303786-DC64-410A-80AA-5B1DA6FCA719}"/>
            </a:ext>
          </a:extLst>
        </cdr:cNvPr>
        <cdr:cNvSpPr txBox="1"/>
      </cdr:nvSpPr>
      <cdr:spPr>
        <a:xfrm xmlns:a="http://schemas.openxmlformats.org/drawingml/2006/main">
          <a:off x="247220" y="828633"/>
          <a:ext cx="790379" cy="23098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dirty="0">
              <a:solidFill>
                <a:schemeClr val="tx1"/>
              </a:solidFill>
            </a:rPr>
            <a:t>UberEats</a:t>
          </a:r>
        </a:p>
      </cdr:txBody>
    </cdr:sp>
  </cdr:relSizeAnchor>
  <cdr:relSizeAnchor xmlns:cdr="http://schemas.openxmlformats.org/drawingml/2006/chartDrawing">
    <cdr:from>
      <cdr:x>0.084</cdr:x>
      <cdr:y>0.13113</cdr:y>
    </cdr:from>
    <cdr:to>
      <cdr:x>0.31828</cdr:x>
      <cdr:y>0.25346</cdr:y>
    </cdr:to>
    <cdr:sp macro="" textlink="">
      <cdr:nvSpPr>
        <cdr:cNvPr id="4" name="Textfeld 3">
          <a:extLst xmlns:a="http://schemas.openxmlformats.org/drawingml/2006/main">
            <a:ext uri="{FF2B5EF4-FFF2-40B4-BE49-F238E27FC236}">
              <a16:creationId xmlns:a16="http://schemas.microsoft.com/office/drawing/2014/main" id="{CA42C648-CD2B-FD48-ACCD-6578E895884F}"/>
            </a:ext>
          </a:extLst>
        </cdr:cNvPr>
        <cdr:cNvSpPr txBox="1"/>
      </cdr:nvSpPr>
      <cdr:spPr>
        <a:xfrm xmlns:a="http://schemas.openxmlformats.org/drawingml/2006/main">
          <a:off x="241794" y="211268"/>
          <a:ext cx="674376" cy="19709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dirty="0">
              <a:solidFill>
                <a:schemeClr val="tx1"/>
              </a:solidFill>
            </a:rPr>
            <a:t>Grubhub</a:t>
          </a:r>
        </a:p>
      </cdr:txBody>
    </cdr:sp>
  </cdr:relSizeAnchor>
  <cdr:relSizeAnchor xmlns:cdr="http://schemas.openxmlformats.org/drawingml/2006/chartDrawing">
    <cdr:from>
      <cdr:x>0.73068</cdr:x>
      <cdr:y>0.13241</cdr:y>
    </cdr:from>
    <cdr:to>
      <cdr:x>0.96496</cdr:x>
      <cdr:y>0.25474</cdr:y>
    </cdr:to>
    <cdr:sp macro="" textlink="">
      <cdr:nvSpPr>
        <cdr:cNvPr id="5" name="Textfeld 4">
          <a:extLst xmlns:a="http://schemas.openxmlformats.org/drawingml/2006/main">
            <a:ext uri="{FF2B5EF4-FFF2-40B4-BE49-F238E27FC236}">
              <a16:creationId xmlns:a16="http://schemas.microsoft.com/office/drawing/2014/main" id="{D920B7B0-5B01-B3F5-59A0-E0E7BD845689}"/>
            </a:ext>
          </a:extLst>
        </cdr:cNvPr>
        <cdr:cNvSpPr txBox="1"/>
      </cdr:nvSpPr>
      <cdr:spPr>
        <a:xfrm xmlns:a="http://schemas.openxmlformats.org/drawingml/2006/main">
          <a:off x="2465022" y="250031"/>
          <a:ext cx="790379" cy="23098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0" dirty="0">
              <a:solidFill>
                <a:schemeClr val="tx1"/>
              </a:solidFill>
            </a:rPr>
            <a:t>Postmates</a:t>
          </a:r>
        </a:p>
      </cdr:txBody>
    </cdr:sp>
  </cdr:relSizeAnchor>
  <cdr:relSizeAnchor xmlns:cdr="http://schemas.openxmlformats.org/drawingml/2006/chartDrawing">
    <cdr:from>
      <cdr:x>0.20033</cdr:x>
      <cdr:y>0.58481</cdr:y>
    </cdr:from>
    <cdr:to>
      <cdr:x>0.30621</cdr:x>
      <cdr:y>0.58481</cdr:y>
    </cdr:to>
    <cdr:cxnSp macro="">
      <cdr:nvCxnSpPr>
        <cdr:cNvPr id="7" name="Gerader Verbinder 6">
          <a:extLst xmlns:a="http://schemas.openxmlformats.org/drawingml/2006/main">
            <a:ext uri="{FF2B5EF4-FFF2-40B4-BE49-F238E27FC236}">
              <a16:creationId xmlns:a16="http://schemas.microsoft.com/office/drawing/2014/main" id="{0D4F78E4-D954-E5BD-EE75-242FD6C76FE6}"/>
            </a:ext>
          </a:extLst>
        </cdr:cNvPr>
        <cdr:cNvCxnSpPr/>
      </cdr:nvCxnSpPr>
      <cdr:spPr>
        <a:xfrm xmlns:a="http://schemas.openxmlformats.org/drawingml/2006/main" flipH="1">
          <a:off x="675846" y="1104263"/>
          <a:ext cx="357187"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883</cdr:x>
      <cdr:y>0.56242</cdr:y>
    </cdr:from>
    <cdr:to>
      <cdr:x>0.19963</cdr:x>
      <cdr:y>0.58481</cdr:y>
    </cdr:to>
    <cdr:cxnSp macro="">
      <cdr:nvCxnSpPr>
        <cdr:cNvPr id="8" name="Gerader Verbinder 7">
          <a:extLst xmlns:a="http://schemas.openxmlformats.org/drawingml/2006/main">
            <a:ext uri="{FF2B5EF4-FFF2-40B4-BE49-F238E27FC236}">
              <a16:creationId xmlns:a16="http://schemas.microsoft.com/office/drawing/2014/main" id="{AA0AA3D1-16A4-6CCC-38C7-B58AF4B98BCD}"/>
            </a:ext>
          </a:extLst>
        </cdr:cNvPr>
        <cdr:cNvCxnSpPr/>
      </cdr:nvCxnSpPr>
      <cdr:spPr>
        <a:xfrm xmlns:a="http://schemas.openxmlformats.org/drawingml/2006/main">
          <a:off x="635266" y="1061995"/>
          <a:ext cx="38198" cy="42267"/>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9443</cdr:x>
      <cdr:y>0.57976</cdr:y>
    </cdr:from>
    <cdr:to>
      <cdr:x>0.8003</cdr:x>
      <cdr:y>0.57976</cdr:y>
    </cdr:to>
    <cdr:cxnSp macro="">
      <cdr:nvCxnSpPr>
        <cdr:cNvPr id="11" name="Gerader Verbinder 10">
          <a:extLst xmlns:a="http://schemas.openxmlformats.org/drawingml/2006/main">
            <a:ext uri="{FF2B5EF4-FFF2-40B4-BE49-F238E27FC236}">
              <a16:creationId xmlns:a16="http://schemas.microsoft.com/office/drawing/2014/main" id="{F3CFADCF-AD9E-27EC-E727-DC4BBB63EC05}"/>
            </a:ext>
          </a:extLst>
        </cdr:cNvPr>
        <cdr:cNvCxnSpPr/>
      </cdr:nvCxnSpPr>
      <cdr:spPr>
        <a:xfrm xmlns:a="http://schemas.openxmlformats.org/drawingml/2006/main" flipH="1">
          <a:off x="2342720" y="1094738"/>
          <a:ext cx="357187"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003</cdr:x>
      <cdr:y>0.55832</cdr:y>
    </cdr:from>
    <cdr:to>
      <cdr:x>0.82077</cdr:x>
      <cdr:y>0.57976</cdr:y>
    </cdr:to>
    <cdr:cxnSp macro="">
      <cdr:nvCxnSpPr>
        <cdr:cNvPr id="12" name="Gerader Verbinder 11">
          <a:extLst xmlns:a="http://schemas.openxmlformats.org/drawingml/2006/main">
            <a:ext uri="{FF2B5EF4-FFF2-40B4-BE49-F238E27FC236}">
              <a16:creationId xmlns:a16="http://schemas.microsoft.com/office/drawing/2014/main" id="{CE37E8F0-7BF5-2E6A-3935-BA8551CB0AB8}"/>
            </a:ext>
          </a:extLst>
        </cdr:cNvPr>
        <cdr:cNvCxnSpPr/>
      </cdr:nvCxnSpPr>
      <cdr:spPr>
        <a:xfrm xmlns:a="http://schemas.openxmlformats.org/drawingml/2006/main" flipH="1">
          <a:off x="2699907" y="1054256"/>
          <a:ext cx="69058" cy="40481"/>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9398</cdr:x>
      <cdr:y>0.27039</cdr:y>
    </cdr:from>
    <cdr:to>
      <cdr:x>0.3655</cdr:x>
      <cdr:y>0.27039</cdr:y>
    </cdr:to>
    <cdr:cxnSp macro="">
      <cdr:nvCxnSpPr>
        <cdr:cNvPr id="14" name="Gerader Verbinder 13">
          <a:extLst xmlns:a="http://schemas.openxmlformats.org/drawingml/2006/main">
            <a:ext uri="{FF2B5EF4-FFF2-40B4-BE49-F238E27FC236}">
              <a16:creationId xmlns:a16="http://schemas.microsoft.com/office/drawing/2014/main" id="{2D9E29B1-E4D7-4043-F3CC-BABECB874DE5}"/>
            </a:ext>
          </a:extLst>
        </cdr:cNvPr>
        <cdr:cNvCxnSpPr/>
      </cdr:nvCxnSpPr>
      <cdr:spPr>
        <a:xfrm xmlns:a="http://schemas.openxmlformats.org/drawingml/2006/main" flipH="1">
          <a:off x="654415" y="510566"/>
          <a:ext cx="578643"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8195</cdr:x>
      <cdr:y>0.24801</cdr:y>
    </cdr:from>
    <cdr:to>
      <cdr:x>0.19327</cdr:x>
      <cdr:y>0.27039</cdr:y>
    </cdr:to>
    <cdr:cxnSp macro="">
      <cdr:nvCxnSpPr>
        <cdr:cNvPr id="15" name="Gerader Verbinder 14">
          <a:extLst xmlns:a="http://schemas.openxmlformats.org/drawingml/2006/main">
            <a:ext uri="{FF2B5EF4-FFF2-40B4-BE49-F238E27FC236}">
              <a16:creationId xmlns:a16="http://schemas.microsoft.com/office/drawing/2014/main" id="{E3E723E8-A978-85D3-C626-B8E08874D655}"/>
            </a:ext>
          </a:extLst>
        </cdr:cNvPr>
        <cdr:cNvCxnSpPr/>
      </cdr:nvCxnSpPr>
      <cdr:spPr>
        <a:xfrm xmlns:a="http://schemas.openxmlformats.org/drawingml/2006/main">
          <a:off x="613835" y="468298"/>
          <a:ext cx="38198" cy="42267"/>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6618</cdr:x>
      <cdr:y>0.27039</cdr:y>
    </cdr:from>
    <cdr:to>
      <cdr:x>0.3775</cdr:x>
      <cdr:y>0.29278</cdr:y>
    </cdr:to>
    <cdr:cxnSp macro="">
      <cdr:nvCxnSpPr>
        <cdr:cNvPr id="18" name="Gerader Verbinder 17">
          <a:extLst xmlns:a="http://schemas.openxmlformats.org/drawingml/2006/main">
            <a:ext uri="{FF2B5EF4-FFF2-40B4-BE49-F238E27FC236}">
              <a16:creationId xmlns:a16="http://schemas.microsoft.com/office/drawing/2014/main" id="{6569CEFD-E7F8-229F-B66F-7A130ACC61AF}"/>
            </a:ext>
          </a:extLst>
        </cdr:cNvPr>
        <cdr:cNvCxnSpPr/>
      </cdr:nvCxnSpPr>
      <cdr:spPr>
        <a:xfrm xmlns:a="http://schemas.openxmlformats.org/drawingml/2006/main">
          <a:off x="1235342" y="510566"/>
          <a:ext cx="38198" cy="42267"/>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9044</cdr:x>
      <cdr:y>0.19725</cdr:y>
    </cdr:from>
    <cdr:to>
      <cdr:x>0.74595</cdr:x>
      <cdr:y>0.19725</cdr:y>
    </cdr:to>
    <cdr:cxnSp macro="">
      <cdr:nvCxnSpPr>
        <cdr:cNvPr id="19" name="Gerader Verbinder 18">
          <a:extLst xmlns:a="http://schemas.openxmlformats.org/drawingml/2006/main">
            <a:ext uri="{FF2B5EF4-FFF2-40B4-BE49-F238E27FC236}">
              <a16:creationId xmlns:a16="http://schemas.microsoft.com/office/drawing/2014/main" id="{51276238-0298-408C-5AB7-1B045ED99E22}"/>
            </a:ext>
          </a:extLst>
        </cdr:cNvPr>
        <cdr:cNvCxnSpPr/>
      </cdr:nvCxnSpPr>
      <cdr:spPr>
        <a:xfrm xmlns:a="http://schemas.openxmlformats.org/drawingml/2006/main" flipH="1">
          <a:off x="1654540" y="372454"/>
          <a:ext cx="862012"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7773</cdr:x>
      <cdr:y>0.19851</cdr:y>
    </cdr:from>
    <cdr:to>
      <cdr:x>0.48868</cdr:x>
      <cdr:y>0.22161</cdr:y>
    </cdr:to>
    <cdr:cxnSp macro="">
      <cdr:nvCxnSpPr>
        <cdr:cNvPr id="20" name="Gerader Verbinder 19">
          <a:extLst xmlns:a="http://schemas.openxmlformats.org/drawingml/2006/main">
            <a:ext uri="{FF2B5EF4-FFF2-40B4-BE49-F238E27FC236}">
              <a16:creationId xmlns:a16="http://schemas.microsoft.com/office/drawing/2014/main" id="{FA43A36C-D236-F07B-C94B-88008C0EE9C6}"/>
            </a:ext>
          </a:extLst>
        </cdr:cNvPr>
        <cdr:cNvCxnSpPr/>
      </cdr:nvCxnSpPr>
      <cdr:spPr>
        <a:xfrm xmlns:a="http://schemas.openxmlformats.org/drawingml/2006/main" flipH="1">
          <a:off x="1611677" y="374835"/>
          <a:ext cx="36928" cy="43628"/>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AAF93B-3A7B-47D0-82F5-BD3CCAD8231E}" type="datetimeFigureOut">
              <a:rPr lang="de-DE" smtClean="0"/>
              <a:t>03.12.2023</a:t>
            </a:fld>
            <a:endParaRPr lang="de-DE"/>
          </a:p>
        </p:txBody>
      </p:sp>
      <p:sp>
        <p:nvSpPr>
          <p:cNvPr id="4" name="Folienbildplatzhalt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57149C-C7FD-464A-8954-8AA04308970E}" type="slidenum">
              <a:rPr lang="de-DE" smtClean="0"/>
              <a:t>‹#›</a:t>
            </a:fld>
            <a:endParaRPr lang="de-DE"/>
          </a:p>
        </p:txBody>
      </p:sp>
    </p:spTree>
    <p:extLst>
      <p:ext uri="{BB962C8B-B14F-4D97-AF65-F5344CB8AC3E}">
        <p14:creationId xmlns:p14="http://schemas.microsoft.com/office/powerpoint/2010/main" val="2182690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a:t>
            </a:fld>
            <a:endParaRPr lang="en-US"/>
          </a:p>
        </p:txBody>
      </p:sp>
    </p:spTree>
    <p:extLst>
      <p:ext uri="{BB962C8B-B14F-4D97-AF65-F5344CB8AC3E}">
        <p14:creationId xmlns:p14="http://schemas.microsoft.com/office/powerpoint/2010/main" val="23374702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4</a:t>
            </a:fld>
            <a:endParaRPr lang="en-US"/>
          </a:p>
        </p:txBody>
      </p:sp>
    </p:spTree>
    <p:extLst>
      <p:ext uri="{BB962C8B-B14F-4D97-AF65-F5344CB8AC3E}">
        <p14:creationId xmlns:p14="http://schemas.microsoft.com/office/powerpoint/2010/main" val="195698912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05</a:t>
            </a:fld>
            <a:endParaRPr lang="en-US"/>
          </a:p>
        </p:txBody>
      </p:sp>
    </p:spTree>
    <p:extLst>
      <p:ext uri="{BB962C8B-B14F-4D97-AF65-F5344CB8AC3E}">
        <p14:creationId xmlns:p14="http://schemas.microsoft.com/office/powerpoint/2010/main" val="109904608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06</a:t>
            </a:fld>
            <a:endParaRPr lang="en-US"/>
          </a:p>
        </p:txBody>
      </p:sp>
    </p:spTree>
    <p:extLst>
      <p:ext uri="{BB962C8B-B14F-4D97-AF65-F5344CB8AC3E}">
        <p14:creationId xmlns:p14="http://schemas.microsoft.com/office/powerpoint/2010/main" val="323207326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07</a:t>
            </a:fld>
            <a:endParaRPr lang="en-US"/>
          </a:p>
        </p:txBody>
      </p:sp>
    </p:spTree>
    <p:extLst>
      <p:ext uri="{BB962C8B-B14F-4D97-AF65-F5344CB8AC3E}">
        <p14:creationId xmlns:p14="http://schemas.microsoft.com/office/powerpoint/2010/main" val="200333864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08</a:t>
            </a:fld>
            <a:endParaRPr lang="en-US"/>
          </a:p>
        </p:txBody>
      </p:sp>
    </p:spTree>
    <p:extLst>
      <p:ext uri="{BB962C8B-B14F-4D97-AF65-F5344CB8AC3E}">
        <p14:creationId xmlns:p14="http://schemas.microsoft.com/office/powerpoint/2010/main" val="17939549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09</a:t>
            </a:fld>
            <a:endParaRPr lang="en-US"/>
          </a:p>
        </p:txBody>
      </p:sp>
    </p:spTree>
    <p:extLst>
      <p:ext uri="{BB962C8B-B14F-4D97-AF65-F5344CB8AC3E}">
        <p14:creationId xmlns:p14="http://schemas.microsoft.com/office/powerpoint/2010/main" val="234938473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10</a:t>
            </a:fld>
            <a:endParaRPr lang="en-US"/>
          </a:p>
        </p:txBody>
      </p:sp>
    </p:spTree>
    <p:extLst>
      <p:ext uri="{BB962C8B-B14F-4D97-AF65-F5344CB8AC3E}">
        <p14:creationId xmlns:p14="http://schemas.microsoft.com/office/powerpoint/2010/main" val="240322362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11</a:t>
            </a:fld>
            <a:endParaRPr lang="en-US"/>
          </a:p>
        </p:txBody>
      </p:sp>
    </p:spTree>
    <p:extLst>
      <p:ext uri="{BB962C8B-B14F-4D97-AF65-F5344CB8AC3E}">
        <p14:creationId xmlns:p14="http://schemas.microsoft.com/office/powerpoint/2010/main" val="3350441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5</a:t>
            </a:fld>
            <a:endParaRPr lang="en-US"/>
          </a:p>
        </p:txBody>
      </p:sp>
    </p:spTree>
    <p:extLst>
      <p:ext uri="{BB962C8B-B14F-4D97-AF65-F5344CB8AC3E}">
        <p14:creationId xmlns:p14="http://schemas.microsoft.com/office/powerpoint/2010/main" val="29266559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6</a:t>
            </a:fld>
            <a:endParaRPr lang="en-US"/>
          </a:p>
        </p:txBody>
      </p:sp>
    </p:spTree>
    <p:extLst>
      <p:ext uri="{BB962C8B-B14F-4D97-AF65-F5344CB8AC3E}">
        <p14:creationId xmlns:p14="http://schemas.microsoft.com/office/powerpoint/2010/main" val="3879158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7</a:t>
            </a:fld>
            <a:endParaRPr lang="en-US"/>
          </a:p>
        </p:txBody>
      </p:sp>
    </p:spTree>
    <p:extLst>
      <p:ext uri="{BB962C8B-B14F-4D97-AF65-F5344CB8AC3E}">
        <p14:creationId xmlns:p14="http://schemas.microsoft.com/office/powerpoint/2010/main" val="16743087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8</a:t>
            </a:fld>
            <a:endParaRPr lang="en-US"/>
          </a:p>
        </p:txBody>
      </p:sp>
    </p:spTree>
    <p:extLst>
      <p:ext uri="{BB962C8B-B14F-4D97-AF65-F5344CB8AC3E}">
        <p14:creationId xmlns:p14="http://schemas.microsoft.com/office/powerpoint/2010/main" val="33816527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9</a:t>
            </a:fld>
            <a:endParaRPr lang="en-US"/>
          </a:p>
        </p:txBody>
      </p:sp>
    </p:spTree>
    <p:extLst>
      <p:ext uri="{BB962C8B-B14F-4D97-AF65-F5344CB8AC3E}">
        <p14:creationId xmlns:p14="http://schemas.microsoft.com/office/powerpoint/2010/main" val="1432385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20</a:t>
            </a:fld>
            <a:endParaRPr lang="en-US"/>
          </a:p>
        </p:txBody>
      </p:sp>
    </p:spTree>
    <p:extLst>
      <p:ext uri="{BB962C8B-B14F-4D97-AF65-F5344CB8AC3E}">
        <p14:creationId xmlns:p14="http://schemas.microsoft.com/office/powerpoint/2010/main" val="192136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21</a:t>
            </a:fld>
            <a:endParaRPr lang="en-US"/>
          </a:p>
        </p:txBody>
      </p:sp>
    </p:spTree>
    <p:extLst>
      <p:ext uri="{BB962C8B-B14F-4D97-AF65-F5344CB8AC3E}">
        <p14:creationId xmlns:p14="http://schemas.microsoft.com/office/powerpoint/2010/main" val="3179195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22</a:t>
            </a:fld>
            <a:endParaRPr lang="en-US"/>
          </a:p>
        </p:txBody>
      </p:sp>
    </p:spTree>
    <p:extLst>
      <p:ext uri="{BB962C8B-B14F-4D97-AF65-F5344CB8AC3E}">
        <p14:creationId xmlns:p14="http://schemas.microsoft.com/office/powerpoint/2010/main" val="41176295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23</a:t>
            </a:fld>
            <a:endParaRPr lang="en-US"/>
          </a:p>
        </p:txBody>
      </p:sp>
    </p:spTree>
    <p:extLst>
      <p:ext uri="{BB962C8B-B14F-4D97-AF65-F5344CB8AC3E}">
        <p14:creationId xmlns:p14="http://schemas.microsoft.com/office/powerpoint/2010/main" val="21754526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2</a:t>
            </a:fld>
            <a:endParaRPr lang="en-US"/>
          </a:p>
        </p:txBody>
      </p:sp>
    </p:spTree>
    <p:extLst>
      <p:ext uri="{BB962C8B-B14F-4D97-AF65-F5344CB8AC3E}">
        <p14:creationId xmlns:p14="http://schemas.microsoft.com/office/powerpoint/2010/main" val="1701668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A55CF2-256D-44FD-9430-5B63A079CF51}" type="slidenum">
              <a:rPr lang="en-US" smtClean="0"/>
              <a:t>24</a:t>
            </a:fld>
            <a:endParaRPr lang="en-US"/>
          </a:p>
        </p:txBody>
      </p:sp>
    </p:spTree>
    <p:extLst>
      <p:ext uri="{BB962C8B-B14F-4D97-AF65-F5344CB8AC3E}">
        <p14:creationId xmlns:p14="http://schemas.microsoft.com/office/powerpoint/2010/main" val="12349250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25</a:t>
            </a:fld>
            <a:endParaRPr lang="en-US"/>
          </a:p>
        </p:txBody>
      </p:sp>
    </p:spTree>
    <p:extLst>
      <p:ext uri="{BB962C8B-B14F-4D97-AF65-F5344CB8AC3E}">
        <p14:creationId xmlns:p14="http://schemas.microsoft.com/office/powerpoint/2010/main" val="41475675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26</a:t>
            </a:fld>
            <a:endParaRPr lang="en-US"/>
          </a:p>
        </p:txBody>
      </p:sp>
    </p:spTree>
    <p:extLst>
      <p:ext uri="{BB962C8B-B14F-4D97-AF65-F5344CB8AC3E}">
        <p14:creationId xmlns:p14="http://schemas.microsoft.com/office/powerpoint/2010/main" val="41594953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27</a:t>
            </a:fld>
            <a:endParaRPr lang="en-US"/>
          </a:p>
        </p:txBody>
      </p:sp>
    </p:spTree>
    <p:extLst>
      <p:ext uri="{BB962C8B-B14F-4D97-AF65-F5344CB8AC3E}">
        <p14:creationId xmlns:p14="http://schemas.microsoft.com/office/powerpoint/2010/main" val="16165323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28</a:t>
            </a:fld>
            <a:endParaRPr lang="en-US"/>
          </a:p>
        </p:txBody>
      </p:sp>
    </p:spTree>
    <p:extLst>
      <p:ext uri="{BB962C8B-B14F-4D97-AF65-F5344CB8AC3E}">
        <p14:creationId xmlns:p14="http://schemas.microsoft.com/office/powerpoint/2010/main" val="36605350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29</a:t>
            </a:fld>
            <a:endParaRPr lang="en-US"/>
          </a:p>
        </p:txBody>
      </p:sp>
    </p:spTree>
    <p:extLst>
      <p:ext uri="{BB962C8B-B14F-4D97-AF65-F5344CB8AC3E}">
        <p14:creationId xmlns:p14="http://schemas.microsoft.com/office/powerpoint/2010/main" val="36853276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30</a:t>
            </a:fld>
            <a:endParaRPr lang="en-US"/>
          </a:p>
        </p:txBody>
      </p:sp>
    </p:spTree>
    <p:extLst>
      <p:ext uri="{BB962C8B-B14F-4D97-AF65-F5344CB8AC3E}">
        <p14:creationId xmlns:p14="http://schemas.microsoft.com/office/powerpoint/2010/main" val="19181405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31</a:t>
            </a:fld>
            <a:endParaRPr lang="en-US"/>
          </a:p>
        </p:txBody>
      </p:sp>
    </p:spTree>
    <p:extLst>
      <p:ext uri="{BB962C8B-B14F-4D97-AF65-F5344CB8AC3E}">
        <p14:creationId xmlns:p14="http://schemas.microsoft.com/office/powerpoint/2010/main" val="33226514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32</a:t>
            </a:fld>
            <a:endParaRPr lang="en-US"/>
          </a:p>
        </p:txBody>
      </p:sp>
    </p:spTree>
    <p:extLst>
      <p:ext uri="{BB962C8B-B14F-4D97-AF65-F5344CB8AC3E}">
        <p14:creationId xmlns:p14="http://schemas.microsoft.com/office/powerpoint/2010/main" val="31250286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33</a:t>
            </a:fld>
            <a:endParaRPr lang="en-US"/>
          </a:p>
        </p:txBody>
      </p:sp>
    </p:spTree>
    <p:extLst>
      <p:ext uri="{BB962C8B-B14F-4D97-AF65-F5344CB8AC3E}">
        <p14:creationId xmlns:p14="http://schemas.microsoft.com/office/powerpoint/2010/main" val="1735572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A55CF2-256D-44FD-9430-5B63A079CF51}" type="slidenum">
              <a:rPr lang="en-US" smtClean="0"/>
              <a:t>3</a:t>
            </a:fld>
            <a:endParaRPr lang="en-US"/>
          </a:p>
        </p:txBody>
      </p:sp>
    </p:spTree>
    <p:extLst>
      <p:ext uri="{BB962C8B-B14F-4D97-AF65-F5344CB8AC3E}">
        <p14:creationId xmlns:p14="http://schemas.microsoft.com/office/powerpoint/2010/main" val="38032849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34</a:t>
            </a:fld>
            <a:endParaRPr lang="en-US"/>
          </a:p>
        </p:txBody>
      </p:sp>
    </p:spTree>
    <p:extLst>
      <p:ext uri="{BB962C8B-B14F-4D97-AF65-F5344CB8AC3E}">
        <p14:creationId xmlns:p14="http://schemas.microsoft.com/office/powerpoint/2010/main" val="8905831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35</a:t>
            </a:fld>
            <a:endParaRPr lang="en-US"/>
          </a:p>
        </p:txBody>
      </p:sp>
    </p:spTree>
    <p:extLst>
      <p:ext uri="{BB962C8B-B14F-4D97-AF65-F5344CB8AC3E}">
        <p14:creationId xmlns:p14="http://schemas.microsoft.com/office/powerpoint/2010/main" val="35308322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36</a:t>
            </a:fld>
            <a:endParaRPr lang="en-US"/>
          </a:p>
        </p:txBody>
      </p:sp>
    </p:spTree>
    <p:extLst>
      <p:ext uri="{BB962C8B-B14F-4D97-AF65-F5344CB8AC3E}">
        <p14:creationId xmlns:p14="http://schemas.microsoft.com/office/powerpoint/2010/main" val="3631181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37</a:t>
            </a:fld>
            <a:endParaRPr lang="en-US"/>
          </a:p>
        </p:txBody>
      </p:sp>
    </p:spTree>
    <p:extLst>
      <p:ext uri="{BB962C8B-B14F-4D97-AF65-F5344CB8AC3E}">
        <p14:creationId xmlns:p14="http://schemas.microsoft.com/office/powerpoint/2010/main" val="3092760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38</a:t>
            </a:fld>
            <a:endParaRPr lang="en-US"/>
          </a:p>
        </p:txBody>
      </p:sp>
    </p:spTree>
    <p:extLst>
      <p:ext uri="{BB962C8B-B14F-4D97-AF65-F5344CB8AC3E}">
        <p14:creationId xmlns:p14="http://schemas.microsoft.com/office/powerpoint/2010/main" val="11672005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40</a:t>
            </a:fld>
            <a:endParaRPr lang="en-US"/>
          </a:p>
        </p:txBody>
      </p:sp>
    </p:spTree>
    <p:extLst>
      <p:ext uri="{BB962C8B-B14F-4D97-AF65-F5344CB8AC3E}">
        <p14:creationId xmlns:p14="http://schemas.microsoft.com/office/powerpoint/2010/main" val="26480487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41</a:t>
            </a:fld>
            <a:endParaRPr lang="en-US"/>
          </a:p>
        </p:txBody>
      </p:sp>
    </p:spTree>
    <p:extLst>
      <p:ext uri="{BB962C8B-B14F-4D97-AF65-F5344CB8AC3E}">
        <p14:creationId xmlns:p14="http://schemas.microsoft.com/office/powerpoint/2010/main" val="29433329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42</a:t>
            </a:fld>
            <a:endParaRPr lang="en-US"/>
          </a:p>
        </p:txBody>
      </p:sp>
    </p:spTree>
    <p:extLst>
      <p:ext uri="{BB962C8B-B14F-4D97-AF65-F5344CB8AC3E}">
        <p14:creationId xmlns:p14="http://schemas.microsoft.com/office/powerpoint/2010/main" val="1684470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43</a:t>
            </a:fld>
            <a:endParaRPr lang="en-US"/>
          </a:p>
        </p:txBody>
      </p:sp>
    </p:spTree>
    <p:extLst>
      <p:ext uri="{BB962C8B-B14F-4D97-AF65-F5344CB8AC3E}">
        <p14:creationId xmlns:p14="http://schemas.microsoft.com/office/powerpoint/2010/main" val="20122575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44</a:t>
            </a:fld>
            <a:endParaRPr lang="en-US"/>
          </a:p>
        </p:txBody>
      </p:sp>
    </p:spTree>
    <p:extLst>
      <p:ext uri="{BB962C8B-B14F-4D97-AF65-F5344CB8AC3E}">
        <p14:creationId xmlns:p14="http://schemas.microsoft.com/office/powerpoint/2010/main" val="2144961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de-DE" smtClean="0"/>
              <a:t>6</a:t>
            </a:fld>
            <a:endParaRPr lang="de-DE"/>
          </a:p>
        </p:txBody>
      </p:sp>
    </p:spTree>
    <p:extLst>
      <p:ext uri="{BB962C8B-B14F-4D97-AF65-F5344CB8AC3E}">
        <p14:creationId xmlns:p14="http://schemas.microsoft.com/office/powerpoint/2010/main" val="14665790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45</a:t>
            </a:fld>
            <a:endParaRPr lang="en-US"/>
          </a:p>
        </p:txBody>
      </p:sp>
    </p:spTree>
    <p:extLst>
      <p:ext uri="{BB962C8B-B14F-4D97-AF65-F5344CB8AC3E}">
        <p14:creationId xmlns:p14="http://schemas.microsoft.com/office/powerpoint/2010/main" val="5022461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46</a:t>
            </a:fld>
            <a:endParaRPr lang="en-US"/>
          </a:p>
        </p:txBody>
      </p:sp>
    </p:spTree>
    <p:extLst>
      <p:ext uri="{BB962C8B-B14F-4D97-AF65-F5344CB8AC3E}">
        <p14:creationId xmlns:p14="http://schemas.microsoft.com/office/powerpoint/2010/main" val="5617802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47</a:t>
            </a:fld>
            <a:endParaRPr lang="en-US"/>
          </a:p>
        </p:txBody>
      </p:sp>
    </p:spTree>
    <p:extLst>
      <p:ext uri="{BB962C8B-B14F-4D97-AF65-F5344CB8AC3E}">
        <p14:creationId xmlns:p14="http://schemas.microsoft.com/office/powerpoint/2010/main" val="17758065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48</a:t>
            </a:fld>
            <a:endParaRPr lang="en-US"/>
          </a:p>
        </p:txBody>
      </p:sp>
    </p:spTree>
    <p:extLst>
      <p:ext uri="{BB962C8B-B14F-4D97-AF65-F5344CB8AC3E}">
        <p14:creationId xmlns:p14="http://schemas.microsoft.com/office/powerpoint/2010/main" val="39490343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49</a:t>
            </a:fld>
            <a:endParaRPr lang="en-US"/>
          </a:p>
        </p:txBody>
      </p:sp>
    </p:spTree>
    <p:extLst>
      <p:ext uri="{BB962C8B-B14F-4D97-AF65-F5344CB8AC3E}">
        <p14:creationId xmlns:p14="http://schemas.microsoft.com/office/powerpoint/2010/main" val="8847958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50</a:t>
            </a:fld>
            <a:endParaRPr lang="en-US"/>
          </a:p>
        </p:txBody>
      </p:sp>
    </p:spTree>
    <p:extLst>
      <p:ext uri="{BB962C8B-B14F-4D97-AF65-F5344CB8AC3E}">
        <p14:creationId xmlns:p14="http://schemas.microsoft.com/office/powerpoint/2010/main" val="14964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51</a:t>
            </a:fld>
            <a:endParaRPr lang="en-US"/>
          </a:p>
        </p:txBody>
      </p:sp>
    </p:spTree>
    <p:extLst>
      <p:ext uri="{BB962C8B-B14F-4D97-AF65-F5344CB8AC3E}">
        <p14:creationId xmlns:p14="http://schemas.microsoft.com/office/powerpoint/2010/main" val="22828030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A55CF2-256D-44FD-9430-5B63A079CF51}" type="slidenum">
              <a:rPr lang="en-US" smtClean="0"/>
              <a:t>52</a:t>
            </a:fld>
            <a:endParaRPr lang="en-US"/>
          </a:p>
        </p:txBody>
      </p:sp>
    </p:spTree>
    <p:extLst>
      <p:ext uri="{BB962C8B-B14F-4D97-AF65-F5344CB8AC3E}">
        <p14:creationId xmlns:p14="http://schemas.microsoft.com/office/powerpoint/2010/main" val="142937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A55CF2-256D-44FD-9430-5B63A079CF51}" type="slidenum">
              <a:rPr lang="en-US" smtClean="0"/>
              <a:t>53</a:t>
            </a:fld>
            <a:endParaRPr lang="en-US"/>
          </a:p>
        </p:txBody>
      </p:sp>
    </p:spTree>
    <p:extLst>
      <p:ext uri="{BB962C8B-B14F-4D97-AF65-F5344CB8AC3E}">
        <p14:creationId xmlns:p14="http://schemas.microsoft.com/office/powerpoint/2010/main" val="8599820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54</a:t>
            </a:fld>
            <a:endParaRPr lang="en-US"/>
          </a:p>
        </p:txBody>
      </p:sp>
    </p:spTree>
    <p:extLst>
      <p:ext uri="{BB962C8B-B14F-4D97-AF65-F5344CB8AC3E}">
        <p14:creationId xmlns:p14="http://schemas.microsoft.com/office/powerpoint/2010/main" val="8778428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9</a:t>
            </a:fld>
            <a:endParaRPr lang="en-US"/>
          </a:p>
        </p:txBody>
      </p:sp>
    </p:spTree>
    <p:extLst>
      <p:ext uri="{BB962C8B-B14F-4D97-AF65-F5344CB8AC3E}">
        <p14:creationId xmlns:p14="http://schemas.microsoft.com/office/powerpoint/2010/main" val="262457043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55</a:t>
            </a:fld>
            <a:endParaRPr lang="en-US"/>
          </a:p>
        </p:txBody>
      </p:sp>
    </p:spTree>
    <p:extLst>
      <p:ext uri="{BB962C8B-B14F-4D97-AF65-F5344CB8AC3E}">
        <p14:creationId xmlns:p14="http://schemas.microsoft.com/office/powerpoint/2010/main" val="35294657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A55CF2-256D-44FD-9430-5B63A079CF51}" type="slidenum">
              <a:rPr lang="en-US" smtClean="0"/>
              <a:t>56</a:t>
            </a:fld>
            <a:endParaRPr lang="en-US"/>
          </a:p>
        </p:txBody>
      </p:sp>
    </p:spTree>
    <p:extLst>
      <p:ext uri="{BB962C8B-B14F-4D97-AF65-F5344CB8AC3E}">
        <p14:creationId xmlns:p14="http://schemas.microsoft.com/office/powerpoint/2010/main" val="27899907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A55CF2-256D-44FD-9430-5B63A079CF51}" type="slidenum">
              <a:rPr lang="en-US" smtClean="0"/>
              <a:t>57</a:t>
            </a:fld>
            <a:endParaRPr lang="en-US"/>
          </a:p>
        </p:txBody>
      </p:sp>
    </p:spTree>
    <p:extLst>
      <p:ext uri="{BB962C8B-B14F-4D97-AF65-F5344CB8AC3E}">
        <p14:creationId xmlns:p14="http://schemas.microsoft.com/office/powerpoint/2010/main" val="78390752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A55CF2-256D-44FD-9430-5B63A079CF51}" type="slidenum">
              <a:rPr lang="en-US" smtClean="0"/>
              <a:t>58</a:t>
            </a:fld>
            <a:endParaRPr lang="en-US"/>
          </a:p>
        </p:txBody>
      </p:sp>
    </p:spTree>
    <p:extLst>
      <p:ext uri="{BB962C8B-B14F-4D97-AF65-F5344CB8AC3E}">
        <p14:creationId xmlns:p14="http://schemas.microsoft.com/office/powerpoint/2010/main" val="317749096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59</a:t>
            </a:fld>
            <a:endParaRPr lang="en-US"/>
          </a:p>
        </p:txBody>
      </p:sp>
    </p:spTree>
    <p:extLst>
      <p:ext uri="{BB962C8B-B14F-4D97-AF65-F5344CB8AC3E}">
        <p14:creationId xmlns:p14="http://schemas.microsoft.com/office/powerpoint/2010/main" val="278953883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60</a:t>
            </a:fld>
            <a:endParaRPr lang="en-US"/>
          </a:p>
        </p:txBody>
      </p:sp>
    </p:spTree>
    <p:extLst>
      <p:ext uri="{BB962C8B-B14F-4D97-AF65-F5344CB8AC3E}">
        <p14:creationId xmlns:p14="http://schemas.microsoft.com/office/powerpoint/2010/main" val="400377155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61</a:t>
            </a:fld>
            <a:endParaRPr lang="en-US"/>
          </a:p>
        </p:txBody>
      </p:sp>
    </p:spTree>
    <p:extLst>
      <p:ext uri="{BB962C8B-B14F-4D97-AF65-F5344CB8AC3E}">
        <p14:creationId xmlns:p14="http://schemas.microsoft.com/office/powerpoint/2010/main" val="41665191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62</a:t>
            </a:fld>
            <a:endParaRPr lang="en-US"/>
          </a:p>
        </p:txBody>
      </p:sp>
    </p:spTree>
    <p:extLst>
      <p:ext uri="{BB962C8B-B14F-4D97-AF65-F5344CB8AC3E}">
        <p14:creationId xmlns:p14="http://schemas.microsoft.com/office/powerpoint/2010/main" val="388466037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63</a:t>
            </a:fld>
            <a:endParaRPr lang="en-US"/>
          </a:p>
        </p:txBody>
      </p:sp>
    </p:spTree>
    <p:extLst>
      <p:ext uri="{BB962C8B-B14F-4D97-AF65-F5344CB8AC3E}">
        <p14:creationId xmlns:p14="http://schemas.microsoft.com/office/powerpoint/2010/main" val="5460529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64</a:t>
            </a:fld>
            <a:endParaRPr lang="en-US"/>
          </a:p>
        </p:txBody>
      </p:sp>
    </p:spTree>
    <p:extLst>
      <p:ext uri="{BB962C8B-B14F-4D97-AF65-F5344CB8AC3E}">
        <p14:creationId xmlns:p14="http://schemas.microsoft.com/office/powerpoint/2010/main" val="167633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0</a:t>
            </a:fld>
            <a:endParaRPr lang="en-US"/>
          </a:p>
        </p:txBody>
      </p:sp>
    </p:spTree>
    <p:extLst>
      <p:ext uri="{BB962C8B-B14F-4D97-AF65-F5344CB8AC3E}">
        <p14:creationId xmlns:p14="http://schemas.microsoft.com/office/powerpoint/2010/main" val="156678573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65</a:t>
            </a:fld>
            <a:endParaRPr lang="en-US"/>
          </a:p>
        </p:txBody>
      </p:sp>
    </p:spTree>
    <p:extLst>
      <p:ext uri="{BB962C8B-B14F-4D97-AF65-F5344CB8AC3E}">
        <p14:creationId xmlns:p14="http://schemas.microsoft.com/office/powerpoint/2010/main" val="54840558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66</a:t>
            </a:fld>
            <a:endParaRPr lang="en-US"/>
          </a:p>
        </p:txBody>
      </p:sp>
    </p:spTree>
    <p:extLst>
      <p:ext uri="{BB962C8B-B14F-4D97-AF65-F5344CB8AC3E}">
        <p14:creationId xmlns:p14="http://schemas.microsoft.com/office/powerpoint/2010/main" val="76170693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67</a:t>
            </a:fld>
            <a:endParaRPr lang="en-US"/>
          </a:p>
        </p:txBody>
      </p:sp>
    </p:spTree>
    <p:extLst>
      <p:ext uri="{BB962C8B-B14F-4D97-AF65-F5344CB8AC3E}">
        <p14:creationId xmlns:p14="http://schemas.microsoft.com/office/powerpoint/2010/main" val="272505169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A55CF2-256D-44FD-9430-5B63A079CF51}" type="slidenum">
              <a:rPr lang="en-US" smtClean="0"/>
              <a:t>68</a:t>
            </a:fld>
            <a:endParaRPr lang="en-US"/>
          </a:p>
        </p:txBody>
      </p:sp>
    </p:spTree>
    <p:extLst>
      <p:ext uri="{BB962C8B-B14F-4D97-AF65-F5344CB8AC3E}">
        <p14:creationId xmlns:p14="http://schemas.microsoft.com/office/powerpoint/2010/main" val="164785540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B4A55CF2-256D-44FD-9430-5B63A079CF51}" type="slidenum">
              <a:rPr lang="en-US" smtClean="0"/>
              <a:t>69</a:t>
            </a:fld>
            <a:endParaRPr lang="en-US"/>
          </a:p>
        </p:txBody>
      </p:sp>
    </p:spTree>
    <p:extLst>
      <p:ext uri="{BB962C8B-B14F-4D97-AF65-F5344CB8AC3E}">
        <p14:creationId xmlns:p14="http://schemas.microsoft.com/office/powerpoint/2010/main" val="189686096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70</a:t>
            </a:fld>
            <a:endParaRPr lang="en-US"/>
          </a:p>
        </p:txBody>
      </p:sp>
    </p:spTree>
    <p:extLst>
      <p:ext uri="{BB962C8B-B14F-4D97-AF65-F5344CB8AC3E}">
        <p14:creationId xmlns:p14="http://schemas.microsoft.com/office/powerpoint/2010/main" val="139546840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71</a:t>
            </a:fld>
            <a:endParaRPr lang="en-US"/>
          </a:p>
        </p:txBody>
      </p:sp>
    </p:spTree>
    <p:extLst>
      <p:ext uri="{BB962C8B-B14F-4D97-AF65-F5344CB8AC3E}">
        <p14:creationId xmlns:p14="http://schemas.microsoft.com/office/powerpoint/2010/main" val="12396502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72</a:t>
            </a:fld>
            <a:endParaRPr lang="en-US"/>
          </a:p>
        </p:txBody>
      </p:sp>
    </p:spTree>
    <p:extLst>
      <p:ext uri="{BB962C8B-B14F-4D97-AF65-F5344CB8AC3E}">
        <p14:creationId xmlns:p14="http://schemas.microsoft.com/office/powerpoint/2010/main" val="183256625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73</a:t>
            </a:fld>
            <a:endParaRPr lang="en-US"/>
          </a:p>
        </p:txBody>
      </p:sp>
    </p:spTree>
    <p:extLst>
      <p:ext uri="{BB962C8B-B14F-4D97-AF65-F5344CB8AC3E}">
        <p14:creationId xmlns:p14="http://schemas.microsoft.com/office/powerpoint/2010/main" val="181135369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74</a:t>
            </a:fld>
            <a:endParaRPr lang="en-US"/>
          </a:p>
        </p:txBody>
      </p:sp>
    </p:spTree>
    <p:extLst>
      <p:ext uri="{BB962C8B-B14F-4D97-AF65-F5344CB8AC3E}">
        <p14:creationId xmlns:p14="http://schemas.microsoft.com/office/powerpoint/2010/main" val="3700178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1</a:t>
            </a:fld>
            <a:endParaRPr lang="en-US"/>
          </a:p>
        </p:txBody>
      </p:sp>
    </p:spTree>
    <p:extLst>
      <p:ext uri="{BB962C8B-B14F-4D97-AF65-F5344CB8AC3E}">
        <p14:creationId xmlns:p14="http://schemas.microsoft.com/office/powerpoint/2010/main" val="215814515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75</a:t>
            </a:fld>
            <a:endParaRPr lang="en-US"/>
          </a:p>
        </p:txBody>
      </p:sp>
    </p:spTree>
    <p:extLst>
      <p:ext uri="{BB962C8B-B14F-4D97-AF65-F5344CB8AC3E}">
        <p14:creationId xmlns:p14="http://schemas.microsoft.com/office/powerpoint/2010/main" val="151206140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76</a:t>
            </a:fld>
            <a:endParaRPr lang="en-US"/>
          </a:p>
        </p:txBody>
      </p:sp>
    </p:spTree>
    <p:extLst>
      <p:ext uri="{BB962C8B-B14F-4D97-AF65-F5344CB8AC3E}">
        <p14:creationId xmlns:p14="http://schemas.microsoft.com/office/powerpoint/2010/main" val="331088747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77</a:t>
            </a:fld>
            <a:endParaRPr lang="en-US"/>
          </a:p>
        </p:txBody>
      </p:sp>
    </p:spTree>
    <p:extLst>
      <p:ext uri="{BB962C8B-B14F-4D97-AF65-F5344CB8AC3E}">
        <p14:creationId xmlns:p14="http://schemas.microsoft.com/office/powerpoint/2010/main" val="27485665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78</a:t>
            </a:fld>
            <a:endParaRPr lang="en-US"/>
          </a:p>
        </p:txBody>
      </p:sp>
    </p:spTree>
    <p:extLst>
      <p:ext uri="{BB962C8B-B14F-4D97-AF65-F5344CB8AC3E}">
        <p14:creationId xmlns:p14="http://schemas.microsoft.com/office/powerpoint/2010/main" val="321798666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79</a:t>
            </a:fld>
            <a:endParaRPr lang="en-US"/>
          </a:p>
        </p:txBody>
      </p:sp>
    </p:spTree>
    <p:extLst>
      <p:ext uri="{BB962C8B-B14F-4D97-AF65-F5344CB8AC3E}">
        <p14:creationId xmlns:p14="http://schemas.microsoft.com/office/powerpoint/2010/main" val="211169803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80</a:t>
            </a:fld>
            <a:endParaRPr lang="en-US"/>
          </a:p>
        </p:txBody>
      </p:sp>
    </p:spTree>
    <p:extLst>
      <p:ext uri="{BB962C8B-B14F-4D97-AF65-F5344CB8AC3E}">
        <p14:creationId xmlns:p14="http://schemas.microsoft.com/office/powerpoint/2010/main" val="395582688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81</a:t>
            </a:fld>
            <a:endParaRPr lang="en-US"/>
          </a:p>
        </p:txBody>
      </p:sp>
    </p:spTree>
    <p:extLst>
      <p:ext uri="{BB962C8B-B14F-4D97-AF65-F5344CB8AC3E}">
        <p14:creationId xmlns:p14="http://schemas.microsoft.com/office/powerpoint/2010/main" val="375152411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82</a:t>
            </a:fld>
            <a:endParaRPr lang="en-US"/>
          </a:p>
        </p:txBody>
      </p:sp>
    </p:spTree>
    <p:extLst>
      <p:ext uri="{BB962C8B-B14F-4D97-AF65-F5344CB8AC3E}">
        <p14:creationId xmlns:p14="http://schemas.microsoft.com/office/powerpoint/2010/main" val="153242411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83</a:t>
            </a:fld>
            <a:endParaRPr lang="en-US"/>
          </a:p>
        </p:txBody>
      </p:sp>
    </p:spTree>
    <p:extLst>
      <p:ext uri="{BB962C8B-B14F-4D97-AF65-F5344CB8AC3E}">
        <p14:creationId xmlns:p14="http://schemas.microsoft.com/office/powerpoint/2010/main" val="137677349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84</a:t>
            </a:fld>
            <a:endParaRPr lang="en-US"/>
          </a:p>
        </p:txBody>
      </p:sp>
    </p:spTree>
    <p:extLst>
      <p:ext uri="{BB962C8B-B14F-4D97-AF65-F5344CB8AC3E}">
        <p14:creationId xmlns:p14="http://schemas.microsoft.com/office/powerpoint/2010/main" val="400710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2</a:t>
            </a:fld>
            <a:endParaRPr lang="en-US"/>
          </a:p>
        </p:txBody>
      </p:sp>
    </p:spTree>
    <p:extLst>
      <p:ext uri="{BB962C8B-B14F-4D97-AF65-F5344CB8AC3E}">
        <p14:creationId xmlns:p14="http://schemas.microsoft.com/office/powerpoint/2010/main" val="319685034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85</a:t>
            </a:fld>
            <a:endParaRPr lang="en-US"/>
          </a:p>
        </p:txBody>
      </p:sp>
    </p:spTree>
    <p:extLst>
      <p:ext uri="{BB962C8B-B14F-4D97-AF65-F5344CB8AC3E}">
        <p14:creationId xmlns:p14="http://schemas.microsoft.com/office/powerpoint/2010/main" val="33435678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86</a:t>
            </a:fld>
            <a:endParaRPr lang="en-US"/>
          </a:p>
        </p:txBody>
      </p:sp>
    </p:spTree>
    <p:extLst>
      <p:ext uri="{BB962C8B-B14F-4D97-AF65-F5344CB8AC3E}">
        <p14:creationId xmlns:p14="http://schemas.microsoft.com/office/powerpoint/2010/main" val="397989921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87</a:t>
            </a:fld>
            <a:endParaRPr lang="en-US"/>
          </a:p>
        </p:txBody>
      </p:sp>
    </p:spTree>
    <p:extLst>
      <p:ext uri="{BB962C8B-B14F-4D97-AF65-F5344CB8AC3E}">
        <p14:creationId xmlns:p14="http://schemas.microsoft.com/office/powerpoint/2010/main" val="238511715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88</a:t>
            </a:fld>
            <a:endParaRPr lang="en-US"/>
          </a:p>
        </p:txBody>
      </p:sp>
    </p:spTree>
    <p:extLst>
      <p:ext uri="{BB962C8B-B14F-4D97-AF65-F5344CB8AC3E}">
        <p14:creationId xmlns:p14="http://schemas.microsoft.com/office/powerpoint/2010/main" val="206108469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89</a:t>
            </a:fld>
            <a:endParaRPr lang="en-US"/>
          </a:p>
        </p:txBody>
      </p:sp>
    </p:spTree>
    <p:extLst>
      <p:ext uri="{BB962C8B-B14F-4D97-AF65-F5344CB8AC3E}">
        <p14:creationId xmlns:p14="http://schemas.microsoft.com/office/powerpoint/2010/main" val="24806729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90</a:t>
            </a:fld>
            <a:endParaRPr lang="en-US"/>
          </a:p>
        </p:txBody>
      </p:sp>
    </p:spTree>
    <p:extLst>
      <p:ext uri="{BB962C8B-B14F-4D97-AF65-F5344CB8AC3E}">
        <p14:creationId xmlns:p14="http://schemas.microsoft.com/office/powerpoint/2010/main" val="134603668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FE4026F-ADF6-4C25-AB0B-85BB429D7934}"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74912646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92</a:t>
            </a:fld>
            <a:endParaRPr lang="en-US"/>
          </a:p>
        </p:txBody>
      </p:sp>
    </p:spTree>
    <p:extLst>
      <p:ext uri="{BB962C8B-B14F-4D97-AF65-F5344CB8AC3E}">
        <p14:creationId xmlns:p14="http://schemas.microsoft.com/office/powerpoint/2010/main" val="148659566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B4A55CF2-256D-44FD-9430-5B63A079CF51}" type="slidenum">
              <a:rPr lang="en-US" smtClean="0"/>
              <a:t>93</a:t>
            </a:fld>
            <a:endParaRPr lang="en-US"/>
          </a:p>
        </p:txBody>
      </p:sp>
    </p:spTree>
    <p:extLst>
      <p:ext uri="{BB962C8B-B14F-4D97-AF65-F5344CB8AC3E}">
        <p14:creationId xmlns:p14="http://schemas.microsoft.com/office/powerpoint/2010/main" val="207253489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94</a:t>
            </a:fld>
            <a:endParaRPr lang="en-US"/>
          </a:p>
        </p:txBody>
      </p:sp>
    </p:spTree>
    <p:extLst>
      <p:ext uri="{BB962C8B-B14F-4D97-AF65-F5344CB8AC3E}">
        <p14:creationId xmlns:p14="http://schemas.microsoft.com/office/powerpoint/2010/main" val="366017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3</a:t>
            </a:fld>
            <a:endParaRPr lang="en-US"/>
          </a:p>
        </p:txBody>
      </p:sp>
    </p:spTree>
    <p:extLst>
      <p:ext uri="{BB962C8B-B14F-4D97-AF65-F5344CB8AC3E}">
        <p14:creationId xmlns:p14="http://schemas.microsoft.com/office/powerpoint/2010/main" val="319689080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95</a:t>
            </a:fld>
            <a:endParaRPr lang="en-US"/>
          </a:p>
        </p:txBody>
      </p:sp>
    </p:spTree>
    <p:extLst>
      <p:ext uri="{BB962C8B-B14F-4D97-AF65-F5344CB8AC3E}">
        <p14:creationId xmlns:p14="http://schemas.microsoft.com/office/powerpoint/2010/main" val="241497068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B4A55CF2-256D-44FD-9430-5B63A079CF51}" type="slidenum">
              <a:rPr lang="en-US" smtClean="0"/>
              <a:t>96</a:t>
            </a:fld>
            <a:endParaRPr lang="en-US"/>
          </a:p>
        </p:txBody>
      </p:sp>
    </p:spTree>
    <p:extLst>
      <p:ext uri="{BB962C8B-B14F-4D97-AF65-F5344CB8AC3E}">
        <p14:creationId xmlns:p14="http://schemas.microsoft.com/office/powerpoint/2010/main" val="163114254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97</a:t>
            </a:fld>
            <a:endParaRPr lang="en-US"/>
          </a:p>
        </p:txBody>
      </p:sp>
    </p:spTree>
    <p:extLst>
      <p:ext uri="{BB962C8B-B14F-4D97-AF65-F5344CB8AC3E}">
        <p14:creationId xmlns:p14="http://schemas.microsoft.com/office/powerpoint/2010/main" val="158707244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98</a:t>
            </a:fld>
            <a:endParaRPr lang="en-US"/>
          </a:p>
        </p:txBody>
      </p:sp>
    </p:spTree>
    <p:extLst>
      <p:ext uri="{BB962C8B-B14F-4D97-AF65-F5344CB8AC3E}">
        <p14:creationId xmlns:p14="http://schemas.microsoft.com/office/powerpoint/2010/main" val="247700608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99</a:t>
            </a:fld>
            <a:endParaRPr lang="en-US"/>
          </a:p>
        </p:txBody>
      </p:sp>
    </p:spTree>
    <p:extLst>
      <p:ext uri="{BB962C8B-B14F-4D97-AF65-F5344CB8AC3E}">
        <p14:creationId xmlns:p14="http://schemas.microsoft.com/office/powerpoint/2010/main" val="259711457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00</a:t>
            </a:fld>
            <a:endParaRPr lang="en-US"/>
          </a:p>
        </p:txBody>
      </p:sp>
    </p:spTree>
    <p:extLst>
      <p:ext uri="{BB962C8B-B14F-4D97-AF65-F5344CB8AC3E}">
        <p14:creationId xmlns:p14="http://schemas.microsoft.com/office/powerpoint/2010/main" val="149814831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01</a:t>
            </a:fld>
            <a:endParaRPr lang="en-US"/>
          </a:p>
        </p:txBody>
      </p:sp>
    </p:spTree>
    <p:extLst>
      <p:ext uri="{BB962C8B-B14F-4D97-AF65-F5344CB8AC3E}">
        <p14:creationId xmlns:p14="http://schemas.microsoft.com/office/powerpoint/2010/main" val="46439866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02</a:t>
            </a:fld>
            <a:endParaRPr lang="en-US"/>
          </a:p>
        </p:txBody>
      </p:sp>
    </p:spTree>
    <p:extLst>
      <p:ext uri="{BB962C8B-B14F-4D97-AF65-F5344CB8AC3E}">
        <p14:creationId xmlns:p14="http://schemas.microsoft.com/office/powerpoint/2010/main" val="385239741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03</a:t>
            </a:fld>
            <a:endParaRPr lang="en-US"/>
          </a:p>
        </p:txBody>
      </p:sp>
    </p:spTree>
    <p:extLst>
      <p:ext uri="{BB962C8B-B14F-4D97-AF65-F5344CB8AC3E}">
        <p14:creationId xmlns:p14="http://schemas.microsoft.com/office/powerpoint/2010/main" val="83964383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2D57149C-C7FD-464A-8954-8AA04308970E}" type="slidenum">
              <a:rPr lang="en-US" smtClean="0"/>
              <a:t>104</a:t>
            </a:fld>
            <a:endParaRPr lang="en-US"/>
          </a:p>
        </p:txBody>
      </p:sp>
    </p:spTree>
    <p:extLst>
      <p:ext uri="{BB962C8B-B14F-4D97-AF65-F5344CB8AC3E}">
        <p14:creationId xmlns:p14="http://schemas.microsoft.com/office/powerpoint/2010/main" val="24608870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ohne Bild">
    <p:spTree>
      <p:nvGrpSpPr>
        <p:cNvPr id="1" name=""/>
        <p:cNvGrpSpPr/>
        <p:nvPr/>
      </p:nvGrpSpPr>
      <p:grpSpPr>
        <a:xfrm>
          <a:off x="0" y="0"/>
          <a:ext cx="0" cy="0"/>
          <a:chOff x="0" y="0"/>
          <a:chExt cx="0" cy="0"/>
        </a:xfrm>
      </p:grpSpPr>
      <p:sp>
        <p:nvSpPr>
          <p:cNvPr id="2" name="Title 1"/>
          <p:cNvSpPr>
            <a:spLocks noGrp="1"/>
          </p:cNvSpPr>
          <p:nvPr>
            <p:ph type="ctrTitle"/>
          </p:nvPr>
        </p:nvSpPr>
        <p:spPr>
          <a:xfrm>
            <a:off x="360000" y="1980000"/>
            <a:ext cx="8550000" cy="1440000"/>
          </a:xfrm>
        </p:spPr>
        <p:txBody>
          <a:bodyPr anchor="t" anchorCtr="0"/>
          <a:lstStyle>
            <a:lvl1pPr algn="ctr">
              <a:defRPr sz="5000"/>
            </a:lvl1pPr>
          </a:lstStyle>
          <a:p>
            <a:r>
              <a:rPr lang="de-DE"/>
              <a:t>Titelmasterformat durch Klicken bearbeiten</a:t>
            </a:r>
            <a:endParaRPr lang="en-US"/>
          </a:p>
        </p:txBody>
      </p:sp>
      <p:sp>
        <p:nvSpPr>
          <p:cNvPr id="3" name="Subtitle 2"/>
          <p:cNvSpPr>
            <a:spLocks noGrp="1"/>
          </p:cNvSpPr>
          <p:nvPr>
            <p:ph type="subTitle" idx="1" hasCustomPrompt="1"/>
          </p:nvPr>
        </p:nvSpPr>
        <p:spPr>
          <a:xfrm>
            <a:off x="358776" y="3602038"/>
            <a:ext cx="8550000" cy="1655762"/>
          </a:xfrm>
        </p:spPr>
        <p:txBody>
          <a:bodyPr/>
          <a:lstStyle>
            <a:lvl1pPr marL="0" indent="0" algn="ctr">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DE"/>
              <a:t>Ergänzende Angaben </a:t>
            </a:r>
            <a:br>
              <a:rPr lang="de-DE"/>
            </a:br>
            <a:r>
              <a:rPr lang="de-DE"/>
              <a:t>(Untertitel, Name des Vortragenden, Ort, Datum etc.)</a:t>
            </a:r>
          </a:p>
        </p:txBody>
      </p:sp>
      <p:sp>
        <p:nvSpPr>
          <p:cNvPr id="6" name="Slide Number Placeholder 5"/>
          <p:cNvSpPr>
            <a:spLocks noGrp="1"/>
          </p:cNvSpPr>
          <p:nvPr>
            <p:ph type="sldNum" sz="quarter" idx="4"/>
          </p:nvPr>
        </p:nvSpPr>
        <p:spPr>
          <a:xfrm>
            <a:off x="7927200" y="6490829"/>
            <a:ext cx="990000" cy="180000"/>
          </a:xfrm>
          <a:prstGeom prst="rect">
            <a:avLst/>
          </a:prstGeom>
        </p:spPr>
        <p:txBody>
          <a:bodyPr lIns="0" tIns="0" rIns="0" bIns="0" anchor="t" anchorCtr="0"/>
          <a:lstStyle>
            <a:lvl1pPr algn="r">
              <a:defRPr sz="1000"/>
            </a:lvl1pPr>
          </a:lstStyle>
          <a:p>
            <a:fld id="{BAF04893-69FB-435D-AB2E-CA259D85B32F}" type="slidenum">
              <a:rPr lang="de-DE" smtClean="0"/>
              <a:pPr/>
              <a:t>‹#›</a:t>
            </a:fld>
            <a:endParaRPr lang="de-DE"/>
          </a:p>
        </p:txBody>
      </p:sp>
    </p:spTree>
    <p:extLst>
      <p:ext uri="{BB962C8B-B14F-4D97-AF65-F5344CB8AC3E}">
        <p14:creationId xmlns:p14="http://schemas.microsoft.com/office/powerpoint/2010/main" val="39394378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Titelfolie mit Bild">
    <p:spTree>
      <p:nvGrpSpPr>
        <p:cNvPr id="1" name=""/>
        <p:cNvGrpSpPr/>
        <p:nvPr/>
      </p:nvGrpSpPr>
      <p:grpSpPr>
        <a:xfrm>
          <a:off x="0" y="0"/>
          <a:ext cx="0" cy="0"/>
          <a:chOff x="0" y="0"/>
          <a:chExt cx="0" cy="0"/>
        </a:xfrm>
      </p:grpSpPr>
      <p:pic>
        <p:nvPicPr>
          <p:cNvPr id="9" name="Bild 9" descr="ThinkstockPhotos-485812180-PPT_format.psd"/>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976834"/>
            <a:ext cx="9144000" cy="6024144"/>
          </a:xfrm>
          <a:prstGeom prst="rect">
            <a:avLst/>
          </a:prstGeom>
        </p:spPr>
      </p:pic>
      <p:sp>
        <p:nvSpPr>
          <p:cNvPr id="2" name="Title 1"/>
          <p:cNvSpPr>
            <a:spLocks noGrp="1"/>
          </p:cNvSpPr>
          <p:nvPr>
            <p:ph type="title" hasCustomPrompt="1"/>
          </p:nvPr>
        </p:nvSpPr>
        <p:spPr>
          <a:xfrm>
            <a:off x="360000" y="1980000"/>
            <a:ext cx="8550000" cy="1384995"/>
          </a:xfrm>
        </p:spPr>
        <p:txBody>
          <a:bodyPr anchor="t" anchorCtr="0">
            <a:spAutoFit/>
          </a:bodyPr>
          <a:lstStyle>
            <a:lvl1pPr>
              <a:defRPr sz="5000">
                <a:solidFill>
                  <a:schemeClr val="bg1"/>
                </a:solidFill>
              </a:defRPr>
            </a:lvl1pPr>
          </a:lstStyle>
          <a:p>
            <a:r>
              <a:rPr lang="de-DE"/>
              <a:t>Titelmasterformat </a:t>
            </a:r>
            <a:br>
              <a:rPr lang="de-DE"/>
            </a:br>
            <a:r>
              <a:rPr lang="de-DE"/>
              <a:t>durch Klicken bearbeiten</a:t>
            </a:r>
            <a:endParaRPr lang="en-US"/>
          </a:p>
        </p:txBody>
      </p:sp>
      <p:sp>
        <p:nvSpPr>
          <p:cNvPr id="3" name="Text Placeholder 2"/>
          <p:cNvSpPr>
            <a:spLocks noGrp="1"/>
          </p:cNvSpPr>
          <p:nvPr>
            <p:ph type="body" idx="1" hasCustomPrompt="1"/>
          </p:nvPr>
        </p:nvSpPr>
        <p:spPr>
          <a:xfrm>
            <a:off x="360000" y="3543179"/>
            <a:ext cx="8550000" cy="332399"/>
          </a:xfrm>
        </p:spPr>
        <p:txBody>
          <a:bodyPr lIns="0">
            <a:sp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Datum, Projekt &amp; Projektmitglieder</a:t>
            </a:r>
          </a:p>
        </p:txBody>
      </p:sp>
      <p:pic>
        <p:nvPicPr>
          <p:cNvPr id="10" name="Bild 10" descr="FHW_Logo_Claim_final_4c_negativ.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3555" y="4768111"/>
            <a:ext cx="2321960" cy="1547973"/>
          </a:xfrm>
          <a:prstGeom prst="rect">
            <a:avLst/>
          </a:prstGeom>
        </p:spPr>
      </p:pic>
    </p:spTree>
    <p:extLst>
      <p:ext uri="{BB962C8B-B14F-4D97-AF65-F5344CB8AC3E}">
        <p14:creationId xmlns:p14="http://schemas.microsoft.com/office/powerpoint/2010/main" val="18769459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1268413"/>
            <a:ext cx="8568102" cy="646747"/>
          </a:xfrm>
        </p:spPr>
        <p:txBody>
          <a:bodyPr/>
          <a:lstStyle>
            <a:lvl1pPr>
              <a:defRPr/>
            </a:lvl1pPr>
          </a:lstStyle>
          <a:p>
            <a:r>
              <a:rPr lang="de-DE"/>
              <a:t>Hauptaussage der Folie („Actiontitle“), Schriftgröße 24 </a:t>
            </a:r>
            <a:r>
              <a:rPr lang="de-DE" err="1"/>
              <a:t>pt</a:t>
            </a:r>
            <a:r>
              <a:rPr lang="de-DE"/>
              <a:t> </a:t>
            </a:r>
            <a:r>
              <a:rPr lang="de-DE" err="1"/>
              <a:t>bold</a:t>
            </a:r>
            <a:r>
              <a:rPr lang="de-DE"/>
              <a:t>, ein- oder zweizeilig</a:t>
            </a:r>
            <a:endParaRPr lang="en-US"/>
          </a:p>
        </p:txBody>
      </p:sp>
      <p:sp>
        <p:nvSpPr>
          <p:cNvPr id="8" name="Text Placeholder 2"/>
          <p:cNvSpPr>
            <a:spLocks noGrp="1"/>
          </p:cNvSpPr>
          <p:nvPr>
            <p:ph idx="1" hasCustomPrompt="1"/>
          </p:nvPr>
        </p:nvSpPr>
        <p:spPr>
          <a:xfrm>
            <a:off x="359998" y="1989137"/>
            <a:ext cx="8568102" cy="4427537"/>
          </a:xfrm>
          <a:prstGeom prst="rect">
            <a:avLst/>
          </a:prstGeom>
        </p:spPr>
        <p:txBody>
          <a:bodyPr vert="horz" lIns="0" tIns="0" rIns="0" bIns="0" rtlCol="0">
            <a:noAutofit/>
          </a:bodyPr>
          <a:lstStyle>
            <a:lvl2pPr marL="0" indent="0">
              <a:buFont typeface="Arial" panose="020B0604020202020204" pitchFamily="34" charset="0"/>
              <a:buNone/>
              <a:defRPr baseline="0"/>
            </a:lvl2pPr>
            <a:lvl3pPr>
              <a:defRPr/>
            </a:lvl3pPr>
          </a:lstStyle>
          <a:p>
            <a:pPr lvl="1"/>
            <a:r>
              <a:rPr lang="de-DE"/>
              <a:t>Zweite Ebene, Schriftgröße mind. 12 </a:t>
            </a:r>
            <a:r>
              <a:rPr lang="de-DE" err="1"/>
              <a:t>pt</a:t>
            </a:r>
            <a:r>
              <a:rPr lang="de-DE"/>
              <a:t>, </a:t>
            </a:r>
            <a:r>
              <a:rPr lang="de-DE" err="1"/>
              <a:t>max</a:t>
            </a:r>
            <a:r>
              <a:rPr lang="de-DE"/>
              <a:t> 20 </a:t>
            </a:r>
            <a:r>
              <a:rPr lang="de-DE" err="1"/>
              <a:t>pt</a:t>
            </a:r>
            <a:r>
              <a:rPr lang="de-DE"/>
              <a:t>; zusätzlich beachten: Nur eine Schriftgröße je Folie verwenden; keine Verwendung von Schatten bei </a:t>
            </a:r>
            <a:r>
              <a:rPr lang="de-DE" err="1"/>
              <a:t>Textboxen</a:t>
            </a:r>
            <a:r>
              <a:rPr lang="de-DE"/>
              <a:t> oder Schriften; Schrift grundsätzlich nur im Standardblau (siehe Details auf dem Farbchart), keine unterstrichenen Buchstaben; keine Verwendung von verschiedenen Einheiten auf einem Chart (z.B.  Wechsel zwischen USD, EUR, CHF); maximal zwei Kommastellen; Leerzeichen zwischen einer Zahl und der Einheit, Abkürzung für Währungen (EUR, USD) und Größen (z.B. </a:t>
            </a:r>
            <a:r>
              <a:rPr lang="de-DE" err="1"/>
              <a:t>mEUR</a:t>
            </a:r>
            <a:r>
              <a:rPr lang="de-DE"/>
              <a:t> oder </a:t>
            </a:r>
            <a:r>
              <a:rPr lang="de-DE" err="1"/>
              <a:t>tEUR</a:t>
            </a:r>
            <a:r>
              <a:rPr lang="de-DE"/>
              <a:t> oder </a:t>
            </a:r>
            <a:r>
              <a:rPr lang="de-DE" err="1"/>
              <a:t>kEUR</a:t>
            </a:r>
            <a:r>
              <a:rPr lang="de-DE"/>
              <a:t>); keine Verwendung von Animation; Fußnoten im Text „hochgestellt“, in der Fußnotenzeile mit „1)“, „2)“ verwenden (nicht * oder  *1  etc.); Aufzählungszeichen Ebene 1 ausgefüllter Punkt, Ebene 2 nicht gefüllter Punkt; nicht mehr als zwei Ebenen verwenden; in </a:t>
            </a:r>
            <a:r>
              <a:rPr lang="de-DE" err="1"/>
              <a:t>Textboxen</a:t>
            </a:r>
            <a:r>
              <a:rPr lang="de-DE"/>
              <a:t> immer 0,1 cm Abstand zu allen Rändern; Ausrichtung für Text, Zahlen etc. immer horizontal linksbündig, vertikal zentriert</a:t>
            </a:r>
          </a:p>
          <a:p>
            <a:pPr lvl="1"/>
            <a:endParaRPr lang="de-DE"/>
          </a:p>
          <a:p>
            <a:pPr lvl="2"/>
            <a:endParaRPr lang="de-DE"/>
          </a:p>
        </p:txBody>
      </p:sp>
      <p:sp>
        <p:nvSpPr>
          <p:cNvPr id="10" name="Slide Number Placeholder 5"/>
          <p:cNvSpPr>
            <a:spLocks noGrp="1"/>
          </p:cNvSpPr>
          <p:nvPr>
            <p:ph type="sldNum" sz="quarter" idx="4"/>
          </p:nvPr>
        </p:nvSpPr>
        <p:spPr>
          <a:xfrm>
            <a:off x="8620125" y="6517499"/>
            <a:ext cx="308504" cy="180000"/>
          </a:xfrm>
          <a:prstGeom prst="rect">
            <a:avLst/>
          </a:prstGeom>
        </p:spPr>
        <p:txBody>
          <a:bodyPr lIns="0" tIns="0" rIns="0" bIns="0" anchor="t" anchorCtr="0"/>
          <a:lstStyle>
            <a:lvl1pPr algn="r">
              <a:defRPr sz="1000"/>
            </a:lvl1pPr>
          </a:lstStyle>
          <a:p>
            <a:fld id="{BAF04893-69FB-435D-AB2E-CA259D85B32F}" type="slidenum">
              <a:rPr lang="de-DE" smtClean="0"/>
              <a:pPr/>
              <a:t>‹#›</a:t>
            </a:fld>
            <a:endParaRPr lang="de-DE"/>
          </a:p>
        </p:txBody>
      </p:sp>
      <p:sp>
        <p:nvSpPr>
          <p:cNvPr id="7" name="Text Placeholder 2"/>
          <p:cNvSpPr>
            <a:spLocks noGrp="1"/>
          </p:cNvSpPr>
          <p:nvPr>
            <p:ph idx="10" hasCustomPrompt="1"/>
          </p:nvPr>
        </p:nvSpPr>
        <p:spPr>
          <a:xfrm>
            <a:off x="359997" y="912307"/>
            <a:ext cx="8568103" cy="284667"/>
          </a:xfrm>
          <a:prstGeom prst="rect">
            <a:avLst/>
          </a:prstGeom>
        </p:spPr>
        <p:txBody>
          <a:bodyPr vert="horz" lIns="0" tIns="0" rIns="0" bIns="0" rtlCol="0">
            <a:noAutofit/>
          </a:bodyPr>
          <a:lstStyle>
            <a:lvl1pPr>
              <a:defRPr sz="2000" baseline="0"/>
            </a:lvl1pPr>
            <a:lvl2pPr>
              <a:defRPr/>
            </a:lvl2pPr>
          </a:lstStyle>
          <a:p>
            <a:pPr lvl="0"/>
            <a:r>
              <a:rPr lang="de-DE"/>
              <a:t>Deskriptiver Titel („</a:t>
            </a:r>
            <a:r>
              <a:rPr lang="de-DE" err="1"/>
              <a:t>Subtitle</a:t>
            </a:r>
            <a:r>
              <a:rPr lang="de-DE"/>
              <a:t>“), Schriftgröße 20 </a:t>
            </a:r>
            <a:r>
              <a:rPr lang="de-DE" err="1"/>
              <a:t>pt</a:t>
            </a:r>
            <a:r>
              <a:rPr lang="de-DE"/>
              <a:t>, einzeilig</a:t>
            </a:r>
          </a:p>
        </p:txBody>
      </p:sp>
      <p:cxnSp>
        <p:nvCxnSpPr>
          <p:cNvPr id="14" name="Gerader Verbinder 13"/>
          <p:cNvCxnSpPr/>
          <p:nvPr userDrawn="1"/>
        </p:nvCxnSpPr>
        <p:spPr>
          <a:xfrm>
            <a:off x="8577256" y="6517499"/>
            <a:ext cx="1341" cy="298828"/>
          </a:xfrm>
          <a:prstGeom prst="line">
            <a:avLst/>
          </a:prstGeom>
          <a:ln w="3175"/>
        </p:spPr>
        <p:style>
          <a:lnRef idx="1">
            <a:schemeClr val="dk1"/>
          </a:lnRef>
          <a:fillRef idx="0">
            <a:schemeClr val="dk1"/>
          </a:fillRef>
          <a:effectRef idx="0">
            <a:schemeClr val="dk1"/>
          </a:effectRef>
          <a:fontRef idx="minor">
            <a:schemeClr val="tx1"/>
          </a:fontRef>
        </p:style>
      </p:cxnSp>
      <p:sp>
        <p:nvSpPr>
          <p:cNvPr id="9" name="Date Placeholder 3">
            <a:extLst>
              <a:ext uri="{FF2B5EF4-FFF2-40B4-BE49-F238E27FC236}">
                <a16:creationId xmlns:a16="http://schemas.microsoft.com/office/drawing/2014/main" id="{5AA8195F-6B7B-4A52-82BE-95D3CC9454FD}"/>
              </a:ext>
            </a:extLst>
          </p:cNvPr>
          <p:cNvSpPr txBox="1">
            <a:spLocks/>
          </p:cNvSpPr>
          <p:nvPr userDrawn="1"/>
        </p:nvSpPr>
        <p:spPr>
          <a:xfrm>
            <a:off x="360001" y="6517499"/>
            <a:ext cx="419780" cy="180000"/>
          </a:xfrm>
          <a:prstGeom prst="rect">
            <a:avLst/>
          </a:prstGeom>
        </p:spPr>
        <p:txBody>
          <a:bodyPr vert="horz" lIns="0" tIns="0" rIns="0" bIns="0" rtlCol="0">
            <a:noAutofit/>
          </a:bodyPr>
          <a:lstStyle>
            <a:lvl1pPr lvl="0" indent="0">
              <a:lnSpc>
                <a:spcPct val="90000"/>
              </a:lnSpc>
              <a:spcBef>
                <a:spcPts val="1000"/>
              </a:spcBef>
              <a:buFont typeface="Arial" panose="020B0604020202020204" pitchFamily="34" charset="0"/>
              <a:buNone/>
              <a:defRPr sz="1100" b="0" baseline="0"/>
            </a:lvl1pPr>
            <a:lvl2pPr marL="179388" marR="0" indent="-179388" defTabSz="896938" fontAlgn="auto">
              <a:lnSpc>
                <a:spcPct val="90000"/>
              </a:lnSpc>
              <a:spcBef>
                <a:spcPts val="500"/>
              </a:spcBef>
              <a:spcAft>
                <a:spcPts val="0"/>
              </a:spcAft>
              <a:buClrTx/>
              <a:buSzTx/>
              <a:buFont typeface="Arial" panose="020B0604020202020204" pitchFamily="34" charset="0"/>
              <a:buNone/>
              <a:tabLst/>
              <a:defRPr sz="1100" baseline="0"/>
            </a:lvl2pPr>
            <a:lvl3pPr marL="358775" indent="0">
              <a:lnSpc>
                <a:spcPct val="90000"/>
              </a:lnSpc>
              <a:spcBef>
                <a:spcPts val="500"/>
              </a:spcBef>
              <a:buFont typeface="Arial" panose="020B0604020202020204" pitchFamily="34" charset="0"/>
              <a:buNone/>
              <a:defRPr sz="16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err="1"/>
              <a:t>Quelle</a:t>
            </a:r>
            <a:r>
              <a:rPr lang="en-US"/>
              <a:t>:</a:t>
            </a:r>
          </a:p>
        </p:txBody>
      </p:sp>
      <p:sp>
        <p:nvSpPr>
          <p:cNvPr id="11" name="Text Placeholder 2">
            <a:extLst>
              <a:ext uri="{FF2B5EF4-FFF2-40B4-BE49-F238E27FC236}">
                <a16:creationId xmlns:a16="http://schemas.microsoft.com/office/drawing/2014/main" id="{1C9A3097-DF0B-4FA3-992D-F6BC022498BB}"/>
              </a:ext>
            </a:extLst>
          </p:cNvPr>
          <p:cNvSpPr>
            <a:spLocks noGrp="1"/>
          </p:cNvSpPr>
          <p:nvPr>
            <p:ph idx="11" hasCustomPrompt="1"/>
          </p:nvPr>
        </p:nvSpPr>
        <p:spPr>
          <a:xfrm>
            <a:off x="779782" y="6517499"/>
            <a:ext cx="3746180" cy="298828"/>
          </a:xfrm>
          <a:prstGeom prst="rect">
            <a:avLst/>
          </a:prstGeom>
        </p:spPr>
        <p:txBody>
          <a:bodyPr vert="horz" lIns="0" tIns="0" rIns="0" bIns="0" rtlCol="0">
            <a:noAutofit/>
          </a:bodyPr>
          <a:lstStyle>
            <a:lvl1pPr>
              <a:defRPr sz="1100" baseline="0"/>
            </a:lvl1pPr>
            <a:lvl2pPr>
              <a:defRPr sz="1100"/>
            </a:lvl2pPr>
          </a:lstStyle>
          <a:p>
            <a:pPr lvl="0"/>
            <a:r>
              <a:rPr lang="de-DE"/>
              <a:t>Quellen/Fußnoten in 11 </a:t>
            </a:r>
            <a:r>
              <a:rPr lang="de-DE" err="1"/>
              <a:t>pt</a:t>
            </a:r>
            <a:endParaRPr lang="de-DE"/>
          </a:p>
        </p:txBody>
      </p:sp>
      <p:sp>
        <p:nvSpPr>
          <p:cNvPr id="12" name="Date Placeholder 3">
            <a:extLst>
              <a:ext uri="{FF2B5EF4-FFF2-40B4-BE49-F238E27FC236}">
                <a16:creationId xmlns:a16="http://schemas.microsoft.com/office/drawing/2014/main" id="{A93A1050-AA5E-4DA1-AC42-3D9EB41B6C8F}"/>
              </a:ext>
            </a:extLst>
          </p:cNvPr>
          <p:cNvSpPr txBox="1">
            <a:spLocks/>
          </p:cNvSpPr>
          <p:nvPr userDrawn="1"/>
        </p:nvSpPr>
        <p:spPr>
          <a:xfrm>
            <a:off x="4616630" y="6517499"/>
            <a:ext cx="764996" cy="180000"/>
          </a:xfrm>
          <a:prstGeom prst="rect">
            <a:avLst/>
          </a:prstGeom>
        </p:spPr>
        <p:txBody>
          <a:bodyPr vert="horz" lIns="0" tIns="0" rIns="0" bIns="0" rtlCol="0">
            <a:noAutofit/>
          </a:bodyPr>
          <a:lstStyle>
            <a:lvl1pPr lvl="0" indent="0">
              <a:lnSpc>
                <a:spcPct val="90000"/>
              </a:lnSpc>
              <a:spcBef>
                <a:spcPts val="1000"/>
              </a:spcBef>
              <a:buFont typeface="Arial" panose="020B0604020202020204" pitchFamily="34" charset="0"/>
              <a:buNone/>
              <a:defRPr sz="1100" b="0" baseline="0"/>
            </a:lvl1pPr>
            <a:lvl2pPr marL="179388" marR="0" indent="-179388" defTabSz="896938" fontAlgn="auto">
              <a:lnSpc>
                <a:spcPct val="90000"/>
              </a:lnSpc>
              <a:spcBef>
                <a:spcPts val="500"/>
              </a:spcBef>
              <a:spcAft>
                <a:spcPts val="0"/>
              </a:spcAft>
              <a:buClrTx/>
              <a:buSzTx/>
              <a:buFont typeface="Arial" panose="020B0604020202020204" pitchFamily="34" charset="0"/>
              <a:buNone/>
              <a:tabLst/>
              <a:defRPr sz="1100" baseline="0"/>
            </a:lvl2pPr>
            <a:lvl3pPr marL="358775" indent="0">
              <a:lnSpc>
                <a:spcPct val="90000"/>
              </a:lnSpc>
              <a:spcBef>
                <a:spcPts val="500"/>
              </a:spcBef>
              <a:buFont typeface="Arial" panose="020B0604020202020204" pitchFamily="34" charset="0"/>
              <a:buNone/>
              <a:defRPr sz="16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err="1"/>
              <a:t>Titel</a:t>
            </a:r>
            <a:r>
              <a:rPr lang="en-US"/>
              <a:t>/</a:t>
            </a:r>
            <a:r>
              <a:rPr lang="en-US" err="1"/>
              <a:t>Kapitel</a:t>
            </a:r>
            <a:r>
              <a:rPr lang="en-US"/>
              <a:t>: </a:t>
            </a:r>
          </a:p>
        </p:txBody>
      </p:sp>
      <p:sp>
        <p:nvSpPr>
          <p:cNvPr id="13" name="Text Placeholder 2">
            <a:extLst>
              <a:ext uri="{FF2B5EF4-FFF2-40B4-BE49-F238E27FC236}">
                <a16:creationId xmlns:a16="http://schemas.microsoft.com/office/drawing/2014/main" id="{A9ADCDD7-8B7B-4EC2-9C2D-B0DADA58C93A}"/>
              </a:ext>
            </a:extLst>
          </p:cNvPr>
          <p:cNvSpPr>
            <a:spLocks noGrp="1"/>
          </p:cNvSpPr>
          <p:nvPr>
            <p:ph idx="12" hasCustomPrompt="1"/>
          </p:nvPr>
        </p:nvSpPr>
        <p:spPr>
          <a:xfrm>
            <a:off x="5385436" y="6517499"/>
            <a:ext cx="3144441" cy="298828"/>
          </a:xfrm>
          <a:prstGeom prst="rect">
            <a:avLst/>
          </a:prstGeom>
        </p:spPr>
        <p:txBody>
          <a:bodyPr vert="horz" lIns="0" tIns="0" rIns="0" bIns="0" rtlCol="0">
            <a:noAutofit/>
          </a:bodyPr>
          <a:lstStyle>
            <a:lvl1pPr>
              <a:defRPr sz="1100" baseline="0"/>
            </a:lvl1pPr>
            <a:lvl2pPr>
              <a:defRPr sz="1100"/>
            </a:lvl2pPr>
          </a:lstStyle>
          <a:p>
            <a:pPr lvl="0"/>
            <a:r>
              <a:rPr lang="de-DE"/>
              <a:t>Titel- und/oder Kapitel-/Abschnittsangaben in 11 </a:t>
            </a:r>
            <a:r>
              <a:rPr lang="de-DE" err="1"/>
              <a:t>pt</a:t>
            </a:r>
            <a:endParaRPr lang="de-DE"/>
          </a:p>
        </p:txBody>
      </p:sp>
    </p:spTree>
    <p:extLst>
      <p:ext uri="{BB962C8B-B14F-4D97-AF65-F5344CB8AC3E}">
        <p14:creationId xmlns:p14="http://schemas.microsoft.com/office/powerpoint/2010/main" val="1641646161"/>
      </p:ext>
    </p:extLst>
  </p:cSld>
  <p:clrMapOvr>
    <a:masterClrMapping/>
  </p:clrMapOvr>
  <p:extLst>
    <p:ext uri="{DCECCB84-F9BA-43D5-87BE-67443E8EF086}">
      <p15:sldGuideLst xmlns:p15="http://schemas.microsoft.com/office/powerpoint/2012/main">
        <p15:guide id="1" pos="2880" userDrawn="1">
          <p15:clr>
            <a:srgbClr val="FBAE40"/>
          </p15:clr>
        </p15:guide>
        <p15:guide id="2" orient="horz" pos="2160" userDrawn="1">
          <p15:clr>
            <a:srgbClr val="FBAE40"/>
          </p15:clr>
        </p15:guide>
        <p15:guide id="3" orient="horz" pos="1253" userDrawn="1">
          <p15:clr>
            <a:srgbClr val="FBAE40"/>
          </p15:clr>
        </p15:guide>
        <p15:guide id="4" orient="horz" pos="1207" userDrawn="1">
          <p15:clr>
            <a:srgbClr val="FBAE40"/>
          </p15:clr>
        </p15:guide>
        <p15:guide id="5" orient="horz" pos="799" userDrawn="1">
          <p15:clr>
            <a:srgbClr val="FBAE40"/>
          </p15:clr>
        </p15:guide>
        <p15:guide id="7" orient="horz" pos="4042" userDrawn="1">
          <p15:clr>
            <a:srgbClr val="FBAE40"/>
          </p15:clr>
        </p15:guide>
        <p15:guide id="8" orient="horz" pos="572" userDrawn="1">
          <p15:clr>
            <a:srgbClr val="FBAE40"/>
          </p15:clr>
        </p15:guide>
        <p15:guide id="9" pos="562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1268413"/>
            <a:ext cx="8568102" cy="646747"/>
          </a:xfrm>
        </p:spPr>
        <p:txBody>
          <a:bodyPr/>
          <a:lstStyle>
            <a:lvl1pPr>
              <a:defRPr baseline="0"/>
            </a:lvl1pPr>
          </a:lstStyle>
          <a:p>
            <a:r>
              <a:rPr lang="de-DE"/>
              <a:t>Basis ist FHW-Farbpalette, wobei </a:t>
            </a:r>
            <a:r>
              <a:rPr lang="de-DE" err="1"/>
              <a:t>Pantone</a:t>
            </a:r>
            <a:r>
              <a:rPr lang="de-DE"/>
              <a:t> 7961C und 283C (auch in 50% transparent) der Fokus sind, Sonderfarben nur in Ausnahmen</a:t>
            </a:r>
            <a:endParaRPr lang="en-US"/>
          </a:p>
        </p:txBody>
      </p:sp>
      <p:sp>
        <p:nvSpPr>
          <p:cNvPr id="10" name="Slide Number Placeholder 5"/>
          <p:cNvSpPr>
            <a:spLocks noGrp="1"/>
          </p:cNvSpPr>
          <p:nvPr>
            <p:ph type="sldNum" sz="quarter" idx="4"/>
          </p:nvPr>
        </p:nvSpPr>
        <p:spPr>
          <a:xfrm>
            <a:off x="8620125" y="6517499"/>
            <a:ext cx="308504" cy="180000"/>
          </a:xfrm>
          <a:prstGeom prst="rect">
            <a:avLst/>
          </a:prstGeom>
        </p:spPr>
        <p:txBody>
          <a:bodyPr lIns="0" tIns="0" rIns="0" bIns="0" anchor="t" anchorCtr="0"/>
          <a:lstStyle>
            <a:lvl1pPr algn="r">
              <a:defRPr sz="1000"/>
            </a:lvl1pPr>
          </a:lstStyle>
          <a:p>
            <a:fld id="{BAF04893-69FB-435D-AB2E-CA259D85B32F}" type="slidenum">
              <a:rPr lang="de-DE" smtClean="0"/>
              <a:pPr/>
              <a:t>‹#›</a:t>
            </a:fld>
            <a:endParaRPr lang="de-DE"/>
          </a:p>
        </p:txBody>
      </p:sp>
      <p:sp>
        <p:nvSpPr>
          <p:cNvPr id="7" name="Text Placeholder 2"/>
          <p:cNvSpPr>
            <a:spLocks noGrp="1"/>
          </p:cNvSpPr>
          <p:nvPr>
            <p:ph idx="10" hasCustomPrompt="1"/>
          </p:nvPr>
        </p:nvSpPr>
        <p:spPr>
          <a:xfrm>
            <a:off x="359997" y="912307"/>
            <a:ext cx="8568103" cy="284667"/>
          </a:xfrm>
          <a:prstGeom prst="rect">
            <a:avLst/>
          </a:prstGeom>
        </p:spPr>
        <p:txBody>
          <a:bodyPr vert="horz" lIns="0" tIns="0" rIns="0" bIns="0" rtlCol="0">
            <a:noAutofit/>
          </a:bodyPr>
          <a:lstStyle>
            <a:lvl1pPr>
              <a:defRPr sz="2000" baseline="0"/>
            </a:lvl1pPr>
            <a:lvl2pPr>
              <a:defRPr/>
            </a:lvl2pPr>
          </a:lstStyle>
          <a:p>
            <a:pPr lvl="0"/>
            <a:r>
              <a:rPr lang="de-DE"/>
              <a:t>Vorschlag zum Farbschema</a:t>
            </a:r>
          </a:p>
        </p:txBody>
      </p:sp>
      <p:cxnSp>
        <p:nvCxnSpPr>
          <p:cNvPr id="14" name="Gerader Verbinder 13"/>
          <p:cNvCxnSpPr/>
          <p:nvPr userDrawn="1"/>
        </p:nvCxnSpPr>
        <p:spPr>
          <a:xfrm>
            <a:off x="8577256" y="6517499"/>
            <a:ext cx="1341" cy="298828"/>
          </a:xfrm>
          <a:prstGeom prst="line">
            <a:avLst/>
          </a:prstGeom>
          <a:ln w="3175"/>
        </p:spPr>
        <p:style>
          <a:lnRef idx="1">
            <a:schemeClr val="dk1"/>
          </a:lnRef>
          <a:fillRef idx="0">
            <a:schemeClr val="dk1"/>
          </a:fillRef>
          <a:effectRef idx="0">
            <a:schemeClr val="dk1"/>
          </a:effectRef>
          <a:fontRef idx="minor">
            <a:schemeClr val="tx1"/>
          </a:fontRef>
        </p:style>
      </p:cxnSp>
      <p:sp>
        <p:nvSpPr>
          <p:cNvPr id="3" name="Rechteck 2"/>
          <p:cNvSpPr/>
          <p:nvPr userDrawn="1"/>
        </p:nvSpPr>
        <p:spPr>
          <a:xfrm>
            <a:off x="359997" y="2398052"/>
            <a:ext cx="984395" cy="799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userDrawn="1"/>
        </p:nvSpPr>
        <p:spPr>
          <a:xfrm>
            <a:off x="5409353" y="2400592"/>
            <a:ext cx="984395" cy="799525"/>
          </a:xfrm>
          <a:prstGeom prst="rect">
            <a:avLst/>
          </a:prstGeom>
          <a:solidFill>
            <a:srgbClr val="AAA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16" name="Rechteck 15"/>
          <p:cNvSpPr/>
          <p:nvPr userDrawn="1"/>
        </p:nvSpPr>
        <p:spPr>
          <a:xfrm>
            <a:off x="1622336" y="2390432"/>
            <a:ext cx="984395" cy="799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p:cNvSpPr/>
          <p:nvPr userDrawn="1"/>
        </p:nvSpPr>
        <p:spPr>
          <a:xfrm>
            <a:off x="4147014" y="2387892"/>
            <a:ext cx="984395" cy="799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userDrawn="1"/>
        </p:nvSpPr>
        <p:spPr>
          <a:xfrm>
            <a:off x="6671692" y="2403133"/>
            <a:ext cx="984395" cy="799525"/>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20" name="Rechteck 19"/>
          <p:cNvSpPr/>
          <p:nvPr userDrawn="1"/>
        </p:nvSpPr>
        <p:spPr>
          <a:xfrm>
            <a:off x="2884675" y="2392972"/>
            <a:ext cx="984395" cy="799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 Placeholder 2"/>
          <p:cNvSpPr>
            <a:spLocks noGrp="1"/>
          </p:cNvSpPr>
          <p:nvPr>
            <p:ph idx="13" hasCustomPrompt="1"/>
          </p:nvPr>
        </p:nvSpPr>
        <p:spPr>
          <a:xfrm>
            <a:off x="1623665" y="3577542"/>
            <a:ext cx="982800" cy="226198"/>
          </a:xfrm>
          <a:prstGeom prst="rect">
            <a:avLst/>
          </a:prstGeom>
        </p:spPr>
        <p:txBody>
          <a:bodyPr vert="horz" lIns="0" tIns="0" rIns="0" bIns="0" rtlCol="0">
            <a:noAutofit/>
          </a:bodyPr>
          <a:lstStyle>
            <a:lvl2pPr marL="0" indent="0">
              <a:buFont typeface="Arial" panose="020B0604020202020204" pitchFamily="34" charset="0"/>
              <a:buNone/>
              <a:defRPr sz="1400" baseline="0"/>
            </a:lvl2pPr>
            <a:lvl3pPr>
              <a:defRPr/>
            </a:lvl3pPr>
          </a:lstStyle>
          <a:p>
            <a:pPr lvl="1"/>
            <a:r>
              <a:rPr lang="de-DE" err="1"/>
              <a:t>Pantone</a:t>
            </a:r>
            <a:r>
              <a:rPr lang="de-DE"/>
              <a:t> 283C (0% und 50% transparent): Füllfarbe, Standard für Hintergrund, Flächen etc.; Diagramm-farbe</a:t>
            </a:r>
          </a:p>
        </p:txBody>
      </p:sp>
      <p:sp>
        <p:nvSpPr>
          <p:cNvPr id="24" name="Rechteck 23"/>
          <p:cNvSpPr/>
          <p:nvPr userDrawn="1"/>
        </p:nvSpPr>
        <p:spPr>
          <a:xfrm>
            <a:off x="7934029" y="2395512"/>
            <a:ext cx="984395" cy="79952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 Placeholder 2"/>
          <p:cNvSpPr>
            <a:spLocks noGrp="1"/>
          </p:cNvSpPr>
          <p:nvPr>
            <p:ph idx="16" hasCustomPrompt="1"/>
          </p:nvPr>
        </p:nvSpPr>
        <p:spPr>
          <a:xfrm>
            <a:off x="361592" y="3577542"/>
            <a:ext cx="982800" cy="226198"/>
          </a:xfrm>
          <a:prstGeom prst="rect">
            <a:avLst/>
          </a:prstGeom>
        </p:spPr>
        <p:txBody>
          <a:bodyPr vert="horz" lIns="0" tIns="0" rIns="0" bIns="0" rtlCol="0">
            <a:noAutofit/>
          </a:bodyPr>
          <a:lstStyle>
            <a:lvl2pPr marL="0" indent="0">
              <a:buFont typeface="Arial" panose="020B0604020202020204" pitchFamily="34" charset="0"/>
              <a:buNone/>
              <a:defRPr sz="1400" baseline="0"/>
            </a:lvl2pPr>
            <a:lvl3pPr>
              <a:defRPr/>
            </a:lvl3pPr>
          </a:lstStyle>
          <a:p>
            <a:pPr lvl="1"/>
            <a:r>
              <a:rPr lang="de-DE" err="1"/>
              <a:t>Pantone</a:t>
            </a:r>
            <a:r>
              <a:rPr lang="de-DE"/>
              <a:t> 7691C: Schriftfarbe, Standard für graphische Elemente wie Tabellen-ränder,</a:t>
            </a:r>
          </a:p>
          <a:p>
            <a:pPr lvl="1"/>
            <a:r>
              <a:rPr lang="de-DE"/>
              <a:t>Kästen, Pfeile, Prozess-abläufe etc.</a:t>
            </a:r>
          </a:p>
        </p:txBody>
      </p:sp>
      <p:sp>
        <p:nvSpPr>
          <p:cNvPr id="27" name="Text Placeholder 2"/>
          <p:cNvSpPr>
            <a:spLocks noGrp="1"/>
          </p:cNvSpPr>
          <p:nvPr>
            <p:ph idx="17" hasCustomPrompt="1"/>
          </p:nvPr>
        </p:nvSpPr>
        <p:spPr>
          <a:xfrm>
            <a:off x="2885738" y="3577542"/>
            <a:ext cx="982800" cy="226198"/>
          </a:xfrm>
          <a:prstGeom prst="rect">
            <a:avLst/>
          </a:prstGeom>
        </p:spPr>
        <p:txBody>
          <a:bodyPr vert="horz" lIns="0" tIns="0" rIns="0" bIns="0" rtlCol="0">
            <a:noAutofit/>
          </a:bodyPr>
          <a:lstStyle>
            <a:lvl2pPr marL="0" indent="0">
              <a:buFont typeface="Arial" panose="020B0604020202020204" pitchFamily="34" charset="0"/>
              <a:buNone/>
              <a:defRPr sz="1400" baseline="0"/>
            </a:lvl2pPr>
            <a:lvl3pPr>
              <a:defRPr/>
            </a:lvl3pPr>
          </a:lstStyle>
          <a:p>
            <a:pPr lvl="1"/>
            <a:r>
              <a:rPr lang="de-DE"/>
              <a:t>Diagramm-farbe</a:t>
            </a:r>
          </a:p>
        </p:txBody>
      </p:sp>
      <p:sp>
        <p:nvSpPr>
          <p:cNvPr id="28" name="Text Placeholder 2"/>
          <p:cNvSpPr>
            <a:spLocks noGrp="1"/>
          </p:cNvSpPr>
          <p:nvPr>
            <p:ph idx="18" hasCustomPrompt="1"/>
          </p:nvPr>
        </p:nvSpPr>
        <p:spPr>
          <a:xfrm>
            <a:off x="4147811" y="3577542"/>
            <a:ext cx="982800" cy="226198"/>
          </a:xfrm>
          <a:prstGeom prst="rect">
            <a:avLst/>
          </a:prstGeom>
        </p:spPr>
        <p:txBody>
          <a:bodyPr vert="horz" lIns="0" tIns="0" rIns="0" bIns="0" rtlCol="0">
            <a:noAutofit/>
          </a:bodyPr>
          <a:lstStyle>
            <a:lvl2pPr marL="0" indent="0">
              <a:buFont typeface="Arial" panose="020B0604020202020204" pitchFamily="34" charset="0"/>
              <a:buNone/>
              <a:defRPr sz="1400" baseline="0"/>
            </a:lvl2pPr>
            <a:lvl3pPr>
              <a:defRPr/>
            </a:lvl3pPr>
          </a:lstStyle>
          <a:p>
            <a:pPr lvl="1"/>
            <a:r>
              <a:rPr lang="de-DE"/>
              <a:t>Diagramm-farbe</a:t>
            </a:r>
          </a:p>
        </p:txBody>
      </p:sp>
      <p:sp>
        <p:nvSpPr>
          <p:cNvPr id="29" name="Text Placeholder 2"/>
          <p:cNvSpPr>
            <a:spLocks noGrp="1"/>
          </p:cNvSpPr>
          <p:nvPr>
            <p:ph idx="19" hasCustomPrompt="1"/>
          </p:nvPr>
        </p:nvSpPr>
        <p:spPr>
          <a:xfrm>
            <a:off x="5409884" y="3577542"/>
            <a:ext cx="982800" cy="226198"/>
          </a:xfrm>
          <a:prstGeom prst="rect">
            <a:avLst/>
          </a:prstGeom>
        </p:spPr>
        <p:txBody>
          <a:bodyPr vert="horz" lIns="0" tIns="0" rIns="0" bIns="0" rtlCol="0">
            <a:noAutofit/>
          </a:bodyPr>
          <a:lstStyle>
            <a:lvl2pPr marL="0" indent="0">
              <a:buFont typeface="Arial" panose="020B0604020202020204" pitchFamily="34" charset="0"/>
              <a:buNone/>
              <a:defRPr sz="1400" baseline="0"/>
            </a:lvl2pPr>
            <a:lvl3pPr>
              <a:defRPr/>
            </a:lvl3pPr>
          </a:lstStyle>
          <a:p>
            <a:pPr lvl="1"/>
            <a:r>
              <a:rPr lang="de-DE"/>
              <a:t>Diagramm-farbe</a:t>
            </a:r>
          </a:p>
        </p:txBody>
      </p:sp>
      <p:sp>
        <p:nvSpPr>
          <p:cNvPr id="30" name="Text Placeholder 2"/>
          <p:cNvSpPr>
            <a:spLocks noGrp="1"/>
          </p:cNvSpPr>
          <p:nvPr>
            <p:ph idx="20" hasCustomPrompt="1"/>
          </p:nvPr>
        </p:nvSpPr>
        <p:spPr>
          <a:xfrm>
            <a:off x="6671957" y="3577542"/>
            <a:ext cx="982800" cy="226198"/>
          </a:xfrm>
          <a:prstGeom prst="rect">
            <a:avLst/>
          </a:prstGeom>
        </p:spPr>
        <p:txBody>
          <a:bodyPr vert="horz" lIns="0" tIns="0" rIns="0" bIns="0" rtlCol="0">
            <a:noAutofit/>
          </a:bodyPr>
          <a:lstStyle>
            <a:lvl2pPr marL="0" indent="0">
              <a:buFont typeface="Arial" panose="020B0604020202020204" pitchFamily="34" charset="0"/>
              <a:buNone/>
              <a:defRPr sz="1400" baseline="0"/>
            </a:lvl2pPr>
            <a:lvl3pPr>
              <a:defRPr/>
            </a:lvl3pPr>
          </a:lstStyle>
          <a:p>
            <a:pPr lvl="1"/>
            <a:r>
              <a:rPr lang="de-DE"/>
              <a:t>Diagramm-farbe</a:t>
            </a:r>
          </a:p>
        </p:txBody>
      </p:sp>
      <p:sp>
        <p:nvSpPr>
          <p:cNvPr id="31" name="Text Placeholder 2"/>
          <p:cNvSpPr>
            <a:spLocks noGrp="1"/>
          </p:cNvSpPr>
          <p:nvPr>
            <p:ph idx="21" hasCustomPrompt="1"/>
          </p:nvPr>
        </p:nvSpPr>
        <p:spPr>
          <a:xfrm>
            <a:off x="7934029" y="3577542"/>
            <a:ext cx="982800" cy="226198"/>
          </a:xfrm>
          <a:prstGeom prst="rect">
            <a:avLst/>
          </a:prstGeom>
        </p:spPr>
        <p:txBody>
          <a:bodyPr vert="horz" lIns="0" tIns="0" rIns="0" bIns="0" rtlCol="0">
            <a:noAutofit/>
          </a:bodyPr>
          <a:lstStyle>
            <a:lvl2pPr marL="0" indent="0">
              <a:buFont typeface="Arial" panose="020B0604020202020204" pitchFamily="34" charset="0"/>
              <a:buNone/>
              <a:defRPr sz="1400" baseline="0"/>
            </a:lvl2pPr>
            <a:lvl3pPr>
              <a:defRPr/>
            </a:lvl3pPr>
          </a:lstStyle>
          <a:p>
            <a:pPr lvl="1"/>
            <a:r>
              <a:rPr lang="de-DE"/>
              <a:t>Diagramm-farbe</a:t>
            </a:r>
          </a:p>
        </p:txBody>
      </p:sp>
      <p:sp>
        <p:nvSpPr>
          <p:cNvPr id="32" name="Rechteck 31"/>
          <p:cNvSpPr/>
          <p:nvPr userDrawn="1"/>
        </p:nvSpPr>
        <p:spPr>
          <a:xfrm>
            <a:off x="5419029" y="4438097"/>
            <a:ext cx="984395" cy="799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p:cNvSpPr/>
          <p:nvPr userDrawn="1"/>
        </p:nvSpPr>
        <p:spPr>
          <a:xfrm>
            <a:off x="6681368" y="4440638"/>
            <a:ext cx="984395" cy="799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7943705" y="4433017"/>
            <a:ext cx="984395" cy="799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2"/>
          <p:cNvSpPr>
            <a:spLocks noGrp="1"/>
          </p:cNvSpPr>
          <p:nvPr>
            <p:ph idx="22" hasCustomPrompt="1"/>
          </p:nvPr>
        </p:nvSpPr>
        <p:spPr>
          <a:xfrm>
            <a:off x="5419560" y="5358633"/>
            <a:ext cx="982800" cy="226198"/>
          </a:xfrm>
          <a:prstGeom prst="rect">
            <a:avLst/>
          </a:prstGeom>
        </p:spPr>
        <p:txBody>
          <a:bodyPr vert="horz" lIns="0" tIns="0" rIns="0" bIns="0" rtlCol="0">
            <a:noAutofit/>
          </a:bodyPr>
          <a:lstStyle>
            <a:lvl2pPr marL="0" indent="0">
              <a:buFont typeface="Arial" panose="020B0604020202020204" pitchFamily="34" charset="0"/>
              <a:buNone/>
              <a:defRPr sz="1400" baseline="0"/>
            </a:lvl2pPr>
            <a:lvl3pPr>
              <a:defRPr/>
            </a:lvl3pPr>
          </a:lstStyle>
          <a:p>
            <a:pPr lvl="1"/>
            <a:r>
              <a:rPr lang="de-DE"/>
              <a:t>Besonders hervor zu hebende Elemente</a:t>
            </a:r>
          </a:p>
        </p:txBody>
      </p:sp>
      <p:sp>
        <p:nvSpPr>
          <p:cNvPr id="36" name="Text Placeholder 2"/>
          <p:cNvSpPr>
            <a:spLocks noGrp="1"/>
          </p:cNvSpPr>
          <p:nvPr>
            <p:ph idx="23" hasCustomPrompt="1"/>
          </p:nvPr>
        </p:nvSpPr>
        <p:spPr>
          <a:xfrm>
            <a:off x="6681633" y="5358633"/>
            <a:ext cx="982800" cy="226198"/>
          </a:xfrm>
          <a:prstGeom prst="rect">
            <a:avLst/>
          </a:prstGeom>
        </p:spPr>
        <p:txBody>
          <a:bodyPr vert="horz" lIns="0" tIns="0" rIns="0" bIns="0" rtlCol="0">
            <a:noAutofit/>
          </a:bodyPr>
          <a:lstStyle>
            <a:lvl2pPr marL="0" indent="0">
              <a:buFont typeface="Arial" panose="020B0604020202020204" pitchFamily="34" charset="0"/>
              <a:buNone/>
              <a:defRPr sz="1400" baseline="0"/>
            </a:lvl2pPr>
            <a:lvl3pPr>
              <a:defRPr/>
            </a:lvl3pPr>
          </a:lstStyle>
          <a:p>
            <a:pPr lvl="1"/>
            <a:r>
              <a:rPr lang="de-DE"/>
              <a:t>Nur in Ausnahmen</a:t>
            </a:r>
          </a:p>
        </p:txBody>
      </p:sp>
      <p:sp>
        <p:nvSpPr>
          <p:cNvPr id="37" name="Text Placeholder 2"/>
          <p:cNvSpPr>
            <a:spLocks noGrp="1"/>
          </p:cNvSpPr>
          <p:nvPr>
            <p:ph idx="24" hasCustomPrompt="1"/>
          </p:nvPr>
        </p:nvSpPr>
        <p:spPr>
          <a:xfrm>
            <a:off x="7943705" y="5358633"/>
            <a:ext cx="982800" cy="226198"/>
          </a:xfrm>
          <a:prstGeom prst="rect">
            <a:avLst/>
          </a:prstGeom>
        </p:spPr>
        <p:txBody>
          <a:bodyPr vert="horz" lIns="0" tIns="0" rIns="0" bIns="0" rtlCol="0">
            <a:noAutofit/>
          </a:bodyPr>
          <a:lstStyle>
            <a:lvl2pPr marL="0" indent="0">
              <a:buFont typeface="Arial" panose="020B0604020202020204" pitchFamily="34" charset="0"/>
              <a:buNone/>
              <a:defRPr sz="1400" baseline="0"/>
            </a:lvl2pPr>
            <a:lvl3pPr>
              <a:defRPr/>
            </a:lvl3pPr>
          </a:lstStyle>
          <a:p>
            <a:pPr lvl="1"/>
            <a:r>
              <a:rPr lang="de-DE"/>
              <a:t>Nur in Ausnahmen</a:t>
            </a:r>
          </a:p>
        </p:txBody>
      </p:sp>
      <p:sp>
        <p:nvSpPr>
          <p:cNvPr id="39" name="Rechteck 38"/>
          <p:cNvSpPr/>
          <p:nvPr userDrawn="1"/>
        </p:nvSpPr>
        <p:spPr>
          <a:xfrm>
            <a:off x="1774736" y="2610564"/>
            <a:ext cx="984395" cy="799525"/>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39"/>
          <p:cNvSpPr/>
          <p:nvPr userDrawn="1"/>
        </p:nvSpPr>
        <p:spPr>
          <a:xfrm>
            <a:off x="3037075" y="2613104"/>
            <a:ext cx="984395" cy="799525"/>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p:cNvSpPr/>
          <p:nvPr userDrawn="1"/>
        </p:nvSpPr>
        <p:spPr>
          <a:xfrm>
            <a:off x="4299414" y="2608024"/>
            <a:ext cx="984395" cy="799525"/>
          </a:xfrm>
          <a:prstGeom prst="rect">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p:cNvSpPr/>
          <p:nvPr userDrawn="1"/>
        </p:nvSpPr>
        <p:spPr>
          <a:xfrm>
            <a:off x="183799" y="2302745"/>
            <a:ext cx="2665085" cy="11940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89107128"/>
      </p:ext>
    </p:extLst>
  </p:cSld>
  <p:clrMapOvr>
    <a:masterClrMapping/>
  </p:clrMapOvr>
  <p:extLst>
    <p:ext uri="{DCECCB84-F9BA-43D5-87BE-67443E8EF086}">
      <p15:sldGuideLst xmlns:p15="http://schemas.microsoft.com/office/powerpoint/2012/main">
        <p15:guide id="1" pos="2880">
          <p15:clr>
            <a:srgbClr val="FBAE40"/>
          </p15:clr>
        </p15:guide>
        <p15:guide id="2" orient="horz" pos="2160">
          <p15:clr>
            <a:srgbClr val="FBAE40"/>
          </p15:clr>
        </p15:guide>
        <p15:guide id="3" orient="horz" pos="1253">
          <p15:clr>
            <a:srgbClr val="FBAE40"/>
          </p15:clr>
        </p15:guide>
        <p15:guide id="4" orient="horz" pos="1207">
          <p15:clr>
            <a:srgbClr val="FBAE40"/>
          </p15:clr>
        </p15:guide>
        <p15:guide id="5" orient="horz" pos="799">
          <p15:clr>
            <a:srgbClr val="FBAE40"/>
          </p15:clr>
        </p15:guide>
        <p15:guide id="7" orient="horz" pos="4042">
          <p15:clr>
            <a:srgbClr val="FBAE40"/>
          </p15:clr>
        </p15:guide>
        <p15:guide id="8" orient="horz" pos="572">
          <p15:clr>
            <a:srgbClr val="FBAE40"/>
          </p15:clr>
        </p15:guide>
        <p15:guide id="9" pos="562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E04A54-E001-EB9F-FD4F-11C54A356919}"/>
              </a:ext>
            </a:extLst>
          </p:cNvPr>
          <p:cNvGraphicFramePr>
            <a:graphicFrameLocks noChangeAspect="1"/>
          </p:cNvGraphicFramePr>
          <p:nvPr userDrawn="1">
            <p:custDataLst>
              <p:tags r:id="rId6"/>
            </p:custDataLst>
            <p:extLst>
              <p:ext uri="{D42A27DB-BD31-4B8C-83A1-F6EECF244321}">
                <p14:modId xmlns:p14="http://schemas.microsoft.com/office/powerpoint/2010/main" val="1107232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8" imgH="408" progId="TCLayout.ActiveDocument.1">
                  <p:embed/>
                </p:oleObj>
              </mc:Choice>
              <mc:Fallback>
                <p:oleObj name="think-cell Folie" r:id="rId7" imgW="408" imgH="408" progId="TCLayout.ActiveDocument.1">
                  <p:embed/>
                  <p:pic>
                    <p:nvPicPr>
                      <p:cNvPr id="5" name="think-cell data - do not delete" hidden="1">
                        <a:extLst>
                          <a:ext uri="{FF2B5EF4-FFF2-40B4-BE49-F238E27FC236}">
                            <a16:creationId xmlns:a16="http://schemas.microsoft.com/office/drawing/2014/main" id="{34E04A54-E001-EB9F-FD4F-11C54A35691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59999" y="1151999"/>
            <a:ext cx="8550000" cy="648001"/>
          </a:xfrm>
          <a:prstGeom prst="rect">
            <a:avLst/>
          </a:prstGeom>
        </p:spPr>
        <p:txBody>
          <a:bodyPr vert="horz" lIns="0" tIns="0" rIns="0" bIns="0" rtlCol="0" anchor="t" anchorCtr="0">
            <a:noAutofit/>
          </a:bodyPr>
          <a:lstStyle/>
          <a:p>
            <a:r>
              <a:rPr lang="de-DE"/>
              <a:t>Actiontitle durch Klicken bearbeiten</a:t>
            </a:r>
            <a:br>
              <a:rPr lang="de-DE"/>
            </a:br>
            <a:r>
              <a:rPr lang="de-DE"/>
              <a:t>Schriftgröße 24 </a:t>
            </a:r>
            <a:r>
              <a:rPr lang="de-DE" err="1"/>
              <a:t>pt</a:t>
            </a:r>
            <a:r>
              <a:rPr lang="de-DE"/>
              <a:t> </a:t>
            </a:r>
            <a:r>
              <a:rPr lang="de-DE" err="1"/>
              <a:t>bold</a:t>
            </a:r>
            <a:r>
              <a:rPr lang="de-DE"/>
              <a:t>, max. zweizeilig</a:t>
            </a:r>
            <a:endParaRPr lang="en-US"/>
          </a:p>
        </p:txBody>
      </p:sp>
      <p:sp>
        <p:nvSpPr>
          <p:cNvPr id="3" name="Text Placeholder 2"/>
          <p:cNvSpPr>
            <a:spLocks noGrp="1"/>
          </p:cNvSpPr>
          <p:nvPr>
            <p:ph type="body" idx="1"/>
          </p:nvPr>
        </p:nvSpPr>
        <p:spPr>
          <a:xfrm>
            <a:off x="359998" y="1980000"/>
            <a:ext cx="8550000" cy="4392000"/>
          </a:xfrm>
          <a:prstGeom prst="rect">
            <a:avLst/>
          </a:prstGeom>
        </p:spPr>
        <p:txBody>
          <a:bodyPr vert="horz" lIns="0" tIns="0" rIns="0" bIns="0" rtlCol="0">
            <a:noAutofit/>
          </a:bodyPr>
          <a:lstStyle/>
          <a:p>
            <a:pPr lvl="0"/>
            <a:r>
              <a:rPr lang="de-DE"/>
              <a:t>Formatvorlagen des Textmasters bearbeiten</a:t>
            </a:r>
          </a:p>
          <a:p>
            <a:pPr lvl="1"/>
            <a:r>
              <a:rPr lang="de-DE"/>
              <a:t>Zweite Ebene, Schriftgröße mind. 16 </a:t>
            </a:r>
            <a:r>
              <a:rPr lang="de-DE" err="1"/>
              <a:t>pt</a:t>
            </a:r>
            <a:endParaRPr lang="de-DE"/>
          </a:p>
        </p:txBody>
      </p:sp>
      <p:pic>
        <p:nvPicPr>
          <p:cNvPr id="10" name="Grafik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434840" y="116831"/>
            <a:ext cx="1550593" cy="774188"/>
          </a:xfrm>
          <a:prstGeom prst="rect">
            <a:avLst/>
          </a:prstGeom>
        </p:spPr>
      </p:pic>
      <p:cxnSp>
        <p:nvCxnSpPr>
          <p:cNvPr id="14" name="Gerader Verbinder 13"/>
          <p:cNvCxnSpPr/>
          <p:nvPr userDrawn="1"/>
        </p:nvCxnSpPr>
        <p:spPr>
          <a:xfrm>
            <a:off x="-3815" y="6480000"/>
            <a:ext cx="9144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p:cNvSpPr>
            <a:spLocks noGrp="1"/>
          </p:cNvSpPr>
          <p:nvPr>
            <p:ph type="sldNum" sz="quarter" idx="4"/>
          </p:nvPr>
        </p:nvSpPr>
        <p:spPr>
          <a:xfrm>
            <a:off x="8620125" y="6517499"/>
            <a:ext cx="308504" cy="180000"/>
          </a:xfrm>
          <a:prstGeom prst="rect">
            <a:avLst/>
          </a:prstGeom>
        </p:spPr>
        <p:txBody>
          <a:bodyPr lIns="0" tIns="0" rIns="0" bIns="0" anchor="t" anchorCtr="0"/>
          <a:lstStyle>
            <a:lvl1pPr algn="r">
              <a:defRPr sz="1000"/>
            </a:lvl1pPr>
          </a:lstStyle>
          <a:p>
            <a:fld id="{BAF04893-69FB-435D-AB2E-CA259D85B32F}" type="slidenum">
              <a:rPr lang="de-DE" smtClean="0"/>
              <a:pPr/>
              <a:t>‹#›</a:t>
            </a:fld>
            <a:endParaRPr lang="de-DE"/>
          </a:p>
        </p:txBody>
      </p:sp>
      <p:cxnSp>
        <p:nvCxnSpPr>
          <p:cNvPr id="9" name="Gerader Verbinder 8"/>
          <p:cNvCxnSpPr/>
          <p:nvPr userDrawn="1"/>
        </p:nvCxnSpPr>
        <p:spPr>
          <a:xfrm>
            <a:off x="8577256" y="6517499"/>
            <a:ext cx="1341" cy="298828"/>
          </a:xfrm>
          <a:prstGeom prst="line">
            <a:avLst/>
          </a:prstGeom>
          <a:ln w="3175"/>
        </p:spPr>
        <p:style>
          <a:lnRef idx="1">
            <a:schemeClr val="dk1"/>
          </a:lnRef>
          <a:fillRef idx="0">
            <a:schemeClr val="dk1"/>
          </a:fillRef>
          <a:effectRef idx="0">
            <a:schemeClr val="dk1"/>
          </a:effectRef>
          <a:fontRef idx="minor">
            <a:schemeClr val="tx1"/>
          </a:fontRef>
        </p:style>
      </p:cxnSp>
      <p:sp>
        <p:nvSpPr>
          <p:cNvPr id="8" name="Date Placeholder 3">
            <a:extLst>
              <a:ext uri="{FF2B5EF4-FFF2-40B4-BE49-F238E27FC236}">
                <a16:creationId xmlns:a16="http://schemas.microsoft.com/office/drawing/2014/main" id="{BF67DEF5-76CB-4F5E-8F9F-C2BDE894659F}"/>
              </a:ext>
            </a:extLst>
          </p:cNvPr>
          <p:cNvSpPr txBox="1">
            <a:spLocks/>
          </p:cNvSpPr>
          <p:nvPr userDrawn="1"/>
        </p:nvSpPr>
        <p:spPr>
          <a:xfrm>
            <a:off x="360001" y="6517499"/>
            <a:ext cx="419780" cy="180000"/>
          </a:xfrm>
          <a:prstGeom prst="rect">
            <a:avLst/>
          </a:prstGeom>
        </p:spPr>
        <p:txBody>
          <a:bodyPr vert="horz" lIns="0" tIns="0" rIns="0" bIns="0" rtlCol="0">
            <a:noAutofit/>
          </a:bodyPr>
          <a:lstStyle>
            <a:lvl1pPr lvl="0" indent="0">
              <a:lnSpc>
                <a:spcPct val="90000"/>
              </a:lnSpc>
              <a:spcBef>
                <a:spcPts val="1000"/>
              </a:spcBef>
              <a:buFont typeface="Arial" panose="020B0604020202020204" pitchFamily="34" charset="0"/>
              <a:buNone/>
              <a:defRPr sz="1100" b="0" baseline="0"/>
            </a:lvl1pPr>
            <a:lvl2pPr marL="179388" marR="0" indent="-179388" defTabSz="896938" fontAlgn="auto">
              <a:lnSpc>
                <a:spcPct val="90000"/>
              </a:lnSpc>
              <a:spcBef>
                <a:spcPts val="500"/>
              </a:spcBef>
              <a:spcAft>
                <a:spcPts val="0"/>
              </a:spcAft>
              <a:buClrTx/>
              <a:buSzTx/>
              <a:buFont typeface="Arial" panose="020B0604020202020204" pitchFamily="34" charset="0"/>
              <a:buNone/>
              <a:tabLst/>
              <a:defRPr sz="1100" baseline="0"/>
            </a:lvl2pPr>
            <a:lvl3pPr marL="358775" indent="0">
              <a:lnSpc>
                <a:spcPct val="90000"/>
              </a:lnSpc>
              <a:spcBef>
                <a:spcPts val="500"/>
              </a:spcBef>
              <a:buFont typeface="Arial" panose="020B0604020202020204" pitchFamily="34" charset="0"/>
              <a:buNone/>
              <a:defRPr sz="16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err="1"/>
              <a:t>Quelle</a:t>
            </a:r>
            <a:r>
              <a:rPr lang="en-US"/>
              <a:t>:</a:t>
            </a:r>
          </a:p>
        </p:txBody>
      </p:sp>
      <p:sp>
        <p:nvSpPr>
          <p:cNvPr id="12" name="Date Placeholder 3">
            <a:extLst>
              <a:ext uri="{FF2B5EF4-FFF2-40B4-BE49-F238E27FC236}">
                <a16:creationId xmlns:a16="http://schemas.microsoft.com/office/drawing/2014/main" id="{FDFDFBD1-1A2E-4067-8D78-AA3FCC400A38}"/>
              </a:ext>
            </a:extLst>
          </p:cNvPr>
          <p:cNvSpPr txBox="1">
            <a:spLocks/>
          </p:cNvSpPr>
          <p:nvPr userDrawn="1"/>
        </p:nvSpPr>
        <p:spPr>
          <a:xfrm>
            <a:off x="4616630" y="6517499"/>
            <a:ext cx="764996" cy="180000"/>
          </a:xfrm>
          <a:prstGeom prst="rect">
            <a:avLst/>
          </a:prstGeom>
        </p:spPr>
        <p:txBody>
          <a:bodyPr vert="horz" lIns="0" tIns="0" rIns="0" bIns="0" rtlCol="0">
            <a:noAutofit/>
          </a:bodyPr>
          <a:lstStyle>
            <a:lvl1pPr lvl="0" indent="0">
              <a:lnSpc>
                <a:spcPct val="90000"/>
              </a:lnSpc>
              <a:spcBef>
                <a:spcPts val="1000"/>
              </a:spcBef>
              <a:buFont typeface="Arial" panose="020B0604020202020204" pitchFamily="34" charset="0"/>
              <a:buNone/>
              <a:defRPr sz="1100" b="0" baseline="0"/>
            </a:lvl1pPr>
            <a:lvl2pPr marL="179388" marR="0" indent="-179388" defTabSz="896938" fontAlgn="auto">
              <a:lnSpc>
                <a:spcPct val="90000"/>
              </a:lnSpc>
              <a:spcBef>
                <a:spcPts val="500"/>
              </a:spcBef>
              <a:spcAft>
                <a:spcPts val="0"/>
              </a:spcAft>
              <a:buClrTx/>
              <a:buSzTx/>
              <a:buFont typeface="Arial" panose="020B0604020202020204" pitchFamily="34" charset="0"/>
              <a:buNone/>
              <a:tabLst/>
              <a:defRPr sz="1100" baseline="0"/>
            </a:lvl2pPr>
            <a:lvl3pPr marL="358775" indent="0">
              <a:lnSpc>
                <a:spcPct val="90000"/>
              </a:lnSpc>
              <a:spcBef>
                <a:spcPts val="500"/>
              </a:spcBef>
              <a:buFont typeface="Arial" panose="020B0604020202020204" pitchFamily="34" charset="0"/>
              <a:buNone/>
              <a:defRPr sz="16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err="1"/>
              <a:t>Titel</a:t>
            </a:r>
            <a:r>
              <a:rPr lang="en-US"/>
              <a:t>/</a:t>
            </a:r>
            <a:r>
              <a:rPr lang="en-US" err="1"/>
              <a:t>Kapitel</a:t>
            </a:r>
            <a:r>
              <a:rPr lang="en-US"/>
              <a:t>: </a:t>
            </a:r>
          </a:p>
        </p:txBody>
      </p:sp>
    </p:spTree>
    <p:extLst>
      <p:ext uri="{BB962C8B-B14F-4D97-AF65-F5344CB8AC3E}">
        <p14:creationId xmlns:p14="http://schemas.microsoft.com/office/powerpoint/2010/main" val="1070981886"/>
      </p:ext>
    </p:extLst>
  </p:cSld>
  <p:clrMap bg1="lt1" tx1="dk1" bg2="lt2" tx2="dk2" accent1="accent1" accent2="accent2" accent3="accent3" accent4="accent4" accent5="accent5" accent6="accent6" hlink="hlink" folHlink="folHlink"/>
  <p:sldLayoutIdLst>
    <p:sldLayoutId id="2147483657" r:id="rId1"/>
    <p:sldLayoutId id="2147483659" r:id="rId2"/>
    <p:sldLayoutId id="2147483658" r:id="rId3"/>
    <p:sldLayoutId id="2147483660" r:id="rId4"/>
  </p:sldLayoutIdLst>
  <p:hf hdr="0"/>
  <p:txStyles>
    <p:titleStyle>
      <a:lvl1pPr algn="l" defTabSz="914400" rtl="0" eaLnBrk="1" latinLnBrk="0" hangingPunct="1">
        <a:lnSpc>
          <a:spcPct val="90000"/>
        </a:lnSpc>
        <a:spcBef>
          <a:spcPct val="0"/>
        </a:spcBef>
        <a:buNone/>
        <a:defRPr sz="2400" b="1" kern="1200">
          <a:solidFill>
            <a:schemeClr val="tx1"/>
          </a:solidFill>
          <a:latin typeface="+mn-lt"/>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kern="1200">
          <a:solidFill>
            <a:schemeClr val="tx1"/>
          </a:solidFill>
          <a:latin typeface="+mn-lt"/>
          <a:ea typeface="+mn-ea"/>
          <a:cs typeface="+mn-cs"/>
        </a:defRPr>
      </a:lvl1pPr>
      <a:lvl2pPr marL="179388" marR="0" indent="-179388" algn="l" defTabSz="896938" rtl="0" eaLnBrk="1" fontAlgn="auto" latinLnBrk="0" hangingPunct="1">
        <a:lnSpc>
          <a:spcPct val="90000"/>
        </a:lnSpc>
        <a:spcBef>
          <a:spcPts val="500"/>
        </a:spcBef>
        <a:spcAft>
          <a:spcPts val="0"/>
        </a:spcAft>
        <a:buClrTx/>
        <a:buSzTx/>
        <a:buFont typeface="Arial" panose="020B0604020202020204" pitchFamily="34" charset="0"/>
        <a:buNone/>
        <a:tabLst/>
        <a:defRPr sz="1600" kern="1200" baseline="0">
          <a:solidFill>
            <a:schemeClr val="tx1"/>
          </a:solidFill>
          <a:latin typeface="+mn-lt"/>
          <a:ea typeface="+mn-ea"/>
          <a:cs typeface="+mn-cs"/>
        </a:defRPr>
      </a:lvl2pPr>
      <a:lvl3pPr marL="358775"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4" userDrawn="1">
          <p15:clr>
            <a:srgbClr val="F26B43"/>
          </p15:clr>
        </p15:guide>
        <p15:guide id="2" pos="22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notesSlide" Target="../notesSlides/notesSlide6.xml"/><Relationship Id="rId7" Type="http://schemas.openxmlformats.org/officeDocument/2006/relationships/diagramLayout" Target="../diagrams/layout2.xml"/><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diagramData" Target="../diagrams/data2.xml"/><Relationship Id="rId5" Type="http://schemas.openxmlformats.org/officeDocument/2006/relationships/image" Target="../media/image1.emf"/><Relationship Id="rId10" Type="http://schemas.microsoft.com/office/2007/relationships/diagramDrawing" Target="../diagrams/drawing2.xml"/><Relationship Id="rId4" Type="http://schemas.openxmlformats.org/officeDocument/2006/relationships/oleObject" Target="../embeddings/oleObject8.bin"/><Relationship Id="rId9" Type="http://schemas.openxmlformats.org/officeDocument/2006/relationships/diagramColors" Target="../diagrams/colors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96.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02.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97.xml"/><Relationship Id="rId1" Type="http://schemas.openxmlformats.org/officeDocument/2006/relationships/slideLayout" Target="../slideLayouts/slideLayout3.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0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98.xml"/><Relationship Id="rId1" Type="http://schemas.openxmlformats.org/officeDocument/2006/relationships/slideLayout" Target="../slideLayouts/slideLayout3.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0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99.xml"/><Relationship Id="rId1" Type="http://schemas.openxmlformats.org/officeDocument/2006/relationships/slideLayout" Target="../slideLayouts/slideLayout3.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05.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00.xml"/><Relationship Id="rId1" Type="http://schemas.openxmlformats.org/officeDocument/2006/relationships/slideLayout" Target="../slideLayouts/slideLayout3.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notesSlide" Target="../notesSlides/notesSlide7.xml"/><Relationship Id="rId7" Type="http://schemas.openxmlformats.org/officeDocument/2006/relationships/diagramLayout" Target="../diagrams/layout3.xml"/><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diagramData" Target="../diagrams/data3.xml"/><Relationship Id="rId5" Type="http://schemas.openxmlformats.org/officeDocument/2006/relationships/image" Target="../media/image1.emf"/><Relationship Id="rId10" Type="http://schemas.microsoft.com/office/2007/relationships/diagramDrawing" Target="../diagrams/drawing3.xml"/><Relationship Id="rId4" Type="http://schemas.openxmlformats.org/officeDocument/2006/relationships/oleObject" Target="../embeddings/oleObject9.bin"/><Relationship Id="rId9" Type="http://schemas.openxmlformats.org/officeDocument/2006/relationships/diagramColors" Target="../diagrams/colors3.xml"/></Relationships>
</file>

<file path=ppt/slides/_rels/slide1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5.xml"/><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file:///C:\Users\49175\Downloads\study_id67321_uber-technologies.pdf"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hyperlink" Target="file:///C:\Users\49175\Downloads\study_id99797_ride-sharing-lyft-nutzerinnen-in-den-usa.pdf"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hyperlink" Target="file:///C:\Users\49175\Downloads\study_id97750_lieferdienste-lieferando-kundinnen-in-deutschland.pdf"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hyperlink" Target="file:///C:\Users\49175\Downloads\study_id145828_lieferdienste-uber-eats-kundinnen-in-deutschland.pdf"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4.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3" Type="http://schemas.openxmlformats.org/officeDocument/2006/relationships/slideLayout" Target="../slideLayouts/slideLayout3.xml"/><Relationship Id="rId7" Type="http://schemas.openxmlformats.org/officeDocument/2006/relationships/image" Target="../media/image1.emf"/><Relationship Id="rId12" Type="http://schemas.openxmlformats.org/officeDocument/2006/relationships/image" Target="../media/image9.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16.bin"/><Relationship Id="rId11" Type="http://schemas.openxmlformats.org/officeDocument/2006/relationships/image" Target="../media/image8.png"/><Relationship Id="rId5" Type="http://schemas.microsoft.com/office/2018/10/relationships/comments" Target="../comments/modernComment_308_5E44A3E9.xml"/><Relationship Id="rId10" Type="http://schemas.openxmlformats.org/officeDocument/2006/relationships/image" Target="../media/image7.png"/><Relationship Id="rId4" Type="http://schemas.openxmlformats.org/officeDocument/2006/relationships/notesSlide" Target="../notesSlides/notesSlide20.xml"/><Relationship Id="rId9" Type="http://schemas.openxmlformats.org/officeDocument/2006/relationships/image" Target="../media/image6.png"/></Relationships>
</file>

<file path=ppt/slides/_rels/slide25.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chart" Target="../charts/chart2.xml"/><Relationship Id="rId3" Type="http://schemas.openxmlformats.org/officeDocument/2006/relationships/tags" Target="../tags/tag22.xml"/><Relationship Id="rId7" Type="http://schemas.openxmlformats.org/officeDocument/2006/relationships/oleObject" Target="../embeddings/oleObject17.bin"/><Relationship Id="rId12"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tags" Target="../tags/tag20.xml"/><Relationship Id="rId6" Type="http://schemas.microsoft.com/office/2018/10/relationships/comments" Target="../comments/modernComment_30E_8E610065.xml"/><Relationship Id="rId11" Type="http://schemas.openxmlformats.org/officeDocument/2006/relationships/chart" Target="../charts/chart1.xml"/><Relationship Id="rId5" Type="http://schemas.openxmlformats.org/officeDocument/2006/relationships/notesSlide" Target="../notesSlides/notesSlide21.xml"/><Relationship Id="rId10" Type="http://schemas.openxmlformats.org/officeDocument/2006/relationships/hyperlink" Target="https://seekingalpha.com/news/3537097-uber-marks-first-exit-in-latin-america?hasComeFromMpArticle=false" TargetMode="External"/><Relationship Id="rId4" Type="http://schemas.openxmlformats.org/officeDocument/2006/relationships/slideLayout" Target="../slideLayouts/slideLayout3.xml"/><Relationship Id="rId9" Type="http://schemas.openxmlformats.org/officeDocument/2006/relationships/hyperlink" Target="https://www.bloomberglinea.com/english/uber-eats-quit-brazil-amid-inability-to-be-no-1-ceo-says/" TargetMode="External"/></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chart" Target="../charts/chart3.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1.emf"/><Relationship Id="rId5" Type="http://schemas.openxmlformats.org/officeDocument/2006/relationships/tags" Target="../tags/tag27.xml"/><Relationship Id="rId10" Type="http://schemas.openxmlformats.org/officeDocument/2006/relationships/oleObject" Target="../embeddings/oleObject18.bin"/><Relationship Id="rId4" Type="http://schemas.openxmlformats.org/officeDocument/2006/relationships/tags" Target="../tags/tag26.xml"/><Relationship Id="rId9" Type="http://schemas.openxmlformats.org/officeDocument/2006/relationships/notesSlide" Target="../notesSlides/notesSlide22.xml"/></Relationships>
</file>

<file path=ppt/slides/_rels/slide27.xml.rels><?xml version="1.0" encoding="UTF-8" standalone="yes"?>
<Relationships xmlns="http://schemas.openxmlformats.org/package/2006/relationships"><Relationship Id="rId8" Type="http://schemas.openxmlformats.org/officeDocument/2006/relationships/notesSlide" Target="../notesSlides/notesSlide23.xml"/><Relationship Id="rId13" Type="http://schemas.openxmlformats.org/officeDocument/2006/relationships/chart" Target="../charts/chart5.xml"/><Relationship Id="rId3" Type="http://schemas.openxmlformats.org/officeDocument/2006/relationships/tags" Target="../tags/tag32.xml"/><Relationship Id="rId7" Type="http://schemas.openxmlformats.org/officeDocument/2006/relationships/slideLayout" Target="../slideLayouts/slideLayout3.xml"/><Relationship Id="rId12" Type="http://schemas.openxmlformats.org/officeDocument/2006/relationships/chart" Target="../charts/chart4.xml"/><Relationship Id="rId2" Type="http://schemas.openxmlformats.org/officeDocument/2006/relationships/tags" Target="../tags/tag31.xml"/><Relationship Id="rId16" Type="http://schemas.openxmlformats.org/officeDocument/2006/relationships/chart" Target="../charts/chart8.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hyperlink" Target="https://www.statista.com/statistics/1235724/market-share-us-food-delivery-companies" TargetMode="External"/><Relationship Id="rId5" Type="http://schemas.openxmlformats.org/officeDocument/2006/relationships/tags" Target="../tags/tag34.xml"/><Relationship Id="rId15" Type="http://schemas.openxmlformats.org/officeDocument/2006/relationships/chart" Target="../charts/chart7.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19.bin"/><Relationship Id="rId14" Type="http://schemas.openxmlformats.org/officeDocument/2006/relationships/chart" Target="../charts/chart6.xml"/></Relationships>
</file>

<file path=ppt/slides/_rels/slide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xml"/><Relationship Id="rId7" Type="http://schemas.openxmlformats.org/officeDocument/2006/relationships/oleObject" Target="../embeddings/oleObject20.bin"/><Relationship Id="rId2" Type="http://schemas.openxmlformats.org/officeDocument/2006/relationships/tags" Target="../tags/tag37.xml"/><Relationship Id="rId1" Type="http://schemas.openxmlformats.org/officeDocument/2006/relationships/tags" Target="../tags/tag36.xml"/><Relationship Id="rId6" Type="http://schemas.microsoft.com/office/2018/10/relationships/comments" Target="../comments/modernComment_30C_7880041B.xml"/><Relationship Id="rId5" Type="http://schemas.openxmlformats.org/officeDocument/2006/relationships/notesSlide" Target="../notesSlides/notesSlide24.xml"/><Relationship Id="rId10" Type="http://schemas.openxmlformats.org/officeDocument/2006/relationships/chart" Target="../charts/chart10.xml"/><Relationship Id="rId4" Type="http://schemas.openxmlformats.org/officeDocument/2006/relationships/slideLayout" Target="../slideLayouts/slideLayout3.xml"/><Relationship Id="rId9" Type="http://schemas.openxmlformats.org/officeDocument/2006/relationships/chart" Target="../charts/chart9.xml"/></Relationships>
</file>

<file path=ppt/slides/_rels/slide29.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3.xml"/><Relationship Id="rId7" Type="http://schemas.openxmlformats.org/officeDocument/2006/relationships/hyperlink" Target="https://www.reuters.com/business/autos-transportation/uber-turns-cash-flow-positive-first-time-2022-08-02/" TargetMode="Externa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xml"/><Relationship Id="rId7" Type="http://schemas.openxmlformats.org/officeDocument/2006/relationships/oleObject" Target="../embeddings/oleObject23.bin"/><Relationship Id="rId2" Type="http://schemas.openxmlformats.org/officeDocument/2006/relationships/tags" Target="../tags/tag43.xml"/><Relationship Id="rId1" Type="http://schemas.openxmlformats.org/officeDocument/2006/relationships/tags" Target="../tags/tag42.xml"/><Relationship Id="rId6" Type="http://schemas.microsoft.com/office/2018/10/relationships/comments" Target="../comments/modernComment_30A_30A6C794.xml"/><Relationship Id="rId5" Type="http://schemas.openxmlformats.org/officeDocument/2006/relationships/notesSlide" Target="../notesSlides/notesSlide27.xml"/><Relationship Id="rId10" Type="http://schemas.openxmlformats.org/officeDocument/2006/relationships/chart" Target="../charts/chart13.xml"/><Relationship Id="rId4" Type="http://schemas.openxmlformats.org/officeDocument/2006/relationships/slideLayout" Target="../slideLayouts/slideLayout3.xml"/><Relationship Id="rId9" Type="http://schemas.openxmlformats.org/officeDocument/2006/relationships/chart" Target="../charts/chart12.xml"/></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7.xml"/><Relationship Id="rId7" Type="http://schemas.openxmlformats.org/officeDocument/2006/relationships/oleObject" Target="../embeddings/oleObject24.bin"/><Relationship Id="rId12" Type="http://schemas.openxmlformats.org/officeDocument/2006/relationships/image" Target="../media/image13.png"/><Relationship Id="rId2" Type="http://schemas.openxmlformats.org/officeDocument/2006/relationships/tags" Target="../tags/tag46.xml"/><Relationship Id="rId1" Type="http://schemas.openxmlformats.org/officeDocument/2006/relationships/tags" Target="../tags/tag45.xml"/><Relationship Id="rId6" Type="http://schemas.microsoft.com/office/2018/10/relationships/comments" Target="../comments/modernComment_309_DB7969AE.xml"/><Relationship Id="rId11" Type="http://schemas.openxmlformats.org/officeDocument/2006/relationships/image" Target="../media/image12.png"/><Relationship Id="rId5" Type="http://schemas.openxmlformats.org/officeDocument/2006/relationships/notesSlide" Target="../notesSlides/notesSlide28.xml"/><Relationship Id="rId10" Type="http://schemas.openxmlformats.org/officeDocument/2006/relationships/chart" Target="../charts/chart15.xml"/><Relationship Id="rId4" Type="http://schemas.openxmlformats.org/officeDocument/2006/relationships/slideLayout" Target="../slideLayouts/slideLayout3.xml"/><Relationship Id="rId9" Type="http://schemas.openxmlformats.org/officeDocument/2006/relationships/chart" Target="../charts/chart1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6.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slideLayout" Target="../slideLayouts/slideLayout3.xml"/><Relationship Id="rId7" Type="http://schemas.openxmlformats.org/officeDocument/2006/relationships/hyperlink" Target="https://www.reuters.com/business/autos-transportation/uber-turns-cash-flow-positive-first-time-2022-08-02/" TargetMode="Externa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30.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30.bin"/><Relationship Id="rId4" Type="http://schemas.microsoft.com/office/2018/10/relationships/comments" Target="../comments/modernComment_109_354AACB0.xml"/></Relationships>
</file>

<file path=ppt/slides/_rels/slide39.xml.rels><?xml version="1.0" encoding="UTF-8" standalone="yes"?>
<Relationships xmlns="http://schemas.openxmlformats.org/package/2006/relationships"><Relationship Id="rId2" Type="http://schemas.openxmlformats.org/officeDocument/2006/relationships/hyperlink" Target="https://www.linkedin.com/pulse/ubers-new-cultural-norms-dara-khosrowshahi/"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31.bin"/><Relationship Id="rId4" Type="http://schemas.microsoft.com/office/2018/10/relationships/comments" Target="../comments/modernComment_18F_2FAE70AF.xml"/></Relationships>
</file>

<file path=ppt/slides/_rels/slide42.xml.rels><?xml version="1.0" encoding="UTF-8" standalone="yes"?>
<Relationships xmlns="http://schemas.openxmlformats.org/package/2006/relationships"><Relationship Id="rId3" Type="http://schemas.microsoft.com/office/2018/10/relationships/comments" Target="../comments/modernComment_18D_EEBE9F9A.xml"/><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microsoft.com/office/2018/10/relationships/comments" Target="../comments/modernComment_191_DE9585A0.xml"/><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microsoft.com/office/2007/relationships/diagramDrawing" Target="../diagrams/drawing5.xml"/><Relationship Id="rId3" Type="http://schemas.microsoft.com/office/2018/10/relationships/comments" Target="../comments/modernComment_31C_D3D640D4.xml"/><Relationship Id="rId7" Type="http://schemas.openxmlformats.org/officeDocument/2006/relationships/diagramColors" Target="../diagrams/colors5.xml"/><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46.xml.rels><?xml version="1.0" encoding="UTF-8" standalone="yes"?>
<Relationships xmlns="http://schemas.openxmlformats.org/package/2006/relationships"><Relationship Id="rId8" Type="http://schemas.microsoft.com/office/2007/relationships/diagramDrawing" Target="../diagrams/drawing6.xml"/><Relationship Id="rId3" Type="http://schemas.microsoft.com/office/2018/10/relationships/comments" Target="../comments/modernComment_484_13B97F92.xml"/><Relationship Id="rId7" Type="http://schemas.openxmlformats.org/officeDocument/2006/relationships/diagramColors" Target="../diagrams/colors6.xml"/><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microsoft.com/office/2018/10/relationships/comments" Target="../comments/modernComment_49C_8CE12516.xml"/><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47.xml"/></Relationships>
</file>

<file path=ppt/slides/_rels/slide53.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63.xml"/><Relationship Id="rId7" Type="http://schemas.openxmlformats.org/officeDocument/2006/relationships/notesSlide" Target="../notesSlides/notesSlide48.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slideLayout" Target="../slideLayouts/slideLayout3.xml"/><Relationship Id="rId11" Type="http://schemas.openxmlformats.org/officeDocument/2006/relationships/image" Target="../media/image16.svg"/><Relationship Id="rId5" Type="http://schemas.openxmlformats.org/officeDocument/2006/relationships/tags" Target="../tags/tag65.xml"/><Relationship Id="rId10" Type="http://schemas.openxmlformats.org/officeDocument/2006/relationships/image" Target="../media/image15.png"/><Relationship Id="rId4" Type="http://schemas.openxmlformats.org/officeDocument/2006/relationships/tags" Target="../tags/tag64.xml"/><Relationship Id="rId9" Type="http://schemas.openxmlformats.org/officeDocument/2006/relationships/image" Target="../media/image14.emf"/></Relationships>
</file>

<file path=ppt/slides/_rels/slide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xml"/><Relationship Id="rId7" Type="http://schemas.openxmlformats.org/officeDocument/2006/relationships/oleObject" Target="../embeddings/oleObject36.bin"/><Relationship Id="rId2" Type="http://schemas.openxmlformats.org/officeDocument/2006/relationships/tags" Target="../tags/tag67.xml"/><Relationship Id="rId1" Type="http://schemas.openxmlformats.org/officeDocument/2006/relationships/tags" Target="../tags/tag66.xml"/><Relationship Id="rId6" Type="http://schemas.microsoft.com/office/2018/10/relationships/comments" Target="../comments/modernComment_495_D2AC7FAB.xml"/><Relationship Id="rId11" Type="http://schemas.openxmlformats.org/officeDocument/2006/relationships/image" Target="../media/image10.png"/><Relationship Id="rId5" Type="http://schemas.openxmlformats.org/officeDocument/2006/relationships/notesSlide" Target="../notesSlides/notesSlide49.xml"/><Relationship Id="rId10" Type="http://schemas.openxmlformats.org/officeDocument/2006/relationships/image" Target="../media/image8.png"/><Relationship Id="rId4" Type="http://schemas.openxmlformats.org/officeDocument/2006/relationships/slideLayout" Target="../slideLayouts/slideLayout3.xml"/><Relationship Id="rId9" Type="http://schemas.openxmlformats.org/officeDocument/2006/relationships/image" Target="../media/image6.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4.emf"/><Relationship Id="rId5" Type="http://schemas.openxmlformats.org/officeDocument/2006/relationships/oleObject" Target="../embeddings/oleObject38.bin"/><Relationship Id="rId4" Type="http://schemas.openxmlformats.org/officeDocument/2006/relationships/notesSlide" Target="../notesSlides/notesSlide51.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4.emf"/><Relationship Id="rId5" Type="http://schemas.openxmlformats.org/officeDocument/2006/relationships/oleObject" Target="../embeddings/oleObject39.bin"/><Relationship Id="rId4" Type="http://schemas.openxmlformats.org/officeDocument/2006/relationships/notesSlide" Target="../notesSlides/notesSlide52.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8.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emf"/><Relationship Id="rId5" Type="http://schemas.openxmlformats.org/officeDocument/2006/relationships/oleObject" Target="../embeddings/oleObject40.bin"/><Relationship Id="rId4" Type="http://schemas.openxmlformats.org/officeDocument/2006/relationships/notesSlide" Target="../notesSlides/notesSlide53.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3.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xml"/><Relationship Id="rId1" Type="http://schemas.openxmlformats.org/officeDocument/2006/relationships/tags" Target="../tags/tag79.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3.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xml"/><Relationship Id="rId1" Type="http://schemas.openxmlformats.org/officeDocument/2006/relationships/tags" Target="../tags/tag81.xml"/><Relationship Id="rId6" Type="http://schemas.openxmlformats.org/officeDocument/2006/relationships/hyperlink" Target="https://www.uber.com/newsroom/supporting-maui/" TargetMode="Externa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3.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3.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63.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3.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3.xml"/><Relationship Id="rId1" Type="http://schemas.openxmlformats.org/officeDocument/2006/relationships/tags" Target="../tags/tag88.xml"/><Relationship Id="rId6" Type="http://schemas.openxmlformats.org/officeDocument/2006/relationships/hyperlink" Target="https://www.mckinsey.com/~/media/McKinsey/Business%20Functions/Strategy%20and%20Corporate%20Finance/Our%20Insights/Five%20ways%20that%20ESG%20creates%20value/Five-ways-that-ESG-creates-value.ashx" TargetMode="Externa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hyperlink" Target="https://permutable.ai/uber-esg-score-a-deep-dive-into-sustainability-and-social-responsibility/" TargetMode="External"/><Relationship Id="rId2" Type="http://schemas.openxmlformats.org/officeDocument/2006/relationships/slideLayout" Target="../slideLayouts/slideLayout3.xml"/><Relationship Id="rId1" Type="http://schemas.openxmlformats.org/officeDocument/2006/relationships/tags" Target="../tags/tag89.xml"/><Relationship Id="rId6" Type="http://schemas.openxmlformats.org/officeDocument/2006/relationships/hyperlink" Target="https://www.mckinsey.com/capabilities/strategy-and-corporate-finance/our-insights/the-triple-play-growth-profit-and-sustainability" TargetMode="Externa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hyperlink" Target="https://www.uber.com/at/en/community/esg/" TargetMode="External"/><Relationship Id="rId2" Type="http://schemas.openxmlformats.org/officeDocument/2006/relationships/slideLayout" Target="../slideLayouts/slideLayout3.xml"/><Relationship Id="rId1" Type="http://schemas.openxmlformats.org/officeDocument/2006/relationships/tags" Target="../tags/tag90.xml"/><Relationship Id="rId6" Type="http://schemas.openxmlformats.org/officeDocument/2006/relationships/hyperlink" Target="https://www.wolterskluwer.com/en/expert-insights/the-importance-of-esg-as-a-key-drive-of-corporate-performance" TargetMode="Externa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3.xml"/><Relationship Id="rId1" Type="http://schemas.openxmlformats.org/officeDocument/2006/relationships/tags" Target="../tags/tag91.xml"/><Relationship Id="rId6" Type="http://schemas.openxmlformats.org/officeDocument/2006/relationships/hyperlink" Target="https://www.bdo.com/insights/advisory/the-sustainability-edge-business-benefits-of-embracing-esg" TargetMode="Externa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74.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notesSlide" Target="../notesSlides/notesSlide69.xml"/><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92.xml"/><Relationship Id="rId6" Type="http://schemas.openxmlformats.org/officeDocument/2006/relationships/hyperlink" Target="https://westminsterresearch.westminster.ac.uk/download/3aead4c09eecf9b82c3d7e570941234739660dbad8180226e18eea32684274bf/924479/Same-day%20delivery%20market%20and%20operations%20in%20the%20UK%20-%20final%20version.pdf" TargetMode="External"/><Relationship Id="rId11" Type="http://schemas.openxmlformats.org/officeDocument/2006/relationships/image" Target="../media/image21.png"/><Relationship Id="rId5" Type="http://schemas.openxmlformats.org/officeDocument/2006/relationships/image" Target="../media/image1.emf"/><Relationship Id="rId10" Type="http://schemas.openxmlformats.org/officeDocument/2006/relationships/image" Target="../media/image20.svg"/><Relationship Id="rId4" Type="http://schemas.openxmlformats.org/officeDocument/2006/relationships/oleObject" Target="../embeddings/oleObject56.bin"/><Relationship Id="rId9" Type="http://schemas.openxmlformats.org/officeDocument/2006/relationships/image" Target="../media/image19.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0.xml"/><Relationship Id="rId7" Type="http://schemas.openxmlformats.org/officeDocument/2006/relationships/hyperlink" Target="https://www.london.gov.uk/who-we-are/what-london-assembly-does/questions-mayor/find-an-answer/average-traffic-speeds-1" TargetMode="External"/><Relationship Id="rId2" Type="http://schemas.openxmlformats.org/officeDocument/2006/relationships/slideLayout" Target="../slideLayouts/slideLayout3.xml"/><Relationship Id="rId1" Type="http://schemas.openxmlformats.org/officeDocument/2006/relationships/tags" Target="../tags/tag93.xml"/><Relationship Id="rId6" Type="http://schemas.openxmlformats.org/officeDocument/2006/relationships/image" Target="../media/image1.emf"/><Relationship Id="rId5" Type="http://schemas.openxmlformats.org/officeDocument/2006/relationships/oleObject" Target="../embeddings/oleObject57.bin"/><Relationship Id="rId4" Type="http://schemas.microsoft.com/office/2018/10/relationships/comments" Target="../comments/modernComment_31A_E3724F58.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3.xml"/><Relationship Id="rId1" Type="http://schemas.openxmlformats.org/officeDocument/2006/relationships/tags" Target="../tags/tag94.xml"/><Relationship Id="rId6" Type="http://schemas.openxmlformats.org/officeDocument/2006/relationships/hyperlink" Target="https://www.msci.com/documents/1296102/21901542/MSCI+ESG+Ratings+Brochure-cbr-en.pdf" TargetMode="Externa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xml"/><Relationship Id="rId7" Type="http://schemas.openxmlformats.org/officeDocument/2006/relationships/oleObject" Target="../embeddings/oleObject59.bin"/><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notesSlide" Target="../notesSlides/notesSlide72.xml"/><Relationship Id="rId5" Type="http://schemas.openxmlformats.org/officeDocument/2006/relationships/slideLayout" Target="../slideLayouts/slideLayout3.xml"/><Relationship Id="rId4" Type="http://schemas.openxmlformats.org/officeDocument/2006/relationships/tags" Target="../tags/tag98.xml"/><Relationship Id="rId9" Type="http://schemas.openxmlformats.org/officeDocument/2006/relationships/hyperlink" Target="https://www.msci.com/our-solutions/esg-investing/esg-ratings-climate-search-tool/issuer/uber-technologies-inc/IID000000002740591" TargetMode="Externa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hyperlink" Target="https://www.msci.com/our-solutions/esg-investing/esg-ratings-climate-search-tool/issuer/doordash-inc/IID000000005032034" TargetMode="External"/><Relationship Id="rId2" Type="http://schemas.openxmlformats.org/officeDocument/2006/relationships/slideLayout" Target="../slideLayouts/slideLayout3.xml"/><Relationship Id="rId1" Type="http://schemas.openxmlformats.org/officeDocument/2006/relationships/tags" Target="../tags/tag99.xml"/><Relationship Id="rId6" Type="http://schemas.openxmlformats.org/officeDocument/2006/relationships/hyperlink" Target="https://www.msci.com/our-solutions/esg-investing/esg-ratings-climate-search-tool/issuer/grab-holdings-limited/IID000000005074146" TargetMode="Externa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2.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hyperlink" Target="https://www.uber.com/en-AE/newsroom/innovation-6/" TargetMode="External"/><Relationship Id="rId2" Type="http://schemas.openxmlformats.org/officeDocument/2006/relationships/notesSlide" Target="../notesSlides/notesSlide75.xml"/><Relationship Id="rId1" Type="http://schemas.openxmlformats.org/officeDocument/2006/relationships/slideLayout" Target="../slideLayouts/slideLayout3.xml"/><Relationship Id="rId4" Type="http://schemas.openxmlformats.org/officeDocument/2006/relationships/hyperlink" Target="https://www.uber.com/de/de/elevate/" TargetMode="External"/></Relationships>
</file>

<file path=ppt/slides/_rels/slide81.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1.png"/><Relationship Id="rId18" Type="http://schemas.openxmlformats.org/officeDocument/2006/relationships/image" Target="../media/image36.svg"/><Relationship Id="rId3" Type="http://schemas.openxmlformats.org/officeDocument/2006/relationships/hyperlink" Target="https://www.uber.com/en-AE/newsroom/innovation-6/" TargetMode="External"/><Relationship Id="rId7" Type="http://schemas.openxmlformats.org/officeDocument/2006/relationships/image" Target="../media/image25.png"/><Relationship Id="rId12" Type="http://schemas.openxmlformats.org/officeDocument/2006/relationships/image" Target="../media/image30.svg"/><Relationship Id="rId17" Type="http://schemas.openxmlformats.org/officeDocument/2006/relationships/image" Target="../media/image35.png"/><Relationship Id="rId2" Type="http://schemas.openxmlformats.org/officeDocument/2006/relationships/notesSlide" Target="../notesSlides/notesSlide76.xml"/><Relationship Id="rId16" Type="http://schemas.openxmlformats.org/officeDocument/2006/relationships/image" Target="../media/image34.svg"/><Relationship Id="rId1" Type="http://schemas.openxmlformats.org/officeDocument/2006/relationships/slideLayout" Target="../slideLayouts/slideLayout3.xml"/><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svg"/><Relationship Id="rId4" Type="http://schemas.openxmlformats.org/officeDocument/2006/relationships/hyperlink" Target="https://www.uber.com/de/de/elevate/" TargetMode="External"/><Relationship Id="rId9" Type="http://schemas.openxmlformats.org/officeDocument/2006/relationships/image" Target="../media/image27.png"/><Relationship Id="rId14" Type="http://schemas.openxmlformats.org/officeDocument/2006/relationships/image" Target="../media/image32.svg"/></Relationships>
</file>

<file path=ppt/slides/_rels/slide8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77.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8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8.xml"/><Relationship Id="rId1" Type="http://schemas.openxmlformats.org/officeDocument/2006/relationships/slideLayout" Target="../slideLayouts/slideLayout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8" Type="http://schemas.openxmlformats.org/officeDocument/2006/relationships/diagramColors" Target="../diagrams/colors8.xml"/><Relationship Id="rId13" Type="http://schemas.openxmlformats.org/officeDocument/2006/relationships/image" Target="../media/image46.svg"/><Relationship Id="rId18"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diagramQuickStyle" Target="../diagrams/quickStyle8.xml"/><Relationship Id="rId12" Type="http://schemas.openxmlformats.org/officeDocument/2006/relationships/image" Target="../media/image45.png"/><Relationship Id="rId17" Type="http://schemas.openxmlformats.org/officeDocument/2006/relationships/image" Target="../media/image50.svg"/><Relationship Id="rId2" Type="http://schemas.openxmlformats.org/officeDocument/2006/relationships/notesSlide" Target="../notesSlides/notesSlide80.xml"/><Relationship Id="rId16" Type="http://schemas.openxmlformats.org/officeDocument/2006/relationships/image" Target="../media/image49.png"/><Relationship Id="rId1" Type="http://schemas.openxmlformats.org/officeDocument/2006/relationships/slideLayout" Target="../slideLayouts/slideLayout3.xml"/><Relationship Id="rId6" Type="http://schemas.openxmlformats.org/officeDocument/2006/relationships/diagramLayout" Target="../diagrams/layout8.xml"/><Relationship Id="rId11" Type="http://schemas.openxmlformats.org/officeDocument/2006/relationships/image" Target="../media/image44.svg"/><Relationship Id="rId5" Type="http://schemas.openxmlformats.org/officeDocument/2006/relationships/diagramData" Target="../diagrams/data8.xml"/><Relationship Id="rId15" Type="http://schemas.openxmlformats.org/officeDocument/2006/relationships/image" Target="../media/image48.svg"/><Relationship Id="rId10" Type="http://schemas.openxmlformats.org/officeDocument/2006/relationships/image" Target="../media/image43.png"/><Relationship Id="rId19" Type="http://schemas.openxmlformats.org/officeDocument/2006/relationships/image" Target="../media/image52.svg"/><Relationship Id="rId4" Type="http://schemas.openxmlformats.org/officeDocument/2006/relationships/image" Target="../media/image42.svg"/><Relationship Id="rId9" Type="http://schemas.microsoft.com/office/2007/relationships/diagramDrawing" Target="../diagrams/drawing8.xml"/><Relationship Id="rId14" Type="http://schemas.openxmlformats.org/officeDocument/2006/relationships/image" Target="../media/image47.pn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3.xml"/><Relationship Id="rId1" Type="http://schemas.openxmlformats.org/officeDocument/2006/relationships/tags" Target="../tags/tag102.xml"/><Relationship Id="rId6" Type="http://schemas.openxmlformats.org/officeDocument/2006/relationships/image" Target="../media/image1.emf"/><Relationship Id="rId5" Type="http://schemas.openxmlformats.org/officeDocument/2006/relationships/oleObject" Target="../embeddings/oleObject63.bin"/><Relationship Id="rId4" Type="http://schemas.microsoft.com/office/2018/10/relationships/comments" Target="../comments/modernComment_2FC_1AD06A2B.xml"/></Relationships>
</file>

<file path=ppt/slides/_rels/slide88.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oleObject" Target="../embeddings/oleObject64.bin"/><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notesSlide" Target="../notesSlides/notesSlide83.xml"/><Relationship Id="rId2" Type="http://schemas.openxmlformats.org/officeDocument/2006/relationships/tags" Target="../tags/tag104.xml"/><Relationship Id="rId16" Type="http://schemas.openxmlformats.org/officeDocument/2006/relationships/slideLayout" Target="../slideLayouts/slideLayout3.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5" Type="http://schemas.openxmlformats.org/officeDocument/2006/relationships/tags" Target="../tags/tag117.xml"/><Relationship Id="rId10" Type="http://schemas.openxmlformats.org/officeDocument/2006/relationships/tags" Target="../tags/tag112.xml"/><Relationship Id="rId19" Type="http://schemas.openxmlformats.org/officeDocument/2006/relationships/image" Target="../media/image1.emf"/><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s>
</file>

<file path=ppt/slides/_rels/slide89.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hyperlink" Target="https://youtu.be/6CLXH6CrU_w" TargetMode="Externa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hyperlink" Target="https://www.youtube.com/watch?v=Asr_VpIJZgg&amp;pp=ygUbZGFyYSBraG9zcm93c2hhaGkgaW50ZXJ2aWV3" TargetMode="Externa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1.emf"/><Relationship Id="rId5" Type="http://schemas.openxmlformats.org/officeDocument/2006/relationships/tags" Target="../tags/tag122.xml"/><Relationship Id="rId10" Type="http://schemas.openxmlformats.org/officeDocument/2006/relationships/oleObject" Target="../embeddings/oleObject65.bin"/><Relationship Id="rId4" Type="http://schemas.openxmlformats.org/officeDocument/2006/relationships/tags" Target="../tags/tag121.xml"/><Relationship Id="rId9" Type="http://schemas.openxmlformats.org/officeDocument/2006/relationships/notesSlide" Target="../notesSlides/notesSlide84.xml"/><Relationship Id="rId14" Type="http://schemas.openxmlformats.org/officeDocument/2006/relationships/image" Target="../media/image53.png"/></Relationships>
</file>

<file path=ppt/slides/_rels/slide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5.xml"/><Relationship Id="rId7" Type="http://schemas.openxmlformats.org/officeDocument/2006/relationships/diagramLayout" Target="../diagrams/layout1.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7.bin"/><Relationship Id="rId9" Type="http://schemas.openxmlformats.org/officeDocument/2006/relationships/diagramColors" Target="../diagrams/colors1.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2.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notesSlide" Target="../notesSlides/notesSlide86.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87.xml"/></Relationships>
</file>

<file path=ppt/slides/_rels/slide93.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oleObject" Target="../embeddings/oleObject69.bin"/><Relationship Id="rId5" Type="http://schemas.openxmlformats.org/officeDocument/2006/relationships/notesSlide" Target="../notesSlides/notesSlide88.xml"/><Relationship Id="rId4"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3.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hyperlink" Target="https://youtu.be/6CLXH6CrU_w" TargetMode="External"/><Relationship Id="rId2" Type="http://schemas.openxmlformats.org/officeDocument/2006/relationships/slideLayout" Target="../slideLayouts/slideLayout3.xml"/><Relationship Id="rId1" Type="http://schemas.openxmlformats.org/officeDocument/2006/relationships/tags" Target="../tags/tag134.xml"/><Relationship Id="rId6" Type="http://schemas.openxmlformats.org/officeDocument/2006/relationships/hyperlink" Target="https://www.youtube.com/watch?v=Asr_VpIJZgg&amp;pp=ygUbZGFyYSBraG9zcm93c2hhaGkgaW50ZXJ2aWV3" TargetMode="Externa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96.xml.rels><?xml version="1.0" encoding="UTF-8" standalone="yes"?>
<Relationships xmlns="http://schemas.openxmlformats.org/package/2006/relationships"><Relationship Id="rId8" Type="http://schemas.openxmlformats.org/officeDocument/2006/relationships/hyperlink" Target="https://www.provokemedia.com/latest/article/'sometimes-the-transparency-is-going-to-hurt-us'-uber-ceo-on-rebuilding-trust" TargetMode="External"/><Relationship Id="rId3" Type="http://schemas.openxmlformats.org/officeDocument/2006/relationships/slideLayout" Target="../slideLayouts/slideLayout3.xml"/><Relationship Id="rId7" Type="http://schemas.openxmlformats.org/officeDocument/2006/relationships/hyperlink" Target="http://hussman.unc.edu/sites/default/files/FINAL%20Uber%20Crisis%20Communication%20Plan%20Fall%202017.pdf" TargetMode="Externa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notesSlide" Target="../notesSlides/notesSlide91.xml"/><Relationship Id="rId9" Type="http://schemas.openxmlformats.org/officeDocument/2006/relationships/hyperlink" Target="https://www.forbes.com/sites/carminegallo/2017/08/30/the-leadership-lesson-that-will-help-ubers-new-ceo-win-over-employees-and-rebuild-trust/?sh=fe73a645299d" TargetMode="Externa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3.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3.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74.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2.xml"/><Relationship Id="rId1" Type="http://schemas.openxmlformats.org/officeDocument/2006/relationships/tags" Target="../tags/tag139.xml"/><Relationship Id="rId6" Type="http://schemas.openxmlformats.org/officeDocument/2006/relationships/image" Target="../media/image1.emf"/><Relationship Id="rId5" Type="http://schemas.openxmlformats.org/officeDocument/2006/relationships/oleObject" Target="../embeddings/oleObject75.bin"/><Relationship Id="rId4" Type="http://schemas.microsoft.com/office/2018/10/relationships/comments" Target="../comments/modernComment_10D_90BFB40D.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E803CA4-2F6D-CCB6-B1D3-AEA2A4ED4D2A}"/>
              </a:ext>
            </a:extLst>
          </p:cNvPr>
          <p:cNvGraphicFramePr>
            <a:graphicFrameLocks noChangeAspect="1"/>
          </p:cNvGraphicFramePr>
          <p:nvPr>
            <p:custDataLst>
              <p:tags r:id="rId1"/>
            </p:custDataLst>
            <p:extLst>
              <p:ext uri="{D42A27DB-BD31-4B8C-83A1-F6EECF244321}">
                <p14:modId xmlns:p14="http://schemas.microsoft.com/office/powerpoint/2010/main" val="183786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4" name="think-cell data - do not delete" hidden="1">
                        <a:extLst>
                          <a:ext uri="{FF2B5EF4-FFF2-40B4-BE49-F238E27FC236}">
                            <a16:creationId xmlns:a16="http://schemas.microsoft.com/office/drawing/2014/main" id="{DE803CA4-2F6D-CCB6-B1D3-AEA2A4ED4D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360000" y="1980000"/>
            <a:ext cx="8550000" cy="1384995"/>
          </a:xfrm>
        </p:spPr>
        <p:txBody>
          <a:bodyPr vert="horz"/>
          <a:lstStyle/>
          <a:p>
            <a:r>
              <a:rPr lang="en-US"/>
              <a:t>Frage 1: Strategic Direction Main – 6 </a:t>
            </a:r>
            <a:r>
              <a:rPr lang="en-US" err="1"/>
              <a:t>Folien</a:t>
            </a:r>
            <a:r>
              <a:rPr lang="en-US"/>
              <a:t>  </a:t>
            </a:r>
          </a:p>
        </p:txBody>
      </p:sp>
      <p:sp>
        <p:nvSpPr>
          <p:cNvPr id="3" name="Textplatzhalter 2"/>
          <p:cNvSpPr>
            <a:spLocks noGrp="1"/>
          </p:cNvSpPr>
          <p:nvPr>
            <p:ph type="body" idx="1"/>
          </p:nvPr>
        </p:nvSpPr>
        <p:spPr>
          <a:xfrm>
            <a:off x="360000" y="3543179"/>
            <a:ext cx="8550000" cy="332399"/>
          </a:xfrm>
        </p:spPr>
        <p:txBody>
          <a:bodyPr/>
          <a:lstStyle/>
          <a:p>
            <a:r>
              <a:rPr lang="en-US"/>
              <a:t>Klara Schröder</a:t>
            </a:r>
          </a:p>
        </p:txBody>
      </p:sp>
    </p:spTree>
    <p:extLst>
      <p:ext uri="{BB962C8B-B14F-4D97-AF65-F5344CB8AC3E}">
        <p14:creationId xmlns:p14="http://schemas.microsoft.com/office/powerpoint/2010/main" val="27917468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53E1794-0C24-F7E3-BD04-FFC6312F8A56}"/>
              </a:ext>
            </a:extLst>
          </p:cNvPr>
          <p:cNvGraphicFramePr>
            <a:graphicFrameLocks noChangeAspect="1"/>
          </p:cNvGraphicFramePr>
          <p:nvPr>
            <p:custDataLst>
              <p:tags r:id="rId1"/>
            </p:custDataLst>
            <p:extLst>
              <p:ext uri="{D42A27DB-BD31-4B8C-83A1-F6EECF244321}">
                <p14:modId xmlns:p14="http://schemas.microsoft.com/office/powerpoint/2010/main" val="822337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9" name="think-cell data - do not delete" hidden="1">
                        <a:extLst>
                          <a:ext uri="{FF2B5EF4-FFF2-40B4-BE49-F238E27FC236}">
                            <a16:creationId xmlns:a16="http://schemas.microsoft.com/office/drawing/2014/main" id="{253E1794-0C24-F7E3-BD04-FFC6312F8A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4A4A6E8-1102-8A36-A365-A308215FFB97}"/>
              </a:ext>
            </a:extLst>
          </p:cNvPr>
          <p:cNvSpPr>
            <a:spLocks noGrp="1"/>
          </p:cNvSpPr>
          <p:nvPr>
            <p:ph type="title"/>
          </p:nvPr>
        </p:nvSpPr>
        <p:spPr/>
        <p:txBody>
          <a:bodyPr vert="horz"/>
          <a:lstStyle/>
          <a:p>
            <a:r>
              <a:rPr lang="en-US"/>
              <a:t>Um das </a:t>
            </a:r>
            <a:r>
              <a:rPr lang="en-US" err="1"/>
              <a:t>Hauptgeschäftsmodell</a:t>
            </a:r>
            <a:r>
              <a:rPr lang="en-US"/>
              <a:t> von Uber </a:t>
            </a:r>
            <a:r>
              <a:rPr lang="en-US" err="1"/>
              <a:t>zu</a:t>
            </a:r>
            <a:r>
              <a:rPr lang="en-US"/>
              <a:t> </a:t>
            </a:r>
            <a:r>
              <a:rPr lang="en-US" err="1"/>
              <a:t>optimieren</a:t>
            </a:r>
            <a:r>
              <a:rPr lang="en-US"/>
              <a:t>, </a:t>
            </a:r>
            <a:r>
              <a:rPr lang="en-US" err="1"/>
              <a:t>müssen</a:t>
            </a:r>
            <a:r>
              <a:rPr lang="en-US"/>
              <a:t> die </a:t>
            </a:r>
            <a:r>
              <a:rPr lang="en-US" err="1"/>
              <a:t>Störungen</a:t>
            </a:r>
            <a:r>
              <a:rPr lang="en-US"/>
              <a:t> </a:t>
            </a:r>
            <a:r>
              <a:rPr lang="en-US" err="1"/>
              <a:t>bewältigt</a:t>
            </a:r>
            <a:r>
              <a:rPr lang="en-US"/>
              <a:t> und die </a:t>
            </a:r>
            <a:r>
              <a:rPr lang="en-US" err="1"/>
              <a:t>Verbesserungen</a:t>
            </a:r>
            <a:r>
              <a:rPr lang="en-US"/>
              <a:t> in Angriff </a:t>
            </a:r>
            <a:r>
              <a:rPr lang="en-US" err="1"/>
              <a:t>genommen</a:t>
            </a:r>
            <a:r>
              <a:rPr lang="en-US"/>
              <a:t> </a:t>
            </a:r>
            <a:r>
              <a:rPr lang="en-US" err="1"/>
              <a:t>werden</a:t>
            </a:r>
            <a:endParaRPr lang="en-US"/>
          </a:p>
        </p:txBody>
      </p:sp>
      <p:graphicFrame>
        <p:nvGraphicFramePr>
          <p:cNvPr id="8" name="Inhaltsplatzhalter 7">
            <a:extLst>
              <a:ext uri="{FF2B5EF4-FFF2-40B4-BE49-F238E27FC236}">
                <a16:creationId xmlns:a16="http://schemas.microsoft.com/office/drawing/2014/main" id="{31CE2E6B-0BDA-AC7C-E361-8C0D4EB40F1A}"/>
              </a:ext>
            </a:extLst>
          </p:cNvPr>
          <p:cNvGraphicFramePr>
            <a:graphicFrameLocks noGrp="1"/>
          </p:cNvGraphicFramePr>
          <p:nvPr>
            <p:ph idx="1"/>
            <p:extLst>
              <p:ext uri="{D42A27DB-BD31-4B8C-83A1-F6EECF244321}">
                <p14:modId xmlns:p14="http://schemas.microsoft.com/office/powerpoint/2010/main" val="1993100016"/>
              </p:ext>
            </p:extLst>
          </p:nvPr>
        </p:nvGraphicFramePr>
        <p:xfrm>
          <a:off x="360363" y="1989138"/>
          <a:ext cx="8567737" cy="442753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Foliennummernplatzhalter 3">
            <a:extLst>
              <a:ext uri="{FF2B5EF4-FFF2-40B4-BE49-F238E27FC236}">
                <a16:creationId xmlns:a16="http://schemas.microsoft.com/office/drawing/2014/main" id="{0CF1F83B-DD95-7BF1-222C-374DF56345DE}"/>
              </a:ext>
            </a:extLst>
          </p:cNvPr>
          <p:cNvSpPr>
            <a:spLocks noGrp="1"/>
          </p:cNvSpPr>
          <p:nvPr>
            <p:ph type="sldNum" sz="quarter" idx="4"/>
          </p:nvPr>
        </p:nvSpPr>
        <p:spPr/>
        <p:txBody>
          <a:bodyPr/>
          <a:lstStyle/>
          <a:p>
            <a:fld id="{BAF04893-69FB-435D-AB2E-CA259D85B32F}" type="slidenum">
              <a:rPr lang="en-US" smtClean="0"/>
              <a:pPr/>
              <a:t>10</a:t>
            </a:fld>
            <a:endParaRPr lang="en-US"/>
          </a:p>
        </p:txBody>
      </p:sp>
      <p:sp>
        <p:nvSpPr>
          <p:cNvPr id="5" name="Inhaltsplatzhalter 4">
            <a:extLst>
              <a:ext uri="{FF2B5EF4-FFF2-40B4-BE49-F238E27FC236}">
                <a16:creationId xmlns:a16="http://schemas.microsoft.com/office/drawing/2014/main" id="{AEB3080C-648A-11BD-D177-5B64208D2812}"/>
              </a:ext>
            </a:extLst>
          </p:cNvPr>
          <p:cNvSpPr>
            <a:spLocks noGrp="1"/>
          </p:cNvSpPr>
          <p:nvPr>
            <p:ph idx="10"/>
          </p:nvPr>
        </p:nvSpPr>
        <p:spPr/>
        <p:txBody>
          <a:bodyPr/>
          <a:lstStyle/>
          <a:p>
            <a:r>
              <a:rPr lang="en-US"/>
              <a:t>Stärken, Schwächen, Verbesserungen und Störungen des Hauptgeschäftsmodells</a:t>
            </a:r>
          </a:p>
        </p:txBody>
      </p:sp>
      <p:sp>
        <p:nvSpPr>
          <p:cNvPr id="6" name="Inhaltsplatzhalter 5">
            <a:extLst>
              <a:ext uri="{FF2B5EF4-FFF2-40B4-BE49-F238E27FC236}">
                <a16:creationId xmlns:a16="http://schemas.microsoft.com/office/drawing/2014/main" id="{124F2354-9BB9-9CA1-F1E5-095EC92BEDB6}"/>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41221B4D-6A02-8666-A6AE-7275EAFF322D}"/>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101553798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A9215D-82A9-4BD1-0B18-F7F09B9E618F}"/>
              </a:ext>
            </a:extLst>
          </p:cNvPr>
          <p:cNvSpPr>
            <a:spLocks noGrp="1"/>
          </p:cNvSpPr>
          <p:nvPr>
            <p:ph type="title"/>
          </p:nvPr>
        </p:nvSpPr>
        <p:spPr/>
        <p:txBody>
          <a:bodyPr/>
          <a:lstStyle/>
          <a:p>
            <a:r>
              <a:rPr lang="en-US">
                <a:cs typeface="Arial"/>
              </a:rPr>
              <a:t>Uber hat flexible und anpassungsfähig auf die Covid-19-Pandemie reagiert</a:t>
            </a:r>
            <a:endParaRPr lang="en-US"/>
          </a:p>
        </p:txBody>
      </p:sp>
      <p:sp>
        <p:nvSpPr>
          <p:cNvPr id="3" name="Inhaltsplatzhalter 2">
            <a:extLst>
              <a:ext uri="{FF2B5EF4-FFF2-40B4-BE49-F238E27FC236}">
                <a16:creationId xmlns:a16="http://schemas.microsoft.com/office/drawing/2014/main" id="{C006CDAE-738B-FCC1-1F57-C55ED2E20C08}"/>
              </a:ext>
            </a:extLst>
          </p:cNvPr>
          <p:cNvSpPr>
            <a:spLocks noGrp="1"/>
          </p:cNvSpPr>
          <p:nvPr>
            <p:ph idx="1"/>
          </p:nvPr>
        </p:nvSpPr>
        <p:spPr/>
        <p:txBody>
          <a:bodyPr/>
          <a:lstStyle/>
          <a:p>
            <a:pPr marL="285750" indent="-285750">
              <a:buFont typeface="Arial" panose="020B0604020202020204" pitchFamily="34" charset="0"/>
              <a:buChar char="•"/>
            </a:pPr>
            <a:r>
              <a:rPr lang="en-US"/>
              <a:t>Uber hat sich um Anpassung an die Situation bemüht</a:t>
            </a:r>
          </a:p>
          <a:p>
            <a:pPr marL="285750" indent="-285750">
              <a:buFont typeface="Arial" panose="020B0604020202020204" pitchFamily="34" charset="0"/>
              <a:buChar char="•"/>
            </a:pPr>
            <a:r>
              <a:rPr lang="en-US"/>
              <a:t>Reaktion: Rückgang der Fahrdienste &amp; Wachstum im Lieferdienst</a:t>
            </a:r>
          </a:p>
          <a:p>
            <a:pPr marL="285750" indent="-285750">
              <a:buFont typeface="Arial" panose="020B0604020202020204" pitchFamily="34" charset="0"/>
              <a:buChar char="•"/>
            </a:pPr>
            <a:r>
              <a:rPr lang="en-US"/>
              <a:t>-&gt; Anpassung an die veränderte Nachfrage</a:t>
            </a:r>
          </a:p>
          <a:p>
            <a:pPr marL="285750" indent="-285750">
              <a:buFont typeface="Arial" panose="020B0604020202020204" pitchFamily="34" charset="0"/>
              <a:buChar char="•"/>
            </a:pPr>
            <a:r>
              <a:rPr lang="en-US"/>
              <a:t>Flexible Reaktion</a:t>
            </a:r>
          </a:p>
          <a:p>
            <a:pPr marL="285750" indent="-285750">
              <a:buFont typeface="Arial" panose="020B0604020202020204" pitchFamily="34" charset="0"/>
              <a:buChar char="•"/>
            </a:pPr>
            <a:r>
              <a:rPr lang="en-US"/>
              <a:t>Verschiedene Maßnahmen ergriffen, um Auswirkungen abzumildern</a:t>
            </a:r>
          </a:p>
        </p:txBody>
      </p:sp>
      <p:sp>
        <p:nvSpPr>
          <p:cNvPr id="4" name="Foliennummernplatzhalter 3">
            <a:extLst>
              <a:ext uri="{FF2B5EF4-FFF2-40B4-BE49-F238E27FC236}">
                <a16:creationId xmlns:a16="http://schemas.microsoft.com/office/drawing/2014/main" id="{3EB96D40-46F7-FC50-4C53-E7A18FA42CE5}"/>
              </a:ext>
            </a:extLst>
          </p:cNvPr>
          <p:cNvSpPr>
            <a:spLocks noGrp="1"/>
          </p:cNvSpPr>
          <p:nvPr>
            <p:ph type="sldNum" sz="quarter" idx="4"/>
          </p:nvPr>
        </p:nvSpPr>
        <p:spPr/>
        <p:txBody>
          <a:bodyPr/>
          <a:lstStyle/>
          <a:p>
            <a:fld id="{BAF04893-69FB-435D-AB2E-CA259D85B32F}" type="slidenum">
              <a:rPr lang="en-US" smtClean="0"/>
              <a:pPr/>
              <a:t>100</a:t>
            </a:fld>
            <a:endParaRPr lang="en-US"/>
          </a:p>
        </p:txBody>
      </p:sp>
      <p:sp>
        <p:nvSpPr>
          <p:cNvPr id="5" name="Inhaltsplatzhalter 4">
            <a:extLst>
              <a:ext uri="{FF2B5EF4-FFF2-40B4-BE49-F238E27FC236}">
                <a16:creationId xmlns:a16="http://schemas.microsoft.com/office/drawing/2014/main" id="{B7ACA2AD-8324-4B58-ABC1-B3DA00DDBBB6}"/>
              </a:ext>
            </a:extLst>
          </p:cNvPr>
          <p:cNvSpPr>
            <a:spLocks noGrp="1"/>
          </p:cNvSpPr>
          <p:nvPr>
            <p:ph idx="10"/>
          </p:nvPr>
        </p:nvSpPr>
        <p:spPr/>
        <p:txBody>
          <a:bodyPr/>
          <a:lstStyle/>
          <a:p>
            <a:r>
              <a:rPr lang="en-US"/>
              <a:t>Reaktion von Uber auf die Covid-19-Pandemie</a:t>
            </a:r>
          </a:p>
        </p:txBody>
      </p:sp>
      <p:sp>
        <p:nvSpPr>
          <p:cNvPr id="6" name="Inhaltsplatzhalter 5">
            <a:extLst>
              <a:ext uri="{FF2B5EF4-FFF2-40B4-BE49-F238E27FC236}">
                <a16:creationId xmlns:a16="http://schemas.microsoft.com/office/drawing/2014/main" id="{1002D649-7B6A-7325-D74F-88C94D8726F0}"/>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4ECA8F68-36C7-1391-7901-7CB064E0E450}"/>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332599289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EDB50A-5C1B-F435-7BA0-F24E8E5D4303}"/>
              </a:ext>
            </a:extLst>
          </p:cNvPr>
          <p:cNvSpPr>
            <a:spLocks noGrp="1"/>
          </p:cNvSpPr>
          <p:nvPr>
            <p:ph type="title"/>
          </p:nvPr>
        </p:nvSpPr>
        <p:spPr/>
        <p:txBody>
          <a:bodyPr/>
          <a:lstStyle/>
          <a:p>
            <a:r>
              <a:rPr lang="en-US">
                <a:cs typeface="Arial"/>
              </a:rPr>
              <a:t>Uber hat sein Geschäftsmodell von den Fahrdiensten hin zu den Lieferdiensten verlagert</a:t>
            </a:r>
            <a:endParaRPr lang="en-US"/>
          </a:p>
        </p:txBody>
      </p:sp>
      <p:graphicFrame>
        <p:nvGraphicFramePr>
          <p:cNvPr id="8" name="Inhaltsplatzhalter 7">
            <a:extLst>
              <a:ext uri="{FF2B5EF4-FFF2-40B4-BE49-F238E27FC236}">
                <a16:creationId xmlns:a16="http://schemas.microsoft.com/office/drawing/2014/main" id="{C109DF9B-ABB5-9695-96DB-9E38D6738892}"/>
              </a:ext>
            </a:extLst>
          </p:cNvPr>
          <p:cNvGraphicFramePr>
            <a:graphicFrameLocks noGrp="1"/>
          </p:cNvGraphicFramePr>
          <p:nvPr>
            <p:ph idx="1"/>
            <p:extLst>
              <p:ext uri="{D42A27DB-BD31-4B8C-83A1-F6EECF244321}">
                <p14:modId xmlns:p14="http://schemas.microsoft.com/office/powerpoint/2010/main" val="440783153"/>
              </p:ext>
            </p:extLst>
          </p:nvPr>
        </p:nvGraphicFramePr>
        <p:xfrm>
          <a:off x="360363" y="1989138"/>
          <a:ext cx="8567737" cy="44275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liennummernplatzhalter 3">
            <a:extLst>
              <a:ext uri="{FF2B5EF4-FFF2-40B4-BE49-F238E27FC236}">
                <a16:creationId xmlns:a16="http://schemas.microsoft.com/office/drawing/2014/main" id="{32AA36E7-85F8-FB6D-A4C2-DDA4179AF273}"/>
              </a:ext>
            </a:extLst>
          </p:cNvPr>
          <p:cNvSpPr>
            <a:spLocks noGrp="1"/>
          </p:cNvSpPr>
          <p:nvPr>
            <p:ph type="sldNum" sz="quarter" idx="4"/>
          </p:nvPr>
        </p:nvSpPr>
        <p:spPr/>
        <p:txBody>
          <a:bodyPr/>
          <a:lstStyle/>
          <a:p>
            <a:fld id="{BAF04893-69FB-435D-AB2E-CA259D85B32F}" type="slidenum">
              <a:rPr lang="en-US" smtClean="0"/>
              <a:pPr/>
              <a:t>101</a:t>
            </a:fld>
            <a:endParaRPr lang="en-US"/>
          </a:p>
        </p:txBody>
      </p:sp>
      <p:sp>
        <p:nvSpPr>
          <p:cNvPr id="5" name="Inhaltsplatzhalter 4">
            <a:extLst>
              <a:ext uri="{FF2B5EF4-FFF2-40B4-BE49-F238E27FC236}">
                <a16:creationId xmlns:a16="http://schemas.microsoft.com/office/drawing/2014/main" id="{0E4C784B-2CC4-6CE3-D151-BE6D37C1E6BE}"/>
              </a:ext>
            </a:extLst>
          </p:cNvPr>
          <p:cNvSpPr>
            <a:spLocks noGrp="1"/>
          </p:cNvSpPr>
          <p:nvPr>
            <p:ph idx="10"/>
          </p:nvPr>
        </p:nvSpPr>
        <p:spPr/>
        <p:txBody>
          <a:bodyPr/>
          <a:lstStyle/>
          <a:p>
            <a:r>
              <a:rPr lang="en-US"/>
              <a:t>Anpassung des Geschäftsmodell von Uber während der Pandemie</a:t>
            </a:r>
          </a:p>
        </p:txBody>
      </p:sp>
      <p:sp>
        <p:nvSpPr>
          <p:cNvPr id="6" name="Inhaltsplatzhalter 5">
            <a:extLst>
              <a:ext uri="{FF2B5EF4-FFF2-40B4-BE49-F238E27FC236}">
                <a16:creationId xmlns:a16="http://schemas.microsoft.com/office/drawing/2014/main" id="{A3DD6062-39EB-9A73-9C05-432776D956E5}"/>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41E28B6E-34C7-72B2-B08A-1F1BC59D12EC}"/>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66506342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770D87-2D58-D256-4DAF-F5215B2E7134}"/>
              </a:ext>
            </a:extLst>
          </p:cNvPr>
          <p:cNvSpPr>
            <a:spLocks noGrp="1"/>
          </p:cNvSpPr>
          <p:nvPr>
            <p:ph type="title"/>
          </p:nvPr>
        </p:nvSpPr>
        <p:spPr/>
        <p:txBody>
          <a:bodyPr/>
          <a:lstStyle/>
          <a:p>
            <a:r>
              <a:rPr lang="en-US">
                <a:cs typeface="Arial"/>
              </a:rPr>
              <a:t>Uber hat verschiedene Maßnahmen ergriffen, um in der Covid-19-Pandemie zu unterstützen</a:t>
            </a:r>
            <a:endParaRPr lang="en-US"/>
          </a:p>
        </p:txBody>
      </p:sp>
      <p:graphicFrame>
        <p:nvGraphicFramePr>
          <p:cNvPr id="8" name="Inhaltsplatzhalter 7">
            <a:extLst>
              <a:ext uri="{FF2B5EF4-FFF2-40B4-BE49-F238E27FC236}">
                <a16:creationId xmlns:a16="http://schemas.microsoft.com/office/drawing/2014/main" id="{E17FBA01-732F-6CF3-CFD2-3ADC12EC8A42}"/>
              </a:ext>
            </a:extLst>
          </p:cNvPr>
          <p:cNvGraphicFramePr>
            <a:graphicFrameLocks noGrp="1"/>
          </p:cNvGraphicFramePr>
          <p:nvPr>
            <p:ph idx="1"/>
            <p:extLst>
              <p:ext uri="{D42A27DB-BD31-4B8C-83A1-F6EECF244321}">
                <p14:modId xmlns:p14="http://schemas.microsoft.com/office/powerpoint/2010/main" val="1010429"/>
              </p:ext>
            </p:extLst>
          </p:nvPr>
        </p:nvGraphicFramePr>
        <p:xfrm>
          <a:off x="360363" y="1989138"/>
          <a:ext cx="8567737" cy="44275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liennummernplatzhalter 3">
            <a:extLst>
              <a:ext uri="{FF2B5EF4-FFF2-40B4-BE49-F238E27FC236}">
                <a16:creationId xmlns:a16="http://schemas.microsoft.com/office/drawing/2014/main" id="{8B60A1D7-C095-B692-8977-131F155D0A81}"/>
              </a:ext>
            </a:extLst>
          </p:cNvPr>
          <p:cNvSpPr>
            <a:spLocks noGrp="1"/>
          </p:cNvSpPr>
          <p:nvPr>
            <p:ph type="sldNum" sz="quarter" idx="4"/>
          </p:nvPr>
        </p:nvSpPr>
        <p:spPr/>
        <p:txBody>
          <a:bodyPr/>
          <a:lstStyle/>
          <a:p>
            <a:fld id="{BAF04893-69FB-435D-AB2E-CA259D85B32F}" type="slidenum">
              <a:rPr lang="en-US" smtClean="0"/>
              <a:pPr/>
              <a:t>102</a:t>
            </a:fld>
            <a:endParaRPr lang="en-US"/>
          </a:p>
        </p:txBody>
      </p:sp>
      <p:sp>
        <p:nvSpPr>
          <p:cNvPr id="5" name="Inhaltsplatzhalter 4">
            <a:extLst>
              <a:ext uri="{FF2B5EF4-FFF2-40B4-BE49-F238E27FC236}">
                <a16:creationId xmlns:a16="http://schemas.microsoft.com/office/drawing/2014/main" id="{5C61D28D-7D92-C6EA-3786-55277EB04004}"/>
              </a:ext>
            </a:extLst>
          </p:cNvPr>
          <p:cNvSpPr>
            <a:spLocks noGrp="1"/>
          </p:cNvSpPr>
          <p:nvPr>
            <p:ph idx="10"/>
          </p:nvPr>
        </p:nvSpPr>
        <p:spPr/>
        <p:txBody>
          <a:bodyPr/>
          <a:lstStyle/>
          <a:p>
            <a:r>
              <a:rPr lang="en-US"/>
              <a:t>Schritte zur Unterstützung von Mitarbeitern, Kunden, Gemeinschaften</a:t>
            </a:r>
          </a:p>
        </p:txBody>
      </p:sp>
      <p:sp>
        <p:nvSpPr>
          <p:cNvPr id="6" name="Inhaltsplatzhalter 5">
            <a:extLst>
              <a:ext uri="{FF2B5EF4-FFF2-40B4-BE49-F238E27FC236}">
                <a16:creationId xmlns:a16="http://schemas.microsoft.com/office/drawing/2014/main" id="{6F43C40D-93DC-74ED-FAB9-608F31210E41}"/>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273DF1DE-FB4A-CB10-9A12-74FAC73A9A65}"/>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246003994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C838B5-A61A-FF9D-D532-120AEB9C426A}"/>
              </a:ext>
            </a:extLst>
          </p:cNvPr>
          <p:cNvSpPr>
            <a:spLocks noGrp="1"/>
          </p:cNvSpPr>
          <p:nvPr>
            <p:ph type="title"/>
          </p:nvPr>
        </p:nvSpPr>
        <p:spPr/>
        <p:txBody>
          <a:bodyPr/>
          <a:lstStyle/>
          <a:p>
            <a:r>
              <a:rPr lang="en-US">
                <a:cs typeface="Arial"/>
              </a:rPr>
              <a:t>Die Pandemie hatte Auswirkungen auf den Umsatz, dem durch die Anpassung des Geschäftsmodells entgegengewirkt werden konnte</a:t>
            </a:r>
            <a:endParaRPr lang="en-US"/>
          </a:p>
        </p:txBody>
      </p:sp>
      <p:graphicFrame>
        <p:nvGraphicFramePr>
          <p:cNvPr id="11" name="Inhaltsplatzhalter 10">
            <a:extLst>
              <a:ext uri="{FF2B5EF4-FFF2-40B4-BE49-F238E27FC236}">
                <a16:creationId xmlns:a16="http://schemas.microsoft.com/office/drawing/2014/main" id="{758654B0-B3CE-3E8D-7BBD-3154ABBC389A}"/>
              </a:ext>
            </a:extLst>
          </p:cNvPr>
          <p:cNvGraphicFramePr>
            <a:graphicFrameLocks noGrp="1"/>
          </p:cNvGraphicFramePr>
          <p:nvPr>
            <p:ph idx="1"/>
            <p:extLst>
              <p:ext uri="{D42A27DB-BD31-4B8C-83A1-F6EECF244321}">
                <p14:modId xmlns:p14="http://schemas.microsoft.com/office/powerpoint/2010/main" val="3416113789"/>
              </p:ext>
            </p:extLst>
          </p:nvPr>
        </p:nvGraphicFramePr>
        <p:xfrm>
          <a:off x="360363" y="1989138"/>
          <a:ext cx="8567737" cy="44275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liennummernplatzhalter 3">
            <a:extLst>
              <a:ext uri="{FF2B5EF4-FFF2-40B4-BE49-F238E27FC236}">
                <a16:creationId xmlns:a16="http://schemas.microsoft.com/office/drawing/2014/main" id="{139098B8-4714-D617-BD99-3DE723B7987E}"/>
              </a:ext>
            </a:extLst>
          </p:cNvPr>
          <p:cNvSpPr>
            <a:spLocks noGrp="1"/>
          </p:cNvSpPr>
          <p:nvPr>
            <p:ph type="sldNum" sz="quarter" idx="4"/>
          </p:nvPr>
        </p:nvSpPr>
        <p:spPr/>
        <p:txBody>
          <a:bodyPr/>
          <a:lstStyle/>
          <a:p>
            <a:fld id="{BAF04893-69FB-435D-AB2E-CA259D85B32F}" type="slidenum">
              <a:rPr lang="en-US" smtClean="0"/>
              <a:pPr/>
              <a:t>103</a:t>
            </a:fld>
            <a:endParaRPr lang="en-US"/>
          </a:p>
        </p:txBody>
      </p:sp>
      <p:sp>
        <p:nvSpPr>
          <p:cNvPr id="5" name="Inhaltsplatzhalter 4">
            <a:extLst>
              <a:ext uri="{FF2B5EF4-FFF2-40B4-BE49-F238E27FC236}">
                <a16:creationId xmlns:a16="http://schemas.microsoft.com/office/drawing/2014/main" id="{69DEA780-2143-D6D4-A19D-86C0360703B5}"/>
              </a:ext>
            </a:extLst>
          </p:cNvPr>
          <p:cNvSpPr>
            <a:spLocks noGrp="1"/>
          </p:cNvSpPr>
          <p:nvPr>
            <p:ph idx="10"/>
          </p:nvPr>
        </p:nvSpPr>
        <p:spPr/>
        <p:txBody>
          <a:bodyPr/>
          <a:lstStyle/>
          <a:p>
            <a:r>
              <a:rPr lang="en-US"/>
              <a:t>Finanzielle Auswirkungen</a:t>
            </a:r>
          </a:p>
        </p:txBody>
      </p:sp>
      <p:sp>
        <p:nvSpPr>
          <p:cNvPr id="6" name="Inhaltsplatzhalter 5">
            <a:extLst>
              <a:ext uri="{FF2B5EF4-FFF2-40B4-BE49-F238E27FC236}">
                <a16:creationId xmlns:a16="http://schemas.microsoft.com/office/drawing/2014/main" id="{81A38FCA-64E8-C5DA-C05F-D0DD3A0085D5}"/>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DC027F90-4814-AB76-64C1-5E9A6C960148}"/>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317158215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DF81A7-B5B1-D703-8B4E-0DFC0FB281C2}"/>
              </a:ext>
            </a:extLst>
          </p:cNvPr>
          <p:cNvSpPr>
            <a:spLocks noGrp="1"/>
          </p:cNvSpPr>
          <p:nvPr>
            <p:ph type="title"/>
          </p:nvPr>
        </p:nvSpPr>
        <p:spPr/>
        <p:txBody>
          <a:bodyPr/>
          <a:lstStyle/>
          <a:p>
            <a:r>
              <a:rPr lang="en-US">
                <a:cs typeface="Arial"/>
              </a:rPr>
              <a:t>Uber will bei seiner strategischen Ausrichtung die Betonung langfristig auf Diversifizierung setzen</a:t>
            </a:r>
            <a:endParaRPr lang="en-US"/>
          </a:p>
        </p:txBody>
      </p:sp>
      <p:graphicFrame>
        <p:nvGraphicFramePr>
          <p:cNvPr id="8" name="Inhaltsplatzhalter 7">
            <a:extLst>
              <a:ext uri="{FF2B5EF4-FFF2-40B4-BE49-F238E27FC236}">
                <a16:creationId xmlns:a16="http://schemas.microsoft.com/office/drawing/2014/main" id="{EB92DCA2-8DE7-6065-39A0-1C2339F8D9AD}"/>
              </a:ext>
            </a:extLst>
          </p:cNvPr>
          <p:cNvGraphicFramePr>
            <a:graphicFrameLocks noGrp="1"/>
          </p:cNvGraphicFramePr>
          <p:nvPr>
            <p:ph idx="1"/>
            <p:extLst>
              <p:ext uri="{D42A27DB-BD31-4B8C-83A1-F6EECF244321}">
                <p14:modId xmlns:p14="http://schemas.microsoft.com/office/powerpoint/2010/main" val="888808343"/>
              </p:ext>
            </p:extLst>
          </p:nvPr>
        </p:nvGraphicFramePr>
        <p:xfrm>
          <a:off x="360363" y="1989138"/>
          <a:ext cx="8567737" cy="44275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liennummernplatzhalter 3">
            <a:extLst>
              <a:ext uri="{FF2B5EF4-FFF2-40B4-BE49-F238E27FC236}">
                <a16:creationId xmlns:a16="http://schemas.microsoft.com/office/drawing/2014/main" id="{0668071B-141E-9086-DF84-AD18D46220DC}"/>
              </a:ext>
            </a:extLst>
          </p:cNvPr>
          <p:cNvSpPr>
            <a:spLocks noGrp="1"/>
          </p:cNvSpPr>
          <p:nvPr>
            <p:ph type="sldNum" sz="quarter" idx="4"/>
          </p:nvPr>
        </p:nvSpPr>
        <p:spPr/>
        <p:txBody>
          <a:bodyPr/>
          <a:lstStyle/>
          <a:p>
            <a:fld id="{BAF04893-69FB-435D-AB2E-CA259D85B32F}" type="slidenum">
              <a:rPr lang="en-US" smtClean="0"/>
              <a:pPr/>
              <a:t>104</a:t>
            </a:fld>
            <a:endParaRPr lang="en-US"/>
          </a:p>
        </p:txBody>
      </p:sp>
      <p:sp>
        <p:nvSpPr>
          <p:cNvPr id="5" name="Inhaltsplatzhalter 4">
            <a:extLst>
              <a:ext uri="{FF2B5EF4-FFF2-40B4-BE49-F238E27FC236}">
                <a16:creationId xmlns:a16="http://schemas.microsoft.com/office/drawing/2014/main" id="{3AB56EB8-4277-8DE2-D037-9CA76A0A3B36}"/>
              </a:ext>
            </a:extLst>
          </p:cNvPr>
          <p:cNvSpPr>
            <a:spLocks noGrp="1"/>
          </p:cNvSpPr>
          <p:nvPr>
            <p:ph idx="10"/>
          </p:nvPr>
        </p:nvSpPr>
        <p:spPr/>
        <p:txBody>
          <a:bodyPr/>
          <a:lstStyle/>
          <a:p>
            <a:r>
              <a:rPr lang="en-US"/>
              <a:t>Veränderungen der strategischen Ausrichtung</a:t>
            </a:r>
          </a:p>
        </p:txBody>
      </p:sp>
      <p:sp>
        <p:nvSpPr>
          <p:cNvPr id="6" name="Inhaltsplatzhalter 5">
            <a:extLst>
              <a:ext uri="{FF2B5EF4-FFF2-40B4-BE49-F238E27FC236}">
                <a16:creationId xmlns:a16="http://schemas.microsoft.com/office/drawing/2014/main" id="{DFA89C8C-9B9D-6F37-E084-4287D3D9E226}"/>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227FA4D9-5DB3-4778-87F3-2B74D485E044}"/>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151657258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3598F6-A437-7331-B2D7-DCD052039C8C}"/>
              </a:ext>
            </a:extLst>
          </p:cNvPr>
          <p:cNvSpPr>
            <a:spLocks noGrp="1"/>
          </p:cNvSpPr>
          <p:nvPr>
            <p:ph type="title"/>
          </p:nvPr>
        </p:nvSpPr>
        <p:spPr/>
        <p:txBody>
          <a:bodyPr/>
          <a:lstStyle/>
          <a:p>
            <a:r>
              <a:rPr lang="en-US">
                <a:cs typeface="Arial"/>
              </a:rPr>
              <a:t>Die größte Lessons learned von Uber war, langfristig agil und anpassungsfähig bleiben zu müssen</a:t>
            </a:r>
            <a:endParaRPr lang="en-US"/>
          </a:p>
        </p:txBody>
      </p:sp>
      <p:graphicFrame>
        <p:nvGraphicFramePr>
          <p:cNvPr id="8" name="Inhaltsplatzhalter 7">
            <a:extLst>
              <a:ext uri="{FF2B5EF4-FFF2-40B4-BE49-F238E27FC236}">
                <a16:creationId xmlns:a16="http://schemas.microsoft.com/office/drawing/2014/main" id="{BA943E5A-C561-F075-CDD5-56354C2EBD5B}"/>
              </a:ext>
            </a:extLst>
          </p:cNvPr>
          <p:cNvGraphicFramePr>
            <a:graphicFrameLocks noGrp="1"/>
          </p:cNvGraphicFramePr>
          <p:nvPr>
            <p:ph idx="1"/>
            <p:extLst>
              <p:ext uri="{D42A27DB-BD31-4B8C-83A1-F6EECF244321}">
                <p14:modId xmlns:p14="http://schemas.microsoft.com/office/powerpoint/2010/main" val="3984047695"/>
              </p:ext>
            </p:extLst>
          </p:nvPr>
        </p:nvGraphicFramePr>
        <p:xfrm>
          <a:off x="360363" y="1989138"/>
          <a:ext cx="8567737" cy="38101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liennummernplatzhalter 3">
            <a:extLst>
              <a:ext uri="{FF2B5EF4-FFF2-40B4-BE49-F238E27FC236}">
                <a16:creationId xmlns:a16="http://schemas.microsoft.com/office/drawing/2014/main" id="{90AFDAFD-26E3-C670-4C07-1C54B3D7EB1F}"/>
              </a:ext>
            </a:extLst>
          </p:cNvPr>
          <p:cNvSpPr>
            <a:spLocks noGrp="1"/>
          </p:cNvSpPr>
          <p:nvPr>
            <p:ph type="sldNum" sz="quarter" idx="4"/>
          </p:nvPr>
        </p:nvSpPr>
        <p:spPr/>
        <p:txBody>
          <a:bodyPr/>
          <a:lstStyle/>
          <a:p>
            <a:fld id="{BAF04893-69FB-435D-AB2E-CA259D85B32F}" type="slidenum">
              <a:rPr lang="en-US" smtClean="0"/>
              <a:pPr/>
              <a:t>105</a:t>
            </a:fld>
            <a:endParaRPr lang="en-US"/>
          </a:p>
        </p:txBody>
      </p:sp>
      <p:sp>
        <p:nvSpPr>
          <p:cNvPr id="5" name="Inhaltsplatzhalter 4">
            <a:extLst>
              <a:ext uri="{FF2B5EF4-FFF2-40B4-BE49-F238E27FC236}">
                <a16:creationId xmlns:a16="http://schemas.microsoft.com/office/drawing/2014/main" id="{8BE255DD-E936-3D32-62A1-4255B62523BE}"/>
              </a:ext>
            </a:extLst>
          </p:cNvPr>
          <p:cNvSpPr>
            <a:spLocks noGrp="1"/>
          </p:cNvSpPr>
          <p:nvPr>
            <p:ph idx="10"/>
          </p:nvPr>
        </p:nvSpPr>
        <p:spPr/>
        <p:txBody>
          <a:bodyPr/>
          <a:lstStyle/>
          <a:p>
            <a:r>
              <a:rPr lang="en-US"/>
              <a:t>Lessons learned aus Ubers Reaktion</a:t>
            </a:r>
          </a:p>
        </p:txBody>
      </p:sp>
      <p:sp>
        <p:nvSpPr>
          <p:cNvPr id="6" name="Inhaltsplatzhalter 5">
            <a:extLst>
              <a:ext uri="{FF2B5EF4-FFF2-40B4-BE49-F238E27FC236}">
                <a16:creationId xmlns:a16="http://schemas.microsoft.com/office/drawing/2014/main" id="{6D554922-98BF-B6A0-072E-4E58B77935F5}"/>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D20F3AC0-CDF8-118D-D4F1-B3C091989ED0}"/>
              </a:ext>
            </a:extLst>
          </p:cNvPr>
          <p:cNvSpPr>
            <a:spLocks noGrp="1"/>
          </p:cNvSpPr>
          <p:nvPr>
            <p:ph idx="12"/>
          </p:nvPr>
        </p:nvSpPr>
        <p:spPr/>
        <p:txBody>
          <a:bodyPr/>
          <a:lstStyle/>
          <a:p>
            <a:endParaRPr lang="en-US"/>
          </a:p>
        </p:txBody>
      </p:sp>
      <p:sp>
        <p:nvSpPr>
          <p:cNvPr id="9" name="Pfeil: nach rechts 8">
            <a:extLst>
              <a:ext uri="{FF2B5EF4-FFF2-40B4-BE49-F238E27FC236}">
                <a16:creationId xmlns:a16="http://schemas.microsoft.com/office/drawing/2014/main" id="{60B0F5B9-1228-51D3-55C0-7AE89B046FB6}"/>
              </a:ext>
            </a:extLst>
          </p:cNvPr>
          <p:cNvSpPr/>
          <p:nvPr/>
        </p:nvSpPr>
        <p:spPr>
          <a:xfrm>
            <a:off x="359996" y="5589587"/>
            <a:ext cx="8567737" cy="901066"/>
          </a:xfrm>
          <a:prstGeom prst="rightArrow">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a:t>Die Lessons learned aus der Reaktion von Uber könnten langfristige Auswirkungen auf die Geschäftsstrategie und die Unternehmenskultur haben.</a:t>
            </a:r>
          </a:p>
        </p:txBody>
      </p:sp>
    </p:spTree>
    <p:extLst>
      <p:ext uri="{BB962C8B-B14F-4D97-AF65-F5344CB8AC3E}">
        <p14:creationId xmlns:p14="http://schemas.microsoft.com/office/powerpoint/2010/main" val="225503822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DF0E6F-C3F4-D46E-003E-5432322C8E82}"/>
              </a:ext>
            </a:extLst>
          </p:cNvPr>
          <p:cNvSpPr>
            <a:spLocks noGrp="1"/>
          </p:cNvSpPr>
          <p:nvPr>
            <p:ph type="title"/>
          </p:nvPr>
        </p:nvSpPr>
        <p:spPr/>
        <p:txBody>
          <a:bodyPr/>
          <a:lstStyle/>
          <a:p>
            <a:r>
              <a:rPr lang="en-US"/>
              <a:t>Die sechs Strategien im Bereich „Reagieren“ am Beispiel der Covid-19 Pandemie</a:t>
            </a:r>
          </a:p>
        </p:txBody>
      </p:sp>
      <p:sp>
        <p:nvSpPr>
          <p:cNvPr id="4" name="Foliennummernplatzhalter 3">
            <a:extLst>
              <a:ext uri="{FF2B5EF4-FFF2-40B4-BE49-F238E27FC236}">
                <a16:creationId xmlns:a16="http://schemas.microsoft.com/office/drawing/2014/main" id="{CB5349AD-064A-A618-7504-A87337CC5AD8}"/>
              </a:ext>
            </a:extLst>
          </p:cNvPr>
          <p:cNvSpPr>
            <a:spLocks noGrp="1"/>
          </p:cNvSpPr>
          <p:nvPr>
            <p:ph type="sldNum" sz="quarter" idx="4"/>
          </p:nvPr>
        </p:nvSpPr>
        <p:spPr/>
        <p:txBody>
          <a:bodyPr/>
          <a:lstStyle/>
          <a:p>
            <a:fld id="{BAF04893-69FB-435D-AB2E-CA259D85B32F}" type="slidenum">
              <a:rPr lang="en-US" smtClean="0"/>
              <a:pPr/>
              <a:t>106</a:t>
            </a:fld>
            <a:endParaRPr lang="en-US"/>
          </a:p>
        </p:txBody>
      </p:sp>
      <p:sp>
        <p:nvSpPr>
          <p:cNvPr id="5" name="Inhaltsplatzhalter 4">
            <a:extLst>
              <a:ext uri="{FF2B5EF4-FFF2-40B4-BE49-F238E27FC236}">
                <a16:creationId xmlns:a16="http://schemas.microsoft.com/office/drawing/2014/main" id="{4EACA37F-FFE3-8984-E5A9-A320EC849846}"/>
              </a:ext>
            </a:extLst>
          </p:cNvPr>
          <p:cNvSpPr>
            <a:spLocks noGrp="1"/>
          </p:cNvSpPr>
          <p:nvPr>
            <p:ph idx="10"/>
          </p:nvPr>
        </p:nvSpPr>
        <p:spPr/>
        <p:txBody>
          <a:bodyPr/>
          <a:lstStyle/>
          <a:p>
            <a:r>
              <a:rPr lang="en-US"/>
              <a:t>Krisenmanagement während Corona - ANHANG</a:t>
            </a:r>
          </a:p>
        </p:txBody>
      </p:sp>
      <p:sp>
        <p:nvSpPr>
          <p:cNvPr id="6" name="Inhaltsplatzhalter 5">
            <a:extLst>
              <a:ext uri="{FF2B5EF4-FFF2-40B4-BE49-F238E27FC236}">
                <a16:creationId xmlns:a16="http://schemas.microsoft.com/office/drawing/2014/main" id="{40C7CE7E-A83F-1005-1ED4-10F17ED21310}"/>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E2D4D6DC-B245-61CC-5BFB-765A887C707A}"/>
              </a:ext>
            </a:extLst>
          </p:cNvPr>
          <p:cNvSpPr>
            <a:spLocks noGrp="1"/>
          </p:cNvSpPr>
          <p:nvPr>
            <p:ph idx="12"/>
          </p:nvPr>
        </p:nvSpPr>
        <p:spPr/>
        <p:txBody>
          <a:bodyPr/>
          <a:lstStyle/>
          <a:p>
            <a:endParaRPr lang="en-US"/>
          </a:p>
        </p:txBody>
      </p:sp>
      <p:sp>
        <p:nvSpPr>
          <p:cNvPr id="9" name="Textfeld 8">
            <a:extLst>
              <a:ext uri="{FF2B5EF4-FFF2-40B4-BE49-F238E27FC236}">
                <a16:creationId xmlns:a16="http://schemas.microsoft.com/office/drawing/2014/main" id="{07D331DF-1337-75E2-F17E-DE2CEB4BE59F}"/>
              </a:ext>
            </a:extLst>
          </p:cNvPr>
          <p:cNvSpPr txBox="1"/>
          <p:nvPr/>
        </p:nvSpPr>
        <p:spPr>
          <a:xfrm>
            <a:off x="359994" y="1969560"/>
            <a:ext cx="2738803" cy="2246769"/>
          </a:xfrm>
          <a:prstGeom prst="rect">
            <a:avLst/>
          </a:prstGeom>
          <a:noFill/>
          <a:ln>
            <a:solidFill>
              <a:schemeClr val="tx1"/>
            </a:solidFill>
          </a:ln>
        </p:spPr>
        <p:txBody>
          <a:bodyPr wrap="square" rtlCol="0">
            <a:spAutoFit/>
          </a:bodyPr>
          <a:lstStyle/>
          <a:p>
            <a:r>
              <a:rPr lang="en-US" sz="1400" b="1"/>
              <a:t>Handlungen koordinieren &amp; PMO:</a:t>
            </a:r>
          </a:p>
          <a:p>
            <a:pPr marL="285750" indent="-285750">
              <a:buFont typeface="Arial" panose="020B0604020202020204" pitchFamily="34" charset="0"/>
              <a:buChar char="•"/>
            </a:pPr>
            <a:r>
              <a:rPr lang="en-US" sz="1400"/>
              <a:t>Führungskräfte ausrichten und zentrales PMO leiten</a:t>
            </a:r>
          </a:p>
          <a:p>
            <a:pPr marL="285750" indent="-285750">
              <a:buFont typeface="Arial" panose="020B0604020202020204" pitchFamily="34" charset="0"/>
              <a:buChar char="•"/>
            </a:pPr>
            <a:r>
              <a:rPr lang="en-US" sz="1400"/>
              <a:t>Zentrale Kommunikation mit relevanten Stakeholdern</a:t>
            </a:r>
          </a:p>
          <a:p>
            <a:pPr marL="285750" indent="-285750">
              <a:buFont typeface="Arial" panose="020B0604020202020204" pitchFamily="34" charset="0"/>
              <a:buChar char="•"/>
            </a:pPr>
            <a:r>
              <a:rPr lang="en-US" sz="1400"/>
              <a:t>Erstellen einer einzigen Informationsquelle</a:t>
            </a:r>
          </a:p>
          <a:p>
            <a:pPr marL="285750" indent="-285750">
              <a:buFont typeface="Arial" panose="020B0604020202020204" pitchFamily="34" charset="0"/>
              <a:buChar char="•"/>
            </a:pPr>
            <a:r>
              <a:rPr lang="en-US" sz="1400"/>
              <a:t>Gestalte eine Change-Story</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endParaRPr lang="en-US" sz="1400"/>
          </a:p>
        </p:txBody>
      </p:sp>
      <p:sp>
        <p:nvSpPr>
          <p:cNvPr id="10" name="Textfeld 9">
            <a:extLst>
              <a:ext uri="{FF2B5EF4-FFF2-40B4-BE49-F238E27FC236}">
                <a16:creationId xmlns:a16="http://schemas.microsoft.com/office/drawing/2014/main" id="{96F41991-05D1-BD79-B957-BAB3D7594DD4}"/>
              </a:ext>
            </a:extLst>
          </p:cNvPr>
          <p:cNvSpPr txBox="1"/>
          <p:nvPr/>
        </p:nvSpPr>
        <p:spPr>
          <a:xfrm>
            <a:off x="3169919" y="1973089"/>
            <a:ext cx="2843529" cy="2246769"/>
          </a:xfrm>
          <a:prstGeom prst="rect">
            <a:avLst/>
          </a:prstGeom>
          <a:noFill/>
          <a:ln>
            <a:solidFill>
              <a:schemeClr val="tx1"/>
            </a:solidFill>
          </a:ln>
        </p:spPr>
        <p:txBody>
          <a:bodyPr wrap="square" rtlCol="0">
            <a:spAutoFit/>
          </a:bodyPr>
          <a:lstStyle/>
          <a:p>
            <a:r>
              <a:rPr lang="en-US" sz="1400" b="1"/>
              <a:t>Stabilisieren der Supply Chain:</a:t>
            </a:r>
          </a:p>
          <a:p>
            <a:pPr marL="285750" indent="-285750">
              <a:buFont typeface="Arial" panose="020B0604020202020204" pitchFamily="34" charset="0"/>
              <a:buChar char="•"/>
            </a:pPr>
            <a:r>
              <a:rPr lang="en-US" sz="1400"/>
              <a:t>Zusätzliche Lagerkapazitäten definieren, wie z.B. Lagerbestände nach dem Verkauf</a:t>
            </a:r>
          </a:p>
          <a:p>
            <a:pPr marL="285750" indent="-285750">
              <a:buFont typeface="Arial" panose="020B0604020202020204" pitchFamily="34" charset="0"/>
              <a:buChar char="•"/>
            </a:pPr>
            <a:r>
              <a:rPr lang="en-US" sz="1400"/>
              <a:t>Starten Sie die Diskussion und Simulation erfolgreicher Hochlauf-Szenarien</a:t>
            </a:r>
          </a:p>
          <a:p>
            <a:pPr marL="285750" indent="-285750">
              <a:buFont typeface="Arial" panose="020B0604020202020204" pitchFamily="34" charset="0"/>
              <a:buChar char="•"/>
            </a:pPr>
            <a:r>
              <a:rPr lang="en-US" sz="1400"/>
              <a:t>Enger Kontakt mit den wichtigsten Stakeholdern </a:t>
            </a:r>
          </a:p>
        </p:txBody>
      </p:sp>
      <p:sp>
        <p:nvSpPr>
          <p:cNvPr id="11" name="Textfeld 10">
            <a:extLst>
              <a:ext uri="{FF2B5EF4-FFF2-40B4-BE49-F238E27FC236}">
                <a16:creationId xmlns:a16="http://schemas.microsoft.com/office/drawing/2014/main" id="{A43D7DA2-4B9C-A0E8-2CD8-33DBEDAD7E97}"/>
              </a:ext>
            </a:extLst>
          </p:cNvPr>
          <p:cNvSpPr txBox="1"/>
          <p:nvPr/>
        </p:nvSpPr>
        <p:spPr>
          <a:xfrm>
            <a:off x="6079399" y="1966279"/>
            <a:ext cx="2704607" cy="2246769"/>
          </a:xfrm>
          <a:prstGeom prst="rect">
            <a:avLst/>
          </a:prstGeom>
          <a:noFill/>
          <a:ln>
            <a:solidFill>
              <a:schemeClr val="tx1"/>
            </a:solidFill>
          </a:ln>
        </p:spPr>
        <p:txBody>
          <a:bodyPr wrap="square" rtlCol="0">
            <a:spAutoFit/>
          </a:bodyPr>
          <a:lstStyle/>
          <a:p>
            <a:r>
              <a:rPr lang="en-US" sz="1400" b="1"/>
              <a:t>Starte Kostenreduzierungsinitiativen:</a:t>
            </a:r>
          </a:p>
          <a:p>
            <a:pPr marL="285750" indent="-285750">
              <a:buFont typeface="Arial" panose="020B0604020202020204" pitchFamily="34" charset="0"/>
              <a:buChar char="•"/>
            </a:pPr>
            <a:r>
              <a:rPr lang="en-US" sz="1400"/>
              <a:t>Reduziere Gemeinkosten</a:t>
            </a:r>
          </a:p>
          <a:p>
            <a:pPr marL="285750" indent="-285750">
              <a:buFont typeface="Arial" panose="020B0604020202020204" pitchFamily="34" charset="0"/>
              <a:buChar char="•"/>
            </a:pPr>
            <a:r>
              <a:rPr lang="en-US" sz="1400"/>
              <a:t>Reduzierung von Investitionen und Budgetkosten</a:t>
            </a:r>
          </a:p>
          <a:p>
            <a:pPr marL="285750" indent="-285750">
              <a:buFont typeface="Arial" panose="020B0604020202020204" pitchFamily="34" charset="0"/>
              <a:buChar char="•"/>
            </a:pPr>
            <a:r>
              <a:rPr lang="en-US" sz="1400"/>
              <a:t>Beantragen von Kreditverlängerungen und Durchführung von Schuldenumstrukturierungen</a:t>
            </a:r>
          </a:p>
          <a:p>
            <a:pPr marL="285750" indent="-285750">
              <a:buFont typeface="Arial" panose="020B0604020202020204" pitchFamily="34" charset="0"/>
              <a:buChar char="•"/>
            </a:pPr>
            <a:endParaRPr lang="en-US" sz="1400"/>
          </a:p>
        </p:txBody>
      </p:sp>
      <p:sp>
        <p:nvSpPr>
          <p:cNvPr id="12" name="Textfeld 11">
            <a:extLst>
              <a:ext uri="{FF2B5EF4-FFF2-40B4-BE49-F238E27FC236}">
                <a16:creationId xmlns:a16="http://schemas.microsoft.com/office/drawing/2014/main" id="{6ADD82F7-BF6A-6F4A-232D-AA795D504DEB}"/>
              </a:ext>
            </a:extLst>
          </p:cNvPr>
          <p:cNvSpPr txBox="1"/>
          <p:nvPr/>
        </p:nvSpPr>
        <p:spPr>
          <a:xfrm>
            <a:off x="359994" y="4212801"/>
            <a:ext cx="2738803" cy="2246769"/>
          </a:xfrm>
          <a:prstGeom prst="rect">
            <a:avLst/>
          </a:prstGeom>
          <a:noFill/>
          <a:ln>
            <a:solidFill>
              <a:schemeClr val="tx1"/>
            </a:solidFill>
          </a:ln>
        </p:spPr>
        <p:txBody>
          <a:bodyPr wrap="square" rtlCol="0">
            <a:spAutoFit/>
          </a:bodyPr>
          <a:lstStyle/>
          <a:p>
            <a:r>
              <a:rPr lang="en-US" sz="1400" b="1"/>
              <a:t>Schütze Kunden &amp; Angestellte:</a:t>
            </a:r>
          </a:p>
          <a:p>
            <a:pPr marL="285750" indent="-285750">
              <a:buFont typeface="Arial" panose="020B0604020202020204" pitchFamily="34" charset="0"/>
              <a:buChar char="•"/>
            </a:pPr>
            <a:r>
              <a:rPr lang="en-US" sz="1400"/>
              <a:t>Festlegen von Richtlinien und Regeln</a:t>
            </a:r>
          </a:p>
          <a:p>
            <a:pPr marL="285750" indent="-285750">
              <a:buFont typeface="Arial" panose="020B0604020202020204" pitchFamily="34" charset="0"/>
              <a:buChar char="•"/>
            </a:pPr>
            <a:r>
              <a:rPr lang="en-US" sz="1400"/>
              <a:t>Schütze den Kunden an allen Kontaktpunkten</a:t>
            </a:r>
          </a:p>
          <a:p>
            <a:pPr marL="285750" indent="-285750">
              <a:buFont typeface="Arial" panose="020B0604020202020204" pitchFamily="34" charset="0"/>
              <a:buChar char="•"/>
            </a:pPr>
            <a:r>
              <a:rPr lang="en-US" sz="1400"/>
              <a:t>Ermögliche das Arbeiten von Zuhause</a:t>
            </a:r>
          </a:p>
          <a:p>
            <a:pPr marL="285750" indent="-285750">
              <a:buFont typeface="Arial" panose="020B0604020202020204" pitchFamily="34" charset="0"/>
              <a:buChar char="•"/>
            </a:pPr>
            <a:r>
              <a:rPr lang="en-US" sz="1400"/>
              <a:t>Notfallunterstützungssystem betreiben und Behörden kontaktieren</a:t>
            </a:r>
          </a:p>
        </p:txBody>
      </p:sp>
      <p:sp>
        <p:nvSpPr>
          <p:cNvPr id="13" name="Textfeld 12">
            <a:extLst>
              <a:ext uri="{FF2B5EF4-FFF2-40B4-BE49-F238E27FC236}">
                <a16:creationId xmlns:a16="http://schemas.microsoft.com/office/drawing/2014/main" id="{57C79B0A-E49C-11DD-A55C-383E84127539}"/>
              </a:ext>
            </a:extLst>
          </p:cNvPr>
          <p:cNvSpPr txBox="1"/>
          <p:nvPr/>
        </p:nvSpPr>
        <p:spPr>
          <a:xfrm>
            <a:off x="3171196" y="4212801"/>
            <a:ext cx="2843529" cy="2246769"/>
          </a:xfrm>
          <a:prstGeom prst="rect">
            <a:avLst/>
          </a:prstGeom>
          <a:noFill/>
          <a:ln>
            <a:solidFill>
              <a:schemeClr val="tx1"/>
            </a:solidFill>
          </a:ln>
        </p:spPr>
        <p:txBody>
          <a:bodyPr wrap="square" rtlCol="0">
            <a:spAutoFit/>
          </a:bodyPr>
          <a:lstStyle/>
          <a:p>
            <a:r>
              <a:rPr lang="en-US" sz="1400" b="1"/>
              <a:t>Sichern und Planen der Finanzen:</a:t>
            </a:r>
          </a:p>
          <a:p>
            <a:pPr marL="285750" indent="-285750">
              <a:buFont typeface="Arial" panose="020B0604020202020204" pitchFamily="34" charset="0"/>
              <a:buChar char="•"/>
            </a:pPr>
            <a:r>
              <a:rPr lang="en-US" sz="1400"/>
              <a:t>Finanzielle Stresstests auf Basis von Szenarien</a:t>
            </a:r>
          </a:p>
          <a:p>
            <a:pPr marL="285750" indent="-285750">
              <a:buFont typeface="Arial" panose="020B0604020202020204" pitchFamily="34" charset="0"/>
              <a:buChar char="•"/>
            </a:pPr>
            <a:r>
              <a:rPr lang="en-US" sz="1400"/>
              <a:t>Eingehende und ausgehende Zahlungen überwachen</a:t>
            </a:r>
          </a:p>
          <a:p>
            <a:pPr marL="285750" indent="-285750">
              <a:buFont typeface="Arial" panose="020B0604020202020204" pitchFamily="34" charset="0"/>
              <a:buChar char="•"/>
            </a:pPr>
            <a:r>
              <a:rPr lang="en-US" sz="1400"/>
              <a:t>Nicht-essentielle Vermögenswerte verkaufen</a:t>
            </a:r>
          </a:p>
          <a:p>
            <a:pPr marL="285750" indent="-285750">
              <a:buFont typeface="Arial" panose="020B0604020202020204" pitchFamily="34" charset="0"/>
              <a:buChar char="•"/>
            </a:pPr>
            <a:r>
              <a:rPr lang="en-US" sz="1400"/>
              <a:t>Zahlungsstundungen veranlassen und Forderungen einfordern</a:t>
            </a:r>
          </a:p>
        </p:txBody>
      </p:sp>
      <p:sp>
        <p:nvSpPr>
          <p:cNvPr id="14" name="Textfeld 13">
            <a:extLst>
              <a:ext uri="{FF2B5EF4-FFF2-40B4-BE49-F238E27FC236}">
                <a16:creationId xmlns:a16="http://schemas.microsoft.com/office/drawing/2014/main" id="{366A5221-D139-FCE1-6F76-C06DF1FF0D9B}"/>
              </a:ext>
            </a:extLst>
          </p:cNvPr>
          <p:cNvSpPr txBox="1"/>
          <p:nvPr/>
        </p:nvSpPr>
        <p:spPr>
          <a:xfrm>
            <a:off x="6079399" y="4213048"/>
            <a:ext cx="2704607" cy="2246769"/>
          </a:xfrm>
          <a:prstGeom prst="rect">
            <a:avLst/>
          </a:prstGeom>
          <a:noFill/>
          <a:ln>
            <a:solidFill>
              <a:schemeClr val="tx1"/>
            </a:solidFill>
          </a:ln>
        </p:spPr>
        <p:txBody>
          <a:bodyPr wrap="square" rtlCol="0">
            <a:spAutoFit/>
          </a:bodyPr>
          <a:lstStyle/>
          <a:p>
            <a:pPr marL="0" lvl="1" indent="-98425"/>
            <a:r>
              <a:rPr lang="en-US" sz="1400" b="1"/>
              <a:t>Starte kontinuierliches Management:</a:t>
            </a:r>
          </a:p>
          <a:p>
            <a:pPr marL="285750" indent="-285750">
              <a:buFont typeface="Arial" panose="020B0604020202020204" pitchFamily="34" charset="0"/>
              <a:buChar char="•"/>
            </a:pPr>
            <a:r>
              <a:rPr lang="en-US" sz="1400"/>
              <a:t>Lieferantenrisiken überwachen und bewerten</a:t>
            </a:r>
          </a:p>
          <a:p>
            <a:pPr marL="285750" indent="-285750">
              <a:buFont typeface="Arial" panose="020B0604020202020204" pitchFamily="34" charset="0"/>
              <a:buChar char="•"/>
            </a:pPr>
            <a:r>
              <a:rPr lang="en-US" sz="1400"/>
              <a:t>Durchführung einer Risikobewertung für Lieferanten</a:t>
            </a:r>
          </a:p>
          <a:p>
            <a:pPr marL="285750" indent="-285750">
              <a:buFont typeface="Arial" panose="020B0604020202020204" pitchFamily="34" charset="0"/>
              <a:buChar char="•"/>
            </a:pPr>
            <a:r>
              <a:rPr lang="en-US" sz="1400"/>
              <a:t>Identifiziere Alternativen</a:t>
            </a:r>
          </a:p>
          <a:p>
            <a:pPr marL="285750" indent="-285750">
              <a:buFont typeface="Arial" panose="020B0604020202020204" pitchFamily="34" charset="0"/>
              <a:buChar char="•"/>
            </a:pPr>
            <a:r>
              <a:rPr lang="en-US" sz="1400"/>
              <a:t>Lieferanten &amp; Verträge bei Bedarf anpassen</a:t>
            </a:r>
          </a:p>
        </p:txBody>
      </p:sp>
    </p:spTree>
    <p:extLst>
      <p:ext uri="{BB962C8B-B14F-4D97-AF65-F5344CB8AC3E}">
        <p14:creationId xmlns:p14="http://schemas.microsoft.com/office/powerpoint/2010/main" val="317112658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DF0E6F-C3F4-D46E-003E-5432322C8E82}"/>
              </a:ext>
            </a:extLst>
          </p:cNvPr>
          <p:cNvSpPr>
            <a:spLocks noGrp="1"/>
          </p:cNvSpPr>
          <p:nvPr>
            <p:ph type="title"/>
          </p:nvPr>
        </p:nvSpPr>
        <p:spPr>
          <a:xfrm>
            <a:off x="359998" y="1247330"/>
            <a:ext cx="8568102" cy="646747"/>
          </a:xfrm>
        </p:spPr>
        <p:txBody>
          <a:bodyPr/>
          <a:lstStyle/>
          <a:p>
            <a:r>
              <a:rPr lang="en-US"/>
              <a:t>Die sechs Strategien im Bereich „Wiederherstellen“ am Beispiel der Covid-19 Pandemie (1/2)</a:t>
            </a:r>
          </a:p>
        </p:txBody>
      </p:sp>
      <p:sp>
        <p:nvSpPr>
          <p:cNvPr id="4" name="Foliennummernplatzhalter 3">
            <a:extLst>
              <a:ext uri="{FF2B5EF4-FFF2-40B4-BE49-F238E27FC236}">
                <a16:creationId xmlns:a16="http://schemas.microsoft.com/office/drawing/2014/main" id="{CB5349AD-064A-A618-7504-A87337CC5AD8}"/>
              </a:ext>
            </a:extLst>
          </p:cNvPr>
          <p:cNvSpPr>
            <a:spLocks noGrp="1"/>
          </p:cNvSpPr>
          <p:nvPr>
            <p:ph type="sldNum" sz="quarter" idx="4"/>
          </p:nvPr>
        </p:nvSpPr>
        <p:spPr/>
        <p:txBody>
          <a:bodyPr/>
          <a:lstStyle/>
          <a:p>
            <a:fld id="{BAF04893-69FB-435D-AB2E-CA259D85B32F}" type="slidenum">
              <a:rPr lang="en-US" smtClean="0"/>
              <a:pPr/>
              <a:t>107</a:t>
            </a:fld>
            <a:endParaRPr lang="en-US"/>
          </a:p>
        </p:txBody>
      </p:sp>
      <p:sp>
        <p:nvSpPr>
          <p:cNvPr id="5" name="Inhaltsplatzhalter 4">
            <a:extLst>
              <a:ext uri="{FF2B5EF4-FFF2-40B4-BE49-F238E27FC236}">
                <a16:creationId xmlns:a16="http://schemas.microsoft.com/office/drawing/2014/main" id="{4EACA37F-FFE3-8984-E5A9-A320EC849846}"/>
              </a:ext>
            </a:extLst>
          </p:cNvPr>
          <p:cNvSpPr>
            <a:spLocks noGrp="1"/>
          </p:cNvSpPr>
          <p:nvPr>
            <p:ph idx="10"/>
          </p:nvPr>
        </p:nvSpPr>
        <p:spPr/>
        <p:txBody>
          <a:bodyPr/>
          <a:lstStyle/>
          <a:p>
            <a:r>
              <a:rPr lang="en-US"/>
              <a:t>Krisenmanagement während Corona - ANHANG</a:t>
            </a:r>
          </a:p>
        </p:txBody>
      </p:sp>
      <p:sp>
        <p:nvSpPr>
          <p:cNvPr id="6" name="Inhaltsplatzhalter 5">
            <a:extLst>
              <a:ext uri="{FF2B5EF4-FFF2-40B4-BE49-F238E27FC236}">
                <a16:creationId xmlns:a16="http://schemas.microsoft.com/office/drawing/2014/main" id="{40C7CE7E-A83F-1005-1ED4-10F17ED21310}"/>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E2D4D6DC-B245-61CC-5BFB-765A887C707A}"/>
              </a:ext>
            </a:extLst>
          </p:cNvPr>
          <p:cNvSpPr>
            <a:spLocks noGrp="1"/>
          </p:cNvSpPr>
          <p:nvPr>
            <p:ph idx="12"/>
          </p:nvPr>
        </p:nvSpPr>
        <p:spPr/>
        <p:txBody>
          <a:bodyPr/>
          <a:lstStyle/>
          <a:p>
            <a:endParaRPr lang="en-US"/>
          </a:p>
        </p:txBody>
      </p:sp>
      <p:sp>
        <p:nvSpPr>
          <p:cNvPr id="9" name="Textfeld 8">
            <a:extLst>
              <a:ext uri="{FF2B5EF4-FFF2-40B4-BE49-F238E27FC236}">
                <a16:creationId xmlns:a16="http://schemas.microsoft.com/office/drawing/2014/main" id="{07D331DF-1337-75E2-F17E-DE2CEB4BE59F}"/>
              </a:ext>
            </a:extLst>
          </p:cNvPr>
          <p:cNvSpPr txBox="1"/>
          <p:nvPr/>
        </p:nvSpPr>
        <p:spPr>
          <a:xfrm>
            <a:off x="359997" y="2270566"/>
            <a:ext cx="2738803" cy="3323987"/>
          </a:xfrm>
          <a:prstGeom prst="rect">
            <a:avLst/>
          </a:prstGeom>
          <a:noFill/>
          <a:ln>
            <a:solidFill>
              <a:schemeClr val="tx1"/>
            </a:solidFill>
          </a:ln>
        </p:spPr>
        <p:txBody>
          <a:bodyPr wrap="square" rtlCol="0">
            <a:spAutoFit/>
          </a:bodyPr>
          <a:lstStyle/>
          <a:p>
            <a:r>
              <a:rPr lang="en-US" sz="1400" b="1"/>
              <a:t>Gestalte die Strategie zur Erholung/Wiederherstellung:</a:t>
            </a:r>
          </a:p>
          <a:p>
            <a:pPr marL="285750" indent="-285750">
              <a:buFont typeface="Arial" panose="020B0604020202020204" pitchFamily="34" charset="0"/>
              <a:buChar char="•"/>
            </a:pPr>
            <a:r>
              <a:rPr lang="en-US" sz="1400"/>
              <a:t>Zentrale Erkenntnisse zusammenführen und Aktionsplan ableiten</a:t>
            </a:r>
          </a:p>
          <a:p>
            <a:pPr marL="285750" indent="-285750">
              <a:buFont typeface="Arial" panose="020B0604020202020204" pitchFamily="34" charset="0"/>
              <a:buChar char="•"/>
            </a:pPr>
            <a:r>
              <a:rPr lang="en-US" sz="1400"/>
              <a:t>Auswirkungen auf Unternehmens- und Funktionsstrategien bewerten</a:t>
            </a:r>
          </a:p>
          <a:p>
            <a:pPr marL="285750" indent="-285750">
              <a:buFont typeface="Arial" panose="020B0604020202020204" pitchFamily="34" charset="0"/>
              <a:buChar char="•"/>
            </a:pPr>
            <a:r>
              <a:rPr lang="en-US" sz="1400"/>
              <a:t>Strategische Ziele für das Unternehmen nach der Krise definieren</a:t>
            </a:r>
          </a:p>
          <a:p>
            <a:pPr marL="285750" indent="-285750">
              <a:buFont typeface="Arial" panose="020B0604020202020204" pitchFamily="34" charset="0"/>
              <a:buChar char="•"/>
            </a:pPr>
            <a:r>
              <a:rPr lang="en-US" sz="1400"/>
              <a:t>Wiederherstellungsstrategie je nach Markt anpassen</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endParaRPr lang="en-US" sz="1400"/>
          </a:p>
        </p:txBody>
      </p:sp>
      <p:sp>
        <p:nvSpPr>
          <p:cNvPr id="10" name="Textfeld 9">
            <a:extLst>
              <a:ext uri="{FF2B5EF4-FFF2-40B4-BE49-F238E27FC236}">
                <a16:creationId xmlns:a16="http://schemas.microsoft.com/office/drawing/2014/main" id="{96F41991-05D1-BD79-B957-BAB3D7594DD4}"/>
              </a:ext>
            </a:extLst>
          </p:cNvPr>
          <p:cNvSpPr txBox="1"/>
          <p:nvPr/>
        </p:nvSpPr>
        <p:spPr>
          <a:xfrm>
            <a:off x="3168286" y="2281674"/>
            <a:ext cx="2843529" cy="3323987"/>
          </a:xfrm>
          <a:prstGeom prst="rect">
            <a:avLst/>
          </a:prstGeom>
          <a:noFill/>
          <a:ln>
            <a:solidFill>
              <a:schemeClr val="tx1"/>
            </a:solidFill>
          </a:ln>
        </p:spPr>
        <p:txBody>
          <a:bodyPr wrap="square" rtlCol="0">
            <a:spAutoFit/>
          </a:bodyPr>
          <a:lstStyle/>
          <a:p>
            <a:pPr marL="0" lvl="1" indent="-98425"/>
            <a:r>
              <a:rPr lang="en-US" sz="1400" b="1"/>
              <a:t>Betriebliche Aktivitäten hochfahren:</a:t>
            </a:r>
          </a:p>
          <a:p>
            <a:pPr marL="187325" lvl="1" indent="-285750">
              <a:buFont typeface="Arial" panose="020B0604020202020204" pitchFamily="34" charset="0"/>
              <a:buChar char="•"/>
            </a:pPr>
            <a:r>
              <a:rPr lang="en-US" sz="1400"/>
              <a:t>Politische, regulatorische und wirtschaftliche Veränderungen identifizieren</a:t>
            </a:r>
          </a:p>
          <a:p>
            <a:pPr marL="187325" lvl="1" indent="-285750">
              <a:buFont typeface="Arial" panose="020B0604020202020204" pitchFamily="34" charset="0"/>
              <a:buChar char="•"/>
            </a:pPr>
            <a:r>
              <a:rPr lang="en-US" sz="1400"/>
              <a:t>Fokusmärkte, Kunden, Produkte und Dienstleistungen definieren</a:t>
            </a:r>
          </a:p>
          <a:p>
            <a:pPr marL="187325" lvl="1" indent="-285750">
              <a:buFont typeface="Arial" panose="020B0604020202020204" pitchFamily="34" charset="0"/>
              <a:buChar char="•"/>
            </a:pPr>
            <a:r>
              <a:rPr lang="en-US" sz="1400"/>
              <a:t>Kundenbedürfnisse nach der Krise verstehen</a:t>
            </a:r>
          </a:p>
          <a:p>
            <a:pPr marL="187325" lvl="1" indent="-285750">
              <a:buFont typeface="Arial" panose="020B0604020202020204" pitchFamily="34" charset="0"/>
              <a:buChar char="•"/>
            </a:pPr>
            <a:r>
              <a:rPr lang="en-US" sz="1400"/>
              <a:t>Neue Wege für die Interaktion mit Kunden online und offline identifizieren</a:t>
            </a:r>
          </a:p>
          <a:p>
            <a:pPr marL="187325" lvl="1" indent="-285750">
              <a:buFont typeface="Arial" panose="020B0604020202020204" pitchFamily="34" charset="0"/>
              <a:buChar char="•"/>
            </a:pPr>
            <a:endParaRPr lang="en-US" sz="1400"/>
          </a:p>
          <a:p>
            <a:pPr marL="187325" lvl="1" indent="-285750">
              <a:buFont typeface="Arial" panose="020B0604020202020204" pitchFamily="34" charset="0"/>
              <a:buChar char="•"/>
            </a:pPr>
            <a:endParaRPr lang="en-US" sz="1400"/>
          </a:p>
          <a:p>
            <a:pPr marL="187325" lvl="1" indent="-285750">
              <a:buFont typeface="Arial" panose="020B0604020202020204" pitchFamily="34" charset="0"/>
              <a:buChar char="•"/>
            </a:pPr>
            <a:endParaRPr lang="en-US" sz="1400"/>
          </a:p>
        </p:txBody>
      </p:sp>
      <p:sp>
        <p:nvSpPr>
          <p:cNvPr id="11" name="Textfeld 10">
            <a:extLst>
              <a:ext uri="{FF2B5EF4-FFF2-40B4-BE49-F238E27FC236}">
                <a16:creationId xmlns:a16="http://schemas.microsoft.com/office/drawing/2014/main" id="{A43D7DA2-4B9C-A0E8-2CD8-33DBEDAD7E97}"/>
              </a:ext>
            </a:extLst>
          </p:cNvPr>
          <p:cNvSpPr txBox="1"/>
          <p:nvPr/>
        </p:nvSpPr>
        <p:spPr>
          <a:xfrm>
            <a:off x="6081301" y="2286683"/>
            <a:ext cx="2704607" cy="3323987"/>
          </a:xfrm>
          <a:prstGeom prst="rect">
            <a:avLst/>
          </a:prstGeom>
          <a:noFill/>
          <a:ln>
            <a:solidFill>
              <a:schemeClr val="tx1"/>
            </a:solidFill>
          </a:ln>
        </p:spPr>
        <p:txBody>
          <a:bodyPr wrap="square" rtlCol="0">
            <a:spAutoFit/>
          </a:bodyPr>
          <a:lstStyle/>
          <a:p>
            <a:r>
              <a:rPr lang="en-US" sz="1400" b="1"/>
              <a:t>Verstehe Markt- und Kundengewohnheiten:</a:t>
            </a:r>
          </a:p>
          <a:p>
            <a:pPr marL="285750" indent="-285750">
              <a:buFont typeface="Arial" panose="020B0604020202020204" pitchFamily="34" charset="0"/>
              <a:buChar char="•"/>
            </a:pPr>
            <a:r>
              <a:rPr lang="en-US" sz="1400" b="0" i="0">
                <a:effectLst/>
              </a:rPr>
              <a:t>Den Vertriebskanal-Mix anpassen, z.B. stärkerer Fokus auf E-Commerce </a:t>
            </a:r>
          </a:p>
          <a:p>
            <a:pPr marL="285750" indent="-285750">
              <a:buFont typeface="Arial" panose="020B0604020202020204" pitchFamily="34" charset="0"/>
              <a:buChar char="•"/>
            </a:pPr>
            <a:r>
              <a:rPr lang="en-US" sz="1400" b="0" i="0">
                <a:effectLst/>
              </a:rPr>
              <a:t>Preisanpassungen an die Kaufkraft nach der Krise vornehmen</a:t>
            </a:r>
          </a:p>
          <a:p>
            <a:pPr marL="285750" indent="-285750">
              <a:buFont typeface="Arial" panose="020B0604020202020204" pitchFamily="34" charset="0"/>
              <a:buChar char="•"/>
            </a:pPr>
            <a:r>
              <a:rPr lang="en-US" sz="1400" b="0" i="0">
                <a:effectLst/>
              </a:rPr>
              <a:t>Marketingaktivitäten intensivieren und Verkaufsförderungen durchführen</a:t>
            </a:r>
          </a:p>
          <a:p>
            <a:pPr marL="285750" indent="-285750">
              <a:buFont typeface="Arial" panose="020B0604020202020204" pitchFamily="34" charset="0"/>
              <a:buChar char="•"/>
            </a:pPr>
            <a:r>
              <a:rPr lang="en-US" sz="1400" b="0" i="0">
                <a:effectLst/>
              </a:rPr>
              <a:t>Bestehende Kunden reaktivieren und "Krisenkunden" binden</a:t>
            </a:r>
            <a:endParaRPr lang="en-US" sz="1400"/>
          </a:p>
        </p:txBody>
      </p:sp>
    </p:spTree>
    <p:extLst>
      <p:ext uri="{BB962C8B-B14F-4D97-AF65-F5344CB8AC3E}">
        <p14:creationId xmlns:p14="http://schemas.microsoft.com/office/powerpoint/2010/main" val="175645147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DF0E6F-C3F4-D46E-003E-5432322C8E82}"/>
              </a:ext>
            </a:extLst>
          </p:cNvPr>
          <p:cNvSpPr>
            <a:spLocks noGrp="1"/>
          </p:cNvSpPr>
          <p:nvPr>
            <p:ph type="title"/>
          </p:nvPr>
        </p:nvSpPr>
        <p:spPr/>
        <p:txBody>
          <a:bodyPr/>
          <a:lstStyle/>
          <a:p>
            <a:r>
              <a:rPr lang="en-US"/>
              <a:t>Die sechs Strategien im Bereich „Wiederherstellen“ am Beispiel der Covid-19 Pandemie (2/2)</a:t>
            </a:r>
          </a:p>
        </p:txBody>
      </p:sp>
      <p:sp>
        <p:nvSpPr>
          <p:cNvPr id="4" name="Foliennummernplatzhalter 3">
            <a:extLst>
              <a:ext uri="{FF2B5EF4-FFF2-40B4-BE49-F238E27FC236}">
                <a16:creationId xmlns:a16="http://schemas.microsoft.com/office/drawing/2014/main" id="{CB5349AD-064A-A618-7504-A87337CC5AD8}"/>
              </a:ext>
            </a:extLst>
          </p:cNvPr>
          <p:cNvSpPr>
            <a:spLocks noGrp="1"/>
          </p:cNvSpPr>
          <p:nvPr>
            <p:ph type="sldNum" sz="quarter" idx="4"/>
          </p:nvPr>
        </p:nvSpPr>
        <p:spPr/>
        <p:txBody>
          <a:bodyPr/>
          <a:lstStyle/>
          <a:p>
            <a:fld id="{BAF04893-69FB-435D-AB2E-CA259D85B32F}" type="slidenum">
              <a:rPr lang="en-US" smtClean="0"/>
              <a:pPr/>
              <a:t>108</a:t>
            </a:fld>
            <a:endParaRPr lang="en-US"/>
          </a:p>
        </p:txBody>
      </p:sp>
      <p:sp>
        <p:nvSpPr>
          <p:cNvPr id="5" name="Inhaltsplatzhalter 4">
            <a:extLst>
              <a:ext uri="{FF2B5EF4-FFF2-40B4-BE49-F238E27FC236}">
                <a16:creationId xmlns:a16="http://schemas.microsoft.com/office/drawing/2014/main" id="{4EACA37F-FFE3-8984-E5A9-A320EC849846}"/>
              </a:ext>
            </a:extLst>
          </p:cNvPr>
          <p:cNvSpPr>
            <a:spLocks noGrp="1"/>
          </p:cNvSpPr>
          <p:nvPr>
            <p:ph idx="10"/>
          </p:nvPr>
        </p:nvSpPr>
        <p:spPr/>
        <p:txBody>
          <a:bodyPr/>
          <a:lstStyle/>
          <a:p>
            <a:r>
              <a:rPr lang="en-US"/>
              <a:t>Krisenmanagement während Corona- ANHANG</a:t>
            </a:r>
          </a:p>
        </p:txBody>
      </p:sp>
      <p:sp>
        <p:nvSpPr>
          <p:cNvPr id="6" name="Inhaltsplatzhalter 5">
            <a:extLst>
              <a:ext uri="{FF2B5EF4-FFF2-40B4-BE49-F238E27FC236}">
                <a16:creationId xmlns:a16="http://schemas.microsoft.com/office/drawing/2014/main" id="{40C7CE7E-A83F-1005-1ED4-10F17ED21310}"/>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E2D4D6DC-B245-61CC-5BFB-765A887C707A}"/>
              </a:ext>
            </a:extLst>
          </p:cNvPr>
          <p:cNvSpPr>
            <a:spLocks noGrp="1"/>
          </p:cNvSpPr>
          <p:nvPr>
            <p:ph idx="12"/>
          </p:nvPr>
        </p:nvSpPr>
        <p:spPr/>
        <p:txBody>
          <a:bodyPr/>
          <a:lstStyle/>
          <a:p>
            <a:endParaRPr lang="en-US"/>
          </a:p>
        </p:txBody>
      </p:sp>
      <p:sp>
        <p:nvSpPr>
          <p:cNvPr id="12" name="Textfeld 11">
            <a:extLst>
              <a:ext uri="{FF2B5EF4-FFF2-40B4-BE49-F238E27FC236}">
                <a16:creationId xmlns:a16="http://schemas.microsoft.com/office/drawing/2014/main" id="{6ADD82F7-BF6A-6F4A-232D-AA795D504DEB}"/>
              </a:ext>
            </a:extLst>
          </p:cNvPr>
          <p:cNvSpPr txBox="1"/>
          <p:nvPr/>
        </p:nvSpPr>
        <p:spPr>
          <a:xfrm>
            <a:off x="325798" y="2588433"/>
            <a:ext cx="2738803" cy="2893100"/>
          </a:xfrm>
          <a:prstGeom prst="rect">
            <a:avLst/>
          </a:prstGeom>
          <a:noFill/>
          <a:ln>
            <a:solidFill>
              <a:schemeClr val="tx1"/>
            </a:solidFill>
          </a:ln>
        </p:spPr>
        <p:txBody>
          <a:bodyPr wrap="square" rtlCol="0">
            <a:spAutoFit/>
          </a:bodyPr>
          <a:lstStyle/>
          <a:p>
            <a:r>
              <a:rPr lang="en-US" sz="1400" b="1"/>
              <a:t>Adaptiere das Portfolio und das Business Modell:</a:t>
            </a:r>
          </a:p>
          <a:p>
            <a:pPr marL="285750" indent="-285750">
              <a:buFont typeface="Arial" panose="020B0604020202020204" pitchFamily="34" charset="0"/>
              <a:buChar char="•"/>
            </a:pPr>
            <a:r>
              <a:rPr lang="en-US" sz="1400"/>
              <a:t>Festlegen von Richtlinien und Regeln</a:t>
            </a:r>
          </a:p>
          <a:p>
            <a:pPr marL="285750" indent="-285750">
              <a:buFont typeface="Arial" panose="020B0604020202020204" pitchFamily="34" charset="0"/>
              <a:buChar char="•"/>
            </a:pPr>
            <a:r>
              <a:rPr lang="en-US" sz="1400"/>
              <a:t>Schütze den Kunden an allen Kontaktpunkten</a:t>
            </a:r>
          </a:p>
          <a:p>
            <a:pPr marL="285750" indent="-285750">
              <a:buFont typeface="Arial" panose="020B0604020202020204" pitchFamily="34" charset="0"/>
              <a:buChar char="•"/>
            </a:pPr>
            <a:r>
              <a:rPr lang="en-US" sz="1400"/>
              <a:t>Ermögliche das Arbeiten von Zuhause</a:t>
            </a:r>
          </a:p>
          <a:p>
            <a:pPr marL="285750" indent="-285750">
              <a:buFont typeface="Arial" panose="020B0604020202020204" pitchFamily="34" charset="0"/>
              <a:buChar char="•"/>
            </a:pPr>
            <a:r>
              <a:rPr lang="en-US" sz="1400"/>
              <a:t>Notfallunterstützungssystem betreiben und Behörden kontaktieren</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endParaRPr lang="en-US" sz="1400"/>
          </a:p>
        </p:txBody>
      </p:sp>
      <p:sp>
        <p:nvSpPr>
          <p:cNvPr id="13" name="Textfeld 12">
            <a:extLst>
              <a:ext uri="{FF2B5EF4-FFF2-40B4-BE49-F238E27FC236}">
                <a16:creationId xmlns:a16="http://schemas.microsoft.com/office/drawing/2014/main" id="{57C79B0A-E49C-11DD-A55C-383E84127539}"/>
              </a:ext>
            </a:extLst>
          </p:cNvPr>
          <p:cNvSpPr txBox="1"/>
          <p:nvPr/>
        </p:nvSpPr>
        <p:spPr>
          <a:xfrm>
            <a:off x="3150235" y="2580090"/>
            <a:ext cx="2843529" cy="2893100"/>
          </a:xfrm>
          <a:prstGeom prst="rect">
            <a:avLst/>
          </a:prstGeom>
          <a:noFill/>
          <a:ln>
            <a:solidFill>
              <a:schemeClr val="tx1"/>
            </a:solidFill>
          </a:ln>
        </p:spPr>
        <p:txBody>
          <a:bodyPr wrap="square" rtlCol="0">
            <a:spAutoFit/>
          </a:bodyPr>
          <a:lstStyle/>
          <a:p>
            <a:r>
              <a:rPr lang="en-US" sz="1400" b="1"/>
              <a:t>Starte eine umfassende Verkaufsoffensive:</a:t>
            </a:r>
          </a:p>
          <a:p>
            <a:pPr marL="285750" indent="-285750">
              <a:buFont typeface="Arial" panose="020B0604020202020204" pitchFamily="34" charset="0"/>
              <a:buChar char="•"/>
            </a:pPr>
            <a:r>
              <a:rPr lang="en-US" sz="1400"/>
              <a:t>Anpassung von Geschäftsmodellen basierend auf der Auswirkungsbeurteilung</a:t>
            </a:r>
          </a:p>
          <a:p>
            <a:pPr marL="285750" indent="-285750">
              <a:buFont typeface="Arial" panose="020B0604020202020204" pitchFamily="34" charset="0"/>
              <a:buChar char="•"/>
            </a:pPr>
            <a:r>
              <a:rPr lang="en-US" sz="1400"/>
              <a:t>Neubewertung strategischer Partnerschaften und Allianzen</a:t>
            </a:r>
          </a:p>
          <a:p>
            <a:pPr marL="285750" indent="-285750">
              <a:buFont typeface="Arial" panose="020B0604020202020204" pitchFamily="34" charset="0"/>
              <a:buChar char="•"/>
            </a:pPr>
            <a:r>
              <a:rPr lang="en-US" sz="1400"/>
              <a:t>Innovationen im Hinblick auf neue Marktanforderungen und Kundenverhaltensweisen</a:t>
            </a:r>
          </a:p>
          <a:p>
            <a:pPr marL="285750" indent="-285750">
              <a:buFont typeface="Arial" panose="020B0604020202020204" pitchFamily="34" charset="0"/>
              <a:buChar char="•"/>
            </a:pPr>
            <a:r>
              <a:rPr lang="en-US" sz="1400"/>
              <a:t>Optimierung des Produktportfolios zur Margenverbesserung</a:t>
            </a:r>
          </a:p>
        </p:txBody>
      </p:sp>
      <p:sp>
        <p:nvSpPr>
          <p:cNvPr id="14" name="Textfeld 13">
            <a:extLst>
              <a:ext uri="{FF2B5EF4-FFF2-40B4-BE49-F238E27FC236}">
                <a16:creationId xmlns:a16="http://schemas.microsoft.com/office/drawing/2014/main" id="{366A5221-D139-FCE1-6F76-C06DF1FF0D9B}"/>
              </a:ext>
            </a:extLst>
          </p:cNvPr>
          <p:cNvSpPr txBox="1"/>
          <p:nvPr/>
        </p:nvSpPr>
        <p:spPr>
          <a:xfrm>
            <a:off x="6079399" y="2580090"/>
            <a:ext cx="2738803" cy="2893100"/>
          </a:xfrm>
          <a:prstGeom prst="rect">
            <a:avLst/>
          </a:prstGeom>
          <a:noFill/>
          <a:ln>
            <a:solidFill>
              <a:schemeClr val="tx1"/>
            </a:solidFill>
          </a:ln>
        </p:spPr>
        <p:txBody>
          <a:bodyPr wrap="square" rtlCol="0">
            <a:spAutoFit/>
          </a:bodyPr>
          <a:lstStyle/>
          <a:p>
            <a:pPr marL="0" lvl="1" indent="-98425"/>
            <a:r>
              <a:rPr lang="en-US" sz="1400" b="1"/>
              <a:t>Errichte eine leistungsstarke Organisation:</a:t>
            </a:r>
          </a:p>
          <a:p>
            <a:pPr marL="187325" lvl="1" indent="-285750">
              <a:buFont typeface="Arial" panose="020B0604020202020204" pitchFamily="34" charset="0"/>
              <a:buChar char="•"/>
            </a:pPr>
            <a:r>
              <a:rPr lang="en-US" sz="1400"/>
              <a:t>Flexibler Personaleinsatz in verschiedenen Tätigkeitsbereichen umschichten</a:t>
            </a:r>
          </a:p>
          <a:p>
            <a:pPr marL="187325" lvl="1" indent="-285750">
              <a:buFont typeface="Arial" panose="020B0604020202020204" pitchFamily="34" charset="0"/>
              <a:buChar char="•"/>
            </a:pPr>
            <a:r>
              <a:rPr lang="en-US" sz="1400"/>
              <a:t>Organisation mit Fokus auf Effizienz umstrukturieren</a:t>
            </a:r>
          </a:p>
          <a:p>
            <a:pPr marL="187325" lvl="1" indent="-285750">
              <a:buFont typeface="Arial" panose="020B0604020202020204" pitchFamily="34" charset="0"/>
              <a:buChar char="•"/>
            </a:pPr>
            <a:r>
              <a:rPr lang="en-US" sz="1400"/>
              <a:t>Überlegungen zu Einfachheit und Agilitätskonzepten anstellen</a:t>
            </a:r>
          </a:p>
          <a:p>
            <a:pPr marL="187325" lvl="1" indent="-285750">
              <a:buFont typeface="Arial" panose="020B0604020202020204" pitchFamily="34" charset="0"/>
              <a:buChar char="•"/>
            </a:pPr>
            <a:r>
              <a:rPr lang="en-US" sz="1400"/>
              <a:t>Die zukünftige Krisenresilienz stärken</a:t>
            </a:r>
          </a:p>
          <a:p>
            <a:pPr marL="187325" lvl="1" indent="-285750">
              <a:buFont typeface="Arial" panose="020B0604020202020204" pitchFamily="34" charset="0"/>
              <a:buChar char="•"/>
            </a:pPr>
            <a:endParaRPr lang="en-US" sz="1400"/>
          </a:p>
          <a:p>
            <a:pPr marL="187325" lvl="1" indent="-285750">
              <a:buFont typeface="Arial" panose="020B0604020202020204" pitchFamily="34" charset="0"/>
              <a:buChar char="•"/>
            </a:pPr>
            <a:endParaRPr lang="en-US" sz="1400"/>
          </a:p>
        </p:txBody>
      </p:sp>
    </p:spTree>
    <p:extLst>
      <p:ext uri="{BB962C8B-B14F-4D97-AF65-F5344CB8AC3E}">
        <p14:creationId xmlns:p14="http://schemas.microsoft.com/office/powerpoint/2010/main" val="42771091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C9523E-D717-AD0E-1122-66548140387A}"/>
              </a:ext>
            </a:extLst>
          </p:cNvPr>
          <p:cNvSpPr>
            <a:spLocks noGrp="1"/>
          </p:cNvSpPr>
          <p:nvPr>
            <p:ph type="title"/>
          </p:nvPr>
        </p:nvSpPr>
        <p:spPr/>
        <p:txBody>
          <a:bodyPr/>
          <a:lstStyle/>
          <a:p>
            <a:r>
              <a:rPr lang="en-US"/>
              <a:t>Das Bruttobuchungsvolumen erlitt einen Einbruch während der Covid-19-Pandemie</a:t>
            </a:r>
          </a:p>
        </p:txBody>
      </p:sp>
      <p:pic>
        <p:nvPicPr>
          <p:cNvPr id="9" name="Inhaltsplatzhalter 8">
            <a:extLst>
              <a:ext uri="{FF2B5EF4-FFF2-40B4-BE49-F238E27FC236}">
                <a16:creationId xmlns:a16="http://schemas.microsoft.com/office/drawing/2014/main" id="{E5B1D056-9F03-7540-01C9-D1CCCC47602F}"/>
              </a:ext>
            </a:extLst>
          </p:cNvPr>
          <p:cNvPicPr>
            <a:picLocks noGrp="1" noChangeAspect="1"/>
          </p:cNvPicPr>
          <p:nvPr>
            <p:ph idx="1"/>
          </p:nvPr>
        </p:nvPicPr>
        <p:blipFill>
          <a:blip r:embed="rId3"/>
          <a:stretch>
            <a:fillRect/>
          </a:stretch>
        </p:blipFill>
        <p:spPr>
          <a:xfrm>
            <a:off x="596839" y="1979753"/>
            <a:ext cx="8094418" cy="4427537"/>
          </a:xfrm>
        </p:spPr>
      </p:pic>
      <p:sp>
        <p:nvSpPr>
          <p:cNvPr id="4" name="Foliennummernplatzhalter 3">
            <a:extLst>
              <a:ext uri="{FF2B5EF4-FFF2-40B4-BE49-F238E27FC236}">
                <a16:creationId xmlns:a16="http://schemas.microsoft.com/office/drawing/2014/main" id="{4B4CAE02-9D99-66D0-6D48-F5AAC4912249}"/>
              </a:ext>
            </a:extLst>
          </p:cNvPr>
          <p:cNvSpPr>
            <a:spLocks noGrp="1"/>
          </p:cNvSpPr>
          <p:nvPr>
            <p:ph type="sldNum" sz="quarter" idx="4"/>
          </p:nvPr>
        </p:nvSpPr>
        <p:spPr/>
        <p:txBody>
          <a:bodyPr/>
          <a:lstStyle/>
          <a:p>
            <a:fld id="{BAF04893-69FB-435D-AB2E-CA259D85B32F}" type="slidenum">
              <a:rPr lang="en-US" smtClean="0"/>
              <a:pPr/>
              <a:t>109</a:t>
            </a:fld>
            <a:endParaRPr lang="en-US"/>
          </a:p>
        </p:txBody>
      </p:sp>
      <p:sp>
        <p:nvSpPr>
          <p:cNvPr id="5" name="Inhaltsplatzhalter 4">
            <a:extLst>
              <a:ext uri="{FF2B5EF4-FFF2-40B4-BE49-F238E27FC236}">
                <a16:creationId xmlns:a16="http://schemas.microsoft.com/office/drawing/2014/main" id="{8CBD945B-62AC-F6B7-A50B-E75058685A09}"/>
              </a:ext>
            </a:extLst>
          </p:cNvPr>
          <p:cNvSpPr>
            <a:spLocks noGrp="1"/>
          </p:cNvSpPr>
          <p:nvPr>
            <p:ph idx="10"/>
          </p:nvPr>
        </p:nvSpPr>
        <p:spPr/>
        <p:txBody>
          <a:bodyPr/>
          <a:lstStyle/>
          <a:p>
            <a:r>
              <a:rPr lang="en-US"/>
              <a:t>Statista - ANHANG </a:t>
            </a:r>
          </a:p>
        </p:txBody>
      </p:sp>
      <p:sp>
        <p:nvSpPr>
          <p:cNvPr id="6" name="Inhaltsplatzhalter 5">
            <a:extLst>
              <a:ext uri="{FF2B5EF4-FFF2-40B4-BE49-F238E27FC236}">
                <a16:creationId xmlns:a16="http://schemas.microsoft.com/office/drawing/2014/main" id="{7EE387D8-EE1C-86B6-817B-B7F4683F151A}"/>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C37C5ADE-A437-20EB-A0B5-88880854DE75}"/>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2228710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577263F-ED6D-B93C-9616-4DB195C44415}"/>
              </a:ext>
            </a:extLst>
          </p:cNvPr>
          <p:cNvGraphicFramePr>
            <a:graphicFrameLocks noChangeAspect="1"/>
          </p:cNvGraphicFramePr>
          <p:nvPr>
            <p:custDataLst>
              <p:tags r:id="rId1"/>
            </p:custDataLst>
            <p:extLst>
              <p:ext uri="{D42A27DB-BD31-4B8C-83A1-F6EECF244321}">
                <p14:modId xmlns:p14="http://schemas.microsoft.com/office/powerpoint/2010/main" val="690142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0" name="think-cell data - do not delete" hidden="1">
                        <a:extLst>
                          <a:ext uri="{FF2B5EF4-FFF2-40B4-BE49-F238E27FC236}">
                            <a16:creationId xmlns:a16="http://schemas.microsoft.com/office/drawing/2014/main" id="{0577263F-ED6D-B93C-9616-4DB195C444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9F95C6-17D5-4810-9BFC-CFBCB99740C2}"/>
              </a:ext>
            </a:extLst>
          </p:cNvPr>
          <p:cNvSpPr>
            <a:spLocks noGrp="1"/>
          </p:cNvSpPr>
          <p:nvPr>
            <p:ph type="title"/>
          </p:nvPr>
        </p:nvSpPr>
        <p:spPr/>
        <p:txBody>
          <a:bodyPr vert="horz"/>
          <a:lstStyle/>
          <a:p>
            <a:r>
              <a:rPr lang="en-US" sz="2400"/>
              <a:t>In Ubers Wertschöpfungskette </a:t>
            </a:r>
            <a:r>
              <a:rPr lang="en-US" sz="2400" err="1"/>
              <a:t>gibt</a:t>
            </a:r>
            <a:r>
              <a:rPr lang="en-US" sz="2400"/>
              <a:t> es </a:t>
            </a:r>
            <a:r>
              <a:rPr lang="en-US" sz="2400" err="1"/>
              <a:t>mehrere</a:t>
            </a:r>
            <a:r>
              <a:rPr lang="en-US" sz="2400"/>
              <a:t> </a:t>
            </a:r>
            <a:r>
              <a:rPr lang="en-US" sz="2400" err="1"/>
              <a:t>kritische</a:t>
            </a:r>
            <a:r>
              <a:rPr lang="en-US" sz="2400"/>
              <a:t> </a:t>
            </a:r>
            <a:r>
              <a:rPr lang="en-US" sz="2400" err="1"/>
              <a:t>Schritte</a:t>
            </a:r>
            <a:r>
              <a:rPr lang="en-US" sz="2400"/>
              <a:t> und </a:t>
            </a:r>
            <a:r>
              <a:rPr lang="en-US" sz="2400" err="1"/>
              <a:t>Prozesse</a:t>
            </a:r>
            <a:r>
              <a:rPr lang="en-US" sz="2400"/>
              <a:t>, die für den </a:t>
            </a:r>
            <a:r>
              <a:rPr lang="en-US" sz="2400" err="1"/>
              <a:t>reibungslosen</a:t>
            </a:r>
            <a:r>
              <a:rPr lang="en-US" sz="2400"/>
              <a:t> </a:t>
            </a:r>
            <a:r>
              <a:rPr lang="en-US" sz="2400" err="1"/>
              <a:t>Betrieb</a:t>
            </a:r>
            <a:r>
              <a:rPr lang="en-US" sz="2400"/>
              <a:t> und den </a:t>
            </a:r>
            <a:r>
              <a:rPr lang="en-US" sz="2400" err="1"/>
              <a:t>Erfolg</a:t>
            </a:r>
            <a:r>
              <a:rPr lang="en-US" sz="2400"/>
              <a:t> des </a:t>
            </a:r>
            <a:r>
              <a:rPr lang="en-US" sz="2400" err="1"/>
              <a:t>Unternehmens</a:t>
            </a:r>
            <a:r>
              <a:rPr lang="en-US" sz="2400"/>
              <a:t> </a:t>
            </a:r>
            <a:r>
              <a:rPr lang="en-US" sz="2400" err="1"/>
              <a:t>entscheidend</a:t>
            </a:r>
            <a:r>
              <a:rPr lang="en-US" sz="2400"/>
              <a:t> </a:t>
            </a:r>
            <a:r>
              <a:rPr lang="en-US" sz="2400" err="1"/>
              <a:t>sind</a:t>
            </a:r>
            <a:br>
              <a:rPr lang="en-US" sz="2400"/>
            </a:br>
            <a:endParaRPr lang="en-US"/>
          </a:p>
        </p:txBody>
      </p:sp>
      <p:graphicFrame>
        <p:nvGraphicFramePr>
          <p:cNvPr id="8" name="Inhaltsplatzhalter 7">
            <a:extLst>
              <a:ext uri="{FF2B5EF4-FFF2-40B4-BE49-F238E27FC236}">
                <a16:creationId xmlns:a16="http://schemas.microsoft.com/office/drawing/2014/main" id="{9FCCB3A9-4A97-BB1F-5749-ADDC46179073}"/>
              </a:ext>
            </a:extLst>
          </p:cNvPr>
          <p:cNvGraphicFramePr>
            <a:graphicFrameLocks noGrp="1"/>
          </p:cNvGraphicFramePr>
          <p:nvPr>
            <p:ph idx="1"/>
            <p:extLst>
              <p:ext uri="{D42A27DB-BD31-4B8C-83A1-F6EECF244321}">
                <p14:modId xmlns:p14="http://schemas.microsoft.com/office/powerpoint/2010/main" val="4263341088"/>
              </p:ext>
            </p:extLst>
          </p:nvPr>
        </p:nvGraphicFramePr>
        <p:xfrm>
          <a:off x="360363" y="2246812"/>
          <a:ext cx="8567737" cy="369888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Foliennummernplatzhalter 3">
            <a:extLst>
              <a:ext uri="{FF2B5EF4-FFF2-40B4-BE49-F238E27FC236}">
                <a16:creationId xmlns:a16="http://schemas.microsoft.com/office/drawing/2014/main" id="{161D25ED-057E-F8CD-532D-0373D10429BB}"/>
              </a:ext>
            </a:extLst>
          </p:cNvPr>
          <p:cNvSpPr>
            <a:spLocks noGrp="1"/>
          </p:cNvSpPr>
          <p:nvPr>
            <p:ph type="sldNum" sz="quarter" idx="4"/>
          </p:nvPr>
        </p:nvSpPr>
        <p:spPr/>
        <p:txBody>
          <a:bodyPr/>
          <a:lstStyle/>
          <a:p>
            <a:fld id="{BAF04893-69FB-435D-AB2E-CA259D85B32F}" type="slidenum">
              <a:rPr lang="en-US" smtClean="0"/>
              <a:pPr/>
              <a:t>11</a:t>
            </a:fld>
            <a:endParaRPr lang="en-US"/>
          </a:p>
        </p:txBody>
      </p:sp>
      <p:sp>
        <p:nvSpPr>
          <p:cNvPr id="5" name="Inhaltsplatzhalter 4">
            <a:extLst>
              <a:ext uri="{FF2B5EF4-FFF2-40B4-BE49-F238E27FC236}">
                <a16:creationId xmlns:a16="http://schemas.microsoft.com/office/drawing/2014/main" id="{E3138E72-CCA7-A852-0D53-5E739F3B088A}"/>
              </a:ext>
            </a:extLst>
          </p:cNvPr>
          <p:cNvSpPr>
            <a:spLocks noGrp="1"/>
          </p:cNvSpPr>
          <p:nvPr>
            <p:ph idx="10"/>
          </p:nvPr>
        </p:nvSpPr>
        <p:spPr/>
        <p:txBody>
          <a:bodyPr/>
          <a:lstStyle/>
          <a:p>
            <a:r>
              <a:rPr lang="en-US" err="1"/>
              <a:t>Kritische</a:t>
            </a:r>
            <a:r>
              <a:rPr lang="en-US"/>
              <a:t> </a:t>
            </a:r>
            <a:r>
              <a:rPr lang="en-US" err="1"/>
              <a:t>Schritte</a:t>
            </a:r>
            <a:r>
              <a:rPr lang="en-US"/>
              <a:t> und </a:t>
            </a:r>
            <a:r>
              <a:rPr lang="en-US" err="1"/>
              <a:t>Prozesse</a:t>
            </a:r>
            <a:r>
              <a:rPr lang="en-US"/>
              <a:t> in der Wertschöpfungskette</a:t>
            </a:r>
          </a:p>
        </p:txBody>
      </p:sp>
      <p:sp>
        <p:nvSpPr>
          <p:cNvPr id="6" name="Inhaltsplatzhalter 5">
            <a:extLst>
              <a:ext uri="{FF2B5EF4-FFF2-40B4-BE49-F238E27FC236}">
                <a16:creationId xmlns:a16="http://schemas.microsoft.com/office/drawing/2014/main" id="{56B24220-CAD6-0177-5DC9-FE0D71EB271A}"/>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0ECAF468-8A5D-1A2C-50BB-C670E1B844AF}"/>
              </a:ext>
            </a:extLst>
          </p:cNvPr>
          <p:cNvSpPr>
            <a:spLocks noGrp="1"/>
          </p:cNvSpPr>
          <p:nvPr>
            <p:ph idx="12"/>
          </p:nvPr>
        </p:nvSpPr>
        <p:spPr/>
        <p:txBody>
          <a:bodyPr/>
          <a:lstStyle/>
          <a:p>
            <a:endParaRPr lang="en-US"/>
          </a:p>
        </p:txBody>
      </p:sp>
      <p:sp>
        <p:nvSpPr>
          <p:cNvPr id="9" name="Pfeil: nach rechts 8">
            <a:extLst>
              <a:ext uri="{FF2B5EF4-FFF2-40B4-BE49-F238E27FC236}">
                <a16:creationId xmlns:a16="http://schemas.microsoft.com/office/drawing/2014/main" id="{7925477F-4E64-788C-516D-2A64AB5D0EB8}"/>
              </a:ext>
            </a:extLst>
          </p:cNvPr>
          <p:cNvSpPr/>
          <p:nvPr/>
        </p:nvSpPr>
        <p:spPr>
          <a:xfrm>
            <a:off x="360363" y="5835032"/>
            <a:ext cx="8567737" cy="646747"/>
          </a:xfrm>
          <a:prstGeom prst="rightArrow">
            <a:avLst/>
          </a:prstGeom>
          <a:solidFill>
            <a:srgbClr val="002060"/>
          </a:solidFill>
          <a:ln>
            <a:solidFill>
              <a:srgbClr val="002060"/>
            </a:solidFill>
          </a:ln>
        </p:spPr>
        <p:style>
          <a:lnRef idx="2">
            <a:schemeClr val="dk1">
              <a:shade val="15000"/>
            </a:schemeClr>
          </a:lnRef>
          <a:fillRef idx="1">
            <a:schemeClr val="dk1"/>
          </a:fillRef>
          <a:effectRef idx="0">
            <a:schemeClr val="dk1"/>
          </a:effectRef>
          <a:fontRef idx="minor">
            <a:schemeClr val="lt1"/>
          </a:fontRef>
        </p:style>
        <p:txBody>
          <a:bodyPr rtlCol="0" anchor="ctr"/>
          <a:lstStyle/>
          <a:p>
            <a:r>
              <a:rPr lang="en-US" sz="1200"/>
              <a:t>Störungen oder Probleme in einem dieser Bereiche könnten zu Unterbrechungen im Service, Kundenunzufriedenheit oder sogar rechtlichen Problemen führen, was sich negativ auf das Geschäft auswirken könnte.</a:t>
            </a:r>
          </a:p>
        </p:txBody>
      </p:sp>
    </p:spTree>
    <p:extLst>
      <p:ext uri="{BB962C8B-B14F-4D97-AF65-F5344CB8AC3E}">
        <p14:creationId xmlns:p14="http://schemas.microsoft.com/office/powerpoint/2010/main" val="118495104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BAF063-F980-ECEE-1C56-38D372F83427}"/>
              </a:ext>
            </a:extLst>
          </p:cNvPr>
          <p:cNvSpPr>
            <a:spLocks noGrp="1"/>
          </p:cNvSpPr>
          <p:nvPr>
            <p:ph type="title"/>
          </p:nvPr>
        </p:nvSpPr>
        <p:spPr/>
        <p:txBody>
          <a:bodyPr/>
          <a:lstStyle/>
          <a:p>
            <a:r>
              <a:rPr lang="en-US"/>
              <a:t>Die Anzahl der Fahrten erlitten einen Einbruch während der Covid-19-Pandemie</a:t>
            </a:r>
          </a:p>
        </p:txBody>
      </p:sp>
      <p:pic>
        <p:nvPicPr>
          <p:cNvPr id="9" name="Inhaltsplatzhalter 8">
            <a:extLst>
              <a:ext uri="{FF2B5EF4-FFF2-40B4-BE49-F238E27FC236}">
                <a16:creationId xmlns:a16="http://schemas.microsoft.com/office/drawing/2014/main" id="{421C96CA-5425-2001-EF8D-A9DDF57AB596}"/>
              </a:ext>
            </a:extLst>
          </p:cNvPr>
          <p:cNvPicPr>
            <a:picLocks noGrp="1" noChangeAspect="1"/>
          </p:cNvPicPr>
          <p:nvPr>
            <p:ph idx="1"/>
          </p:nvPr>
        </p:nvPicPr>
        <p:blipFill>
          <a:blip r:embed="rId3"/>
          <a:stretch>
            <a:fillRect/>
          </a:stretch>
        </p:blipFill>
        <p:spPr>
          <a:xfrm>
            <a:off x="512753" y="1989138"/>
            <a:ext cx="8262957" cy="4427537"/>
          </a:xfrm>
        </p:spPr>
      </p:pic>
      <p:sp>
        <p:nvSpPr>
          <p:cNvPr id="4" name="Foliennummernplatzhalter 3">
            <a:extLst>
              <a:ext uri="{FF2B5EF4-FFF2-40B4-BE49-F238E27FC236}">
                <a16:creationId xmlns:a16="http://schemas.microsoft.com/office/drawing/2014/main" id="{3321977A-C59C-8E86-0695-43A3CCC2C301}"/>
              </a:ext>
            </a:extLst>
          </p:cNvPr>
          <p:cNvSpPr>
            <a:spLocks noGrp="1"/>
          </p:cNvSpPr>
          <p:nvPr>
            <p:ph type="sldNum" sz="quarter" idx="4"/>
          </p:nvPr>
        </p:nvSpPr>
        <p:spPr/>
        <p:txBody>
          <a:bodyPr/>
          <a:lstStyle/>
          <a:p>
            <a:fld id="{BAF04893-69FB-435D-AB2E-CA259D85B32F}" type="slidenum">
              <a:rPr lang="en-US" smtClean="0"/>
              <a:pPr/>
              <a:t>110</a:t>
            </a:fld>
            <a:endParaRPr lang="en-US"/>
          </a:p>
        </p:txBody>
      </p:sp>
      <p:sp>
        <p:nvSpPr>
          <p:cNvPr id="5" name="Inhaltsplatzhalter 4">
            <a:extLst>
              <a:ext uri="{FF2B5EF4-FFF2-40B4-BE49-F238E27FC236}">
                <a16:creationId xmlns:a16="http://schemas.microsoft.com/office/drawing/2014/main" id="{158362F9-0723-58E6-D535-C437773D1D15}"/>
              </a:ext>
            </a:extLst>
          </p:cNvPr>
          <p:cNvSpPr>
            <a:spLocks noGrp="1"/>
          </p:cNvSpPr>
          <p:nvPr>
            <p:ph idx="10"/>
          </p:nvPr>
        </p:nvSpPr>
        <p:spPr/>
        <p:txBody>
          <a:bodyPr/>
          <a:lstStyle/>
          <a:p>
            <a:r>
              <a:rPr lang="en-US"/>
              <a:t>Statista - ANHANG</a:t>
            </a:r>
          </a:p>
        </p:txBody>
      </p:sp>
      <p:sp>
        <p:nvSpPr>
          <p:cNvPr id="6" name="Inhaltsplatzhalter 5">
            <a:extLst>
              <a:ext uri="{FF2B5EF4-FFF2-40B4-BE49-F238E27FC236}">
                <a16:creationId xmlns:a16="http://schemas.microsoft.com/office/drawing/2014/main" id="{7250D011-A7E9-E6BA-55F0-BBBAF6D8FDC1}"/>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33531CCE-0109-DFAC-C13D-0CBD4A0B611E}"/>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22724443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BAF063-F980-ECEE-1C56-38D372F83427}"/>
              </a:ext>
            </a:extLst>
          </p:cNvPr>
          <p:cNvSpPr>
            <a:spLocks noGrp="1"/>
          </p:cNvSpPr>
          <p:nvPr>
            <p:ph type="title"/>
          </p:nvPr>
        </p:nvSpPr>
        <p:spPr/>
        <p:txBody>
          <a:bodyPr/>
          <a:lstStyle/>
          <a:p>
            <a:r>
              <a:rPr lang="en-US"/>
              <a:t>Die monatliche Anzahl der Uber User erlitt einen Einbruch während der Covid-19-Pandemie</a:t>
            </a:r>
          </a:p>
        </p:txBody>
      </p:sp>
      <p:sp>
        <p:nvSpPr>
          <p:cNvPr id="4" name="Foliennummernplatzhalter 3">
            <a:extLst>
              <a:ext uri="{FF2B5EF4-FFF2-40B4-BE49-F238E27FC236}">
                <a16:creationId xmlns:a16="http://schemas.microsoft.com/office/drawing/2014/main" id="{3321977A-C59C-8E86-0695-43A3CCC2C301}"/>
              </a:ext>
            </a:extLst>
          </p:cNvPr>
          <p:cNvSpPr>
            <a:spLocks noGrp="1"/>
          </p:cNvSpPr>
          <p:nvPr>
            <p:ph type="sldNum" sz="quarter" idx="4"/>
          </p:nvPr>
        </p:nvSpPr>
        <p:spPr/>
        <p:txBody>
          <a:bodyPr/>
          <a:lstStyle/>
          <a:p>
            <a:fld id="{BAF04893-69FB-435D-AB2E-CA259D85B32F}" type="slidenum">
              <a:rPr lang="en-US" smtClean="0"/>
              <a:pPr/>
              <a:t>111</a:t>
            </a:fld>
            <a:endParaRPr lang="en-US"/>
          </a:p>
        </p:txBody>
      </p:sp>
      <p:sp>
        <p:nvSpPr>
          <p:cNvPr id="5" name="Inhaltsplatzhalter 4">
            <a:extLst>
              <a:ext uri="{FF2B5EF4-FFF2-40B4-BE49-F238E27FC236}">
                <a16:creationId xmlns:a16="http://schemas.microsoft.com/office/drawing/2014/main" id="{158362F9-0723-58E6-D535-C437773D1D15}"/>
              </a:ext>
            </a:extLst>
          </p:cNvPr>
          <p:cNvSpPr>
            <a:spLocks noGrp="1"/>
          </p:cNvSpPr>
          <p:nvPr>
            <p:ph idx="10"/>
          </p:nvPr>
        </p:nvSpPr>
        <p:spPr/>
        <p:txBody>
          <a:bodyPr/>
          <a:lstStyle/>
          <a:p>
            <a:r>
              <a:rPr lang="en-US"/>
              <a:t>Statista - ANHANG</a:t>
            </a:r>
          </a:p>
        </p:txBody>
      </p:sp>
      <p:sp>
        <p:nvSpPr>
          <p:cNvPr id="6" name="Inhaltsplatzhalter 5">
            <a:extLst>
              <a:ext uri="{FF2B5EF4-FFF2-40B4-BE49-F238E27FC236}">
                <a16:creationId xmlns:a16="http://schemas.microsoft.com/office/drawing/2014/main" id="{7250D011-A7E9-E6BA-55F0-BBBAF6D8FDC1}"/>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33531CCE-0109-DFAC-C13D-0CBD4A0B611E}"/>
              </a:ext>
            </a:extLst>
          </p:cNvPr>
          <p:cNvSpPr>
            <a:spLocks noGrp="1"/>
          </p:cNvSpPr>
          <p:nvPr>
            <p:ph idx="12"/>
          </p:nvPr>
        </p:nvSpPr>
        <p:spPr/>
        <p:txBody>
          <a:bodyPr/>
          <a:lstStyle/>
          <a:p>
            <a:endParaRPr lang="en-US"/>
          </a:p>
        </p:txBody>
      </p:sp>
      <p:pic>
        <p:nvPicPr>
          <p:cNvPr id="11" name="Inhaltsplatzhalter 10">
            <a:extLst>
              <a:ext uri="{FF2B5EF4-FFF2-40B4-BE49-F238E27FC236}">
                <a16:creationId xmlns:a16="http://schemas.microsoft.com/office/drawing/2014/main" id="{9EA53726-7FAD-846B-0C31-3C576C5BF23F}"/>
              </a:ext>
            </a:extLst>
          </p:cNvPr>
          <p:cNvPicPr>
            <a:picLocks noGrp="1" noChangeAspect="1"/>
          </p:cNvPicPr>
          <p:nvPr>
            <p:ph idx="1"/>
          </p:nvPr>
        </p:nvPicPr>
        <p:blipFill>
          <a:blip r:embed="rId3"/>
          <a:stretch>
            <a:fillRect/>
          </a:stretch>
        </p:blipFill>
        <p:spPr>
          <a:xfrm>
            <a:off x="644829" y="1989138"/>
            <a:ext cx="7998805" cy="4427537"/>
          </a:xfrm>
        </p:spPr>
      </p:pic>
    </p:spTree>
    <p:extLst>
      <p:ext uri="{BB962C8B-B14F-4D97-AF65-F5344CB8AC3E}">
        <p14:creationId xmlns:p14="http://schemas.microsoft.com/office/powerpoint/2010/main" val="9762660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C9DC6B18-C6BF-0AE7-F416-A7D93D30E74B}"/>
              </a:ext>
            </a:extLst>
          </p:cNvPr>
          <p:cNvGraphicFramePr>
            <a:graphicFrameLocks noChangeAspect="1"/>
          </p:cNvGraphicFramePr>
          <p:nvPr>
            <p:custDataLst>
              <p:tags r:id="rId1"/>
            </p:custDataLst>
            <p:extLst>
              <p:ext uri="{D42A27DB-BD31-4B8C-83A1-F6EECF244321}">
                <p14:modId xmlns:p14="http://schemas.microsoft.com/office/powerpoint/2010/main" val="26089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7" name="think-cell data - do not delete" hidden="1">
                        <a:extLst>
                          <a:ext uri="{FF2B5EF4-FFF2-40B4-BE49-F238E27FC236}">
                            <a16:creationId xmlns:a16="http://schemas.microsoft.com/office/drawing/2014/main" id="{C9DC6B18-C6BF-0AE7-F416-A7D93D30E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BAB085B-9E44-2ACF-AF31-2D85E0D4D018}"/>
              </a:ext>
            </a:extLst>
          </p:cNvPr>
          <p:cNvSpPr>
            <a:spLocks noGrp="1"/>
          </p:cNvSpPr>
          <p:nvPr>
            <p:ph type="title"/>
          </p:nvPr>
        </p:nvSpPr>
        <p:spPr/>
        <p:txBody>
          <a:bodyPr vert="horz"/>
          <a:lstStyle/>
          <a:p>
            <a:r>
              <a:rPr lang="en-US"/>
              <a:t>Ubers langfristige strategische Ausrichtung ist es, den Transportsektor durch Technologie zu transformieren</a:t>
            </a:r>
          </a:p>
        </p:txBody>
      </p:sp>
      <p:sp>
        <p:nvSpPr>
          <p:cNvPr id="3" name="Inhaltsplatzhalter 2">
            <a:extLst>
              <a:ext uri="{FF2B5EF4-FFF2-40B4-BE49-F238E27FC236}">
                <a16:creationId xmlns:a16="http://schemas.microsoft.com/office/drawing/2014/main" id="{BF5E424E-42C5-578E-5AA6-B6FDC73A634B}"/>
              </a:ext>
            </a:extLst>
          </p:cNvPr>
          <p:cNvSpPr>
            <a:spLocks noGrp="1"/>
          </p:cNvSpPr>
          <p:nvPr>
            <p:ph idx="1"/>
          </p:nvPr>
        </p:nvSpPr>
        <p:spPr/>
        <p:txBody>
          <a:bodyPr/>
          <a:lstStyle/>
          <a:p>
            <a:r>
              <a:rPr lang="en-US" sz="1400" b="1" err="1"/>
              <a:t>Übergreifende</a:t>
            </a:r>
            <a:r>
              <a:rPr lang="en-US" sz="1400" b="1"/>
              <a:t> </a:t>
            </a:r>
            <a:r>
              <a:rPr lang="en-US" sz="1400" b="1" err="1"/>
              <a:t>strategische</a:t>
            </a:r>
            <a:r>
              <a:rPr lang="en-US" sz="1400" b="1"/>
              <a:t> </a:t>
            </a:r>
            <a:r>
              <a:rPr lang="en-US" sz="1400" b="1" err="1"/>
              <a:t>Ausrichtung</a:t>
            </a:r>
            <a:r>
              <a:rPr lang="en-US" sz="1400" b="1"/>
              <a:t>:</a:t>
            </a:r>
          </a:p>
          <a:p>
            <a:pPr marL="285750" indent="-285750">
              <a:buFont typeface="Arial" panose="020B0604020202020204" pitchFamily="34" charset="0"/>
              <a:buChar char="•"/>
            </a:pPr>
            <a:r>
              <a:rPr lang="en-US" sz="1400" err="1"/>
              <a:t>Transportsektor</a:t>
            </a:r>
            <a:r>
              <a:rPr lang="en-US" sz="1400"/>
              <a:t> </a:t>
            </a:r>
            <a:r>
              <a:rPr lang="en-US" sz="1400" err="1"/>
              <a:t>durch</a:t>
            </a:r>
            <a:r>
              <a:rPr lang="en-US" sz="1400"/>
              <a:t> </a:t>
            </a:r>
            <a:r>
              <a:rPr lang="en-US" sz="1400" err="1"/>
              <a:t>Technologie</a:t>
            </a:r>
            <a:r>
              <a:rPr lang="en-US" sz="1400"/>
              <a:t> </a:t>
            </a:r>
            <a:r>
              <a:rPr lang="en-US" sz="1400" err="1"/>
              <a:t>transformieren</a:t>
            </a:r>
            <a:endParaRPr lang="en-US" sz="1400"/>
          </a:p>
          <a:p>
            <a:pPr marL="285750" indent="-285750">
              <a:buFont typeface="Arial" panose="020B0604020202020204" pitchFamily="34" charset="0"/>
              <a:buChar char="•"/>
            </a:pPr>
            <a:r>
              <a:rPr lang="en-US" sz="1400" err="1"/>
              <a:t>Führende</a:t>
            </a:r>
            <a:r>
              <a:rPr lang="en-US" sz="1400"/>
              <a:t> Position </a:t>
            </a:r>
            <a:r>
              <a:rPr lang="en-US" sz="1400" err="1"/>
              <a:t>im</a:t>
            </a:r>
            <a:r>
              <a:rPr lang="en-US" sz="1400"/>
              <a:t> </a:t>
            </a:r>
            <a:r>
              <a:rPr lang="en-US" sz="1400" err="1"/>
              <a:t>Bereich</a:t>
            </a:r>
            <a:r>
              <a:rPr lang="en-US" sz="1400"/>
              <a:t> der </a:t>
            </a:r>
            <a:r>
              <a:rPr lang="en-US" sz="1400" err="1"/>
              <a:t>Mobilität</a:t>
            </a:r>
            <a:r>
              <a:rPr lang="en-US" sz="1400"/>
              <a:t> und </a:t>
            </a:r>
            <a:r>
              <a:rPr lang="en-US" sz="1400" err="1"/>
              <a:t>Lieferung</a:t>
            </a:r>
            <a:r>
              <a:rPr lang="en-US" sz="1400"/>
              <a:t> von </a:t>
            </a:r>
            <a:r>
              <a:rPr lang="en-US" sz="1400" err="1"/>
              <a:t>Waren</a:t>
            </a:r>
            <a:r>
              <a:rPr lang="en-US" sz="1400"/>
              <a:t> </a:t>
            </a:r>
            <a:r>
              <a:rPr lang="en-US" sz="1400" err="1"/>
              <a:t>einnehmen</a:t>
            </a:r>
            <a:r>
              <a:rPr lang="en-US" sz="1400"/>
              <a:t> </a:t>
            </a:r>
          </a:p>
          <a:p>
            <a:endParaRPr lang="en-US" sz="1400"/>
          </a:p>
          <a:p>
            <a:r>
              <a:rPr lang="en-US" sz="1400" b="1" err="1"/>
              <a:t>Hauptstrategie</a:t>
            </a:r>
            <a:r>
              <a:rPr lang="en-US" sz="1400" b="1"/>
              <a:t>: </a:t>
            </a:r>
          </a:p>
          <a:p>
            <a:pPr marL="285750" indent="-285750">
              <a:buFont typeface="Arial" panose="020B0604020202020204" pitchFamily="34" charset="0"/>
              <a:buChar char="•"/>
            </a:pPr>
            <a:r>
              <a:rPr lang="en-US" sz="1400"/>
              <a:t>Innovative </a:t>
            </a:r>
            <a:r>
              <a:rPr lang="en-US" sz="1400" err="1"/>
              <a:t>Technologien</a:t>
            </a:r>
            <a:r>
              <a:rPr lang="en-US" sz="1400"/>
              <a:t> </a:t>
            </a:r>
            <a:r>
              <a:rPr lang="en-US" sz="1400" err="1"/>
              <a:t>nutzen</a:t>
            </a:r>
            <a:r>
              <a:rPr lang="en-US" sz="1400"/>
              <a:t>, um die </a:t>
            </a:r>
            <a:r>
              <a:rPr lang="en-US" sz="1400" err="1"/>
              <a:t>Transportbranche</a:t>
            </a:r>
            <a:r>
              <a:rPr lang="en-US" sz="1400"/>
              <a:t> </a:t>
            </a:r>
            <a:r>
              <a:rPr lang="en-US" sz="1400" err="1"/>
              <a:t>zu</a:t>
            </a:r>
            <a:r>
              <a:rPr lang="en-US" sz="1400"/>
              <a:t> </a:t>
            </a:r>
            <a:r>
              <a:rPr lang="en-US" sz="1400" err="1"/>
              <a:t>revolutionieren</a:t>
            </a:r>
            <a:endParaRPr lang="en-US" sz="1400"/>
          </a:p>
          <a:p>
            <a:pPr marL="285750" indent="-285750">
              <a:buFont typeface="Arial" panose="020B0604020202020204" pitchFamily="34" charset="0"/>
              <a:buChar char="•"/>
            </a:pPr>
            <a:r>
              <a:rPr lang="en-US" sz="1400" err="1"/>
              <a:t>Fokus</a:t>
            </a:r>
            <a:r>
              <a:rPr lang="en-US" sz="1400"/>
              <a:t> auf </a:t>
            </a:r>
            <a:r>
              <a:rPr lang="en-US" sz="1400" err="1"/>
              <a:t>Effizienz</a:t>
            </a:r>
            <a:r>
              <a:rPr lang="en-US" sz="1400"/>
              <a:t>, </a:t>
            </a:r>
            <a:r>
              <a:rPr lang="en-US" sz="1400" err="1"/>
              <a:t>Benutzerfreundlichkeit</a:t>
            </a:r>
            <a:r>
              <a:rPr lang="en-US" sz="1400"/>
              <a:t> und </a:t>
            </a:r>
            <a:r>
              <a:rPr lang="en-US" sz="1400" err="1"/>
              <a:t>Verfügbarkeit</a:t>
            </a:r>
            <a:endParaRPr lang="en-US" sz="1400"/>
          </a:p>
          <a:p>
            <a:pPr marL="285750" indent="-285750">
              <a:buFont typeface="Arial" panose="020B0604020202020204" pitchFamily="34" charset="0"/>
              <a:buChar char="•"/>
            </a:pPr>
            <a:r>
              <a:rPr lang="en-US" sz="1400" err="1"/>
              <a:t>Breite</a:t>
            </a:r>
            <a:r>
              <a:rPr lang="en-US" sz="1400"/>
              <a:t> Palette von </a:t>
            </a:r>
            <a:r>
              <a:rPr lang="en-US" sz="1400" err="1"/>
              <a:t>Dienstleistungen</a:t>
            </a:r>
            <a:r>
              <a:rPr lang="en-US" sz="1400"/>
              <a:t> </a:t>
            </a:r>
            <a:r>
              <a:rPr lang="en-US" sz="1400" err="1"/>
              <a:t>anbieten</a:t>
            </a:r>
            <a:r>
              <a:rPr lang="en-US" sz="1400"/>
              <a:t>, die auf </a:t>
            </a:r>
            <a:r>
              <a:rPr lang="en-US" sz="1400" err="1"/>
              <a:t>Benutzerfreundlichkeit</a:t>
            </a:r>
            <a:r>
              <a:rPr lang="en-US" sz="1400"/>
              <a:t> und </a:t>
            </a:r>
            <a:r>
              <a:rPr lang="en-US" sz="1400" err="1"/>
              <a:t>Zugänglichkeit</a:t>
            </a:r>
            <a:r>
              <a:rPr lang="en-US" sz="1400"/>
              <a:t> </a:t>
            </a:r>
            <a:r>
              <a:rPr lang="en-US" sz="1400" err="1"/>
              <a:t>ausgerichtet</a:t>
            </a:r>
            <a:r>
              <a:rPr lang="en-US" sz="1400"/>
              <a:t> </a:t>
            </a:r>
            <a:r>
              <a:rPr lang="en-US" sz="1400" err="1"/>
              <a:t>sind</a:t>
            </a:r>
            <a:endParaRPr lang="en-US" sz="1400"/>
          </a:p>
          <a:p>
            <a:endParaRPr lang="en-US"/>
          </a:p>
        </p:txBody>
      </p:sp>
      <p:sp>
        <p:nvSpPr>
          <p:cNvPr id="4" name="Foliennummernplatzhalter 3">
            <a:extLst>
              <a:ext uri="{FF2B5EF4-FFF2-40B4-BE49-F238E27FC236}">
                <a16:creationId xmlns:a16="http://schemas.microsoft.com/office/drawing/2014/main" id="{D6FC64E0-0557-208A-AB37-1B518838DB01}"/>
              </a:ext>
            </a:extLst>
          </p:cNvPr>
          <p:cNvSpPr>
            <a:spLocks noGrp="1"/>
          </p:cNvSpPr>
          <p:nvPr>
            <p:ph type="sldNum" sz="quarter" idx="4"/>
          </p:nvPr>
        </p:nvSpPr>
        <p:spPr/>
        <p:txBody>
          <a:bodyPr/>
          <a:lstStyle/>
          <a:p>
            <a:fld id="{BAF04893-69FB-435D-AB2E-CA259D85B32F}" type="slidenum">
              <a:rPr lang="en-US" smtClean="0"/>
              <a:pPr/>
              <a:t>12</a:t>
            </a:fld>
            <a:endParaRPr lang="en-US"/>
          </a:p>
        </p:txBody>
      </p:sp>
      <p:sp>
        <p:nvSpPr>
          <p:cNvPr id="5" name="Inhaltsplatzhalter 4">
            <a:extLst>
              <a:ext uri="{FF2B5EF4-FFF2-40B4-BE49-F238E27FC236}">
                <a16:creationId xmlns:a16="http://schemas.microsoft.com/office/drawing/2014/main" id="{29B47A44-A403-23A9-C2FF-53FD5527C111}"/>
              </a:ext>
            </a:extLst>
          </p:cNvPr>
          <p:cNvSpPr>
            <a:spLocks noGrp="1"/>
          </p:cNvSpPr>
          <p:nvPr>
            <p:ph idx="10"/>
          </p:nvPr>
        </p:nvSpPr>
        <p:spPr/>
        <p:txBody>
          <a:bodyPr/>
          <a:lstStyle/>
          <a:p>
            <a:r>
              <a:rPr lang="en-US"/>
              <a:t>Ubers übergreifende strategische Ausrichtung</a:t>
            </a:r>
          </a:p>
        </p:txBody>
      </p:sp>
      <p:sp>
        <p:nvSpPr>
          <p:cNvPr id="6" name="Inhaltsplatzhalter 5">
            <a:extLst>
              <a:ext uri="{FF2B5EF4-FFF2-40B4-BE49-F238E27FC236}">
                <a16:creationId xmlns:a16="http://schemas.microsoft.com/office/drawing/2014/main" id="{99BE133C-46D7-2166-7F59-EF2D2D8A2FD0}"/>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D5D2C325-4358-9E53-3677-B37999D116C6}"/>
              </a:ext>
            </a:extLst>
          </p:cNvPr>
          <p:cNvSpPr>
            <a:spLocks noGrp="1"/>
          </p:cNvSpPr>
          <p:nvPr>
            <p:ph idx="12"/>
          </p:nvPr>
        </p:nvSpPr>
        <p:spPr/>
        <p:txBody>
          <a:bodyPr/>
          <a:lstStyle/>
          <a:p>
            <a:endParaRPr lang="en-US"/>
          </a:p>
        </p:txBody>
      </p:sp>
      <p:sp>
        <p:nvSpPr>
          <p:cNvPr id="9" name="Textfeld 1">
            <a:extLst>
              <a:ext uri="{FF2B5EF4-FFF2-40B4-BE49-F238E27FC236}">
                <a16:creationId xmlns:a16="http://schemas.microsoft.com/office/drawing/2014/main" id="{B5754EC1-E79A-17FE-D53A-37BAA2F629B5}"/>
              </a:ext>
            </a:extLst>
          </p:cNvPr>
          <p:cNvSpPr txBox="1"/>
          <p:nvPr/>
        </p:nvSpPr>
        <p:spPr>
          <a:xfrm>
            <a:off x="359997" y="4847417"/>
            <a:ext cx="2894547" cy="30777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a:t>Uber bis 2017 – Starkes Wachstum</a:t>
            </a:r>
          </a:p>
        </p:txBody>
      </p:sp>
      <p:sp>
        <p:nvSpPr>
          <p:cNvPr id="10" name="Rechteck: abgerundete Ecken 9">
            <a:extLst>
              <a:ext uri="{FF2B5EF4-FFF2-40B4-BE49-F238E27FC236}">
                <a16:creationId xmlns:a16="http://schemas.microsoft.com/office/drawing/2014/main" id="{BD7D94BA-366F-DED0-D18D-B7EE0CD4AF80}"/>
              </a:ext>
            </a:extLst>
          </p:cNvPr>
          <p:cNvSpPr/>
          <p:nvPr/>
        </p:nvSpPr>
        <p:spPr>
          <a:xfrm>
            <a:off x="499316" y="5217346"/>
            <a:ext cx="3214516" cy="1199328"/>
          </a:xfrm>
          <a:prstGeom prst="roundRect">
            <a:avLst/>
          </a:prstGeom>
          <a:solidFill>
            <a:schemeClr val="accent2">
              <a:lumMod val="40000"/>
              <a:lumOff val="60000"/>
            </a:schemeClr>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 name="Textfeld 3">
            <a:extLst>
              <a:ext uri="{FF2B5EF4-FFF2-40B4-BE49-F238E27FC236}">
                <a16:creationId xmlns:a16="http://schemas.microsoft.com/office/drawing/2014/main" id="{7003B0E2-FB07-8C8D-71B1-5B890CF0A35A}"/>
              </a:ext>
            </a:extLst>
          </p:cNvPr>
          <p:cNvSpPr txBox="1"/>
          <p:nvPr/>
        </p:nvSpPr>
        <p:spPr>
          <a:xfrm>
            <a:off x="729294" y="5233782"/>
            <a:ext cx="2754560" cy="30777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a:t>Revolution des Taximarktes</a:t>
            </a:r>
          </a:p>
        </p:txBody>
      </p:sp>
      <p:sp>
        <p:nvSpPr>
          <p:cNvPr id="12" name="Textfeld 4">
            <a:extLst>
              <a:ext uri="{FF2B5EF4-FFF2-40B4-BE49-F238E27FC236}">
                <a16:creationId xmlns:a16="http://schemas.microsoft.com/office/drawing/2014/main" id="{B47D13B2-F71B-82E1-25DE-B681C3FF00A7}"/>
              </a:ext>
            </a:extLst>
          </p:cNvPr>
          <p:cNvSpPr txBox="1"/>
          <p:nvPr/>
        </p:nvSpPr>
        <p:spPr>
          <a:xfrm>
            <a:off x="729294" y="5544005"/>
            <a:ext cx="2754560" cy="73866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t>„Transportation as Reliable as Running Water, Everywhere for Everyone“</a:t>
            </a:r>
          </a:p>
        </p:txBody>
      </p:sp>
      <p:sp>
        <p:nvSpPr>
          <p:cNvPr id="13" name="Textfeld 1">
            <a:extLst>
              <a:ext uri="{FF2B5EF4-FFF2-40B4-BE49-F238E27FC236}">
                <a16:creationId xmlns:a16="http://schemas.microsoft.com/office/drawing/2014/main" id="{7463CEBC-B8C7-2213-F8CE-07EDFFD39FB9}"/>
              </a:ext>
            </a:extLst>
          </p:cNvPr>
          <p:cNvSpPr txBox="1"/>
          <p:nvPr/>
        </p:nvSpPr>
        <p:spPr>
          <a:xfrm>
            <a:off x="5112003" y="4839199"/>
            <a:ext cx="3717758" cy="30777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a:t>Uber ab 2017 – Grundlegende Veränderungen</a:t>
            </a:r>
          </a:p>
        </p:txBody>
      </p:sp>
      <p:sp>
        <p:nvSpPr>
          <p:cNvPr id="14" name="Rechteck: abgerundete Ecken 13">
            <a:extLst>
              <a:ext uri="{FF2B5EF4-FFF2-40B4-BE49-F238E27FC236}">
                <a16:creationId xmlns:a16="http://schemas.microsoft.com/office/drawing/2014/main" id="{C6ADC915-55F9-9A1E-FF90-36640050F4F3}"/>
              </a:ext>
            </a:extLst>
          </p:cNvPr>
          <p:cNvSpPr/>
          <p:nvPr/>
        </p:nvSpPr>
        <p:spPr>
          <a:xfrm>
            <a:off x="5713584" y="5217346"/>
            <a:ext cx="3214516" cy="1199328"/>
          </a:xfrm>
          <a:prstGeom prst="roundRect">
            <a:avLst/>
          </a:prstGeom>
          <a:solidFill>
            <a:schemeClr val="accent2">
              <a:lumMod val="40000"/>
              <a:lumOff val="60000"/>
            </a:schemeClr>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 name="Textfeld 3">
            <a:extLst>
              <a:ext uri="{FF2B5EF4-FFF2-40B4-BE49-F238E27FC236}">
                <a16:creationId xmlns:a16="http://schemas.microsoft.com/office/drawing/2014/main" id="{A4182E8C-22AB-F57F-3792-4294F43D6808}"/>
              </a:ext>
            </a:extLst>
          </p:cNvPr>
          <p:cNvSpPr txBox="1"/>
          <p:nvPr/>
        </p:nvSpPr>
        <p:spPr>
          <a:xfrm>
            <a:off x="5943562" y="5233782"/>
            <a:ext cx="2754560" cy="30777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a:t>Langfristige - Mission</a:t>
            </a:r>
          </a:p>
        </p:txBody>
      </p:sp>
      <p:sp>
        <p:nvSpPr>
          <p:cNvPr id="16" name="Textfeld 4">
            <a:extLst>
              <a:ext uri="{FF2B5EF4-FFF2-40B4-BE49-F238E27FC236}">
                <a16:creationId xmlns:a16="http://schemas.microsoft.com/office/drawing/2014/main" id="{430D8DB6-AF63-0567-E072-EBDC9504AD8A}"/>
              </a:ext>
            </a:extLst>
          </p:cNvPr>
          <p:cNvSpPr txBox="1"/>
          <p:nvPr/>
        </p:nvSpPr>
        <p:spPr>
          <a:xfrm>
            <a:off x="5943562" y="5544005"/>
            <a:ext cx="2754560" cy="73866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t>Transforming the company into a global mobility and transportation platform.</a:t>
            </a:r>
          </a:p>
        </p:txBody>
      </p:sp>
    </p:spTree>
    <p:extLst>
      <p:ext uri="{BB962C8B-B14F-4D97-AF65-F5344CB8AC3E}">
        <p14:creationId xmlns:p14="http://schemas.microsoft.com/office/powerpoint/2010/main" val="18424896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8BE4534-9730-E230-695B-194FE04A4521}"/>
              </a:ext>
            </a:extLst>
          </p:cNvPr>
          <p:cNvGraphicFramePr>
            <a:graphicFrameLocks noChangeAspect="1"/>
          </p:cNvGraphicFramePr>
          <p:nvPr>
            <p:custDataLst>
              <p:tags r:id="rId1"/>
            </p:custDataLst>
            <p:extLst>
              <p:ext uri="{D42A27DB-BD31-4B8C-83A1-F6EECF244321}">
                <p14:modId xmlns:p14="http://schemas.microsoft.com/office/powerpoint/2010/main" val="34893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9" name="think-cell data - do not delete" hidden="1">
                        <a:extLst>
                          <a:ext uri="{FF2B5EF4-FFF2-40B4-BE49-F238E27FC236}">
                            <a16:creationId xmlns:a16="http://schemas.microsoft.com/office/drawing/2014/main" id="{E8BE4534-9730-E230-695B-194FE04A45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337FD16-A330-3C1F-E427-CCBC7CE03B64}"/>
              </a:ext>
            </a:extLst>
          </p:cNvPr>
          <p:cNvSpPr>
            <a:spLocks noGrp="1"/>
          </p:cNvSpPr>
          <p:nvPr>
            <p:ph type="title"/>
          </p:nvPr>
        </p:nvSpPr>
        <p:spPr/>
        <p:txBody>
          <a:bodyPr vert="horz"/>
          <a:lstStyle/>
          <a:p>
            <a:r>
              <a:rPr lang="en-US"/>
              <a:t>Uber hat drei Teilstrategien definiert, um die Hauptstrategie zu unterstützen und zu erreichen</a:t>
            </a:r>
          </a:p>
        </p:txBody>
      </p:sp>
      <p:sp>
        <p:nvSpPr>
          <p:cNvPr id="3" name="Inhaltsplatzhalter 2">
            <a:extLst>
              <a:ext uri="{FF2B5EF4-FFF2-40B4-BE49-F238E27FC236}">
                <a16:creationId xmlns:a16="http://schemas.microsoft.com/office/drawing/2014/main" id="{5BDAD754-E8EA-9A2B-6A58-9CEBA1BDB27D}"/>
              </a:ext>
            </a:extLst>
          </p:cNvPr>
          <p:cNvSpPr>
            <a:spLocks noGrp="1"/>
          </p:cNvSpPr>
          <p:nvPr>
            <p:ph idx="1"/>
          </p:nvPr>
        </p:nvSpPr>
        <p:spPr/>
        <p:txBody>
          <a:bodyPr/>
          <a:lstStyle/>
          <a:p>
            <a:r>
              <a:rPr lang="en-US" b="1" err="1"/>
              <a:t>Teilstrategien</a:t>
            </a:r>
            <a:r>
              <a:rPr lang="en-US" b="1"/>
              <a:t> der </a:t>
            </a:r>
            <a:r>
              <a:rPr lang="en-US" b="1" err="1"/>
              <a:t>Hauptstrategien</a:t>
            </a:r>
            <a:r>
              <a:rPr lang="en-US" b="1"/>
              <a:t>:</a:t>
            </a:r>
          </a:p>
          <a:p>
            <a:pPr marL="285750" indent="-285750">
              <a:buFont typeface="Arial" panose="020B0604020202020204" pitchFamily="34" charset="0"/>
              <a:buChar char="•"/>
            </a:pPr>
            <a:r>
              <a:rPr lang="en-US" b="1" err="1"/>
              <a:t>Diversifizierung</a:t>
            </a:r>
            <a:r>
              <a:rPr lang="en-US" b="1"/>
              <a:t> der </a:t>
            </a:r>
            <a:r>
              <a:rPr lang="en-US" b="1" err="1"/>
              <a:t>Dienstleistungen</a:t>
            </a:r>
            <a:r>
              <a:rPr lang="en-US" b="1"/>
              <a:t>:</a:t>
            </a:r>
            <a:r>
              <a:rPr lang="en-US"/>
              <a:t> Uber </a:t>
            </a:r>
            <a:r>
              <a:rPr lang="en-US" err="1"/>
              <a:t>bietet</a:t>
            </a:r>
            <a:r>
              <a:rPr lang="en-US"/>
              <a:t> </a:t>
            </a:r>
            <a:r>
              <a:rPr lang="en-US" err="1"/>
              <a:t>verschiedene</a:t>
            </a:r>
            <a:r>
              <a:rPr lang="en-US"/>
              <a:t> </a:t>
            </a:r>
            <a:r>
              <a:rPr lang="en-US" err="1"/>
              <a:t>Dienste</a:t>
            </a:r>
            <a:r>
              <a:rPr lang="en-US"/>
              <a:t> </a:t>
            </a:r>
            <a:r>
              <a:rPr lang="en-US" err="1"/>
              <a:t>wie</a:t>
            </a:r>
            <a:r>
              <a:rPr lang="en-US"/>
              <a:t> UberX, </a:t>
            </a:r>
            <a:r>
              <a:rPr lang="en-US" err="1"/>
              <a:t>UberPool</a:t>
            </a:r>
            <a:r>
              <a:rPr lang="en-US"/>
              <a:t>, UberEats, Uber Freight </a:t>
            </a:r>
            <a:r>
              <a:rPr lang="en-US" err="1"/>
              <a:t>usw</a:t>
            </a:r>
            <a:r>
              <a:rPr lang="en-US"/>
              <a:t>. an, um </a:t>
            </a:r>
            <a:r>
              <a:rPr lang="en-US" err="1"/>
              <a:t>verschiedene</a:t>
            </a:r>
            <a:r>
              <a:rPr lang="en-US"/>
              <a:t> </a:t>
            </a:r>
            <a:r>
              <a:rPr lang="en-US" err="1"/>
              <a:t>Marktsegmente</a:t>
            </a:r>
            <a:r>
              <a:rPr lang="en-US"/>
              <a:t> </a:t>
            </a:r>
            <a:r>
              <a:rPr lang="en-US" err="1"/>
              <a:t>anzusprechen</a:t>
            </a:r>
            <a:endParaRPr lang="en-US"/>
          </a:p>
          <a:p>
            <a:pPr marL="285750" indent="-285750">
              <a:buFont typeface="Arial" panose="020B0604020202020204" pitchFamily="34" charset="0"/>
              <a:buChar char="•"/>
            </a:pPr>
            <a:r>
              <a:rPr lang="en-US" b="1" err="1"/>
              <a:t>Globale</a:t>
            </a:r>
            <a:r>
              <a:rPr lang="en-US" b="1"/>
              <a:t> Expansion:</a:t>
            </a:r>
            <a:r>
              <a:rPr lang="en-US"/>
              <a:t> Uber hat </a:t>
            </a:r>
            <a:r>
              <a:rPr lang="en-US" err="1"/>
              <a:t>aggressiv</a:t>
            </a:r>
            <a:r>
              <a:rPr lang="en-US"/>
              <a:t> in </a:t>
            </a:r>
            <a:r>
              <a:rPr lang="en-US" err="1"/>
              <a:t>verschiedene</a:t>
            </a:r>
            <a:r>
              <a:rPr lang="en-US"/>
              <a:t> Länder </a:t>
            </a:r>
            <a:r>
              <a:rPr lang="en-US" err="1"/>
              <a:t>expandiert</a:t>
            </a:r>
            <a:r>
              <a:rPr lang="en-US"/>
              <a:t>, um seine </a:t>
            </a:r>
            <a:r>
              <a:rPr lang="en-US" err="1"/>
              <a:t>Reichweite</a:t>
            </a:r>
            <a:r>
              <a:rPr lang="en-US"/>
              <a:t> </a:t>
            </a:r>
            <a:r>
              <a:rPr lang="en-US" err="1"/>
              <a:t>zu</a:t>
            </a:r>
            <a:r>
              <a:rPr lang="en-US"/>
              <a:t> </a:t>
            </a:r>
            <a:r>
              <a:rPr lang="en-US" err="1"/>
              <a:t>erhöhen</a:t>
            </a:r>
            <a:r>
              <a:rPr lang="en-US"/>
              <a:t> und </a:t>
            </a:r>
            <a:r>
              <a:rPr lang="en-US" err="1"/>
              <a:t>neue</a:t>
            </a:r>
            <a:r>
              <a:rPr lang="en-US"/>
              <a:t> </a:t>
            </a:r>
            <a:r>
              <a:rPr lang="en-US" err="1"/>
              <a:t>Märkte</a:t>
            </a:r>
            <a:r>
              <a:rPr lang="en-US"/>
              <a:t> </a:t>
            </a:r>
            <a:r>
              <a:rPr lang="en-US" err="1"/>
              <a:t>zu</a:t>
            </a:r>
            <a:r>
              <a:rPr lang="en-US"/>
              <a:t> </a:t>
            </a:r>
            <a:r>
              <a:rPr lang="en-US" err="1"/>
              <a:t>erschließen</a:t>
            </a:r>
            <a:endParaRPr lang="en-US"/>
          </a:p>
          <a:p>
            <a:pPr marL="285750" indent="-285750">
              <a:buFont typeface="Arial" panose="020B0604020202020204" pitchFamily="34" charset="0"/>
              <a:buChar char="•"/>
            </a:pPr>
            <a:r>
              <a:rPr lang="en-US" b="1" err="1"/>
              <a:t>Investitionen</a:t>
            </a:r>
            <a:r>
              <a:rPr lang="en-US" b="1"/>
              <a:t> in </a:t>
            </a:r>
            <a:r>
              <a:rPr lang="en-US" b="1" err="1"/>
              <a:t>neue</a:t>
            </a:r>
            <a:r>
              <a:rPr lang="en-US" b="1"/>
              <a:t> </a:t>
            </a:r>
            <a:r>
              <a:rPr lang="en-US" b="1" err="1"/>
              <a:t>Technologien</a:t>
            </a:r>
            <a:r>
              <a:rPr lang="en-US" b="1"/>
              <a:t>:</a:t>
            </a:r>
            <a:r>
              <a:rPr lang="en-US"/>
              <a:t> Die </a:t>
            </a:r>
            <a:r>
              <a:rPr lang="en-US" err="1"/>
              <a:t>Entwicklung</a:t>
            </a:r>
            <a:r>
              <a:rPr lang="en-US"/>
              <a:t> von </a:t>
            </a:r>
            <a:r>
              <a:rPr lang="en-US" err="1"/>
              <a:t>autonomen</a:t>
            </a:r>
            <a:r>
              <a:rPr lang="en-US"/>
              <a:t> </a:t>
            </a:r>
            <a:r>
              <a:rPr lang="en-US" err="1"/>
              <a:t>Fahrzeugen</a:t>
            </a:r>
            <a:r>
              <a:rPr lang="en-US"/>
              <a:t> und die </a:t>
            </a:r>
            <a:r>
              <a:rPr lang="en-US" err="1"/>
              <a:t>kontinuierliche</a:t>
            </a:r>
            <a:r>
              <a:rPr lang="en-US"/>
              <a:t> </a:t>
            </a:r>
            <a:r>
              <a:rPr lang="en-US" err="1"/>
              <a:t>Verbesserung</a:t>
            </a:r>
            <a:r>
              <a:rPr lang="en-US"/>
              <a:t> der </a:t>
            </a:r>
            <a:r>
              <a:rPr lang="en-US" err="1"/>
              <a:t>Plattformtechnologie</a:t>
            </a:r>
            <a:r>
              <a:rPr lang="en-US"/>
              <a:t> </a:t>
            </a:r>
            <a:r>
              <a:rPr lang="en-US" err="1"/>
              <a:t>sind</a:t>
            </a:r>
            <a:r>
              <a:rPr lang="en-US"/>
              <a:t> </a:t>
            </a:r>
            <a:r>
              <a:rPr lang="en-US" err="1"/>
              <a:t>wichtige</a:t>
            </a:r>
            <a:r>
              <a:rPr lang="en-US"/>
              <a:t> </a:t>
            </a:r>
            <a:r>
              <a:rPr lang="en-US" err="1"/>
              <a:t>Teilstrategien</a:t>
            </a:r>
            <a:r>
              <a:rPr lang="en-US"/>
              <a:t>, um die </a:t>
            </a:r>
            <a:r>
              <a:rPr lang="en-US" err="1"/>
              <a:t>Kundenerfahrung</a:t>
            </a:r>
            <a:r>
              <a:rPr lang="en-US"/>
              <a:t> </a:t>
            </a:r>
            <a:r>
              <a:rPr lang="en-US" err="1"/>
              <a:t>zu</a:t>
            </a:r>
            <a:r>
              <a:rPr lang="en-US"/>
              <a:t> </a:t>
            </a:r>
            <a:r>
              <a:rPr lang="en-US" err="1"/>
              <a:t>verbessern</a:t>
            </a:r>
            <a:r>
              <a:rPr lang="en-US"/>
              <a:t> und </a:t>
            </a:r>
            <a:r>
              <a:rPr lang="en-US" err="1"/>
              <a:t>Effizienz</a:t>
            </a:r>
            <a:r>
              <a:rPr lang="en-US"/>
              <a:t> </a:t>
            </a:r>
            <a:r>
              <a:rPr lang="en-US" err="1"/>
              <a:t>zu</a:t>
            </a:r>
            <a:r>
              <a:rPr lang="en-US"/>
              <a:t> </a:t>
            </a:r>
            <a:r>
              <a:rPr lang="en-US" err="1"/>
              <a:t>steigern</a:t>
            </a:r>
            <a:endParaRPr lang="en-US"/>
          </a:p>
          <a:p>
            <a:endParaRPr lang="en-US" sz="1400"/>
          </a:p>
        </p:txBody>
      </p:sp>
      <p:sp>
        <p:nvSpPr>
          <p:cNvPr id="4" name="Foliennummernplatzhalter 3">
            <a:extLst>
              <a:ext uri="{FF2B5EF4-FFF2-40B4-BE49-F238E27FC236}">
                <a16:creationId xmlns:a16="http://schemas.microsoft.com/office/drawing/2014/main" id="{AD8222A2-B68B-7759-3BFC-F02D5B607361}"/>
              </a:ext>
            </a:extLst>
          </p:cNvPr>
          <p:cNvSpPr>
            <a:spLocks noGrp="1"/>
          </p:cNvSpPr>
          <p:nvPr>
            <p:ph type="sldNum" sz="quarter" idx="4"/>
          </p:nvPr>
        </p:nvSpPr>
        <p:spPr/>
        <p:txBody>
          <a:bodyPr/>
          <a:lstStyle/>
          <a:p>
            <a:fld id="{BAF04893-69FB-435D-AB2E-CA259D85B32F}" type="slidenum">
              <a:rPr lang="en-US" smtClean="0"/>
              <a:pPr/>
              <a:t>13</a:t>
            </a:fld>
            <a:endParaRPr lang="en-US"/>
          </a:p>
        </p:txBody>
      </p:sp>
      <p:sp>
        <p:nvSpPr>
          <p:cNvPr id="5" name="Inhaltsplatzhalter 4">
            <a:extLst>
              <a:ext uri="{FF2B5EF4-FFF2-40B4-BE49-F238E27FC236}">
                <a16:creationId xmlns:a16="http://schemas.microsoft.com/office/drawing/2014/main" id="{715DF4C9-E16E-8B91-D02C-79604146BF4F}"/>
              </a:ext>
            </a:extLst>
          </p:cNvPr>
          <p:cNvSpPr>
            <a:spLocks noGrp="1"/>
          </p:cNvSpPr>
          <p:nvPr>
            <p:ph idx="10"/>
          </p:nvPr>
        </p:nvSpPr>
        <p:spPr/>
        <p:txBody>
          <a:bodyPr/>
          <a:lstStyle/>
          <a:p>
            <a:r>
              <a:rPr lang="en-US"/>
              <a:t>Teilstrategien, um die Hauptstrategie zu unterstützen/erreichen</a:t>
            </a:r>
          </a:p>
        </p:txBody>
      </p:sp>
      <p:sp>
        <p:nvSpPr>
          <p:cNvPr id="6" name="Inhaltsplatzhalter 5">
            <a:extLst>
              <a:ext uri="{FF2B5EF4-FFF2-40B4-BE49-F238E27FC236}">
                <a16:creationId xmlns:a16="http://schemas.microsoft.com/office/drawing/2014/main" id="{B8C8DB3B-DA04-0449-6EE0-7645C3FD7610}"/>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A2A062BF-08B8-5B72-D052-C85870B17466}"/>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1949494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2B8A858-90BF-FD77-2A5F-3F11AFBB8EE8}"/>
              </a:ext>
            </a:extLst>
          </p:cNvPr>
          <p:cNvGraphicFramePr>
            <a:graphicFrameLocks noChangeAspect="1"/>
          </p:cNvGraphicFramePr>
          <p:nvPr>
            <p:custDataLst>
              <p:tags r:id="rId1"/>
            </p:custDataLst>
            <p:extLst>
              <p:ext uri="{D42A27DB-BD31-4B8C-83A1-F6EECF244321}">
                <p14:modId xmlns:p14="http://schemas.microsoft.com/office/powerpoint/2010/main" val="1632913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9" name="think-cell data - do not delete" hidden="1">
                        <a:extLst>
                          <a:ext uri="{FF2B5EF4-FFF2-40B4-BE49-F238E27FC236}">
                            <a16:creationId xmlns:a16="http://schemas.microsoft.com/office/drawing/2014/main" id="{72B8A858-90BF-FD77-2A5F-3F11AFBB8E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EE2F05-0989-EAC1-1DD1-23DC731D649F}"/>
              </a:ext>
            </a:extLst>
          </p:cNvPr>
          <p:cNvSpPr>
            <a:spLocks noGrp="1"/>
          </p:cNvSpPr>
          <p:nvPr>
            <p:ph type="title"/>
          </p:nvPr>
        </p:nvSpPr>
        <p:spPr/>
        <p:txBody>
          <a:bodyPr vert="horz"/>
          <a:lstStyle/>
          <a:p>
            <a:r>
              <a:rPr lang="en-US"/>
              <a:t>Die Teilstrategien sind echte Strategien und Geschäftsaufbaumaß-nahmen, sind aber beide relevant für die Hauptstrategie</a:t>
            </a:r>
          </a:p>
        </p:txBody>
      </p:sp>
      <p:sp>
        <p:nvSpPr>
          <p:cNvPr id="3" name="Inhaltsplatzhalter 2">
            <a:extLst>
              <a:ext uri="{FF2B5EF4-FFF2-40B4-BE49-F238E27FC236}">
                <a16:creationId xmlns:a16="http://schemas.microsoft.com/office/drawing/2014/main" id="{A97A8226-730A-7A13-7C28-8C154AAF3BDE}"/>
              </a:ext>
            </a:extLst>
          </p:cNvPr>
          <p:cNvSpPr>
            <a:spLocks noGrp="1"/>
          </p:cNvSpPr>
          <p:nvPr>
            <p:ph idx="1"/>
          </p:nvPr>
        </p:nvSpPr>
        <p:spPr/>
        <p:txBody>
          <a:bodyPr/>
          <a:lstStyle/>
          <a:p>
            <a:pPr marL="285750" indent="-285750">
              <a:buFont typeface="Arial" panose="020B0604020202020204" pitchFamily="34" charset="0"/>
              <a:buChar char="•"/>
            </a:pPr>
            <a:r>
              <a:rPr lang="en-US" sz="1200"/>
              <a:t>Die </a:t>
            </a:r>
            <a:r>
              <a:rPr lang="en-US" sz="1200" err="1"/>
              <a:t>Teilstrategien</a:t>
            </a:r>
            <a:r>
              <a:rPr lang="en-US" sz="1200"/>
              <a:t> </a:t>
            </a:r>
            <a:r>
              <a:rPr lang="en-US" sz="1200" err="1"/>
              <a:t>könnten</a:t>
            </a:r>
            <a:r>
              <a:rPr lang="en-US" sz="1200"/>
              <a:t> </a:t>
            </a:r>
            <a:r>
              <a:rPr lang="en-US" sz="1200" err="1"/>
              <a:t>als</a:t>
            </a:r>
            <a:r>
              <a:rPr lang="en-US" sz="1200"/>
              <a:t> </a:t>
            </a:r>
            <a:r>
              <a:rPr lang="en-US" sz="1200" err="1"/>
              <a:t>echte</a:t>
            </a:r>
            <a:r>
              <a:rPr lang="en-US" sz="1200"/>
              <a:t> </a:t>
            </a:r>
            <a:r>
              <a:rPr lang="en-US" sz="1200" err="1"/>
              <a:t>Strategien</a:t>
            </a:r>
            <a:r>
              <a:rPr lang="en-US" sz="1200"/>
              <a:t> </a:t>
            </a:r>
            <a:r>
              <a:rPr lang="en-US" sz="1200" err="1"/>
              <a:t>betrachtet</a:t>
            </a:r>
            <a:r>
              <a:rPr lang="en-US" sz="1200"/>
              <a:t> </a:t>
            </a:r>
            <a:r>
              <a:rPr lang="en-US" sz="1200" err="1"/>
              <a:t>werden</a:t>
            </a:r>
            <a:r>
              <a:rPr lang="en-US" sz="1200"/>
              <a:t>, da </a:t>
            </a:r>
            <a:r>
              <a:rPr lang="en-US" sz="1200" err="1"/>
              <a:t>sie</a:t>
            </a:r>
            <a:r>
              <a:rPr lang="en-US" sz="1200"/>
              <a:t> </a:t>
            </a:r>
            <a:r>
              <a:rPr lang="en-US" sz="1200" b="1" err="1"/>
              <a:t>konkrete</a:t>
            </a:r>
            <a:r>
              <a:rPr lang="en-US" sz="1200" b="1"/>
              <a:t> </a:t>
            </a:r>
            <a:r>
              <a:rPr lang="en-US" sz="1200" b="1" err="1"/>
              <a:t>Ziele</a:t>
            </a:r>
            <a:r>
              <a:rPr lang="en-US" sz="1200" b="1"/>
              <a:t> und </a:t>
            </a:r>
            <a:r>
              <a:rPr lang="en-US" sz="1200" b="1" err="1"/>
              <a:t>Maßnahmen</a:t>
            </a:r>
            <a:r>
              <a:rPr lang="en-US" sz="1200" b="1"/>
              <a:t> </a:t>
            </a:r>
            <a:r>
              <a:rPr lang="en-US" sz="1200" err="1"/>
              <a:t>umfassen</a:t>
            </a:r>
            <a:r>
              <a:rPr lang="en-US" sz="1200"/>
              <a:t>, um die </a:t>
            </a:r>
            <a:r>
              <a:rPr lang="en-US" sz="1200" b="1" err="1"/>
              <a:t>übergeordnete</a:t>
            </a:r>
            <a:r>
              <a:rPr lang="en-US" sz="1200" b="1"/>
              <a:t> </a:t>
            </a:r>
            <a:r>
              <a:rPr lang="en-US" sz="1200" b="1" err="1"/>
              <a:t>Hauptstrategie</a:t>
            </a:r>
            <a:r>
              <a:rPr lang="en-US" sz="1200" b="1"/>
              <a:t> </a:t>
            </a:r>
            <a:r>
              <a:rPr lang="en-US" sz="1200" b="1" err="1"/>
              <a:t>zu</a:t>
            </a:r>
            <a:r>
              <a:rPr lang="en-US" sz="1200" b="1"/>
              <a:t> </a:t>
            </a:r>
            <a:r>
              <a:rPr lang="en-US" sz="1200" b="1" err="1"/>
              <a:t>erreichen</a:t>
            </a:r>
            <a:r>
              <a:rPr lang="en-US" sz="1200" b="1"/>
              <a:t> </a:t>
            </a:r>
          </a:p>
          <a:p>
            <a:pPr marL="285750" indent="-285750">
              <a:buFont typeface="Arial" panose="020B0604020202020204" pitchFamily="34" charset="0"/>
              <a:buChar char="•"/>
            </a:pPr>
            <a:r>
              <a:rPr lang="en-US" sz="1200" err="1"/>
              <a:t>Geschäftsaufbaumaßnahmen</a:t>
            </a:r>
            <a:r>
              <a:rPr lang="en-US" sz="1200"/>
              <a:t> </a:t>
            </a:r>
            <a:r>
              <a:rPr lang="en-US" sz="1200" err="1"/>
              <a:t>wie</a:t>
            </a:r>
            <a:r>
              <a:rPr lang="en-US" sz="1200"/>
              <a:t> </a:t>
            </a:r>
            <a:r>
              <a:rPr lang="en-US" sz="1200" err="1"/>
              <a:t>Investitionen</a:t>
            </a:r>
            <a:r>
              <a:rPr lang="en-US" sz="1200"/>
              <a:t>, </a:t>
            </a:r>
            <a:r>
              <a:rPr lang="en-US" sz="1200" err="1"/>
              <a:t>Akquisitionen</a:t>
            </a:r>
            <a:r>
              <a:rPr lang="en-US" sz="1200"/>
              <a:t> und </a:t>
            </a:r>
            <a:r>
              <a:rPr lang="en-US" sz="1200" err="1"/>
              <a:t>Partnerschaften</a:t>
            </a:r>
            <a:r>
              <a:rPr lang="en-US" sz="1200"/>
              <a:t> </a:t>
            </a:r>
            <a:r>
              <a:rPr lang="en-US" sz="1200" err="1"/>
              <a:t>wurden</a:t>
            </a:r>
            <a:r>
              <a:rPr lang="en-US" sz="1200"/>
              <a:t> </a:t>
            </a:r>
            <a:r>
              <a:rPr lang="en-US" sz="1200" err="1"/>
              <a:t>genutzt</a:t>
            </a:r>
            <a:r>
              <a:rPr lang="en-US" sz="1200"/>
              <a:t>, um die </a:t>
            </a:r>
            <a:r>
              <a:rPr lang="en-US" sz="1200" b="1" err="1"/>
              <a:t>aktuelle</a:t>
            </a:r>
            <a:r>
              <a:rPr lang="en-US" sz="1200" b="1"/>
              <a:t> Position</a:t>
            </a:r>
            <a:r>
              <a:rPr lang="en-US" sz="1200"/>
              <a:t> von Uber </a:t>
            </a:r>
            <a:r>
              <a:rPr lang="en-US" sz="1200" err="1"/>
              <a:t>zu</a:t>
            </a:r>
            <a:r>
              <a:rPr lang="en-US" sz="1200"/>
              <a:t> </a:t>
            </a:r>
            <a:r>
              <a:rPr lang="en-US" sz="1200" err="1"/>
              <a:t>erreichen</a:t>
            </a:r>
            <a:endParaRPr lang="en-US" sz="1200"/>
          </a:p>
          <a:p>
            <a:r>
              <a:rPr lang="en-US" sz="1200"/>
              <a:t>→ </a:t>
            </a:r>
            <a:r>
              <a:rPr lang="en-US" sz="1200" err="1"/>
              <a:t>Nicht</a:t>
            </a:r>
            <a:r>
              <a:rPr lang="en-US" sz="1200"/>
              <a:t> alle </a:t>
            </a:r>
            <a:r>
              <a:rPr lang="en-US" sz="1200" err="1"/>
              <a:t>genannten</a:t>
            </a:r>
            <a:r>
              <a:rPr lang="en-US" sz="1200"/>
              <a:t> </a:t>
            </a:r>
            <a:r>
              <a:rPr lang="en-US" sz="1200" err="1"/>
              <a:t>Punkte</a:t>
            </a:r>
            <a:r>
              <a:rPr lang="en-US" sz="1200"/>
              <a:t> </a:t>
            </a:r>
            <a:r>
              <a:rPr lang="en-US" sz="1200" err="1"/>
              <a:t>sind</a:t>
            </a:r>
            <a:r>
              <a:rPr lang="en-US" sz="1200"/>
              <a:t> </a:t>
            </a:r>
            <a:r>
              <a:rPr lang="en-US" sz="1200" err="1"/>
              <a:t>eigenständige</a:t>
            </a:r>
            <a:r>
              <a:rPr lang="en-US" sz="1200"/>
              <a:t> </a:t>
            </a:r>
            <a:r>
              <a:rPr lang="en-US" sz="1200" err="1"/>
              <a:t>Strategien</a:t>
            </a:r>
            <a:r>
              <a:rPr lang="en-US" sz="1200"/>
              <a:t> </a:t>
            </a:r>
            <a:r>
              <a:rPr lang="en-US" sz="1200" err="1"/>
              <a:t>im</a:t>
            </a:r>
            <a:r>
              <a:rPr lang="en-US" sz="1200"/>
              <a:t> </a:t>
            </a:r>
            <a:r>
              <a:rPr lang="en-US" sz="1200" err="1"/>
              <a:t>klassischen</a:t>
            </a:r>
            <a:r>
              <a:rPr lang="en-US" sz="1200"/>
              <a:t> </a:t>
            </a:r>
            <a:r>
              <a:rPr lang="en-US" sz="1200" err="1"/>
              <a:t>Sinne</a:t>
            </a:r>
            <a:r>
              <a:rPr lang="en-US" sz="1200"/>
              <a:t>. </a:t>
            </a:r>
            <a:r>
              <a:rPr lang="en-US" sz="1200" err="1"/>
              <a:t>Einige</a:t>
            </a:r>
            <a:r>
              <a:rPr lang="en-US" sz="1200"/>
              <a:t> </a:t>
            </a:r>
            <a:r>
              <a:rPr lang="en-US" sz="1200" err="1"/>
              <a:t>sind</a:t>
            </a:r>
            <a:r>
              <a:rPr lang="en-US" sz="1200"/>
              <a:t> </a:t>
            </a:r>
            <a:r>
              <a:rPr lang="en-US" sz="1200" err="1"/>
              <a:t>tatsächlich</a:t>
            </a:r>
            <a:r>
              <a:rPr lang="en-US" sz="1200"/>
              <a:t> </a:t>
            </a:r>
            <a:r>
              <a:rPr lang="en-US" sz="1200" err="1"/>
              <a:t>eher</a:t>
            </a:r>
            <a:r>
              <a:rPr lang="en-US" sz="1200"/>
              <a:t> </a:t>
            </a:r>
            <a:r>
              <a:rPr lang="en-US" sz="1200" b="1" err="1"/>
              <a:t>taktische</a:t>
            </a:r>
            <a:r>
              <a:rPr lang="en-US" sz="1200" b="1"/>
              <a:t> </a:t>
            </a:r>
            <a:r>
              <a:rPr lang="en-US" sz="1200" b="1" err="1"/>
              <a:t>Maßnahmen</a:t>
            </a:r>
            <a:r>
              <a:rPr lang="en-US" sz="1200"/>
              <a:t> </a:t>
            </a:r>
            <a:r>
              <a:rPr lang="en-US" sz="1200" err="1"/>
              <a:t>oder</a:t>
            </a:r>
            <a:r>
              <a:rPr lang="en-US" sz="1200"/>
              <a:t> </a:t>
            </a:r>
            <a:r>
              <a:rPr lang="en-US" sz="1200" err="1"/>
              <a:t>Ziele</a:t>
            </a:r>
            <a:r>
              <a:rPr lang="en-US" sz="1200"/>
              <a:t>, die </a:t>
            </a:r>
            <a:r>
              <a:rPr lang="en-US" sz="1200" err="1"/>
              <a:t>als</a:t>
            </a:r>
            <a:r>
              <a:rPr lang="en-US" sz="1200"/>
              <a:t> Teil </a:t>
            </a:r>
            <a:r>
              <a:rPr lang="en-US" sz="1200" err="1"/>
              <a:t>einer</a:t>
            </a:r>
            <a:r>
              <a:rPr lang="en-US" sz="1200"/>
              <a:t> </a:t>
            </a:r>
            <a:r>
              <a:rPr lang="en-US" sz="1200" err="1"/>
              <a:t>größeren</a:t>
            </a:r>
            <a:r>
              <a:rPr lang="en-US" sz="1200"/>
              <a:t> </a:t>
            </a:r>
            <a:r>
              <a:rPr lang="en-US" sz="1200" err="1"/>
              <a:t>Strategie</a:t>
            </a:r>
            <a:r>
              <a:rPr lang="en-US" sz="1200"/>
              <a:t> </a:t>
            </a:r>
            <a:r>
              <a:rPr lang="en-US" sz="1200" err="1"/>
              <a:t>fungieren</a:t>
            </a:r>
            <a:r>
              <a:rPr lang="en-US" sz="1200"/>
              <a:t> </a:t>
            </a:r>
            <a:r>
              <a:rPr lang="en-US" sz="1200" err="1"/>
              <a:t>können</a:t>
            </a:r>
            <a:r>
              <a:rPr lang="en-US" sz="1200"/>
              <a:t>.</a:t>
            </a:r>
          </a:p>
          <a:p>
            <a:pPr marL="285750" indent="-285750">
              <a:buFont typeface="Arial" panose="020B0604020202020204" pitchFamily="34" charset="0"/>
              <a:buChar char="•"/>
            </a:pPr>
            <a:r>
              <a:rPr lang="en-US" sz="1200" b="1" err="1"/>
              <a:t>Diversifizierung</a:t>
            </a:r>
            <a:r>
              <a:rPr lang="en-US" sz="1200" b="1"/>
              <a:t> der </a:t>
            </a:r>
            <a:r>
              <a:rPr lang="en-US" sz="1200" b="1" err="1"/>
              <a:t>Dienstleistungen</a:t>
            </a:r>
            <a:r>
              <a:rPr lang="en-US" sz="1200" b="1"/>
              <a:t>: </a:t>
            </a:r>
            <a:r>
              <a:rPr lang="en-US" sz="1200"/>
              <a:t>UberEats </a:t>
            </a:r>
            <a:r>
              <a:rPr lang="en-US" sz="1200" err="1"/>
              <a:t>oder</a:t>
            </a:r>
            <a:r>
              <a:rPr lang="en-US" sz="1200"/>
              <a:t> Uber Freight </a:t>
            </a:r>
            <a:r>
              <a:rPr lang="en-US" sz="1200" err="1"/>
              <a:t>sind</a:t>
            </a:r>
            <a:r>
              <a:rPr lang="en-US" sz="1200"/>
              <a:t> </a:t>
            </a:r>
            <a:r>
              <a:rPr lang="en-US" sz="1200" err="1"/>
              <a:t>eher</a:t>
            </a:r>
            <a:r>
              <a:rPr lang="en-US" sz="1200"/>
              <a:t> </a:t>
            </a:r>
            <a:r>
              <a:rPr lang="en-US" sz="1200" err="1"/>
              <a:t>als</a:t>
            </a:r>
            <a:r>
              <a:rPr lang="en-US" sz="1200"/>
              <a:t> </a:t>
            </a:r>
            <a:r>
              <a:rPr lang="en-US" sz="1200" err="1"/>
              <a:t>Taktiken</a:t>
            </a:r>
            <a:r>
              <a:rPr lang="en-US" sz="1200"/>
              <a:t> </a:t>
            </a:r>
            <a:r>
              <a:rPr lang="en-US" sz="1200" err="1"/>
              <a:t>oder</a:t>
            </a:r>
            <a:r>
              <a:rPr lang="en-US" sz="1200"/>
              <a:t> operative </a:t>
            </a:r>
            <a:r>
              <a:rPr lang="en-US" sz="1200" err="1"/>
              <a:t>Maßnahmen</a:t>
            </a:r>
            <a:r>
              <a:rPr lang="en-US" sz="1200"/>
              <a:t> </a:t>
            </a:r>
            <a:r>
              <a:rPr lang="en-US" sz="1200" err="1"/>
              <a:t>zu</a:t>
            </a:r>
            <a:r>
              <a:rPr lang="en-US" sz="1200"/>
              <a:t> </a:t>
            </a:r>
            <a:r>
              <a:rPr lang="en-US" sz="1200" err="1"/>
              <a:t>betrachten</a:t>
            </a:r>
            <a:r>
              <a:rPr lang="en-US" sz="1200"/>
              <a:t>, um das </a:t>
            </a:r>
            <a:r>
              <a:rPr lang="en-US" sz="1200" err="1"/>
              <a:t>übergeordnete</a:t>
            </a:r>
            <a:r>
              <a:rPr lang="en-US" sz="1200"/>
              <a:t> </a:t>
            </a:r>
            <a:r>
              <a:rPr lang="en-US" sz="1200" err="1"/>
              <a:t>strategische</a:t>
            </a:r>
            <a:r>
              <a:rPr lang="en-US" sz="1200"/>
              <a:t> </a:t>
            </a:r>
            <a:r>
              <a:rPr lang="en-US" sz="1200" err="1"/>
              <a:t>Ziel</a:t>
            </a:r>
            <a:r>
              <a:rPr lang="en-US" sz="1200"/>
              <a:t> der </a:t>
            </a:r>
            <a:r>
              <a:rPr lang="en-US" sz="1200" err="1"/>
              <a:t>Marktdurchdringung</a:t>
            </a:r>
            <a:r>
              <a:rPr lang="en-US" sz="1200"/>
              <a:t> und </a:t>
            </a:r>
            <a:r>
              <a:rPr lang="en-US" sz="1200" err="1"/>
              <a:t>Umsatzsteigerung</a:t>
            </a:r>
            <a:r>
              <a:rPr lang="en-US" sz="1200"/>
              <a:t> </a:t>
            </a:r>
            <a:r>
              <a:rPr lang="en-US" sz="1200" err="1"/>
              <a:t>zu</a:t>
            </a:r>
            <a:r>
              <a:rPr lang="en-US" sz="1200"/>
              <a:t> </a:t>
            </a:r>
            <a:r>
              <a:rPr lang="en-US" sz="1200" err="1"/>
              <a:t>unterstützen</a:t>
            </a:r>
            <a:endParaRPr lang="en-US" sz="1200"/>
          </a:p>
          <a:p>
            <a:pPr marL="285750" indent="-285750">
              <a:buFont typeface="Arial" panose="020B0604020202020204" pitchFamily="34" charset="0"/>
              <a:buChar char="•"/>
            </a:pPr>
            <a:r>
              <a:rPr lang="en-US" sz="1200" b="1" err="1"/>
              <a:t>Globale</a:t>
            </a:r>
            <a:r>
              <a:rPr lang="en-US" sz="1200" b="1"/>
              <a:t> Expansion: </a:t>
            </a:r>
            <a:r>
              <a:rPr lang="en-US" sz="1200" err="1"/>
              <a:t>ist</a:t>
            </a:r>
            <a:r>
              <a:rPr lang="en-US" sz="1200"/>
              <a:t> </a:t>
            </a:r>
            <a:r>
              <a:rPr lang="en-US" sz="1200" err="1"/>
              <a:t>als</a:t>
            </a:r>
            <a:r>
              <a:rPr lang="en-US" sz="1200"/>
              <a:t> </a:t>
            </a:r>
            <a:r>
              <a:rPr lang="en-US" sz="1200" err="1"/>
              <a:t>Taktik</a:t>
            </a:r>
            <a:r>
              <a:rPr lang="en-US" sz="1200"/>
              <a:t> </a:t>
            </a:r>
            <a:r>
              <a:rPr lang="en-US" sz="1200" err="1"/>
              <a:t>oder</a:t>
            </a:r>
            <a:r>
              <a:rPr lang="en-US" sz="1200"/>
              <a:t> operative </a:t>
            </a:r>
            <a:r>
              <a:rPr lang="en-US" sz="1200" err="1"/>
              <a:t>Maßnahme</a:t>
            </a:r>
            <a:r>
              <a:rPr lang="en-US" sz="1200"/>
              <a:t> </a:t>
            </a:r>
            <a:r>
              <a:rPr lang="en-US" sz="1200" err="1"/>
              <a:t>zu</a:t>
            </a:r>
            <a:r>
              <a:rPr lang="en-US" sz="1200"/>
              <a:t> </a:t>
            </a:r>
            <a:r>
              <a:rPr lang="en-US" sz="1200" err="1"/>
              <a:t>betrachten</a:t>
            </a:r>
            <a:r>
              <a:rPr lang="en-US" sz="1200"/>
              <a:t>, um das </a:t>
            </a:r>
            <a:r>
              <a:rPr lang="en-US" sz="1200" err="1"/>
              <a:t>übergeordnete</a:t>
            </a:r>
            <a:r>
              <a:rPr lang="en-US" sz="1200"/>
              <a:t> </a:t>
            </a:r>
            <a:r>
              <a:rPr lang="en-US" sz="1200" err="1"/>
              <a:t>strategische</a:t>
            </a:r>
            <a:r>
              <a:rPr lang="en-US" sz="1200"/>
              <a:t> </a:t>
            </a:r>
            <a:r>
              <a:rPr lang="en-US" sz="1200" err="1"/>
              <a:t>Ziel</a:t>
            </a:r>
            <a:r>
              <a:rPr lang="en-US" sz="1200"/>
              <a:t> der </a:t>
            </a:r>
            <a:r>
              <a:rPr lang="en-US" sz="1200" err="1"/>
              <a:t>Marktdurchdringung</a:t>
            </a:r>
            <a:r>
              <a:rPr lang="en-US" sz="1200"/>
              <a:t> und </a:t>
            </a:r>
            <a:r>
              <a:rPr lang="en-US" sz="1200" err="1"/>
              <a:t>Umsatzsteigerung</a:t>
            </a:r>
            <a:r>
              <a:rPr lang="en-US" sz="1200"/>
              <a:t> </a:t>
            </a:r>
            <a:r>
              <a:rPr lang="en-US" sz="1200" err="1"/>
              <a:t>zu</a:t>
            </a:r>
            <a:r>
              <a:rPr lang="en-US" sz="1200"/>
              <a:t> </a:t>
            </a:r>
            <a:r>
              <a:rPr lang="en-US" sz="1200" err="1"/>
              <a:t>unterstützen</a:t>
            </a:r>
            <a:endParaRPr lang="en-US" sz="1200"/>
          </a:p>
          <a:p>
            <a:r>
              <a:rPr lang="en-US" sz="1200"/>
              <a:t>→ Sie </a:t>
            </a:r>
            <a:r>
              <a:rPr lang="en-US" sz="1200" err="1"/>
              <a:t>sind</a:t>
            </a:r>
            <a:r>
              <a:rPr lang="en-US" sz="1200"/>
              <a:t> </a:t>
            </a:r>
            <a:r>
              <a:rPr lang="en-US" sz="1200" err="1"/>
              <a:t>zwar</a:t>
            </a:r>
            <a:r>
              <a:rPr lang="en-US" sz="1200"/>
              <a:t> </a:t>
            </a:r>
            <a:r>
              <a:rPr lang="en-US" sz="1200" err="1"/>
              <a:t>wichtige</a:t>
            </a:r>
            <a:r>
              <a:rPr lang="en-US" sz="1200"/>
              <a:t> </a:t>
            </a:r>
            <a:r>
              <a:rPr lang="en-US" sz="1200" err="1"/>
              <a:t>Elemente</a:t>
            </a:r>
            <a:r>
              <a:rPr lang="en-US" sz="1200"/>
              <a:t>, </a:t>
            </a:r>
            <a:r>
              <a:rPr lang="en-US" sz="1200" err="1"/>
              <a:t>könnten</a:t>
            </a:r>
            <a:r>
              <a:rPr lang="en-US" sz="1200"/>
              <a:t> </a:t>
            </a:r>
            <a:r>
              <a:rPr lang="en-US" sz="1200" err="1"/>
              <a:t>aber</a:t>
            </a:r>
            <a:r>
              <a:rPr lang="en-US" sz="1200"/>
              <a:t> </a:t>
            </a:r>
            <a:r>
              <a:rPr lang="en-US" sz="1200" err="1"/>
              <a:t>als</a:t>
            </a:r>
            <a:r>
              <a:rPr lang="en-US" sz="1200"/>
              <a:t> Teil </a:t>
            </a:r>
            <a:r>
              <a:rPr lang="en-US" sz="1200" err="1"/>
              <a:t>einer</a:t>
            </a:r>
            <a:r>
              <a:rPr lang="en-US" sz="1200"/>
              <a:t> </a:t>
            </a:r>
            <a:r>
              <a:rPr lang="en-US" sz="1200" err="1"/>
              <a:t>umfassenderen</a:t>
            </a:r>
            <a:r>
              <a:rPr lang="en-US" sz="1200"/>
              <a:t> </a:t>
            </a:r>
            <a:r>
              <a:rPr lang="en-US" sz="1200" b="1" err="1"/>
              <a:t>Expansionsstrategie</a:t>
            </a:r>
            <a:r>
              <a:rPr lang="en-US" sz="1200"/>
              <a:t> </a:t>
            </a:r>
            <a:r>
              <a:rPr lang="en-US" sz="1200" err="1"/>
              <a:t>betrachtet</a:t>
            </a:r>
            <a:r>
              <a:rPr lang="en-US" sz="1200"/>
              <a:t> </a:t>
            </a:r>
            <a:r>
              <a:rPr lang="en-US" sz="1200" err="1"/>
              <a:t>werden</a:t>
            </a:r>
            <a:r>
              <a:rPr lang="en-US" sz="1200"/>
              <a:t>.</a:t>
            </a:r>
          </a:p>
          <a:p>
            <a:pPr marL="285750" indent="-285750">
              <a:buFont typeface="Arial" panose="020B0604020202020204" pitchFamily="34" charset="0"/>
              <a:buChar char="•"/>
            </a:pPr>
            <a:r>
              <a:rPr lang="en-US" sz="1200" b="1" err="1"/>
              <a:t>Investitionen</a:t>
            </a:r>
            <a:r>
              <a:rPr lang="en-US" sz="1200" b="1"/>
              <a:t> in </a:t>
            </a:r>
            <a:r>
              <a:rPr lang="en-US" sz="1200" b="1" err="1"/>
              <a:t>neue</a:t>
            </a:r>
            <a:r>
              <a:rPr lang="en-US" sz="1200" b="1"/>
              <a:t> </a:t>
            </a:r>
            <a:r>
              <a:rPr lang="en-US" sz="1200" b="1" err="1"/>
              <a:t>Technologien</a:t>
            </a:r>
            <a:r>
              <a:rPr lang="en-US" sz="1200" b="1"/>
              <a:t>: </a:t>
            </a:r>
            <a:r>
              <a:rPr lang="en-US" sz="1200" err="1"/>
              <a:t>wie</a:t>
            </a:r>
            <a:r>
              <a:rPr lang="en-US" sz="1200"/>
              <a:t> </a:t>
            </a:r>
            <a:r>
              <a:rPr lang="en-US" sz="1200" err="1"/>
              <a:t>z.B.</a:t>
            </a:r>
            <a:r>
              <a:rPr lang="en-US" sz="1200"/>
              <a:t> </a:t>
            </a:r>
            <a:r>
              <a:rPr lang="en-US" sz="1200" err="1"/>
              <a:t>autonome</a:t>
            </a:r>
            <a:r>
              <a:rPr lang="en-US" sz="1200"/>
              <a:t> </a:t>
            </a:r>
            <a:r>
              <a:rPr lang="en-US" sz="1200" err="1"/>
              <a:t>Fahrzeuge</a:t>
            </a:r>
            <a:r>
              <a:rPr lang="en-US" sz="1200"/>
              <a:t> </a:t>
            </a:r>
            <a:r>
              <a:rPr lang="en-US" sz="1200" err="1"/>
              <a:t>können</a:t>
            </a:r>
            <a:r>
              <a:rPr lang="en-US" sz="1200"/>
              <a:t> </a:t>
            </a:r>
            <a:r>
              <a:rPr lang="en-US" sz="1200" err="1"/>
              <a:t>als</a:t>
            </a:r>
            <a:r>
              <a:rPr lang="en-US" sz="1200"/>
              <a:t> </a:t>
            </a:r>
            <a:r>
              <a:rPr lang="en-US" sz="1200" err="1"/>
              <a:t>strategische</a:t>
            </a:r>
            <a:r>
              <a:rPr lang="en-US" sz="1200"/>
              <a:t> Initiative </a:t>
            </a:r>
            <a:r>
              <a:rPr lang="en-US" sz="1200" err="1"/>
              <a:t>betrachtet</a:t>
            </a:r>
            <a:r>
              <a:rPr lang="en-US" sz="1200"/>
              <a:t> </a:t>
            </a:r>
            <a:r>
              <a:rPr lang="en-US" sz="1200" err="1"/>
              <a:t>werden</a:t>
            </a:r>
            <a:r>
              <a:rPr lang="en-US" sz="1200"/>
              <a:t>, da </a:t>
            </a:r>
            <a:r>
              <a:rPr lang="en-US" sz="1200" err="1"/>
              <a:t>sie</a:t>
            </a:r>
            <a:r>
              <a:rPr lang="en-US" sz="1200"/>
              <a:t> </a:t>
            </a:r>
            <a:r>
              <a:rPr lang="en-US" sz="1200" err="1"/>
              <a:t>darauf</a:t>
            </a:r>
            <a:r>
              <a:rPr lang="en-US" sz="1200"/>
              <a:t> </a:t>
            </a:r>
            <a:r>
              <a:rPr lang="en-US" sz="1200" err="1"/>
              <a:t>abzielt</a:t>
            </a:r>
            <a:r>
              <a:rPr lang="en-US" sz="1200"/>
              <a:t>, die Wettbewerbsfähigkeit </a:t>
            </a:r>
            <a:r>
              <a:rPr lang="en-US" sz="1200" err="1"/>
              <a:t>langfristig</a:t>
            </a:r>
            <a:r>
              <a:rPr lang="en-US" sz="1200"/>
              <a:t> </a:t>
            </a:r>
            <a:r>
              <a:rPr lang="en-US" sz="1200" err="1"/>
              <a:t>zu</a:t>
            </a:r>
            <a:r>
              <a:rPr lang="en-US" sz="1200"/>
              <a:t> </a:t>
            </a:r>
            <a:r>
              <a:rPr lang="en-US" sz="1200" err="1"/>
              <a:t>stärken</a:t>
            </a:r>
            <a:r>
              <a:rPr lang="en-US" sz="1200"/>
              <a:t> und </a:t>
            </a:r>
            <a:r>
              <a:rPr lang="en-US" sz="1200" err="1"/>
              <a:t>potenziell</a:t>
            </a:r>
            <a:r>
              <a:rPr lang="en-US" sz="1200"/>
              <a:t> </a:t>
            </a:r>
            <a:r>
              <a:rPr lang="en-US" sz="1200" err="1"/>
              <a:t>neue</a:t>
            </a:r>
            <a:r>
              <a:rPr lang="en-US" sz="1200"/>
              <a:t> </a:t>
            </a:r>
            <a:r>
              <a:rPr lang="en-US" sz="1200" err="1"/>
              <a:t>Geschäftsmöglichkeiten</a:t>
            </a:r>
            <a:r>
              <a:rPr lang="en-US" sz="1200"/>
              <a:t> </a:t>
            </a:r>
            <a:r>
              <a:rPr lang="en-US" sz="1200" err="1"/>
              <a:t>zu</a:t>
            </a:r>
            <a:r>
              <a:rPr lang="en-US" sz="1200"/>
              <a:t> </a:t>
            </a:r>
            <a:r>
              <a:rPr lang="en-US" sz="1200" err="1"/>
              <a:t>eröffnen</a:t>
            </a:r>
            <a:endParaRPr lang="en-US" sz="1200"/>
          </a:p>
          <a:p>
            <a:r>
              <a:rPr lang="en-US" sz="1200"/>
              <a:t>"</a:t>
            </a:r>
            <a:r>
              <a:rPr lang="en-US" sz="1200" err="1"/>
              <a:t>Geschäftsaufbaumaßnahmen</a:t>
            </a:r>
            <a:r>
              <a:rPr lang="en-US" sz="1200"/>
              <a:t>" </a:t>
            </a:r>
            <a:r>
              <a:rPr lang="en-US" sz="1200" err="1"/>
              <a:t>sind</a:t>
            </a:r>
            <a:r>
              <a:rPr lang="en-US" sz="1200"/>
              <a:t> oft </a:t>
            </a:r>
            <a:r>
              <a:rPr lang="en-US" sz="1200" b="1"/>
              <a:t>Teil des </a:t>
            </a:r>
            <a:r>
              <a:rPr lang="en-US" sz="1200" b="1" err="1"/>
              <a:t>Gesamtstrategieplans</a:t>
            </a:r>
            <a:r>
              <a:rPr lang="en-US" sz="1200" b="1"/>
              <a:t> </a:t>
            </a:r>
            <a:r>
              <a:rPr lang="en-US" sz="1200" b="1" err="1"/>
              <a:t>eines</a:t>
            </a:r>
            <a:r>
              <a:rPr lang="en-US" sz="1200" b="1"/>
              <a:t> </a:t>
            </a:r>
            <a:r>
              <a:rPr lang="en-US" sz="1200" b="1" err="1"/>
              <a:t>Unternehmens</a:t>
            </a:r>
            <a:r>
              <a:rPr lang="en-US" sz="1200"/>
              <a:t>. In Ubers Fall </a:t>
            </a:r>
            <a:r>
              <a:rPr lang="en-US" sz="1200" err="1"/>
              <a:t>könnten</a:t>
            </a:r>
            <a:r>
              <a:rPr lang="en-US" sz="1200"/>
              <a:t> </a:t>
            </a:r>
            <a:r>
              <a:rPr lang="en-US" sz="1200" err="1"/>
              <a:t>Investitionen</a:t>
            </a:r>
            <a:r>
              <a:rPr lang="en-US" sz="1200"/>
              <a:t>, </a:t>
            </a:r>
            <a:r>
              <a:rPr lang="en-US" sz="1200" err="1"/>
              <a:t>Akquisitionen</a:t>
            </a:r>
            <a:r>
              <a:rPr lang="en-US" sz="1200"/>
              <a:t>, </a:t>
            </a:r>
            <a:r>
              <a:rPr lang="en-US" sz="1200" err="1"/>
              <a:t>Partnerschaften</a:t>
            </a:r>
            <a:r>
              <a:rPr lang="en-US" sz="1200"/>
              <a:t> </a:t>
            </a:r>
            <a:r>
              <a:rPr lang="en-US" sz="1200" err="1"/>
              <a:t>oder</a:t>
            </a:r>
            <a:r>
              <a:rPr lang="en-US" sz="1200"/>
              <a:t> die </a:t>
            </a:r>
            <a:r>
              <a:rPr lang="en-US" sz="1200" err="1"/>
              <a:t>Einführung</a:t>
            </a:r>
            <a:r>
              <a:rPr lang="en-US" sz="1200"/>
              <a:t> </a:t>
            </a:r>
            <a:r>
              <a:rPr lang="en-US" sz="1200" err="1"/>
              <a:t>neuer</a:t>
            </a:r>
            <a:r>
              <a:rPr lang="en-US" sz="1200"/>
              <a:t> </a:t>
            </a:r>
            <a:r>
              <a:rPr lang="en-US" sz="1200" err="1"/>
              <a:t>Dienste</a:t>
            </a:r>
            <a:r>
              <a:rPr lang="en-US" sz="1200"/>
              <a:t> </a:t>
            </a:r>
            <a:r>
              <a:rPr lang="en-US" sz="1200" err="1"/>
              <a:t>als</a:t>
            </a:r>
            <a:r>
              <a:rPr lang="en-US" sz="1200"/>
              <a:t> </a:t>
            </a:r>
            <a:r>
              <a:rPr lang="en-US" sz="1200" err="1"/>
              <a:t>Geschäftsaufbaumaßnahmen</a:t>
            </a:r>
            <a:r>
              <a:rPr lang="en-US" sz="1200"/>
              <a:t> </a:t>
            </a:r>
            <a:r>
              <a:rPr lang="en-US" sz="1200" err="1"/>
              <a:t>betrachtet</a:t>
            </a:r>
            <a:r>
              <a:rPr lang="en-US" sz="1200"/>
              <a:t> </a:t>
            </a:r>
            <a:r>
              <a:rPr lang="en-US" sz="1200" err="1"/>
              <a:t>werden</a:t>
            </a:r>
            <a:r>
              <a:rPr lang="en-US" sz="1200"/>
              <a:t>, um die </a:t>
            </a:r>
            <a:r>
              <a:rPr lang="en-US" sz="1200" b="1"/>
              <a:t>Position des </a:t>
            </a:r>
            <a:r>
              <a:rPr lang="en-US" sz="1200" b="1" err="1"/>
              <a:t>Unternehmens</a:t>
            </a:r>
            <a:r>
              <a:rPr lang="en-US" sz="1200" b="1"/>
              <a:t> </a:t>
            </a:r>
            <a:r>
              <a:rPr lang="en-US" sz="1200" b="1" err="1"/>
              <a:t>zu</a:t>
            </a:r>
            <a:r>
              <a:rPr lang="en-US" sz="1200" b="1"/>
              <a:t> </a:t>
            </a:r>
            <a:r>
              <a:rPr lang="en-US" sz="1200" b="1" err="1"/>
              <a:t>stärken</a:t>
            </a:r>
            <a:r>
              <a:rPr lang="en-US" sz="1200" b="1"/>
              <a:t> </a:t>
            </a:r>
            <a:r>
              <a:rPr lang="en-US" sz="1200"/>
              <a:t>und das </a:t>
            </a:r>
            <a:r>
              <a:rPr lang="en-US" sz="1200" b="1" err="1"/>
              <a:t>Wachstum</a:t>
            </a:r>
            <a:r>
              <a:rPr lang="en-US" sz="1200" b="1"/>
              <a:t> </a:t>
            </a:r>
            <a:r>
              <a:rPr lang="en-US" sz="1200" b="1" err="1"/>
              <a:t>voranzutreiben</a:t>
            </a:r>
            <a:r>
              <a:rPr lang="en-US" sz="1200"/>
              <a:t>. Sie </a:t>
            </a:r>
            <a:r>
              <a:rPr lang="en-US" sz="1200" err="1"/>
              <a:t>tragen</a:t>
            </a:r>
            <a:r>
              <a:rPr lang="en-US" sz="1200"/>
              <a:t> </a:t>
            </a:r>
            <a:r>
              <a:rPr lang="en-US" sz="1200" err="1"/>
              <a:t>dazu</a:t>
            </a:r>
            <a:r>
              <a:rPr lang="en-US" sz="1200"/>
              <a:t> </a:t>
            </a:r>
            <a:r>
              <a:rPr lang="en-US" sz="1200" err="1"/>
              <a:t>bei</a:t>
            </a:r>
            <a:r>
              <a:rPr lang="en-US" sz="1200"/>
              <a:t>, den </a:t>
            </a:r>
            <a:r>
              <a:rPr lang="en-US" sz="1200" err="1"/>
              <a:t>aktuellen</a:t>
            </a:r>
            <a:r>
              <a:rPr lang="en-US" sz="1200"/>
              <a:t> Stand des </a:t>
            </a:r>
            <a:r>
              <a:rPr lang="en-US" sz="1200" err="1"/>
              <a:t>Unternehmens</a:t>
            </a:r>
            <a:r>
              <a:rPr lang="en-US" sz="1200"/>
              <a:t> </a:t>
            </a:r>
            <a:r>
              <a:rPr lang="en-US" sz="1200" err="1"/>
              <a:t>zu</a:t>
            </a:r>
            <a:r>
              <a:rPr lang="en-US" sz="1200"/>
              <a:t> </a:t>
            </a:r>
            <a:r>
              <a:rPr lang="en-US" sz="1200" err="1"/>
              <a:t>erreichen</a:t>
            </a:r>
            <a:r>
              <a:rPr lang="en-US" sz="1200"/>
              <a:t> und seine </a:t>
            </a:r>
            <a:r>
              <a:rPr lang="en-US" sz="1200" b="1"/>
              <a:t>Position auf dem </a:t>
            </a:r>
            <a:r>
              <a:rPr lang="en-US" sz="1200" b="1" err="1"/>
              <a:t>Markt</a:t>
            </a:r>
            <a:r>
              <a:rPr lang="en-US" sz="1200" b="1"/>
              <a:t> </a:t>
            </a:r>
            <a:r>
              <a:rPr lang="en-US" sz="1200" err="1"/>
              <a:t>zu</a:t>
            </a:r>
            <a:r>
              <a:rPr lang="en-US" sz="1200"/>
              <a:t> </a:t>
            </a:r>
            <a:r>
              <a:rPr lang="en-US" sz="1200" err="1"/>
              <a:t>festigen</a:t>
            </a:r>
            <a:r>
              <a:rPr lang="en-US" sz="1200"/>
              <a:t>.</a:t>
            </a:r>
          </a:p>
          <a:p>
            <a:r>
              <a:rPr lang="en-US" sz="1200" err="1"/>
              <a:t>Letztendlich</a:t>
            </a:r>
            <a:r>
              <a:rPr lang="en-US" sz="1200"/>
              <a:t> </a:t>
            </a:r>
            <a:r>
              <a:rPr lang="en-US" sz="1200" err="1"/>
              <a:t>ist</a:t>
            </a:r>
            <a:r>
              <a:rPr lang="en-US" sz="1200"/>
              <a:t> es </a:t>
            </a:r>
            <a:r>
              <a:rPr lang="en-US" sz="1200" err="1"/>
              <a:t>wichtig</a:t>
            </a:r>
            <a:r>
              <a:rPr lang="en-US" sz="1200"/>
              <a:t> </a:t>
            </a:r>
            <a:r>
              <a:rPr lang="en-US" sz="1200" err="1"/>
              <a:t>zu</a:t>
            </a:r>
            <a:r>
              <a:rPr lang="en-US" sz="1200"/>
              <a:t> </a:t>
            </a:r>
            <a:r>
              <a:rPr lang="en-US" sz="1200" err="1"/>
              <a:t>erkennen</a:t>
            </a:r>
            <a:r>
              <a:rPr lang="en-US" sz="1200"/>
              <a:t>, </a:t>
            </a:r>
            <a:r>
              <a:rPr lang="en-US" sz="1200" err="1"/>
              <a:t>dass</a:t>
            </a:r>
            <a:r>
              <a:rPr lang="en-US" sz="1200"/>
              <a:t> </a:t>
            </a:r>
            <a:r>
              <a:rPr lang="en-US" sz="1200" err="1"/>
              <a:t>Stra</a:t>
            </a:r>
            <a:r>
              <a:rPr lang="en-US" sz="1200" b="1" err="1"/>
              <a:t>tegie</a:t>
            </a:r>
            <a:r>
              <a:rPr lang="en-US" sz="1200" b="1"/>
              <a:t> und operative </a:t>
            </a:r>
            <a:r>
              <a:rPr lang="en-US" sz="1200" b="1" err="1"/>
              <a:t>Maßnahmen</a:t>
            </a:r>
            <a:r>
              <a:rPr lang="en-US" sz="1200" b="1"/>
              <a:t> </a:t>
            </a:r>
            <a:r>
              <a:rPr lang="en-US" sz="1200" b="1" err="1"/>
              <a:t>miteinander</a:t>
            </a:r>
            <a:r>
              <a:rPr lang="en-US" sz="1200" b="1"/>
              <a:t> </a:t>
            </a:r>
            <a:r>
              <a:rPr lang="en-US" sz="1200" b="1" err="1"/>
              <a:t>verflochten</a:t>
            </a:r>
            <a:r>
              <a:rPr lang="en-US" sz="1200" b="1"/>
              <a:t> </a:t>
            </a:r>
            <a:r>
              <a:rPr lang="en-US" sz="1200" err="1"/>
              <a:t>sind</a:t>
            </a:r>
            <a:r>
              <a:rPr lang="en-US" sz="1200"/>
              <a:t>. </a:t>
            </a:r>
            <a:r>
              <a:rPr lang="en-US" sz="1200" err="1"/>
              <a:t>Strategie</a:t>
            </a:r>
            <a:r>
              <a:rPr lang="en-US" sz="1200"/>
              <a:t> </a:t>
            </a:r>
            <a:r>
              <a:rPr lang="en-US" sz="1200" err="1"/>
              <a:t>umfasst</a:t>
            </a:r>
            <a:r>
              <a:rPr lang="en-US" sz="1200"/>
              <a:t> </a:t>
            </a:r>
            <a:r>
              <a:rPr lang="en-US" sz="1200" b="1" err="1"/>
              <a:t>langfristige</a:t>
            </a:r>
            <a:r>
              <a:rPr lang="en-US" sz="1200" b="1"/>
              <a:t> </a:t>
            </a:r>
            <a:r>
              <a:rPr lang="en-US" sz="1200" b="1" err="1"/>
              <a:t>Ziele</a:t>
            </a:r>
            <a:r>
              <a:rPr lang="en-US" sz="1200" b="1"/>
              <a:t> und den Plan</a:t>
            </a:r>
            <a:r>
              <a:rPr lang="en-US" sz="1200"/>
              <a:t>, </a:t>
            </a:r>
            <a:r>
              <a:rPr lang="en-US" sz="1200" err="1"/>
              <a:t>wie</a:t>
            </a:r>
            <a:r>
              <a:rPr lang="en-US" sz="1200"/>
              <a:t> </a:t>
            </a:r>
            <a:r>
              <a:rPr lang="en-US" sz="1200" err="1"/>
              <a:t>diese</a:t>
            </a:r>
            <a:r>
              <a:rPr lang="en-US" sz="1200"/>
              <a:t> </a:t>
            </a:r>
            <a:r>
              <a:rPr lang="en-US" sz="1200" err="1"/>
              <a:t>erreicht</a:t>
            </a:r>
            <a:r>
              <a:rPr lang="en-US" sz="1200"/>
              <a:t> </a:t>
            </a:r>
            <a:r>
              <a:rPr lang="en-US" sz="1200" err="1"/>
              <a:t>werden</a:t>
            </a:r>
            <a:r>
              <a:rPr lang="en-US" sz="1200"/>
              <a:t> </a:t>
            </a:r>
            <a:r>
              <a:rPr lang="en-US" sz="1200" err="1"/>
              <a:t>sollen</a:t>
            </a:r>
            <a:r>
              <a:rPr lang="en-US" sz="1200"/>
              <a:t>, </a:t>
            </a:r>
            <a:r>
              <a:rPr lang="en-US" sz="1200" err="1"/>
              <a:t>während</a:t>
            </a:r>
            <a:r>
              <a:rPr lang="en-US" sz="1200"/>
              <a:t> </a:t>
            </a:r>
            <a:r>
              <a:rPr lang="en-US" sz="1200" err="1"/>
              <a:t>taktische</a:t>
            </a:r>
            <a:r>
              <a:rPr lang="en-US" sz="1200"/>
              <a:t> und operative </a:t>
            </a:r>
            <a:r>
              <a:rPr lang="en-US" sz="1200" err="1"/>
              <a:t>Maßnahmen</a:t>
            </a:r>
            <a:r>
              <a:rPr lang="en-US" sz="1200"/>
              <a:t> die </a:t>
            </a:r>
            <a:r>
              <a:rPr lang="en-US" sz="1200" b="1" err="1"/>
              <a:t>konkreten</a:t>
            </a:r>
            <a:r>
              <a:rPr lang="en-US" sz="1200" b="1"/>
              <a:t> </a:t>
            </a:r>
            <a:r>
              <a:rPr lang="en-US" sz="1200" b="1" err="1"/>
              <a:t>Schritte</a:t>
            </a:r>
            <a:r>
              <a:rPr lang="en-US" sz="1200" b="1"/>
              <a:t> </a:t>
            </a:r>
            <a:r>
              <a:rPr lang="en-US" sz="1200" err="1"/>
              <a:t>sind</a:t>
            </a:r>
            <a:r>
              <a:rPr lang="en-US" sz="1200"/>
              <a:t>, die </a:t>
            </a:r>
            <a:r>
              <a:rPr lang="en-US" sz="1200" err="1"/>
              <a:t>unternommen</a:t>
            </a:r>
            <a:r>
              <a:rPr lang="en-US" sz="1200"/>
              <a:t> </a:t>
            </a:r>
            <a:r>
              <a:rPr lang="en-US" sz="1200" err="1"/>
              <a:t>werden</a:t>
            </a:r>
            <a:r>
              <a:rPr lang="en-US" sz="1200"/>
              <a:t>, um </a:t>
            </a:r>
            <a:r>
              <a:rPr lang="en-US" sz="1200" err="1"/>
              <a:t>diese</a:t>
            </a:r>
            <a:r>
              <a:rPr lang="en-US" sz="1200"/>
              <a:t> </a:t>
            </a:r>
            <a:r>
              <a:rPr lang="en-US" sz="1200" err="1"/>
              <a:t>Ziele</a:t>
            </a:r>
            <a:r>
              <a:rPr lang="en-US" sz="1200"/>
              <a:t> </a:t>
            </a:r>
            <a:r>
              <a:rPr lang="en-US" sz="1200" err="1"/>
              <a:t>zu</a:t>
            </a:r>
            <a:r>
              <a:rPr lang="en-US" sz="1200"/>
              <a:t> </a:t>
            </a:r>
            <a:r>
              <a:rPr lang="en-US" sz="1200" err="1"/>
              <a:t>erreichen</a:t>
            </a:r>
            <a:r>
              <a:rPr lang="en-US" sz="1200"/>
              <a:t>.</a:t>
            </a:r>
          </a:p>
          <a:p>
            <a:endParaRPr lang="en-US" sz="1200"/>
          </a:p>
          <a:p>
            <a:endParaRPr lang="en-US" sz="1400"/>
          </a:p>
        </p:txBody>
      </p:sp>
      <p:sp>
        <p:nvSpPr>
          <p:cNvPr id="4" name="Foliennummernplatzhalter 3">
            <a:extLst>
              <a:ext uri="{FF2B5EF4-FFF2-40B4-BE49-F238E27FC236}">
                <a16:creationId xmlns:a16="http://schemas.microsoft.com/office/drawing/2014/main" id="{0B4D7CED-3F48-192A-A601-5752422118E9}"/>
              </a:ext>
            </a:extLst>
          </p:cNvPr>
          <p:cNvSpPr>
            <a:spLocks noGrp="1"/>
          </p:cNvSpPr>
          <p:nvPr>
            <p:ph type="sldNum" sz="quarter" idx="4"/>
          </p:nvPr>
        </p:nvSpPr>
        <p:spPr/>
        <p:txBody>
          <a:bodyPr/>
          <a:lstStyle/>
          <a:p>
            <a:fld id="{BAF04893-69FB-435D-AB2E-CA259D85B32F}" type="slidenum">
              <a:rPr lang="en-US" smtClean="0"/>
              <a:pPr/>
              <a:t>14</a:t>
            </a:fld>
            <a:endParaRPr lang="en-US"/>
          </a:p>
        </p:txBody>
      </p:sp>
      <p:sp>
        <p:nvSpPr>
          <p:cNvPr id="5" name="Inhaltsplatzhalter 4">
            <a:extLst>
              <a:ext uri="{FF2B5EF4-FFF2-40B4-BE49-F238E27FC236}">
                <a16:creationId xmlns:a16="http://schemas.microsoft.com/office/drawing/2014/main" id="{3EFE7013-5CD3-E473-E840-00D512872DAB}"/>
              </a:ext>
            </a:extLst>
          </p:cNvPr>
          <p:cNvSpPr>
            <a:spLocks noGrp="1"/>
          </p:cNvSpPr>
          <p:nvPr>
            <p:ph idx="10"/>
          </p:nvPr>
        </p:nvSpPr>
        <p:spPr/>
        <p:txBody>
          <a:bodyPr/>
          <a:lstStyle/>
          <a:p>
            <a:r>
              <a:rPr lang="en-US"/>
              <a:t>Echte Strategien oder „Geschäftsaufbaumaßnahmen“</a:t>
            </a:r>
          </a:p>
        </p:txBody>
      </p:sp>
      <p:sp>
        <p:nvSpPr>
          <p:cNvPr id="6" name="Inhaltsplatzhalter 5">
            <a:extLst>
              <a:ext uri="{FF2B5EF4-FFF2-40B4-BE49-F238E27FC236}">
                <a16:creationId xmlns:a16="http://schemas.microsoft.com/office/drawing/2014/main" id="{7DF5905E-410A-A450-8D63-60915AB57CEA}"/>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76162BDC-9055-1214-D7C2-19CC5AF034E3}"/>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31122319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48144EA-51C4-038E-811B-F152AB6EE9E5}"/>
              </a:ext>
            </a:extLst>
          </p:cNvPr>
          <p:cNvGraphicFramePr>
            <a:graphicFrameLocks noChangeAspect="1"/>
          </p:cNvGraphicFramePr>
          <p:nvPr>
            <p:custDataLst>
              <p:tags r:id="rId1"/>
            </p:custDataLst>
            <p:extLst>
              <p:ext uri="{D42A27DB-BD31-4B8C-83A1-F6EECF244321}">
                <p14:modId xmlns:p14="http://schemas.microsoft.com/office/powerpoint/2010/main" val="356211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9" name="think-cell data - do not delete" hidden="1">
                        <a:extLst>
                          <a:ext uri="{FF2B5EF4-FFF2-40B4-BE49-F238E27FC236}">
                            <a16:creationId xmlns:a16="http://schemas.microsoft.com/office/drawing/2014/main" id="{F48144EA-51C4-038E-811B-F152AB6EE9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6065D0-2014-9660-0B11-E5E68E473D00}"/>
              </a:ext>
            </a:extLst>
          </p:cNvPr>
          <p:cNvSpPr>
            <a:spLocks noGrp="1"/>
          </p:cNvSpPr>
          <p:nvPr>
            <p:ph type="title"/>
          </p:nvPr>
        </p:nvSpPr>
        <p:spPr/>
        <p:txBody>
          <a:bodyPr vert="horz"/>
          <a:lstStyle/>
          <a:p>
            <a:r>
              <a:rPr lang="en-US"/>
              <a:t>Treiber für das Wertversprechen von Uber sind vor allem die bequemen und flexiblen Transportmöglichkeiten und die Transparenz bei den Kosten </a:t>
            </a:r>
          </a:p>
        </p:txBody>
      </p:sp>
      <p:sp>
        <p:nvSpPr>
          <p:cNvPr id="3" name="Inhaltsplatzhalter 2">
            <a:extLst>
              <a:ext uri="{FF2B5EF4-FFF2-40B4-BE49-F238E27FC236}">
                <a16:creationId xmlns:a16="http://schemas.microsoft.com/office/drawing/2014/main" id="{639FBC97-B6DA-AA27-10DA-3A7AF1B0A4B3}"/>
              </a:ext>
            </a:extLst>
          </p:cNvPr>
          <p:cNvSpPr>
            <a:spLocks noGrp="1"/>
          </p:cNvSpPr>
          <p:nvPr>
            <p:ph idx="1"/>
          </p:nvPr>
        </p:nvSpPr>
        <p:spPr>
          <a:xfrm>
            <a:off x="359998" y="2291254"/>
            <a:ext cx="8568102" cy="4125419"/>
          </a:xfrm>
        </p:spPr>
        <p:txBody>
          <a:bodyPr/>
          <a:lstStyle/>
          <a:p>
            <a:r>
              <a:rPr lang="en-US" b="1" err="1"/>
              <a:t>Treiber</a:t>
            </a:r>
            <a:r>
              <a:rPr lang="en-US" b="1"/>
              <a:t> für das </a:t>
            </a:r>
            <a:r>
              <a:rPr lang="en-US" b="1" err="1"/>
              <a:t>Wertversprechen</a:t>
            </a:r>
            <a:r>
              <a:rPr lang="en-US" b="1"/>
              <a:t> von Uber:</a:t>
            </a:r>
          </a:p>
          <a:p>
            <a:pPr marL="285750" indent="-285750">
              <a:buFont typeface="Arial" panose="020B0604020202020204" pitchFamily="34" charset="0"/>
              <a:buChar char="•"/>
            </a:pPr>
            <a:r>
              <a:rPr lang="en-US" err="1"/>
              <a:t>Bequemlichkeit</a:t>
            </a:r>
            <a:r>
              <a:rPr lang="en-US"/>
              <a:t>, </a:t>
            </a:r>
            <a:r>
              <a:rPr lang="en-US" err="1"/>
              <a:t>Verfügbarkeit</a:t>
            </a:r>
            <a:r>
              <a:rPr lang="en-US"/>
              <a:t>, und </a:t>
            </a:r>
            <a:r>
              <a:rPr lang="en-US" err="1"/>
              <a:t>Flexibilität</a:t>
            </a:r>
            <a:r>
              <a:rPr lang="en-US"/>
              <a:t> für </a:t>
            </a:r>
            <a:r>
              <a:rPr lang="en-US" err="1"/>
              <a:t>Fahrer</a:t>
            </a:r>
            <a:r>
              <a:rPr lang="en-US"/>
              <a:t> und </a:t>
            </a:r>
            <a:r>
              <a:rPr lang="en-US" err="1"/>
              <a:t>Kunden</a:t>
            </a:r>
            <a:r>
              <a:rPr lang="en-US"/>
              <a:t> </a:t>
            </a:r>
            <a:r>
              <a:rPr lang="en-US" err="1"/>
              <a:t>geschaffen</a:t>
            </a:r>
            <a:endParaRPr lang="en-US"/>
          </a:p>
          <a:p>
            <a:pPr marL="285750" indent="-285750">
              <a:buFont typeface="Arial" panose="020B0604020202020204" pitchFamily="34" charset="0"/>
              <a:buChar char="•"/>
            </a:pPr>
            <a:r>
              <a:rPr lang="en-US"/>
              <a:t>flexible </a:t>
            </a:r>
            <a:r>
              <a:rPr lang="en-US" err="1"/>
              <a:t>Arbeitsmöglichkeiten</a:t>
            </a:r>
            <a:r>
              <a:rPr lang="en-US"/>
              <a:t> für die </a:t>
            </a:r>
            <a:r>
              <a:rPr lang="en-US" err="1"/>
              <a:t>Fahrer</a:t>
            </a:r>
            <a:r>
              <a:rPr lang="en-US"/>
              <a:t> und die </a:t>
            </a:r>
            <a:r>
              <a:rPr lang="en-US" err="1"/>
              <a:t>Möglichkeit</a:t>
            </a:r>
            <a:r>
              <a:rPr lang="en-US"/>
              <a:t>, </a:t>
            </a:r>
            <a:r>
              <a:rPr lang="en-US" err="1"/>
              <a:t>ihr</a:t>
            </a:r>
            <a:r>
              <a:rPr lang="en-US"/>
              <a:t> </a:t>
            </a:r>
            <a:r>
              <a:rPr lang="en-US" err="1"/>
              <a:t>Einkommen</a:t>
            </a:r>
            <a:r>
              <a:rPr lang="en-US"/>
              <a:t> </a:t>
            </a:r>
            <a:r>
              <a:rPr lang="en-US" err="1"/>
              <a:t>zu</a:t>
            </a:r>
            <a:r>
              <a:rPr lang="en-US"/>
              <a:t> </a:t>
            </a:r>
            <a:r>
              <a:rPr lang="en-US" err="1"/>
              <a:t>steigern</a:t>
            </a:r>
            <a:endParaRPr lang="en-US"/>
          </a:p>
          <a:p>
            <a:pPr marL="285750" indent="-285750">
              <a:buFont typeface="Arial" panose="020B0604020202020204" pitchFamily="34" charset="0"/>
              <a:buChar char="•"/>
            </a:pPr>
            <a:r>
              <a:rPr lang="en-US" err="1"/>
              <a:t>einfache</a:t>
            </a:r>
            <a:r>
              <a:rPr lang="en-US"/>
              <a:t>, </a:t>
            </a:r>
            <a:r>
              <a:rPr lang="en-US" err="1"/>
              <a:t>schnelle</a:t>
            </a:r>
            <a:r>
              <a:rPr lang="en-US"/>
              <a:t> und </a:t>
            </a:r>
            <a:r>
              <a:rPr lang="en-US" err="1"/>
              <a:t>transparente</a:t>
            </a:r>
            <a:r>
              <a:rPr lang="en-US"/>
              <a:t> Transport- und </a:t>
            </a:r>
            <a:r>
              <a:rPr lang="en-US" err="1"/>
              <a:t>Lieferoptionen</a:t>
            </a:r>
            <a:r>
              <a:rPr lang="en-US"/>
              <a:t> für die </a:t>
            </a:r>
            <a:r>
              <a:rPr lang="en-US" err="1"/>
              <a:t>Kunden</a:t>
            </a:r>
            <a:endParaRPr lang="en-US"/>
          </a:p>
        </p:txBody>
      </p:sp>
      <p:sp>
        <p:nvSpPr>
          <p:cNvPr id="4" name="Foliennummernplatzhalter 3">
            <a:extLst>
              <a:ext uri="{FF2B5EF4-FFF2-40B4-BE49-F238E27FC236}">
                <a16:creationId xmlns:a16="http://schemas.microsoft.com/office/drawing/2014/main" id="{7B02DEFC-CB0B-C43A-D6DD-3516B775AB25}"/>
              </a:ext>
            </a:extLst>
          </p:cNvPr>
          <p:cNvSpPr>
            <a:spLocks noGrp="1"/>
          </p:cNvSpPr>
          <p:nvPr>
            <p:ph type="sldNum" sz="quarter" idx="4"/>
          </p:nvPr>
        </p:nvSpPr>
        <p:spPr/>
        <p:txBody>
          <a:bodyPr/>
          <a:lstStyle/>
          <a:p>
            <a:fld id="{BAF04893-69FB-435D-AB2E-CA259D85B32F}" type="slidenum">
              <a:rPr lang="en-US" smtClean="0"/>
              <a:pPr/>
              <a:t>15</a:t>
            </a:fld>
            <a:endParaRPr lang="en-US"/>
          </a:p>
        </p:txBody>
      </p:sp>
      <p:sp>
        <p:nvSpPr>
          <p:cNvPr id="5" name="Inhaltsplatzhalter 4">
            <a:extLst>
              <a:ext uri="{FF2B5EF4-FFF2-40B4-BE49-F238E27FC236}">
                <a16:creationId xmlns:a16="http://schemas.microsoft.com/office/drawing/2014/main" id="{C7094E81-82FF-39FC-656B-771FA961119F}"/>
              </a:ext>
            </a:extLst>
          </p:cNvPr>
          <p:cNvSpPr>
            <a:spLocks noGrp="1"/>
          </p:cNvSpPr>
          <p:nvPr>
            <p:ph idx="10"/>
          </p:nvPr>
        </p:nvSpPr>
        <p:spPr/>
        <p:txBody>
          <a:bodyPr/>
          <a:lstStyle/>
          <a:p>
            <a:r>
              <a:rPr lang="en-US"/>
              <a:t>Treiber für Wertversprechen von Uber </a:t>
            </a:r>
          </a:p>
        </p:txBody>
      </p:sp>
      <p:sp>
        <p:nvSpPr>
          <p:cNvPr id="6" name="Inhaltsplatzhalter 5">
            <a:extLst>
              <a:ext uri="{FF2B5EF4-FFF2-40B4-BE49-F238E27FC236}">
                <a16:creationId xmlns:a16="http://schemas.microsoft.com/office/drawing/2014/main" id="{76D77F95-5A7B-6634-4552-F6C6C200A0C9}"/>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653810AB-6B5F-32D5-8678-FE7D637B6B6C}"/>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849589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07BB1EA-320F-B50F-1438-E3322FC561A0}"/>
              </a:ext>
            </a:extLst>
          </p:cNvPr>
          <p:cNvGraphicFramePr>
            <a:graphicFrameLocks noChangeAspect="1"/>
          </p:cNvGraphicFramePr>
          <p:nvPr>
            <p:custDataLst>
              <p:tags r:id="rId1"/>
            </p:custDataLst>
            <p:extLst>
              <p:ext uri="{D42A27DB-BD31-4B8C-83A1-F6EECF244321}">
                <p14:modId xmlns:p14="http://schemas.microsoft.com/office/powerpoint/2010/main" val="2834515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9" name="think-cell data - do not delete" hidden="1">
                        <a:extLst>
                          <a:ext uri="{FF2B5EF4-FFF2-40B4-BE49-F238E27FC236}">
                            <a16:creationId xmlns:a16="http://schemas.microsoft.com/office/drawing/2014/main" id="{007BB1EA-320F-B50F-1438-E3322FC56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9A0723-00AB-C8B7-13C8-0CD178DC5EB3}"/>
              </a:ext>
            </a:extLst>
          </p:cNvPr>
          <p:cNvSpPr>
            <a:spLocks noGrp="1"/>
          </p:cNvSpPr>
          <p:nvPr>
            <p:ph type="title"/>
          </p:nvPr>
        </p:nvSpPr>
        <p:spPr/>
        <p:txBody>
          <a:bodyPr vert="horz"/>
          <a:lstStyle/>
          <a:p>
            <a:r>
              <a:rPr lang="en-US"/>
              <a:t>Da Uber </a:t>
            </a:r>
            <a:r>
              <a:rPr lang="en-US" err="1"/>
              <a:t>ein</a:t>
            </a:r>
            <a:r>
              <a:rPr lang="en-US"/>
              <a:t> </a:t>
            </a:r>
            <a:r>
              <a:rPr lang="en-US" err="1"/>
              <a:t>Plattform-Unternehmen</a:t>
            </a:r>
            <a:r>
              <a:rPr lang="en-US"/>
              <a:t> </a:t>
            </a:r>
            <a:r>
              <a:rPr lang="en-US" err="1"/>
              <a:t>ist</a:t>
            </a:r>
            <a:r>
              <a:rPr lang="en-US"/>
              <a:t>, </a:t>
            </a:r>
            <a:r>
              <a:rPr lang="en-US" err="1"/>
              <a:t>gibt</a:t>
            </a:r>
            <a:r>
              <a:rPr lang="en-US"/>
              <a:t> es </a:t>
            </a:r>
            <a:r>
              <a:rPr lang="en-US" err="1"/>
              <a:t>zwei</a:t>
            </a:r>
            <a:r>
              <a:rPr lang="en-US"/>
              <a:t> Seiten von </a:t>
            </a:r>
            <a:r>
              <a:rPr lang="en-US" err="1"/>
              <a:t>Stakeholdergruppen</a:t>
            </a:r>
            <a:endParaRPr lang="en-US"/>
          </a:p>
        </p:txBody>
      </p:sp>
      <p:sp>
        <p:nvSpPr>
          <p:cNvPr id="3" name="Inhaltsplatzhalter 2">
            <a:extLst>
              <a:ext uri="{FF2B5EF4-FFF2-40B4-BE49-F238E27FC236}">
                <a16:creationId xmlns:a16="http://schemas.microsoft.com/office/drawing/2014/main" id="{6C47D6DA-229C-DEFF-6992-169417C112B7}"/>
              </a:ext>
            </a:extLst>
          </p:cNvPr>
          <p:cNvSpPr>
            <a:spLocks noGrp="1"/>
          </p:cNvSpPr>
          <p:nvPr>
            <p:ph idx="1"/>
          </p:nvPr>
        </p:nvSpPr>
        <p:spPr/>
        <p:txBody>
          <a:bodyPr/>
          <a:lstStyle/>
          <a:p>
            <a:r>
              <a:rPr lang="en-US" b="1"/>
              <a:t>Stakeholder von Uber: </a:t>
            </a:r>
          </a:p>
          <a:p>
            <a:pPr marL="285750" indent="-285750">
              <a:buFont typeface="Arial" panose="020B0604020202020204" pitchFamily="34" charset="0"/>
              <a:buChar char="•"/>
            </a:pPr>
            <a:r>
              <a:rPr lang="en-US" err="1"/>
              <a:t>Fahrer</a:t>
            </a:r>
            <a:r>
              <a:rPr lang="en-US"/>
              <a:t> (</a:t>
            </a:r>
            <a:r>
              <a:rPr lang="en-US" err="1"/>
              <a:t>Anbieter</a:t>
            </a:r>
            <a:r>
              <a:rPr lang="en-US"/>
              <a:t>)</a:t>
            </a:r>
          </a:p>
          <a:p>
            <a:pPr marL="285750" indent="-285750">
              <a:buFont typeface="Arial" panose="020B0604020202020204" pitchFamily="34" charset="0"/>
              <a:buChar char="•"/>
            </a:pPr>
            <a:r>
              <a:rPr lang="en-US" err="1"/>
              <a:t>Kunden</a:t>
            </a:r>
            <a:r>
              <a:rPr lang="en-US"/>
              <a:t> (</a:t>
            </a:r>
            <a:r>
              <a:rPr lang="en-US" err="1"/>
              <a:t>Nutzer</a:t>
            </a:r>
            <a:r>
              <a:rPr lang="en-US"/>
              <a:t>)</a:t>
            </a:r>
          </a:p>
          <a:p>
            <a:pPr marL="285750" indent="-285750">
              <a:buFont typeface="Arial" panose="020B0604020202020204" pitchFamily="34" charset="0"/>
              <a:buChar char="•"/>
            </a:pPr>
            <a:r>
              <a:rPr lang="en-US" err="1"/>
              <a:t>Partnerrestaurants</a:t>
            </a:r>
            <a:r>
              <a:rPr lang="en-US"/>
              <a:t> (für UberEats) </a:t>
            </a:r>
          </a:p>
          <a:p>
            <a:pPr marL="285750" indent="-285750">
              <a:buFont typeface="Arial" panose="020B0604020202020204" pitchFamily="34" charset="0"/>
              <a:buChar char="•"/>
            </a:pPr>
            <a:r>
              <a:rPr lang="en-US" err="1"/>
              <a:t>Investoren</a:t>
            </a:r>
            <a:endParaRPr lang="en-US"/>
          </a:p>
          <a:p>
            <a:r>
              <a:rPr lang="en-US" b="1" err="1"/>
              <a:t>Geschäftsmodell</a:t>
            </a:r>
            <a:r>
              <a:rPr lang="en-US" b="1"/>
              <a:t>  von Uber:</a:t>
            </a:r>
          </a:p>
          <a:p>
            <a:pPr marL="285750" indent="-285750">
              <a:buFont typeface="Arial" panose="020B0604020202020204" pitchFamily="34" charset="0"/>
              <a:buChar char="•"/>
            </a:pPr>
            <a:r>
              <a:rPr lang="en-US" err="1"/>
              <a:t>Vermittlung</a:t>
            </a:r>
            <a:r>
              <a:rPr lang="en-US"/>
              <a:t> von </a:t>
            </a:r>
            <a:r>
              <a:rPr lang="en-US" err="1"/>
              <a:t>Dienstleistungen</a:t>
            </a:r>
            <a:r>
              <a:rPr lang="en-US"/>
              <a:t> </a:t>
            </a:r>
            <a:r>
              <a:rPr lang="en-US" err="1"/>
              <a:t>durch</a:t>
            </a:r>
            <a:r>
              <a:rPr lang="en-US"/>
              <a:t> </a:t>
            </a:r>
            <a:r>
              <a:rPr lang="en-US" err="1"/>
              <a:t>eine</a:t>
            </a:r>
            <a:r>
              <a:rPr lang="en-US"/>
              <a:t> </a:t>
            </a:r>
            <a:r>
              <a:rPr lang="en-US" err="1"/>
              <a:t>Technologieplattform</a:t>
            </a:r>
            <a:r>
              <a:rPr lang="en-US"/>
              <a:t> </a:t>
            </a:r>
          </a:p>
          <a:p>
            <a:r>
              <a:rPr lang="en-US" b="1"/>
              <a:t>Wertschöpfungskette von Uber: </a:t>
            </a:r>
          </a:p>
          <a:p>
            <a:pPr marL="285750" indent="-285750">
              <a:buFont typeface="Arial" panose="020B0604020202020204" pitchFamily="34" charset="0"/>
              <a:buChar char="•"/>
            </a:pPr>
            <a:r>
              <a:rPr lang="en-US" err="1"/>
              <a:t>Vermittlung</a:t>
            </a:r>
            <a:r>
              <a:rPr lang="en-US"/>
              <a:t> von </a:t>
            </a:r>
            <a:r>
              <a:rPr lang="en-US" err="1"/>
              <a:t>Fahrern</a:t>
            </a:r>
            <a:r>
              <a:rPr lang="en-US"/>
              <a:t> und </a:t>
            </a:r>
            <a:r>
              <a:rPr lang="en-US" err="1"/>
              <a:t>Fahrgästen</a:t>
            </a:r>
            <a:endParaRPr lang="en-US"/>
          </a:p>
          <a:p>
            <a:pPr marL="285750" indent="-285750">
              <a:buFont typeface="Arial" panose="020B0604020202020204" pitchFamily="34" charset="0"/>
              <a:buChar char="•"/>
            </a:pPr>
            <a:r>
              <a:rPr lang="en-US" err="1"/>
              <a:t>Entwicklung</a:t>
            </a:r>
            <a:r>
              <a:rPr lang="en-US"/>
              <a:t> und </a:t>
            </a:r>
            <a:r>
              <a:rPr lang="en-US" err="1"/>
              <a:t>Wartung</a:t>
            </a:r>
            <a:r>
              <a:rPr lang="en-US"/>
              <a:t> der </a:t>
            </a:r>
            <a:r>
              <a:rPr lang="en-US" err="1"/>
              <a:t>Plattform</a:t>
            </a:r>
            <a:endParaRPr lang="en-US"/>
          </a:p>
          <a:p>
            <a:pPr marL="285750" indent="-285750">
              <a:buFont typeface="Arial" panose="020B0604020202020204" pitchFamily="34" charset="0"/>
              <a:buChar char="•"/>
            </a:pPr>
            <a:r>
              <a:rPr lang="en-US"/>
              <a:t>Marketing</a:t>
            </a:r>
          </a:p>
          <a:p>
            <a:pPr marL="285750" indent="-285750">
              <a:buFont typeface="Arial" panose="020B0604020202020204" pitchFamily="34" charset="0"/>
              <a:buChar char="•"/>
            </a:pPr>
            <a:r>
              <a:rPr lang="en-US" err="1"/>
              <a:t>kontinuierliche</a:t>
            </a:r>
            <a:r>
              <a:rPr lang="en-US"/>
              <a:t> Innovation</a:t>
            </a:r>
          </a:p>
        </p:txBody>
      </p:sp>
      <p:sp>
        <p:nvSpPr>
          <p:cNvPr id="4" name="Foliennummernplatzhalter 3">
            <a:extLst>
              <a:ext uri="{FF2B5EF4-FFF2-40B4-BE49-F238E27FC236}">
                <a16:creationId xmlns:a16="http://schemas.microsoft.com/office/drawing/2014/main" id="{F038B4E8-2548-6911-3687-F1203E5083B7}"/>
              </a:ext>
            </a:extLst>
          </p:cNvPr>
          <p:cNvSpPr>
            <a:spLocks noGrp="1"/>
          </p:cNvSpPr>
          <p:nvPr>
            <p:ph type="sldNum" sz="quarter" idx="4"/>
          </p:nvPr>
        </p:nvSpPr>
        <p:spPr/>
        <p:txBody>
          <a:bodyPr/>
          <a:lstStyle/>
          <a:p>
            <a:fld id="{BAF04893-69FB-435D-AB2E-CA259D85B32F}" type="slidenum">
              <a:rPr lang="en-US" smtClean="0"/>
              <a:pPr/>
              <a:t>16</a:t>
            </a:fld>
            <a:endParaRPr lang="en-US"/>
          </a:p>
        </p:txBody>
      </p:sp>
      <p:sp>
        <p:nvSpPr>
          <p:cNvPr id="5" name="Inhaltsplatzhalter 4">
            <a:extLst>
              <a:ext uri="{FF2B5EF4-FFF2-40B4-BE49-F238E27FC236}">
                <a16:creationId xmlns:a16="http://schemas.microsoft.com/office/drawing/2014/main" id="{3898B0BB-DC8D-4678-7CCD-DE963447B34C}"/>
              </a:ext>
            </a:extLst>
          </p:cNvPr>
          <p:cNvSpPr>
            <a:spLocks noGrp="1"/>
          </p:cNvSpPr>
          <p:nvPr>
            <p:ph idx="10"/>
          </p:nvPr>
        </p:nvSpPr>
        <p:spPr/>
        <p:txBody>
          <a:bodyPr/>
          <a:lstStyle/>
          <a:p>
            <a:r>
              <a:rPr lang="en-US"/>
              <a:t>Identifikation von Stakeholdern und Wertversprechen</a:t>
            </a:r>
          </a:p>
        </p:txBody>
      </p:sp>
      <p:sp>
        <p:nvSpPr>
          <p:cNvPr id="6" name="Inhaltsplatzhalter 5">
            <a:extLst>
              <a:ext uri="{FF2B5EF4-FFF2-40B4-BE49-F238E27FC236}">
                <a16:creationId xmlns:a16="http://schemas.microsoft.com/office/drawing/2014/main" id="{2B7A964A-0ECA-0EEA-EF98-994051EB5F91}"/>
              </a:ext>
            </a:extLst>
          </p:cNvPr>
          <p:cNvSpPr>
            <a:spLocks noGrp="1"/>
          </p:cNvSpPr>
          <p:nvPr>
            <p:ph idx="11"/>
          </p:nvPr>
        </p:nvSpPr>
        <p:spPr/>
        <p:txBody>
          <a:bodyPr/>
          <a:lstStyle/>
          <a:p>
            <a:r>
              <a:rPr lang="en-US"/>
              <a:t>https://haraldpoettinger.com/plattform-netzwerkeffekte/</a:t>
            </a:r>
          </a:p>
        </p:txBody>
      </p:sp>
      <p:sp>
        <p:nvSpPr>
          <p:cNvPr id="7" name="Inhaltsplatzhalter 6">
            <a:extLst>
              <a:ext uri="{FF2B5EF4-FFF2-40B4-BE49-F238E27FC236}">
                <a16:creationId xmlns:a16="http://schemas.microsoft.com/office/drawing/2014/main" id="{38CA1B9E-DFB5-7039-F127-275BD95AAC37}"/>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35380730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9F5E9F-E681-86F9-23A3-F8BF9C821288}"/>
              </a:ext>
            </a:extLst>
          </p:cNvPr>
          <p:cNvSpPr>
            <a:spLocks noGrp="1"/>
          </p:cNvSpPr>
          <p:nvPr>
            <p:ph type="title"/>
          </p:nvPr>
        </p:nvSpPr>
        <p:spPr/>
        <p:txBody>
          <a:bodyPr/>
          <a:lstStyle/>
          <a:p>
            <a:r>
              <a:rPr lang="en-US"/>
              <a:t>Die </a:t>
            </a:r>
            <a:r>
              <a:rPr lang="en-US" err="1"/>
              <a:t>vertikale</a:t>
            </a:r>
            <a:r>
              <a:rPr lang="en-US"/>
              <a:t> Integration der Wertschöpfungskette </a:t>
            </a:r>
            <a:r>
              <a:rPr lang="en-US" err="1"/>
              <a:t>ist</a:t>
            </a:r>
            <a:r>
              <a:rPr lang="en-US"/>
              <a:t> </a:t>
            </a:r>
            <a:r>
              <a:rPr lang="en-US" err="1"/>
              <a:t>bei</a:t>
            </a:r>
            <a:r>
              <a:rPr lang="en-US"/>
              <a:t> Uber </a:t>
            </a:r>
            <a:r>
              <a:rPr lang="en-US" err="1"/>
              <a:t>wenig</a:t>
            </a:r>
            <a:r>
              <a:rPr lang="en-US"/>
              <a:t> bis gar </a:t>
            </a:r>
            <a:r>
              <a:rPr lang="en-US" err="1"/>
              <a:t>nicht</a:t>
            </a:r>
            <a:r>
              <a:rPr lang="en-US"/>
              <a:t> </a:t>
            </a:r>
            <a:r>
              <a:rPr lang="en-US" err="1"/>
              <a:t>ausgeprägt</a:t>
            </a:r>
            <a:endParaRPr lang="en-US"/>
          </a:p>
        </p:txBody>
      </p:sp>
      <p:sp>
        <p:nvSpPr>
          <p:cNvPr id="3" name="Inhaltsplatzhalter 2">
            <a:extLst>
              <a:ext uri="{FF2B5EF4-FFF2-40B4-BE49-F238E27FC236}">
                <a16:creationId xmlns:a16="http://schemas.microsoft.com/office/drawing/2014/main" id="{E29F8D2D-3DE8-DF63-9D8F-7EC4B5AE9D20}"/>
              </a:ext>
            </a:extLst>
          </p:cNvPr>
          <p:cNvSpPr>
            <a:spLocks noGrp="1"/>
          </p:cNvSpPr>
          <p:nvPr>
            <p:ph idx="1"/>
          </p:nvPr>
        </p:nvSpPr>
        <p:spPr/>
        <p:txBody>
          <a:bodyPr/>
          <a:lstStyle/>
          <a:p>
            <a:r>
              <a:rPr lang="en-US" sz="1400" b="1" err="1"/>
              <a:t>Vertikale</a:t>
            </a:r>
            <a:r>
              <a:rPr lang="en-US" sz="1400" b="1"/>
              <a:t> Integration:</a:t>
            </a:r>
          </a:p>
          <a:p>
            <a:pPr marL="171450" indent="-171450">
              <a:buFont typeface="Arial" panose="020B0604020202020204" pitchFamily="34" charset="0"/>
              <a:buChar char="•"/>
            </a:pPr>
            <a:r>
              <a:rPr lang="en-US" sz="1400" err="1"/>
              <a:t>Ausdehnung</a:t>
            </a:r>
            <a:r>
              <a:rPr lang="en-US" sz="1400"/>
              <a:t> </a:t>
            </a:r>
            <a:r>
              <a:rPr lang="en-US" sz="1400" err="1"/>
              <a:t>entlang</a:t>
            </a:r>
            <a:r>
              <a:rPr lang="en-US" sz="1400"/>
              <a:t> der Wertschöpfungskette </a:t>
            </a:r>
            <a:r>
              <a:rPr lang="en-US" sz="1400" err="1"/>
              <a:t>nach</a:t>
            </a:r>
            <a:r>
              <a:rPr lang="en-US" sz="1400"/>
              <a:t> </a:t>
            </a:r>
            <a:r>
              <a:rPr lang="en-US" sz="1400" err="1"/>
              <a:t>vorne</a:t>
            </a:r>
            <a:r>
              <a:rPr lang="en-US" sz="1400"/>
              <a:t> </a:t>
            </a:r>
            <a:r>
              <a:rPr lang="en-US" sz="1400" err="1"/>
              <a:t>oder</a:t>
            </a:r>
            <a:r>
              <a:rPr lang="en-US" sz="1400"/>
              <a:t> </a:t>
            </a:r>
            <a:r>
              <a:rPr lang="en-US" sz="1400" err="1"/>
              <a:t>nach</a:t>
            </a:r>
            <a:r>
              <a:rPr lang="en-US" sz="1400"/>
              <a:t> </a:t>
            </a:r>
            <a:r>
              <a:rPr lang="en-US" sz="1400" err="1"/>
              <a:t>hinten</a:t>
            </a:r>
            <a:endParaRPr lang="en-US" sz="1400"/>
          </a:p>
          <a:p>
            <a:pPr lvl="2"/>
            <a:r>
              <a:rPr lang="en-US" sz="1400" b="1" err="1"/>
              <a:t>Vorwärtsintegration</a:t>
            </a:r>
            <a:r>
              <a:rPr lang="en-US" sz="1400" b="1"/>
              <a:t>:</a:t>
            </a:r>
          </a:p>
          <a:p>
            <a:pPr marL="530225" lvl="2" indent="-171450">
              <a:buFont typeface="Arial" panose="020B0604020202020204" pitchFamily="34" charset="0"/>
              <a:buChar char="•"/>
            </a:pPr>
            <a:r>
              <a:rPr lang="en-US" sz="1400"/>
              <a:t>Uber </a:t>
            </a:r>
            <a:r>
              <a:rPr lang="en-US" sz="1400" err="1"/>
              <a:t>könnte</a:t>
            </a:r>
            <a:r>
              <a:rPr lang="en-US" sz="1400"/>
              <a:t> </a:t>
            </a:r>
            <a:r>
              <a:rPr lang="en-US" sz="1400" err="1"/>
              <a:t>neue</a:t>
            </a:r>
            <a:r>
              <a:rPr lang="en-US" sz="1400"/>
              <a:t> </a:t>
            </a:r>
            <a:r>
              <a:rPr lang="en-US" sz="1400" err="1"/>
              <a:t>Dienstleistungen</a:t>
            </a:r>
            <a:r>
              <a:rPr lang="en-US" sz="1400"/>
              <a:t> für die </a:t>
            </a:r>
            <a:r>
              <a:rPr lang="en-US" sz="1400" err="1"/>
              <a:t>Kunden</a:t>
            </a:r>
            <a:r>
              <a:rPr lang="en-US" sz="1400"/>
              <a:t> </a:t>
            </a:r>
            <a:r>
              <a:rPr lang="en-US" sz="1400" err="1"/>
              <a:t>anbieten</a:t>
            </a:r>
            <a:endParaRPr lang="en-US" sz="1400"/>
          </a:p>
          <a:p>
            <a:pPr marL="530225" lvl="2" indent="-171450">
              <a:buFont typeface="Arial" panose="020B0604020202020204" pitchFamily="34" charset="0"/>
              <a:buChar char="•"/>
            </a:pPr>
            <a:r>
              <a:rPr lang="en-US" sz="1400" err="1"/>
              <a:t>Zum</a:t>
            </a:r>
            <a:r>
              <a:rPr lang="en-US" sz="1400"/>
              <a:t> </a:t>
            </a:r>
            <a:r>
              <a:rPr lang="en-US" sz="1400" err="1"/>
              <a:t>Beispiel</a:t>
            </a:r>
            <a:r>
              <a:rPr lang="en-US" sz="1400"/>
              <a:t> </a:t>
            </a:r>
            <a:r>
              <a:rPr lang="en-US" sz="1400" err="1"/>
              <a:t>nicht</a:t>
            </a:r>
            <a:r>
              <a:rPr lang="en-US" sz="1400"/>
              <a:t> </a:t>
            </a:r>
            <a:r>
              <a:rPr lang="en-US" sz="1400" err="1"/>
              <a:t>nur</a:t>
            </a:r>
            <a:r>
              <a:rPr lang="en-US" sz="1400"/>
              <a:t> die </a:t>
            </a:r>
            <a:r>
              <a:rPr lang="en-US" sz="1400" err="1"/>
              <a:t>Technologieplattform</a:t>
            </a:r>
            <a:r>
              <a:rPr lang="en-US" sz="1400"/>
              <a:t> für die </a:t>
            </a:r>
            <a:r>
              <a:rPr lang="en-US" sz="1400" err="1"/>
              <a:t>Vermittlung</a:t>
            </a:r>
            <a:r>
              <a:rPr lang="en-US" sz="1400"/>
              <a:t> </a:t>
            </a:r>
            <a:r>
              <a:rPr lang="en-US" sz="1400" err="1"/>
              <a:t>bereitgestellt</a:t>
            </a:r>
            <a:r>
              <a:rPr lang="en-US" sz="1400"/>
              <a:t> </a:t>
            </a:r>
            <a:r>
              <a:rPr lang="en-US" sz="1400" err="1"/>
              <a:t>werden</a:t>
            </a:r>
            <a:r>
              <a:rPr lang="en-US" sz="1400"/>
              <a:t>, </a:t>
            </a:r>
            <a:r>
              <a:rPr lang="en-US" sz="1400" err="1"/>
              <a:t>sondern</a:t>
            </a:r>
            <a:r>
              <a:rPr lang="en-US" sz="1400"/>
              <a:t> </a:t>
            </a:r>
            <a:r>
              <a:rPr lang="en-US" sz="1400" err="1"/>
              <a:t>auch</a:t>
            </a:r>
            <a:r>
              <a:rPr lang="en-US" sz="1400"/>
              <a:t> die </a:t>
            </a:r>
            <a:r>
              <a:rPr lang="en-US" sz="1400" err="1"/>
              <a:t>tatsächlichen</a:t>
            </a:r>
            <a:r>
              <a:rPr lang="en-US" sz="1400"/>
              <a:t> </a:t>
            </a:r>
            <a:r>
              <a:rPr lang="en-US" sz="1400" err="1"/>
              <a:t>Dienstleistungen</a:t>
            </a:r>
            <a:r>
              <a:rPr lang="en-US" sz="1400"/>
              <a:t> </a:t>
            </a:r>
            <a:r>
              <a:rPr lang="en-US" sz="1400" err="1"/>
              <a:t>anbieten</a:t>
            </a:r>
            <a:r>
              <a:rPr lang="en-US" sz="1400"/>
              <a:t>, </a:t>
            </a:r>
            <a:r>
              <a:rPr lang="en-US" sz="1400" err="1"/>
              <a:t>wie</a:t>
            </a:r>
            <a:r>
              <a:rPr lang="en-US" sz="1400"/>
              <a:t> </a:t>
            </a:r>
            <a:r>
              <a:rPr lang="en-US" sz="1400" err="1"/>
              <a:t>etwa</a:t>
            </a:r>
            <a:r>
              <a:rPr lang="en-US" sz="1400"/>
              <a:t> die </a:t>
            </a:r>
            <a:r>
              <a:rPr lang="en-US" sz="1400" err="1"/>
              <a:t>Bereitstellung</a:t>
            </a:r>
            <a:r>
              <a:rPr lang="en-US" sz="1400"/>
              <a:t> </a:t>
            </a:r>
            <a:r>
              <a:rPr lang="en-US" sz="1400" err="1"/>
              <a:t>eigener</a:t>
            </a:r>
            <a:r>
              <a:rPr lang="en-US" sz="1400"/>
              <a:t> </a:t>
            </a:r>
            <a:r>
              <a:rPr lang="en-US" sz="1400" err="1"/>
              <a:t>Flotten</a:t>
            </a:r>
            <a:r>
              <a:rPr lang="en-US" sz="1400"/>
              <a:t> für Ride-Hailing </a:t>
            </a:r>
            <a:r>
              <a:rPr lang="en-US" sz="1400" err="1"/>
              <a:t>oder</a:t>
            </a:r>
            <a:r>
              <a:rPr lang="en-US" sz="1400"/>
              <a:t> </a:t>
            </a:r>
            <a:r>
              <a:rPr lang="en-US" sz="1400" err="1"/>
              <a:t>Essenslieferungen</a:t>
            </a:r>
            <a:endParaRPr lang="en-US" sz="1400"/>
          </a:p>
          <a:p>
            <a:pPr lvl="2"/>
            <a:r>
              <a:rPr lang="en-US" sz="1400" b="1" err="1"/>
              <a:t>Rückwärtsintegration</a:t>
            </a:r>
            <a:r>
              <a:rPr lang="en-US" sz="1400" b="1"/>
              <a:t>:</a:t>
            </a:r>
          </a:p>
          <a:p>
            <a:pPr marL="530225" lvl="2" indent="-171450">
              <a:buFont typeface="Arial" panose="020B0604020202020204" pitchFamily="34" charset="0"/>
              <a:buChar char="•"/>
            </a:pPr>
            <a:r>
              <a:rPr lang="en-US" sz="1400" err="1"/>
              <a:t>Ausdehnung</a:t>
            </a:r>
            <a:r>
              <a:rPr lang="en-US" sz="1400"/>
              <a:t> der </a:t>
            </a:r>
            <a:r>
              <a:rPr lang="en-US" sz="1400" err="1"/>
              <a:t>Aktivitäten</a:t>
            </a:r>
            <a:r>
              <a:rPr lang="en-US" sz="1400"/>
              <a:t> in </a:t>
            </a:r>
            <a:r>
              <a:rPr lang="en-US" sz="1400" err="1"/>
              <a:t>Richtung</a:t>
            </a:r>
            <a:r>
              <a:rPr lang="en-US" sz="1400"/>
              <a:t> der </a:t>
            </a:r>
            <a:r>
              <a:rPr lang="en-US" sz="1400" err="1"/>
              <a:t>Lieferanten</a:t>
            </a:r>
            <a:r>
              <a:rPr lang="en-US" sz="1400"/>
              <a:t> </a:t>
            </a:r>
            <a:r>
              <a:rPr lang="en-US" sz="1400" err="1"/>
              <a:t>oder</a:t>
            </a:r>
            <a:r>
              <a:rPr lang="en-US" sz="1400"/>
              <a:t> </a:t>
            </a:r>
            <a:r>
              <a:rPr lang="en-US" sz="1400" err="1"/>
              <a:t>Produktionsstätten</a:t>
            </a:r>
            <a:endParaRPr lang="en-US" sz="1400"/>
          </a:p>
          <a:p>
            <a:pPr marL="530225" lvl="2" indent="-171450">
              <a:buFont typeface="Arial" panose="020B0604020202020204" pitchFamily="34" charset="0"/>
              <a:buChar char="•"/>
            </a:pPr>
            <a:r>
              <a:rPr lang="en-US" sz="1400" err="1"/>
              <a:t>Zum</a:t>
            </a:r>
            <a:r>
              <a:rPr lang="en-US" sz="1400"/>
              <a:t> </a:t>
            </a:r>
            <a:r>
              <a:rPr lang="en-US" sz="1400" err="1"/>
              <a:t>Beispiel</a:t>
            </a:r>
            <a:r>
              <a:rPr lang="en-US" sz="1400"/>
              <a:t> </a:t>
            </a:r>
            <a:r>
              <a:rPr lang="en-US" sz="1400" err="1"/>
              <a:t>Erwerb</a:t>
            </a:r>
            <a:r>
              <a:rPr lang="en-US" sz="1400"/>
              <a:t> von </a:t>
            </a:r>
            <a:r>
              <a:rPr lang="en-US" sz="1400" err="1"/>
              <a:t>Flotten</a:t>
            </a:r>
            <a:r>
              <a:rPr lang="en-US" sz="1400"/>
              <a:t>, </a:t>
            </a:r>
            <a:r>
              <a:rPr lang="en-US" sz="1400" err="1"/>
              <a:t>Partnerschaften</a:t>
            </a:r>
            <a:r>
              <a:rPr lang="en-US" sz="1400"/>
              <a:t> mit </a:t>
            </a:r>
            <a:r>
              <a:rPr lang="en-US" sz="1400" err="1"/>
              <a:t>Autoherstellern</a:t>
            </a:r>
            <a:r>
              <a:rPr lang="en-US" sz="1400"/>
              <a:t> für die </a:t>
            </a:r>
            <a:r>
              <a:rPr lang="en-US" sz="1400" err="1"/>
              <a:t>Bereitstellung</a:t>
            </a:r>
            <a:r>
              <a:rPr lang="en-US" sz="1400"/>
              <a:t> von </a:t>
            </a:r>
            <a:r>
              <a:rPr lang="en-US" sz="1400" err="1"/>
              <a:t>Fahrzeugen</a:t>
            </a:r>
            <a:endParaRPr lang="en-US" sz="1400"/>
          </a:p>
          <a:p>
            <a:pPr marL="285750" indent="-285750">
              <a:buFont typeface="Wingdings" panose="05000000000000000000" pitchFamily="2" charset="2"/>
              <a:buChar char="è"/>
            </a:pPr>
            <a:r>
              <a:rPr lang="en-US" sz="1400"/>
              <a:t>Die </a:t>
            </a:r>
            <a:r>
              <a:rPr lang="en-US" sz="1400" err="1"/>
              <a:t>vertikale</a:t>
            </a:r>
            <a:r>
              <a:rPr lang="en-US" sz="1400"/>
              <a:t> Integration der Wertschöpfungskette </a:t>
            </a:r>
            <a:r>
              <a:rPr lang="en-US" sz="1400" err="1"/>
              <a:t>ist</a:t>
            </a:r>
            <a:r>
              <a:rPr lang="en-US" sz="1400"/>
              <a:t> </a:t>
            </a:r>
            <a:r>
              <a:rPr lang="en-US" sz="1400" err="1"/>
              <a:t>sowohl</a:t>
            </a:r>
            <a:r>
              <a:rPr lang="en-US" sz="1400"/>
              <a:t> </a:t>
            </a:r>
            <a:r>
              <a:rPr lang="en-US" sz="1400" err="1"/>
              <a:t>finanziell</a:t>
            </a:r>
            <a:r>
              <a:rPr lang="en-US" sz="1400"/>
              <a:t> </a:t>
            </a:r>
            <a:r>
              <a:rPr lang="en-US" sz="1400" err="1"/>
              <a:t>als</a:t>
            </a:r>
            <a:r>
              <a:rPr lang="en-US" sz="1400"/>
              <a:t> </a:t>
            </a:r>
            <a:r>
              <a:rPr lang="en-US" sz="1400" err="1"/>
              <a:t>auch</a:t>
            </a:r>
            <a:r>
              <a:rPr lang="en-US" sz="1400"/>
              <a:t> von den </a:t>
            </a:r>
            <a:r>
              <a:rPr lang="en-US" sz="1400" err="1"/>
              <a:t>benötigten</a:t>
            </a:r>
            <a:r>
              <a:rPr lang="en-US" sz="1400"/>
              <a:t> </a:t>
            </a:r>
            <a:r>
              <a:rPr lang="en-US" sz="1400" err="1"/>
              <a:t>Kapazitäten</a:t>
            </a:r>
            <a:r>
              <a:rPr lang="en-US" sz="1400"/>
              <a:t> </a:t>
            </a:r>
            <a:r>
              <a:rPr lang="en-US" sz="1400" err="1"/>
              <a:t>aufwendiger</a:t>
            </a:r>
            <a:r>
              <a:rPr lang="en-US" sz="1400"/>
              <a:t> </a:t>
            </a:r>
            <a:r>
              <a:rPr lang="en-US" sz="1400" err="1"/>
              <a:t>als</a:t>
            </a:r>
            <a:r>
              <a:rPr lang="en-US" sz="1400"/>
              <a:t> die </a:t>
            </a:r>
            <a:r>
              <a:rPr lang="en-US" sz="1400" err="1"/>
              <a:t>horizontale</a:t>
            </a:r>
            <a:r>
              <a:rPr lang="en-US" sz="1400"/>
              <a:t> Integration, </a:t>
            </a:r>
            <a:r>
              <a:rPr lang="en-US" sz="1400" err="1"/>
              <a:t>weshalb</a:t>
            </a:r>
            <a:r>
              <a:rPr lang="en-US" sz="1400"/>
              <a:t> die Wertschöpfungskette von Uber auf der </a:t>
            </a:r>
            <a:r>
              <a:rPr lang="en-US" sz="1400" err="1"/>
              <a:t>horizontalen</a:t>
            </a:r>
            <a:r>
              <a:rPr lang="en-US" sz="1400"/>
              <a:t> Ebene </a:t>
            </a:r>
            <a:r>
              <a:rPr lang="en-US" sz="1400" err="1"/>
              <a:t>mehr</a:t>
            </a:r>
            <a:r>
              <a:rPr lang="en-US" sz="1400"/>
              <a:t> </a:t>
            </a:r>
            <a:r>
              <a:rPr lang="en-US" sz="1400" err="1"/>
              <a:t>ausgeprägt</a:t>
            </a:r>
            <a:r>
              <a:rPr lang="en-US" sz="1400"/>
              <a:t> </a:t>
            </a:r>
            <a:r>
              <a:rPr lang="en-US" sz="1400" err="1"/>
              <a:t>ist</a:t>
            </a:r>
            <a:r>
              <a:rPr lang="en-US" sz="1400"/>
              <a:t> </a:t>
            </a:r>
            <a:r>
              <a:rPr lang="en-US" sz="1400" err="1"/>
              <a:t>als</a:t>
            </a:r>
            <a:r>
              <a:rPr lang="en-US" sz="1400"/>
              <a:t> auf der </a:t>
            </a:r>
            <a:r>
              <a:rPr lang="en-US" sz="1400" err="1"/>
              <a:t>vertikalen</a:t>
            </a:r>
            <a:r>
              <a:rPr lang="en-US" sz="1400"/>
              <a:t>. </a:t>
            </a:r>
          </a:p>
          <a:p>
            <a:pPr marL="285750" indent="-285750">
              <a:buFont typeface="Wingdings" panose="05000000000000000000" pitchFamily="2" charset="2"/>
              <a:buChar char="è"/>
            </a:pPr>
            <a:endParaRPr lang="en-US"/>
          </a:p>
          <a:p>
            <a:endParaRPr lang="en-US" sz="1600"/>
          </a:p>
          <a:p>
            <a:endParaRPr lang="en-US"/>
          </a:p>
        </p:txBody>
      </p:sp>
      <p:sp>
        <p:nvSpPr>
          <p:cNvPr id="4" name="Foliennummernplatzhalter 3">
            <a:extLst>
              <a:ext uri="{FF2B5EF4-FFF2-40B4-BE49-F238E27FC236}">
                <a16:creationId xmlns:a16="http://schemas.microsoft.com/office/drawing/2014/main" id="{A92CE189-27C3-E4D7-9AB0-CE6135C1839F}"/>
              </a:ext>
            </a:extLst>
          </p:cNvPr>
          <p:cNvSpPr>
            <a:spLocks noGrp="1"/>
          </p:cNvSpPr>
          <p:nvPr>
            <p:ph type="sldNum" sz="quarter" idx="4"/>
          </p:nvPr>
        </p:nvSpPr>
        <p:spPr/>
        <p:txBody>
          <a:bodyPr/>
          <a:lstStyle/>
          <a:p>
            <a:fld id="{BAF04893-69FB-435D-AB2E-CA259D85B32F}" type="slidenum">
              <a:rPr lang="en-US" smtClean="0"/>
              <a:pPr/>
              <a:t>17</a:t>
            </a:fld>
            <a:endParaRPr lang="en-US"/>
          </a:p>
        </p:txBody>
      </p:sp>
      <p:sp>
        <p:nvSpPr>
          <p:cNvPr id="5" name="Inhaltsplatzhalter 4">
            <a:extLst>
              <a:ext uri="{FF2B5EF4-FFF2-40B4-BE49-F238E27FC236}">
                <a16:creationId xmlns:a16="http://schemas.microsoft.com/office/drawing/2014/main" id="{B1EF9204-9482-90DA-0739-9E0BE4A40874}"/>
              </a:ext>
            </a:extLst>
          </p:cNvPr>
          <p:cNvSpPr>
            <a:spLocks noGrp="1"/>
          </p:cNvSpPr>
          <p:nvPr>
            <p:ph idx="10"/>
          </p:nvPr>
        </p:nvSpPr>
        <p:spPr/>
        <p:txBody>
          <a:bodyPr/>
          <a:lstStyle/>
          <a:p>
            <a:r>
              <a:rPr lang="en-US" err="1"/>
              <a:t>Vertikale</a:t>
            </a:r>
            <a:r>
              <a:rPr lang="en-US"/>
              <a:t> Integration der Wertschöpfungskette</a:t>
            </a:r>
          </a:p>
        </p:txBody>
      </p:sp>
      <p:sp>
        <p:nvSpPr>
          <p:cNvPr id="6" name="Inhaltsplatzhalter 5">
            <a:extLst>
              <a:ext uri="{FF2B5EF4-FFF2-40B4-BE49-F238E27FC236}">
                <a16:creationId xmlns:a16="http://schemas.microsoft.com/office/drawing/2014/main" id="{1FD676B1-9843-9A77-77FC-A793F9EAB4E5}"/>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88D21E91-2291-602A-B200-F07F25514C4E}"/>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1328745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9F5E9F-E681-86F9-23A3-F8BF9C821288}"/>
              </a:ext>
            </a:extLst>
          </p:cNvPr>
          <p:cNvSpPr>
            <a:spLocks noGrp="1"/>
          </p:cNvSpPr>
          <p:nvPr>
            <p:ph type="title"/>
          </p:nvPr>
        </p:nvSpPr>
        <p:spPr/>
        <p:txBody>
          <a:bodyPr/>
          <a:lstStyle/>
          <a:p>
            <a:r>
              <a:rPr lang="en-US"/>
              <a:t>Die </a:t>
            </a:r>
            <a:r>
              <a:rPr lang="en-US" err="1"/>
              <a:t>horizontale</a:t>
            </a:r>
            <a:r>
              <a:rPr lang="en-US"/>
              <a:t> Integration der Wertschöpfungskette </a:t>
            </a:r>
            <a:r>
              <a:rPr lang="en-US" err="1"/>
              <a:t>ist</a:t>
            </a:r>
            <a:r>
              <a:rPr lang="en-US"/>
              <a:t> </a:t>
            </a:r>
            <a:r>
              <a:rPr lang="en-US" err="1"/>
              <a:t>bei</a:t>
            </a:r>
            <a:r>
              <a:rPr lang="en-US"/>
              <a:t> Uber </a:t>
            </a:r>
            <a:r>
              <a:rPr lang="en-US" err="1"/>
              <a:t>durch</a:t>
            </a:r>
            <a:r>
              <a:rPr lang="en-US"/>
              <a:t> UberEats </a:t>
            </a:r>
            <a:r>
              <a:rPr lang="en-US" err="1"/>
              <a:t>oder</a:t>
            </a:r>
            <a:r>
              <a:rPr lang="en-US"/>
              <a:t> Uber Freight </a:t>
            </a:r>
            <a:r>
              <a:rPr lang="en-US" err="1"/>
              <a:t>ausgeprägter</a:t>
            </a:r>
            <a:r>
              <a:rPr lang="en-US"/>
              <a:t> </a:t>
            </a:r>
          </a:p>
        </p:txBody>
      </p:sp>
      <p:sp>
        <p:nvSpPr>
          <p:cNvPr id="3" name="Inhaltsplatzhalter 2">
            <a:extLst>
              <a:ext uri="{FF2B5EF4-FFF2-40B4-BE49-F238E27FC236}">
                <a16:creationId xmlns:a16="http://schemas.microsoft.com/office/drawing/2014/main" id="{E29F8D2D-3DE8-DF63-9D8F-7EC4B5AE9D20}"/>
              </a:ext>
            </a:extLst>
          </p:cNvPr>
          <p:cNvSpPr>
            <a:spLocks noGrp="1"/>
          </p:cNvSpPr>
          <p:nvPr>
            <p:ph idx="1"/>
          </p:nvPr>
        </p:nvSpPr>
        <p:spPr/>
        <p:txBody>
          <a:bodyPr/>
          <a:lstStyle/>
          <a:p>
            <a:r>
              <a:rPr lang="en-US" sz="1400" b="1" err="1"/>
              <a:t>Horizontale</a:t>
            </a:r>
            <a:r>
              <a:rPr lang="en-US" sz="1400" b="1"/>
              <a:t> Integration:</a:t>
            </a:r>
          </a:p>
          <a:p>
            <a:pPr marL="285750" indent="-285750">
              <a:buFont typeface="Arial" panose="020B0604020202020204" pitchFamily="34" charset="0"/>
              <a:buChar char="•"/>
            </a:pPr>
            <a:r>
              <a:rPr lang="en-US" sz="1400" err="1"/>
              <a:t>Erweiterung</a:t>
            </a:r>
            <a:r>
              <a:rPr lang="en-US" sz="1400"/>
              <a:t> der </a:t>
            </a:r>
            <a:r>
              <a:rPr lang="en-US" sz="1400" err="1"/>
              <a:t>Aktivitäten</a:t>
            </a:r>
            <a:r>
              <a:rPr lang="en-US" sz="1400"/>
              <a:t> auf </a:t>
            </a:r>
            <a:r>
              <a:rPr lang="en-US" sz="1400" err="1"/>
              <a:t>gleicher</a:t>
            </a:r>
            <a:r>
              <a:rPr lang="en-US" sz="1400"/>
              <a:t> </a:t>
            </a:r>
            <a:r>
              <a:rPr lang="en-US" sz="1400" err="1"/>
              <a:t>Hierarchieebene</a:t>
            </a:r>
            <a:r>
              <a:rPr lang="en-US" sz="1400"/>
              <a:t> der Wertschöpfungskette</a:t>
            </a:r>
          </a:p>
          <a:p>
            <a:pPr marL="285750" indent="-285750">
              <a:buFont typeface="Arial" panose="020B0604020202020204" pitchFamily="34" charset="0"/>
              <a:buChar char="•"/>
            </a:pPr>
            <a:r>
              <a:rPr lang="en-US" sz="1400"/>
              <a:t>Expansion in </a:t>
            </a:r>
            <a:r>
              <a:rPr lang="en-US" sz="1400" err="1"/>
              <a:t>Märkte</a:t>
            </a:r>
            <a:r>
              <a:rPr lang="en-US" sz="1400"/>
              <a:t>, die in </a:t>
            </a:r>
            <a:r>
              <a:rPr lang="en-US" sz="1400" err="1"/>
              <a:t>direktem</a:t>
            </a:r>
            <a:r>
              <a:rPr lang="en-US" sz="1400"/>
              <a:t> </a:t>
            </a:r>
            <a:r>
              <a:rPr lang="en-US" sz="1400" err="1"/>
              <a:t>Zusammenhang</a:t>
            </a:r>
            <a:r>
              <a:rPr lang="en-US" sz="1400"/>
              <a:t> mit den </a:t>
            </a:r>
            <a:r>
              <a:rPr lang="en-US" sz="1400" err="1"/>
              <a:t>bestehenden</a:t>
            </a:r>
            <a:r>
              <a:rPr lang="en-US" sz="1400"/>
              <a:t> </a:t>
            </a:r>
            <a:r>
              <a:rPr lang="en-US" sz="1400" err="1"/>
              <a:t>Aktivitäten</a:t>
            </a:r>
            <a:r>
              <a:rPr lang="en-US" sz="1400"/>
              <a:t> </a:t>
            </a:r>
            <a:r>
              <a:rPr lang="en-US" sz="1400" err="1"/>
              <a:t>stehen</a:t>
            </a:r>
            <a:endParaRPr lang="en-US" sz="1400"/>
          </a:p>
          <a:p>
            <a:pPr marL="285750" indent="-285750">
              <a:buFont typeface="Wingdings" panose="05000000000000000000" pitchFamily="2" charset="2"/>
              <a:buChar char="è"/>
            </a:pPr>
            <a:r>
              <a:rPr lang="en-US" sz="1400" err="1"/>
              <a:t>Erweiterung</a:t>
            </a:r>
            <a:r>
              <a:rPr lang="en-US" sz="1400"/>
              <a:t> von Ride-Hailing auf </a:t>
            </a:r>
            <a:r>
              <a:rPr lang="en-US" sz="1400" err="1"/>
              <a:t>Essenslieferungen</a:t>
            </a:r>
            <a:r>
              <a:rPr lang="en-US" sz="1400"/>
              <a:t> (UberEats) </a:t>
            </a:r>
            <a:r>
              <a:rPr lang="en-US" sz="1400" err="1"/>
              <a:t>oder</a:t>
            </a:r>
            <a:r>
              <a:rPr lang="en-US" sz="1400"/>
              <a:t> </a:t>
            </a:r>
            <a:r>
              <a:rPr lang="en-US" sz="1400" err="1"/>
              <a:t>Frachttransport</a:t>
            </a:r>
            <a:r>
              <a:rPr lang="en-US" sz="1400"/>
              <a:t> (Uber Freight) </a:t>
            </a:r>
          </a:p>
          <a:p>
            <a:pPr marL="285750" indent="-285750">
              <a:buFont typeface="Wingdings" panose="05000000000000000000" pitchFamily="2" charset="2"/>
              <a:buChar char="è"/>
            </a:pPr>
            <a:r>
              <a:rPr lang="en-US" sz="1400"/>
              <a:t>Ubers Palette von </a:t>
            </a:r>
            <a:r>
              <a:rPr lang="en-US" sz="1400" err="1"/>
              <a:t>Dienstleistungen</a:t>
            </a:r>
            <a:r>
              <a:rPr lang="en-US" sz="1400"/>
              <a:t> </a:t>
            </a:r>
            <a:r>
              <a:rPr lang="en-US" sz="1400" err="1"/>
              <a:t>wird</a:t>
            </a:r>
            <a:r>
              <a:rPr lang="en-US" sz="1400"/>
              <a:t> horizontal </a:t>
            </a:r>
            <a:r>
              <a:rPr lang="en-US" sz="1400" err="1"/>
              <a:t>erweitert</a:t>
            </a:r>
            <a:r>
              <a:rPr lang="en-US" sz="1400"/>
              <a:t> und </a:t>
            </a:r>
            <a:r>
              <a:rPr lang="en-US" sz="1400" err="1"/>
              <a:t>diese</a:t>
            </a:r>
            <a:r>
              <a:rPr lang="en-US" sz="1400"/>
              <a:t> </a:t>
            </a:r>
            <a:r>
              <a:rPr lang="en-US" sz="1400" err="1"/>
              <a:t>baut</a:t>
            </a:r>
            <a:r>
              <a:rPr lang="en-US" sz="1400"/>
              <a:t> auf den </a:t>
            </a:r>
            <a:r>
              <a:rPr lang="en-US" sz="1400" err="1"/>
              <a:t>bestehenden</a:t>
            </a:r>
            <a:r>
              <a:rPr lang="en-US" sz="1400"/>
              <a:t> </a:t>
            </a:r>
            <a:r>
              <a:rPr lang="en-US" sz="1400" err="1"/>
              <a:t>Technologieplattformen</a:t>
            </a:r>
            <a:r>
              <a:rPr lang="en-US" sz="1400"/>
              <a:t> auf</a:t>
            </a:r>
          </a:p>
          <a:p>
            <a:pPr marL="285750" indent="-285750">
              <a:buFont typeface="Wingdings" panose="05000000000000000000" pitchFamily="2" charset="2"/>
              <a:buChar char="è"/>
            </a:pPr>
            <a:r>
              <a:rPr lang="en-US" sz="1400"/>
              <a:t>Es </a:t>
            </a:r>
            <a:r>
              <a:rPr lang="en-US" sz="1400" err="1"/>
              <a:t>ist</a:t>
            </a:r>
            <a:r>
              <a:rPr lang="en-US" sz="1400"/>
              <a:t> </a:t>
            </a:r>
            <a:r>
              <a:rPr lang="en-US" sz="1400" err="1"/>
              <a:t>leichter</a:t>
            </a:r>
            <a:r>
              <a:rPr lang="en-US" sz="1400"/>
              <a:t> </a:t>
            </a:r>
            <a:r>
              <a:rPr lang="en-US" sz="1400" err="1"/>
              <a:t>sich</a:t>
            </a:r>
            <a:r>
              <a:rPr lang="en-US" sz="1400"/>
              <a:t> auf </a:t>
            </a:r>
            <a:r>
              <a:rPr lang="en-US" sz="1400" err="1"/>
              <a:t>horizontaler</a:t>
            </a:r>
            <a:r>
              <a:rPr lang="en-US" sz="1400"/>
              <a:t> Ebene </a:t>
            </a:r>
            <a:r>
              <a:rPr lang="en-US" sz="1400" err="1"/>
              <a:t>zu</a:t>
            </a:r>
            <a:r>
              <a:rPr lang="en-US" sz="1400"/>
              <a:t> </a:t>
            </a:r>
            <a:r>
              <a:rPr lang="en-US" sz="1400" err="1"/>
              <a:t>erweitern</a:t>
            </a:r>
            <a:r>
              <a:rPr lang="en-US" sz="1400"/>
              <a:t>, da das </a:t>
            </a:r>
            <a:r>
              <a:rPr lang="en-US" sz="1400" err="1"/>
              <a:t>Grundgerüst</a:t>
            </a:r>
            <a:r>
              <a:rPr lang="en-US" sz="1400"/>
              <a:t> der </a:t>
            </a:r>
            <a:r>
              <a:rPr lang="en-US" sz="1400" err="1"/>
              <a:t>Technologieplattform</a:t>
            </a:r>
            <a:r>
              <a:rPr lang="en-US" sz="1400"/>
              <a:t> </a:t>
            </a:r>
            <a:r>
              <a:rPr lang="en-US" sz="1400" err="1"/>
              <a:t>schon</a:t>
            </a:r>
            <a:r>
              <a:rPr lang="en-US" sz="1400"/>
              <a:t> </a:t>
            </a:r>
            <a:r>
              <a:rPr lang="en-US" sz="1400" err="1"/>
              <a:t>steht</a:t>
            </a:r>
            <a:r>
              <a:rPr lang="en-US" sz="1400"/>
              <a:t> und </a:t>
            </a:r>
            <a:r>
              <a:rPr lang="en-US" sz="1400" err="1"/>
              <a:t>dort</a:t>
            </a:r>
            <a:r>
              <a:rPr lang="en-US" sz="1400"/>
              <a:t> </a:t>
            </a:r>
            <a:r>
              <a:rPr lang="en-US" sz="1400" err="1"/>
              <a:t>nur</a:t>
            </a:r>
            <a:r>
              <a:rPr lang="en-US" sz="1400"/>
              <a:t> </a:t>
            </a:r>
            <a:r>
              <a:rPr lang="en-US" sz="1400" err="1"/>
              <a:t>wenige</a:t>
            </a:r>
            <a:r>
              <a:rPr lang="en-US" sz="1400"/>
              <a:t> </a:t>
            </a:r>
            <a:r>
              <a:rPr lang="en-US" sz="1400" err="1"/>
              <a:t>Veränderungen</a:t>
            </a:r>
            <a:r>
              <a:rPr lang="en-US" sz="1400"/>
              <a:t> </a:t>
            </a:r>
            <a:r>
              <a:rPr lang="en-US" sz="1400" err="1"/>
              <a:t>durchgeführt</a:t>
            </a:r>
            <a:r>
              <a:rPr lang="en-US" sz="1400"/>
              <a:t> </a:t>
            </a:r>
            <a:r>
              <a:rPr lang="en-US" sz="1400" err="1"/>
              <a:t>werden</a:t>
            </a:r>
            <a:r>
              <a:rPr lang="en-US" sz="1400"/>
              <a:t> </a:t>
            </a:r>
            <a:r>
              <a:rPr lang="en-US" sz="1400" err="1"/>
              <a:t>müssen</a:t>
            </a:r>
            <a:r>
              <a:rPr lang="en-US" sz="1400"/>
              <a:t>, um </a:t>
            </a:r>
            <a:r>
              <a:rPr lang="en-US" sz="1400" err="1"/>
              <a:t>andere</a:t>
            </a:r>
            <a:r>
              <a:rPr lang="en-US" sz="1400"/>
              <a:t> </a:t>
            </a:r>
            <a:r>
              <a:rPr lang="en-US" sz="1400" err="1"/>
              <a:t>gleichartige</a:t>
            </a:r>
            <a:r>
              <a:rPr lang="en-US" sz="1400"/>
              <a:t> </a:t>
            </a:r>
            <a:r>
              <a:rPr lang="en-US" sz="1400" err="1"/>
              <a:t>Dienstleistungen</a:t>
            </a:r>
            <a:r>
              <a:rPr lang="en-US" sz="1400"/>
              <a:t> </a:t>
            </a:r>
            <a:r>
              <a:rPr lang="en-US" sz="1400" err="1"/>
              <a:t>zu</a:t>
            </a:r>
            <a:r>
              <a:rPr lang="en-US" sz="1400"/>
              <a:t> </a:t>
            </a:r>
            <a:r>
              <a:rPr lang="en-US" sz="1400" err="1"/>
              <a:t>integrieren</a:t>
            </a:r>
            <a:endParaRPr lang="en-US" sz="1400"/>
          </a:p>
          <a:p>
            <a:pPr marL="171450" indent="-171450">
              <a:buFont typeface="Arial" panose="020B0604020202020204" pitchFamily="34" charset="0"/>
              <a:buChar char="•"/>
            </a:pPr>
            <a:endParaRPr lang="en-US" sz="1400"/>
          </a:p>
          <a:p>
            <a:r>
              <a:rPr lang="en-US" sz="1400" err="1"/>
              <a:t>Diese</a:t>
            </a:r>
            <a:r>
              <a:rPr lang="en-US" sz="1400"/>
              <a:t> </a:t>
            </a:r>
            <a:r>
              <a:rPr lang="en-US" sz="1400" err="1"/>
              <a:t>Formen</a:t>
            </a:r>
            <a:r>
              <a:rPr lang="en-US" sz="1400"/>
              <a:t> der Integration </a:t>
            </a:r>
            <a:r>
              <a:rPr lang="en-US" sz="1400" err="1"/>
              <a:t>ermöglichen</a:t>
            </a:r>
            <a:r>
              <a:rPr lang="en-US" sz="1400"/>
              <a:t> </a:t>
            </a:r>
            <a:r>
              <a:rPr lang="en-US" sz="1400" err="1"/>
              <a:t>Unternehmen</a:t>
            </a:r>
            <a:r>
              <a:rPr lang="en-US" sz="1400"/>
              <a:t> </a:t>
            </a:r>
            <a:r>
              <a:rPr lang="en-US" sz="1400" err="1"/>
              <a:t>wie</a:t>
            </a:r>
            <a:r>
              <a:rPr lang="en-US" sz="1400"/>
              <a:t> Uber, </a:t>
            </a:r>
            <a:r>
              <a:rPr lang="en-US" sz="1400" err="1"/>
              <a:t>ihre</a:t>
            </a:r>
            <a:r>
              <a:rPr lang="en-US" sz="1400"/>
              <a:t> </a:t>
            </a:r>
            <a:r>
              <a:rPr lang="en-US" sz="1400" b="1" err="1"/>
              <a:t>Aktivitäten</a:t>
            </a:r>
            <a:r>
              <a:rPr lang="en-US" sz="1400" b="1"/>
              <a:t> </a:t>
            </a:r>
            <a:r>
              <a:rPr lang="en-US" sz="1400" b="1" err="1"/>
              <a:t>zu</a:t>
            </a:r>
            <a:r>
              <a:rPr lang="en-US" sz="1400" b="1"/>
              <a:t> </a:t>
            </a:r>
            <a:r>
              <a:rPr lang="en-US" sz="1400" b="1" err="1"/>
              <a:t>erweitern</a:t>
            </a:r>
            <a:r>
              <a:rPr lang="en-US" sz="1400" b="1"/>
              <a:t> </a:t>
            </a:r>
            <a:r>
              <a:rPr lang="en-US" sz="1400"/>
              <a:t>und </a:t>
            </a:r>
            <a:r>
              <a:rPr lang="en-US" sz="1400" err="1"/>
              <a:t>mehr</a:t>
            </a:r>
            <a:r>
              <a:rPr lang="en-US" sz="1400"/>
              <a:t> </a:t>
            </a:r>
            <a:r>
              <a:rPr lang="en-US" sz="1400" b="1" err="1"/>
              <a:t>Kontrolle</a:t>
            </a:r>
            <a:r>
              <a:rPr lang="en-US" sz="1400" b="1"/>
              <a:t> </a:t>
            </a:r>
            <a:r>
              <a:rPr lang="en-US" sz="1400" err="1"/>
              <a:t>über</a:t>
            </a:r>
            <a:r>
              <a:rPr lang="en-US" sz="1400"/>
              <a:t> die </a:t>
            </a:r>
            <a:r>
              <a:rPr lang="en-US" sz="1400" err="1"/>
              <a:t>verschiedenen</a:t>
            </a:r>
            <a:r>
              <a:rPr lang="en-US" sz="1400"/>
              <a:t> </a:t>
            </a:r>
            <a:r>
              <a:rPr lang="en-US" sz="1400" err="1"/>
              <a:t>Aspekte</a:t>
            </a:r>
            <a:r>
              <a:rPr lang="en-US" sz="1400"/>
              <a:t> </a:t>
            </a:r>
            <a:r>
              <a:rPr lang="en-US" sz="1400" err="1"/>
              <a:t>ihrer</a:t>
            </a:r>
            <a:r>
              <a:rPr lang="en-US" sz="1400"/>
              <a:t> Wertschöpfungskette </a:t>
            </a:r>
            <a:r>
              <a:rPr lang="en-US" sz="1400" err="1"/>
              <a:t>zu</a:t>
            </a:r>
            <a:r>
              <a:rPr lang="en-US" sz="1400"/>
              <a:t> </a:t>
            </a:r>
            <a:r>
              <a:rPr lang="en-US" sz="1400" err="1"/>
              <a:t>erlangen</a:t>
            </a:r>
            <a:r>
              <a:rPr lang="en-US" sz="1400"/>
              <a:t>, sei es </a:t>
            </a:r>
            <a:r>
              <a:rPr lang="en-US" sz="1400" err="1"/>
              <a:t>durch</a:t>
            </a:r>
            <a:r>
              <a:rPr lang="en-US" sz="1400"/>
              <a:t> die </a:t>
            </a:r>
            <a:r>
              <a:rPr lang="en-US" sz="1400" b="1" err="1"/>
              <a:t>Ausdehnung</a:t>
            </a:r>
            <a:r>
              <a:rPr lang="en-US" sz="1400" b="1"/>
              <a:t> </a:t>
            </a:r>
            <a:r>
              <a:rPr lang="en-US" sz="1400"/>
              <a:t>auf </a:t>
            </a:r>
            <a:r>
              <a:rPr lang="en-US" sz="1400" err="1"/>
              <a:t>verwandte</a:t>
            </a:r>
            <a:r>
              <a:rPr lang="en-US" sz="1400"/>
              <a:t> </a:t>
            </a:r>
            <a:r>
              <a:rPr lang="en-US" sz="1400" err="1"/>
              <a:t>Dienstleistungen</a:t>
            </a:r>
            <a:r>
              <a:rPr lang="en-US" sz="1400"/>
              <a:t> </a:t>
            </a:r>
            <a:r>
              <a:rPr lang="en-US" sz="1400" err="1"/>
              <a:t>oder</a:t>
            </a:r>
            <a:r>
              <a:rPr lang="en-US" sz="1400"/>
              <a:t> die </a:t>
            </a:r>
            <a:r>
              <a:rPr lang="en-US" sz="1400" b="1" err="1"/>
              <a:t>Vertiefung</a:t>
            </a:r>
            <a:r>
              <a:rPr lang="en-US" sz="1400" b="1"/>
              <a:t> der </a:t>
            </a:r>
            <a:r>
              <a:rPr lang="en-US" sz="1400" b="1" err="1"/>
              <a:t>Kontrolle</a:t>
            </a:r>
            <a:r>
              <a:rPr lang="en-US" sz="1400"/>
              <a:t> </a:t>
            </a:r>
            <a:r>
              <a:rPr lang="en-US" sz="1400" err="1"/>
              <a:t>über</a:t>
            </a:r>
            <a:r>
              <a:rPr lang="en-US" sz="1400"/>
              <a:t> </a:t>
            </a:r>
            <a:r>
              <a:rPr lang="en-US" sz="1400" err="1"/>
              <a:t>spezifische</a:t>
            </a:r>
            <a:r>
              <a:rPr lang="en-US" sz="1400"/>
              <a:t> </a:t>
            </a:r>
            <a:r>
              <a:rPr lang="en-US" sz="1400" err="1"/>
              <a:t>Lieferanten</a:t>
            </a:r>
            <a:r>
              <a:rPr lang="en-US" sz="1400"/>
              <a:t> </a:t>
            </a:r>
            <a:r>
              <a:rPr lang="en-US" sz="1400" err="1"/>
              <a:t>oder</a:t>
            </a:r>
            <a:r>
              <a:rPr lang="en-US" sz="1400"/>
              <a:t> </a:t>
            </a:r>
            <a:r>
              <a:rPr lang="en-US" sz="1400" err="1"/>
              <a:t>Produktionsprozesse</a:t>
            </a:r>
            <a:r>
              <a:rPr lang="en-US" sz="1400"/>
              <a:t>.</a:t>
            </a:r>
          </a:p>
          <a:p>
            <a:endParaRPr lang="en-US" sz="1400"/>
          </a:p>
        </p:txBody>
      </p:sp>
      <p:sp>
        <p:nvSpPr>
          <p:cNvPr id="4" name="Foliennummernplatzhalter 3">
            <a:extLst>
              <a:ext uri="{FF2B5EF4-FFF2-40B4-BE49-F238E27FC236}">
                <a16:creationId xmlns:a16="http://schemas.microsoft.com/office/drawing/2014/main" id="{A92CE189-27C3-E4D7-9AB0-CE6135C1839F}"/>
              </a:ext>
            </a:extLst>
          </p:cNvPr>
          <p:cNvSpPr>
            <a:spLocks noGrp="1"/>
          </p:cNvSpPr>
          <p:nvPr>
            <p:ph type="sldNum" sz="quarter" idx="4"/>
          </p:nvPr>
        </p:nvSpPr>
        <p:spPr/>
        <p:txBody>
          <a:bodyPr/>
          <a:lstStyle/>
          <a:p>
            <a:fld id="{BAF04893-69FB-435D-AB2E-CA259D85B32F}" type="slidenum">
              <a:rPr lang="en-US" smtClean="0"/>
              <a:pPr/>
              <a:t>18</a:t>
            </a:fld>
            <a:endParaRPr lang="en-US"/>
          </a:p>
        </p:txBody>
      </p:sp>
      <p:sp>
        <p:nvSpPr>
          <p:cNvPr id="5" name="Inhaltsplatzhalter 4">
            <a:extLst>
              <a:ext uri="{FF2B5EF4-FFF2-40B4-BE49-F238E27FC236}">
                <a16:creationId xmlns:a16="http://schemas.microsoft.com/office/drawing/2014/main" id="{B1EF9204-9482-90DA-0739-9E0BE4A40874}"/>
              </a:ext>
            </a:extLst>
          </p:cNvPr>
          <p:cNvSpPr>
            <a:spLocks noGrp="1"/>
          </p:cNvSpPr>
          <p:nvPr>
            <p:ph idx="10"/>
          </p:nvPr>
        </p:nvSpPr>
        <p:spPr/>
        <p:txBody>
          <a:bodyPr/>
          <a:lstStyle/>
          <a:p>
            <a:r>
              <a:rPr lang="en-US" err="1"/>
              <a:t>Horizontale</a:t>
            </a:r>
            <a:r>
              <a:rPr lang="en-US"/>
              <a:t> Integration der Wertschöpfungskette</a:t>
            </a:r>
          </a:p>
        </p:txBody>
      </p:sp>
      <p:sp>
        <p:nvSpPr>
          <p:cNvPr id="6" name="Inhaltsplatzhalter 5">
            <a:extLst>
              <a:ext uri="{FF2B5EF4-FFF2-40B4-BE49-F238E27FC236}">
                <a16:creationId xmlns:a16="http://schemas.microsoft.com/office/drawing/2014/main" id="{1FD676B1-9843-9A77-77FC-A793F9EAB4E5}"/>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88D21E91-2291-602A-B200-F07F25514C4E}"/>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13151960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66A22C-E31F-C768-6008-539DC8F0C6F0}"/>
              </a:ext>
            </a:extLst>
          </p:cNvPr>
          <p:cNvSpPr>
            <a:spLocks noGrp="1"/>
          </p:cNvSpPr>
          <p:nvPr>
            <p:ph type="title"/>
          </p:nvPr>
        </p:nvSpPr>
        <p:spPr/>
        <p:txBody>
          <a:bodyPr/>
          <a:lstStyle/>
          <a:p>
            <a:r>
              <a:rPr lang="en-US"/>
              <a:t>Uber und Lyft sind sich in ihren Tätigkeiten sehr ähnlich unterscheiden sich jedoch in der globalen Präsenz</a:t>
            </a:r>
          </a:p>
        </p:txBody>
      </p:sp>
      <p:graphicFrame>
        <p:nvGraphicFramePr>
          <p:cNvPr id="8" name="Inhaltsplatzhalter 7">
            <a:extLst>
              <a:ext uri="{FF2B5EF4-FFF2-40B4-BE49-F238E27FC236}">
                <a16:creationId xmlns:a16="http://schemas.microsoft.com/office/drawing/2014/main" id="{8C2C3FE5-0312-6ACB-7929-62602F9C6564}"/>
              </a:ext>
            </a:extLst>
          </p:cNvPr>
          <p:cNvGraphicFramePr>
            <a:graphicFrameLocks noGrp="1"/>
          </p:cNvGraphicFramePr>
          <p:nvPr>
            <p:ph idx="1"/>
            <p:extLst>
              <p:ext uri="{D42A27DB-BD31-4B8C-83A1-F6EECF244321}">
                <p14:modId xmlns:p14="http://schemas.microsoft.com/office/powerpoint/2010/main" val="3156390548"/>
              </p:ext>
            </p:extLst>
          </p:nvPr>
        </p:nvGraphicFramePr>
        <p:xfrm>
          <a:off x="360363" y="1989138"/>
          <a:ext cx="8567736" cy="3845560"/>
        </p:xfrm>
        <a:graphic>
          <a:graphicData uri="http://schemas.openxmlformats.org/drawingml/2006/table">
            <a:tbl>
              <a:tblPr firstRow="1" bandRow="1">
                <a:tableStyleId>{073A0DAA-6AF3-43AB-8588-CEC1D06C72B9}</a:tableStyleId>
              </a:tblPr>
              <a:tblGrid>
                <a:gridCol w="2855912">
                  <a:extLst>
                    <a:ext uri="{9D8B030D-6E8A-4147-A177-3AD203B41FA5}">
                      <a16:colId xmlns:a16="http://schemas.microsoft.com/office/drawing/2014/main" val="349886750"/>
                    </a:ext>
                  </a:extLst>
                </a:gridCol>
                <a:gridCol w="2855912">
                  <a:extLst>
                    <a:ext uri="{9D8B030D-6E8A-4147-A177-3AD203B41FA5}">
                      <a16:colId xmlns:a16="http://schemas.microsoft.com/office/drawing/2014/main" val="857868009"/>
                    </a:ext>
                  </a:extLst>
                </a:gridCol>
                <a:gridCol w="2855912">
                  <a:extLst>
                    <a:ext uri="{9D8B030D-6E8A-4147-A177-3AD203B41FA5}">
                      <a16:colId xmlns:a16="http://schemas.microsoft.com/office/drawing/2014/main" val="2253940520"/>
                    </a:ext>
                  </a:extLst>
                </a:gridCol>
              </a:tblGrid>
              <a:tr h="370840">
                <a:tc>
                  <a:txBody>
                    <a:bodyPr/>
                    <a:lstStyle/>
                    <a:p>
                      <a:r>
                        <a:rPr lang="en-US" sz="1200"/>
                        <a:t>Unternehmen</a:t>
                      </a:r>
                    </a:p>
                  </a:txBody>
                  <a:tcPr/>
                </a:tc>
                <a:tc>
                  <a:txBody>
                    <a:bodyPr/>
                    <a:lstStyle/>
                    <a:p>
                      <a:r>
                        <a:rPr lang="en-US" sz="1200"/>
                        <a:t>Ähnlichkeiten</a:t>
                      </a:r>
                    </a:p>
                  </a:txBody>
                  <a:tcPr/>
                </a:tc>
                <a:tc>
                  <a:txBody>
                    <a:bodyPr/>
                    <a:lstStyle/>
                    <a:p>
                      <a:r>
                        <a:rPr lang="en-US" sz="1200"/>
                        <a:t>Unterschiede</a:t>
                      </a:r>
                    </a:p>
                  </a:txBody>
                  <a:tcPr/>
                </a:tc>
                <a:extLst>
                  <a:ext uri="{0D108BD9-81ED-4DB2-BD59-A6C34878D82A}">
                    <a16:rowId xmlns:a16="http://schemas.microsoft.com/office/drawing/2014/main" val="2495574209"/>
                  </a:ext>
                </a:extLst>
              </a:tr>
              <a:tr h="370840">
                <a:tc>
                  <a:txBody>
                    <a:bodyPr/>
                    <a:lstStyle/>
                    <a:p>
                      <a:r>
                        <a:rPr lang="en-US" sz="1200"/>
                        <a:t>Uber</a:t>
                      </a:r>
                    </a:p>
                  </a:txBody>
                  <a:tcPr/>
                </a:tc>
                <a:tc>
                  <a:txBody>
                    <a:bodyPr/>
                    <a:lstStyle/>
                    <a:p>
                      <a:pPr marL="171450" indent="-171450">
                        <a:buFont typeface="Arial" panose="020B0604020202020204" pitchFamily="34" charset="0"/>
                        <a:buChar char="•"/>
                      </a:pPr>
                      <a:r>
                        <a:rPr lang="en-US" sz="1200"/>
                        <a:t>Bietet Ride-Hailing-Dienste über eine mobile App an</a:t>
                      </a:r>
                    </a:p>
                    <a:p>
                      <a:pPr marL="171450" indent="-171450">
                        <a:buFont typeface="Arial" panose="020B0604020202020204" pitchFamily="34" charset="0"/>
                        <a:buChar char="•"/>
                      </a:pPr>
                      <a:r>
                        <a:rPr lang="en-US" sz="1200"/>
                        <a:t>Unabhängige Fahrer mit eigenen Fahrzeugen</a:t>
                      </a:r>
                    </a:p>
                    <a:p>
                      <a:pPr marL="171450" indent="-171450">
                        <a:buFont typeface="Arial" panose="020B0604020202020204" pitchFamily="34" charset="0"/>
                        <a:buChar char="•"/>
                      </a:pPr>
                      <a:r>
                        <a:rPr lang="en-US" sz="1200"/>
                        <a:t>International präsent</a:t>
                      </a:r>
                    </a:p>
                    <a:p>
                      <a:pPr marL="171450" indent="-171450">
                        <a:buFont typeface="Arial" panose="020B0604020202020204" pitchFamily="34" charset="0"/>
                        <a:buChar char="•"/>
                      </a:pPr>
                      <a:r>
                        <a:rPr lang="en-US" sz="1200"/>
                        <a:t>Technologieorientiert </a:t>
                      </a:r>
                    </a:p>
                  </a:txBody>
                  <a:tcPr/>
                </a:tc>
                <a:tc>
                  <a:txBody>
                    <a:bodyPr/>
                    <a:lstStyle/>
                    <a:p>
                      <a:pPr marL="171450" indent="-171450">
                        <a:buFont typeface="Arial" panose="020B0604020202020204" pitchFamily="34" charset="0"/>
                        <a:buChar char="•"/>
                      </a:pPr>
                      <a:r>
                        <a:rPr lang="en-US" sz="1200" err="1"/>
                        <a:t>Weltweite</a:t>
                      </a:r>
                      <a:r>
                        <a:rPr lang="en-US" sz="1200"/>
                        <a:t> </a:t>
                      </a:r>
                      <a:r>
                        <a:rPr lang="en-US" sz="1200" err="1"/>
                        <a:t>Nutzer</a:t>
                      </a:r>
                      <a:r>
                        <a:rPr lang="en-US" sz="1200"/>
                        <a:t> von Uber 2019: 75 </a:t>
                      </a:r>
                      <a:r>
                        <a:rPr lang="en-US" sz="1200" err="1"/>
                        <a:t>Millionen</a:t>
                      </a:r>
                      <a:endParaRPr lang="en-US" sz="120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err="1"/>
                        <a:t>Weltweite</a:t>
                      </a:r>
                      <a:r>
                        <a:rPr lang="en-US" sz="1200"/>
                        <a:t> </a:t>
                      </a:r>
                      <a:r>
                        <a:rPr lang="en-US" sz="1200" err="1"/>
                        <a:t>Fahrer</a:t>
                      </a:r>
                      <a:r>
                        <a:rPr lang="en-US" sz="1200"/>
                        <a:t> von Uber 2019: 3,9 </a:t>
                      </a:r>
                      <a:r>
                        <a:rPr lang="en-US" sz="1200" err="1"/>
                        <a:t>Millionen</a:t>
                      </a:r>
                      <a:endParaRPr lang="en-US" sz="120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err="1"/>
                        <a:t>Durchschnittlichen</a:t>
                      </a:r>
                      <a:r>
                        <a:rPr lang="en-US" sz="1200"/>
                        <a:t> </a:t>
                      </a:r>
                      <a:r>
                        <a:rPr lang="en-US" sz="1200" err="1"/>
                        <a:t>Anzahl</a:t>
                      </a:r>
                      <a:r>
                        <a:rPr lang="en-US" sz="1200"/>
                        <a:t> der </a:t>
                      </a:r>
                      <a:r>
                        <a:rPr lang="en-US" sz="1200" err="1"/>
                        <a:t>täglichen</a:t>
                      </a:r>
                      <a:r>
                        <a:rPr lang="en-US" sz="1200"/>
                        <a:t> </a:t>
                      </a:r>
                      <a:r>
                        <a:rPr lang="en-US" sz="1200" err="1"/>
                        <a:t>Fahrten</a:t>
                      </a:r>
                      <a:r>
                        <a:rPr lang="en-US" sz="1200"/>
                        <a:t> von Uber 2019: 14 </a:t>
                      </a:r>
                      <a:r>
                        <a:rPr lang="en-US" sz="1200" err="1"/>
                        <a:t>Millionen</a:t>
                      </a:r>
                      <a:endParaRPr lang="en-US" sz="120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err="1"/>
                        <a:t>Weltweit</a:t>
                      </a:r>
                      <a:r>
                        <a:rPr lang="en-US" sz="1200"/>
                        <a:t> </a:t>
                      </a:r>
                      <a:r>
                        <a:rPr lang="en-US" sz="1200" err="1"/>
                        <a:t>tätig</a:t>
                      </a:r>
                      <a:endParaRPr lang="en-US" sz="120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err="1"/>
                        <a:t>Marketingstrategie</a:t>
                      </a:r>
                      <a:r>
                        <a:rPr lang="en-US" sz="1200"/>
                        <a:t>: Global und </a:t>
                      </a:r>
                      <a:r>
                        <a:rPr lang="en-US" sz="1200" err="1"/>
                        <a:t>technologieorientiert</a:t>
                      </a:r>
                      <a:endParaRPr lang="en-US" sz="1200"/>
                    </a:p>
                  </a:txBody>
                  <a:tcPr/>
                </a:tc>
                <a:extLst>
                  <a:ext uri="{0D108BD9-81ED-4DB2-BD59-A6C34878D82A}">
                    <a16:rowId xmlns:a16="http://schemas.microsoft.com/office/drawing/2014/main" val="1328977324"/>
                  </a:ext>
                </a:extLst>
              </a:tr>
              <a:tr h="370840">
                <a:tc>
                  <a:txBody>
                    <a:bodyPr/>
                    <a:lstStyle/>
                    <a:p>
                      <a:r>
                        <a:rPr lang="en-US" sz="1200"/>
                        <a:t>Lyft</a:t>
                      </a:r>
                    </a:p>
                  </a:txBody>
                  <a:tcPr/>
                </a:tc>
                <a:tc>
                  <a:txBody>
                    <a:bodyPr/>
                    <a:lstStyle/>
                    <a:p>
                      <a:pPr marL="171450" indent="-171450">
                        <a:buFont typeface="Arial" panose="020B0604020202020204" pitchFamily="34" charset="0"/>
                        <a:buChar char="•"/>
                      </a:pPr>
                      <a:r>
                        <a:rPr lang="en-US" sz="1200"/>
                        <a:t>Bietet Ride-Hailing-Dienste über eine mobile App an</a:t>
                      </a:r>
                    </a:p>
                    <a:p>
                      <a:pPr marL="171450" indent="-171450">
                        <a:buFont typeface="Arial" panose="020B0604020202020204" pitchFamily="34" charset="0"/>
                        <a:buChar char="•"/>
                      </a:pPr>
                      <a:r>
                        <a:rPr lang="en-US" sz="1200"/>
                        <a:t>Unabhängige Fahrer mit eigenen Fahrzeugen</a:t>
                      </a:r>
                    </a:p>
                    <a:p>
                      <a:pPr marL="171450" indent="-171450">
                        <a:buFont typeface="Arial" panose="020B0604020202020204" pitchFamily="34" charset="0"/>
                        <a:buChar char="•"/>
                      </a:pPr>
                      <a:r>
                        <a:rPr lang="en-US" sz="1200"/>
                        <a:t>International präsent</a:t>
                      </a:r>
                    </a:p>
                    <a:p>
                      <a:pPr marL="171450" indent="-171450">
                        <a:buFont typeface="Arial" panose="020B0604020202020204" pitchFamily="34" charset="0"/>
                        <a:buChar char="•"/>
                      </a:pPr>
                      <a:r>
                        <a:rPr lang="en-US" sz="1200"/>
                        <a:t>Technologieorientiert </a:t>
                      </a:r>
                    </a:p>
                  </a:txBody>
                  <a:tcPr/>
                </a:tc>
                <a:tc>
                  <a:txBody>
                    <a:bodyPr/>
                    <a:lstStyle/>
                    <a:p>
                      <a:pPr marL="171450" indent="-171450">
                        <a:buFont typeface="Arial" panose="020B0604020202020204" pitchFamily="34" charset="0"/>
                        <a:buChar char="•"/>
                      </a:pPr>
                      <a:r>
                        <a:rPr lang="en-US" sz="1200" err="1"/>
                        <a:t>Weltweite</a:t>
                      </a:r>
                      <a:r>
                        <a:rPr lang="en-US" sz="1200"/>
                        <a:t> </a:t>
                      </a:r>
                      <a:r>
                        <a:rPr lang="en-US" sz="1200" err="1"/>
                        <a:t>Nutzer</a:t>
                      </a:r>
                      <a:r>
                        <a:rPr lang="en-US" sz="1200"/>
                        <a:t> von Lyft 2019: 23 </a:t>
                      </a:r>
                      <a:r>
                        <a:rPr lang="en-US" sz="1200" err="1"/>
                        <a:t>Millionen</a:t>
                      </a:r>
                      <a:endParaRPr lang="en-US" sz="1200"/>
                    </a:p>
                    <a:p>
                      <a:pPr marL="171450" indent="-171450">
                        <a:buFont typeface="Arial" panose="020B0604020202020204" pitchFamily="34" charset="0"/>
                        <a:buChar char="•"/>
                      </a:pPr>
                      <a:r>
                        <a:rPr lang="en-US" sz="1200" err="1"/>
                        <a:t>Weltweite</a:t>
                      </a:r>
                      <a:r>
                        <a:rPr lang="en-US" sz="1200"/>
                        <a:t> </a:t>
                      </a:r>
                      <a:r>
                        <a:rPr lang="en-US" sz="1200" err="1"/>
                        <a:t>Fahrer</a:t>
                      </a:r>
                      <a:r>
                        <a:rPr lang="en-US" sz="1200"/>
                        <a:t> von Lyft 2019: 1,4 </a:t>
                      </a:r>
                      <a:r>
                        <a:rPr lang="en-US" sz="1200" err="1"/>
                        <a:t>Millionen</a:t>
                      </a:r>
                      <a:endParaRPr lang="en-US" sz="120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err="1"/>
                        <a:t>Durchschnittlichen</a:t>
                      </a:r>
                      <a:r>
                        <a:rPr lang="en-US" sz="1200"/>
                        <a:t> </a:t>
                      </a:r>
                      <a:r>
                        <a:rPr lang="en-US" sz="1200" err="1"/>
                        <a:t>Anzahl</a:t>
                      </a:r>
                      <a:r>
                        <a:rPr lang="en-US" sz="1200"/>
                        <a:t> der </a:t>
                      </a:r>
                      <a:r>
                        <a:rPr lang="en-US" sz="1200" err="1"/>
                        <a:t>täglichen</a:t>
                      </a:r>
                      <a:r>
                        <a:rPr lang="en-US" sz="1200"/>
                        <a:t> </a:t>
                      </a:r>
                      <a:r>
                        <a:rPr lang="en-US" sz="1200" err="1"/>
                        <a:t>Fahrten</a:t>
                      </a:r>
                      <a:r>
                        <a:rPr lang="en-US" sz="1200"/>
                        <a:t> von Lyft 2019: 1 Mill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err="1"/>
                        <a:t>Fokus</a:t>
                      </a:r>
                      <a:r>
                        <a:rPr lang="en-US" sz="1200"/>
                        <a:t> auf US-</a:t>
                      </a:r>
                      <a:r>
                        <a:rPr lang="en-US" sz="1200" err="1"/>
                        <a:t>Markt</a:t>
                      </a:r>
                      <a:endParaRPr lang="en-US" sz="120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err="1"/>
                        <a:t>Marketingstrategie</a:t>
                      </a:r>
                      <a:r>
                        <a:rPr lang="en-US" sz="1200"/>
                        <a:t>: </a:t>
                      </a:r>
                      <a:r>
                        <a:rPr lang="en-US" sz="1200" err="1"/>
                        <a:t>Fahrerfreundlichkeit</a:t>
                      </a:r>
                      <a:r>
                        <a:rPr lang="en-US" sz="1200"/>
                        <a:t> und </a:t>
                      </a:r>
                      <a:r>
                        <a:rPr lang="en-US" sz="1200" err="1"/>
                        <a:t>Gemeinschaftsengagement</a:t>
                      </a:r>
                      <a:endParaRPr lang="en-US" sz="1200"/>
                    </a:p>
                  </a:txBody>
                  <a:tcPr/>
                </a:tc>
                <a:extLst>
                  <a:ext uri="{0D108BD9-81ED-4DB2-BD59-A6C34878D82A}">
                    <a16:rowId xmlns:a16="http://schemas.microsoft.com/office/drawing/2014/main" val="1310488180"/>
                  </a:ext>
                </a:extLst>
              </a:tr>
            </a:tbl>
          </a:graphicData>
        </a:graphic>
      </p:graphicFrame>
      <p:sp>
        <p:nvSpPr>
          <p:cNvPr id="4" name="Foliennummernplatzhalter 3">
            <a:extLst>
              <a:ext uri="{FF2B5EF4-FFF2-40B4-BE49-F238E27FC236}">
                <a16:creationId xmlns:a16="http://schemas.microsoft.com/office/drawing/2014/main" id="{CDF7C36B-B82A-4370-2AD1-AABB9986F971}"/>
              </a:ext>
            </a:extLst>
          </p:cNvPr>
          <p:cNvSpPr>
            <a:spLocks noGrp="1"/>
          </p:cNvSpPr>
          <p:nvPr>
            <p:ph type="sldNum" sz="quarter" idx="4"/>
          </p:nvPr>
        </p:nvSpPr>
        <p:spPr/>
        <p:txBody>
          <a:bodyPr/>
          <a:lstStyle/>
          <a:p>
            <a:fld id="{BAF04893-69FB-435D-AB2E-CA259D85B32F}" type="slidenum">
              <a:rPr lang="en-US" smtClean="0"/>
              <a:pPr/>
              <a:t>19</a:t>
            </a:fld>
            <a:endParaRPr lang="en-US"/>
          </a:p>
        </p:txBody>
      </p:sp>
      <p:sp>
        <p:nvSpPr>
          <p:cNvPr id="5" name="Inhaltsplatzhalter 4">
            <a:extLst>
              <a:ext uri="{FF2B5EF4-FFF2-40B4-BE49-F238E27FC236}">
                <a16:creationId xmlns:a16="http://schemas.microsoft.com/office/drawing/2014/main" id="{522FA02C-A4FC-7EFF-AE2C-47E5AE77004B}"/>
              </a:ext>
            </a:extLst>
          </p:cNvPr>
          <p:cNvSpPr>
            <a:spLocks noGrp="1"/>
          </p:cNvSpPr>
          <p:nvPr>
            <p:ph idx="10"/>
          </p:nvPr>
        </p:nvSpPr>
        <p:spPr/>
        <p:txBody>
          <a:bodyPr/>
          <a:lstStyle/>
          <a:p>
            <a:r>
              <a:rPr lang="en-US" err="1"/>
              <a:t>Vergleich</a:t>
            </a:r>
            <a:r>
              <a:rPr lang="en-US"/>
              <a:t> mit </a:t>
            </a:r>
            <a:r>
              <a:rPr lang="en-US" err="1"/>
              <a:t>internationalem</a:t>
            </a:r>
            <a:r>
              <a:rPr lang="en-US"/>
              <a:t> </a:t>
            </a:r>
            <a:r>
              <a:rPr lang="en-US" err="1"/>
              <a:t>Konkurrenten</a:t>
            </a:r>
            <a:r>
              <a:rPr lang="en-US"/>
              <a:t> Lyft</a:t>
            </a:r>
          </a:p>
        </p:txBody>
      </p:sp>
      <p:sp>
        <p:nvSpPr>
          <p:cNvPr id="6" name="Inhaltsplatzhalter 5">
            <a:extLst>
              <a:ext uri="{FF2B5EF4-FFF2-40B4-BE49-F238E27FC236}">
                <a16:creationId xmlns:a16="http://schemas.microsoft.com/office/drawing/2014/main" id="{EC82643D-7AC4-C049-247E-4C0BD808B577}"/>
              </a:ext>
            </a:extLst>
          </p:cNvPr>
          <p:cNvSpPr>
            <a:spLocks noGrp="1"/>
          </p:cNvSpPr>
          <p:nvPr>
            <p:ph idx="11"/>
          </p:nvPr>
        </p:nvSpPr>
        <p:spPr/>
        <p:txBody>
          <a:bodyPr/>
          <a:lstStyle/>
          <a:p>
            <a:r>
              <a:rPr lang="en-US">
                <a:hlinkClick r:id="rId3" action="ppaction://hlinkfile"/>
              </a:rPr>
              <a:t>file:///C:/Users/49175/Downloads/study_id67321_uber-technologies.pdf</a:t>
            </a:r>
            <a:endParaRPr lang="en-US"/>
          </a:p>
          <a:p>
            <a:r>
              <a:rPr lang="en-US">
                <a:hlinkClick r:id="rId4" action="ppaction://hlinkfile"/>
              </a:rPr>
              <a:t>file:///C:/Users/49175/Downloads/study_id99797_ride-sharing-lyft-nutzerinnen-in-den-usa.pdf</a:t>
            </a:r>
            <a:endParaRPr lang="en-US"/>
          </a:p>
        </p:txBody>
      </p:sp>
      <p:sp>
        <p:nvSpPr>
          <p:cNvPr id="7" name="Inhaltsplatzhalter 6">
            <a:extLst>
              <a:ext uri="{FF2B5EF4-FFF2-40B4-BE49-F238E27FC236}">
                <a16:creationId xmlns:a16="http://schemas.microsoft.com/office/drawing/2014/main" id="{858C44A8-BD5F-847E-B494-73DED5C25D51}"/>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20620702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1039B68-2D26-20BA-81B9-87C0AC391DE1}"/>
              </a:ext>
            </a:extLst>
          </p:cNvPr>
          <p:cNvGraphicFramePr>
            <a:graphicFrameLocks noChangeAspect="1"/>
          </p:cNvGraphicFramePr>
          <p:nvPr>
            <p:custDataLst>
              <p:tags r:id="rId1"/>
            </p:custDataLst>
            <p:extLst>
              <p:ext uri="{D42A27DB-BD31-4B8C-83A1-F6EECF244321}">
                <p14:modId xmlns:p14="http://schemas.microsoft.com/office/powerpoint/2010/main" val="130904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9" name="think-cell data - do not delete" hidden="1">
                        <a:extLst>
                          <a:ext uri="{FF2B5EF4-FFF2-40B4-BE49-F238E27FC236}">
                            <a16:creationId xmlns:a16="http://schemas.microsoft.com/office/drawing/2014/main" id="{31039B68-2D26-20BA-81B9-87C0AC391D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9F788609-21C9-458E-0396-6CC8F82D17FD}"/>
              </a:ext>
            </a:extLst>
          </p:cNvPr>
          <p:cNvSpPr>
            <a:spLocks noGrp="1"/>
          </p:cNvSpPr>
          <p:nvPr>
            <p:ph type="title"/>
          </p:nvPr>
        </p:nvSpPr>
        <p:spPr/>
        <p:txBody>
          <a:bodyPr vert="horz"/>
          <a:lstStyle/>
          <a:p>
            <a:r>
              <a:rPr lang="de-DE"/>
              <a:t>Ubers langfristige strategische Ausrichtung ist es, den Transportsektor durch Technologie zu transformieren</a:t>
            </a:r>
          </a:p>
        </p:txBody>
      </p:sp>
      <p:sp>
        <p:nvSpPr>
          <p:cNvPr id="6" name="Inhaltsplatzhalter 5">
            <a:extLst>
              <a:ext uri="{FF2B5EF4-FFF2-40B4-BE49-F238E27FC236}">
                <a16:creationId xmlns:a16="http://schemas.microsoft.com/office/drawing/2014/main" id="{59013702-EC9B-1168-7C62-14850226E529}"/>
              </a:ext>
            </a:extLst>
          </p:cNvPr>
          <p:cNvSpPr>
            <a:spLocks noGrp="1"/>
          </p:cNvSpPr>
          <p:nvPr>
            <p:ph idx="10"/>
          </p:nvPr>
        </p:nvSpPr>
        <p:spPr/>
        <p:txBody>
          <a:bodyPr/>
          <a:lstStyle/>
          <a:p>
            <a:r>
              <a:rPr lang="de-DE"/>
              <a:t>Ubers übergreifende strategische Ausrichtung</a:t>
            </a:r>
          </a:p>
          <a:p>
            <a:endParaRPr lang="de-DE"/>
          </a:p>
        </p:txBody>
      </p:sp>
      <p:sp>
        <p:nvSpPr>
          <p:cNvPr id="7" name="Inhaltsplatzhalter 6">
            <a:extLst>
              <a:ext uri="{FF2B5EF4-FFF2-40B4-BE49-F238E27FC236}">
                <a16:creationId xmlns:a16="http://schemas.microsoft.com/office/drawing/2014/main" id="{0674217C-1235-E63B-3FA6-C19E9EFCC396}"/>
              </a:ext>
            </a:extLst>
          </p:cNvPr>
          <p:cNvSpPr>
            <a:spLocks noGrp="1"/>
          </p:cNvSpPr>
          <p:nvPr>
            <p:ph idx="11"/>
          </p:nvPr>
        </p:nvSpPr>
        <p:spPr/>
        <p:txBody>
          <a:bodyPr/>
          <a:lstStyle/>
          <a:p>
            <a:endParaRPr lang="en-US"/>
          </a:p>
        </p:txBody>
      </p:sp>
      <p:sp>
        <p:nvSpPr>
          <p:cNvPr id="8" name="Inhaltsplatzhalter 7">
            <a:extLst>
              <a:ext uri="{FF2B5EF4-FFF2-40B4-BE49-F238E27FC236}">
                <a16:creationId xmlns:a16="http://schemas.microsoft.com/office/drawing/2014/main" id="{1DC9C0A8-1656-B89F-D21F-134EFF301192}"/>
              </a:ext>
            </a:extLst>
          </p:cNvPr>
          <p:cNvSpPr>
            <a:spLocks noGrp="1"/>
          </p:cNvSpPr>
          <p:nvPr>
            <p:ph idx="12"/>
          </p:nvPr>
        </p:nvSpPr>
        <p:spPr/>
        <p:txBody>
          <a:bodyPr/>
          <a:lstStyle/>
          <a:p>
            <a:endParaRPr lang="en-US"/>
          </a:p>
        </p:txBody>
      </p:sp>
      <p:sp>
        <p:nvSpPr>
          <p:cNvPr id="11" name="Rechteck 10">
            <a:extLst>
              <a:ext uri="{FF2B5EF4-FFF2-40B4-BE49-F238E27FC236}">
                <a16:creationId xmlns:a16="http://schemas.microsoft.com/office/drawing/2014/main" id="{0C1BEBA4-6FDD-1673-0D19-853B2D2F36E7}"/>
              </a:ext>
            </a:extLst>
          </p:cNvPr>
          <p:cNvSpPr/>
          <p:nvPr/>
        </p:nvSpPr>
        <p:spPr>
          <a:xfrm>
            <a:off x="359997" y="2105526"/>
            <a:ext cx="8489229" cy="1828620"/>
          </a:xfrm>
          <a:prstGeom prst="rect">
            <a:avLst/>
          </a:prstGeom>
          <a:noFill/>
          <a:ln>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12" name="Rechteck 11">
            <a:extLst>
              <a:ext uri="{FF2B5EF4-FFF2-40B4-BE49-F238E27FC236}">
                <a16:creationId xmlns:a16="http://schemas.microsoft.com/office/drawing/2014/main" id="{2AE5A83C-AA51-DC3F-57FD-816B84674436}"/>
              </a:ext>
            </a:extLst>
          </p:cNvPr>
          <p:cNvSpPr/>
          <p:nvPr/>
        </p:nvSpPr>
        <p:spPr>
          <a:xfrm>
            <a:off x="359996" y="2105526"/>
            <a:ext cx="8489229" cy="284667"/>
          </a:xfrm>
          <a:prstGeom prst="rect">
            <a:avLst/>
          </a:prstGeom>
          <a:solidFill>
            <a:schemeClr val="tx1"/>
          </a:solidFill>
          <a:ln>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r>
              <a:rPr lang="de-DE" sz="1200" b="1"/>
              <a:t>Übergeordnete Strategie als multi-</a:t>
            </a:r>
            <a:r>
              <a:rPr lang="de-DE" sz="1200" b="1" err="1"/>
              <a:t>sided</a:t>
            </a:r>
            <a:r>
              <a:rPr lang="de-DE" sz="1200" b="1"/>
              <a:t> Plattform Unternehmen</a:t>
            </a:r>
          </a:p>
        </p:txBody>
      </p:sp>
      <p:sp>
        <p:nvSpPr>
          <p:cNvPr id="17" name="Textfeld 16">
            <a:extLst>
              <a:ext uri="{FF2B5EF4-FFF2-40B4-BE49-F238E27FC236}">
                <a16:creationId xmlns:a16="http://schemas.microsoft.com/office/drawing/2014/main" id="{7BF7BEA6-DA43-407B-80DD-86D2FBF159F7}"/>
              </a:ext>
            </a:extLst>
          </p:cNvPr>
          <p:cNvSpPr txBox="1"/>
          <p:nvPr/>
        </p:nvSpPr>
        <p:spPr>
          <a:xfrm>
            <a:off x="359994" y="2377164"/>
            <a:ext cx="3568315" cy="1200329"/>
          </a:xfrm>
          <a:prstGeom prst="rect">
            <a:avLst/>
          </a:prstGeom>
          <a:noFill/>
        </p:spPr>
        <p:txBody>
          <a:bodyPr wrap="square">
            <a:spAutoFit/>
          </a:bodyPr>
          <a:lstStyle/>
          <a:p>
            <a:r>
              <a:rPr lang="de-DE" sz="1200" b="1"/>
              <a:t>Übergreifende strategische Ausrichtung:</a:t>
            </a:r>
          </a:p>
          <a:p>
            <a:endParaRPr lang="de-DE" sz="1200" b="1"/>
          </a:p>
          <a:p>
            <a:pPr marL="285750" indent="-285750">
              <a:buFont typeface="Arial" panose="020B0604020202020204" pitchFamily="34" charset="0"/>
              <a:buChar char="•"/>
            </a:pPr>
            <a:r>
              <a:rPr lang="de-DE" sz="1200"/>
              <a:t>Transportsektor durch Technologie transformieren</a:t>
            </a:r>
          </a:p>
          <a:p>
            <a:pPr marL="285750" indent="-285750">
              <a:buFont typeface="Arial" panose="020B0604020202020204" pitchFamily="34" charset="0"/>
              <a:buChar char="•"/>
            </a:pPr>
            <a:r>
              <a:rPr lang="de-DE" sz="1200"/>
              <a:t>Führende Position im Bereich der Mobilität und Lieferung von Waren einnehmen </a:t>
            </a:r>
          </a:p>
        </p:txBody>
      </p:sp>
      <p:cxnSp>
        <p:nvCxnSpPr>
          <p:cNvPr id="19" name="Gerader Verbinder 18">
            <a:extLst>
              <a:ext uri="{FF2B5EF4-FFF2-40B4-BE49-F238E27FC236}">
                <a16:creationId xmlns:a16="http://schemas.microsoft.com/office/drawing/2014/main" id="{2C6E032B-F5CE-D753-58C7-FD817B06826B}"/>
              </a:ext>
            </a:extLst>
          </p:cNvPr>
          <p:cNvCxnSpPr>
            <a:cxnSpLocks/>
            <a:endCxn id="11" idx="2"/>
          </p:cNvCxnSpPr>
          <p:nvPr/>
        </p:nvCxnSpPr>
        <p:spPr>
          <a:xfrm>
            <a:off x="4604610" y="2390193"/>
            <a:ext cx="2" cy="1543953"/>
          </a:xfrm>
          <a:prstGeom prst="line">
            <a:avLst/>
          </a:prstGeom>
        </p:spPr>
        <p:style>
          <a:lnRef idx="1">
            <a:schemeClr val="dk1"/>
          </a:lnRef>
          <a:fillRef idx="0">
            <a:schemeClr val="dk1"/>
          </a:fillRef>
          <a:effectRef idx="0">
            <a:schemeClr val="dk1"/>
          </a:effectRef>
          <a:fontRef idx="minor">
            <a:schemeClr val="tx1"/>
          </a:fontRef>
        </p:style>
      </p:cxnSp>
      <p:sp>
        <p:nvSpPr>
          <p:cNvPr id="21" name="Textfeld 20">
            <a:extLst>
              <a:ext uri="{FF2B5EF4-FFF2-40B4-BE49-F238E27FC236}">
                <a16:creationId xmlns:a16="http://schemas.microsoft.com/office/drawing/2014/main" id="{C7E47DD9-3F60-5B6E-1783-2D11D54068F8}"/>
              </a:ext>
            </a:extLst>
          </p:cNvPr>
          <p:cNvSpPr txBox="1"/>
          <p:nvPr/>
        </p:nvSpPr>
        <p:spPr>
          <a:xfrm>
            <a:off x="4604609" y="2392736"/>
            <a:ext cx="4136333" cy="1569660"/>
          </a:xfrm>
          <a:prstGeom prst="rect">
            <a:avLst/>
          </a:prstGeom>
          <a:noFill/>
        </p:spPr>
        <p:txBody>
          <a:bodyPr wrap="square">
            <a:spAutoFit/>
          </a:bodyPr>
          <a:lstStyle/>
          <a:p>
            <a:r>
              <a:rPr lang="en-US" sz="1200" b="1" err="1"/>
              <a:t>Hauptstrategie</a:t>
            </a:r>
            <a:r>
              <a:rPr lang="en-US" sz="1200" b="1"/>
              <a:t>:</a:t>
            </a:r>
            <a:endParaRPr lang="de-DE" sz="1200"/>
          </a:p>
          <a:p>
            <a:pPr marL="285750" indent="-285750">
              <a:buFont typeface="Arial" panose="020B0604020202020204" pitchFamily="34" charset="0"/>
              <a:buChar char="•"/>
            </a:pPr>
            <a:r>
              <a:rPr lang="de-DE" sz="1200"/>
              <a:t>Innovative Technologien nutzen, um die Transportbranche zu revolutionieren</a:t>
            </a:r>
          </a:p>
          <a:p>
            <a:pPr marL="285750" indent="-285750">
              <a:buFont typeface="Arial" panose="020B0604020202020204" pitchFamily="34" charset="0"/>
              <a:buChar char="•"/>
            </a:pPr>
            <a:r>
              <a:rPr lang="de-DE" sz="1200"/>
              <a:t>Fokus auf Effizienz, Benutzerfreundlichkeit und Verfügbarkeit</a:t>
            </a:r>
          </a:p>
          <a:p>
            <a:pPr marL="285750" indent="-285750">
              <a:buFont typeface="Arial" panose="020B0604020202020204" pitchFamily="34" charset="0"/>
              <a:buChar char="•"/>
            </a:pPr>
            <a:r>
              <a:rPr lang="de-DE" sz="1200"/>
              <a:t>Breite Palette von Dienstleistungen anbieten, die auf Benutzerfreundlichkeit und Zugänglichkeit ausgerichtet sind</a:t>
            </a:r>
          </a:p>
        </p:txBody>
      </p:sp>
      <p:sp>
        <p:nvSpPr>
          <p:cNvPr id="23" name="Rechteck: abgerundete Ecken 22">
            <a:extLst>
              <a:ext uri="{FF2B5EF4-FFF2-40B4-BE49-F238E27FC236}">
                <a16:creationId xmlns:a16="http://schemas.microsoft.com/office/drawing/2014/main" id="{E9CD39B3-F3FD-FDFE-4ACF-4F1D30668171}"/>
              </a:ext>
            </a:extLst>
          </p:cNvPr>
          <p:cNvSpPr/>
          <p:nvPr/>
        </p:nvSpPr>
        <p:spPr>
          <a:xfrm>
            <a:off x="359994" y="4042403"/>
            <a:ext cx="8489227" cy="2310271"/>
          </a:xfrm>
          <a:prstGeom prst="roundRect">
            <a:avLst>
              <a:gd name="adj" fmla="val 12072"/>
            </a:avLst>
          </a:prstGeom>
          <a:solidFill>
            <a:schemeClr val="accent2">
              <a:lumMod val="20000"/>
              <a:lumOff val="8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feld 24">
            <a:extLst>
              <a:ext uri="{FF2B5EF4-FFF2-40B4-BE49-F238E27FC236}">
                <a16:creationId xmlns:a16="http://schemas.microsoft.com/office/drawing/2014/main" id="{97C67EAE-89C4-63D7-C14F-F553A361B994}"/>
              </a:ext>
            </a:extLst>
          </p:cNvPr>
          <p:cNvSpPr txBox="1"/>
          <p:nvPr/>
        </p:nvSpPr>
        <p:spPr>
          <a:xfrm>
            <a:off x="403058" y="4047225"/>
            <a:ext cx="1301006" cy="307777"/>
          </a:xfrm>
          <a:prstGeom prst="rect">
            <a:avLst/>
          </a:prstGeom>
          <a:noFill/>
        </p:spPr>
        <p:txBody>
          <a:bodyPr wrap="square">
            <a:spAutoFit/>
          </a:bodyPr>
          <a:lstStyle/>
          <a:p>
            <a:r>
              <a:rPr lang="de-DE" sz="1400" b="1"/>
              <a:t>Teilstrategien</a:t>
            </a:r>
            <a:endParaRPr lang="de-DE" sz="1400"/>
          </a:p>
        </p:txBody>
      </p:sp>
      <p:sp>
        <p:nvSpPr>
          <p:cNvPr id="26" name="Rechteck 25">
            <a:extLst>
              <a:ext uri="{FF2B5EF4-FFF2-40B4-BE49-F238E27FC236}">
                <a16:creationId xmlns:a16="http://schemas.microsoft.com/office/drawing/2014/main" id="{82858FB6-09EC-7DD9-571E-C3F39597A3AC}"/>
              </a:ext>
            </a:extLst>
          </p:cNvPr>
          <p:cNvSpPr/>
          <p:nvPr/>
        </p:nvSpPr>
        <p:spPr>
          <a:xfrm>
            <a:off x="577515" y="4421745"/>
            <a:ext cx="2556000" cy="1840691"/>
          </a:xfrm>
          <a:prstGeom prst="rect">
            <a:avLst/>
          </a:prstGeom>
          <a:noFill/>
          <a:ln>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27" name="Rechteck 26">
            <a:extLst>
              <a:ext uri="{FF2B5EF4-FFF2-40B4-BE49-F238E27FC236}">
                <a16:creationId xmlns:a16="http://schemas.microsoft.com/office/drawing/2014/main" id="{004FE086-D4EF-6517-65F5-C49EF25F14A4}"/>
              </a:ext>
            </a:extLst>
          </p:cNvPr>
          <p:cNvSpPr/>
          <p:nvPr/>
        </p:nvSpPr>
        <p:spPr>
          <a:xfrm>
            <a:off x="3294001" y="4421732"/>
            <a:ext cx="2556000" cy="1840691"/>
          </a:xfrm>
          <a:prstGeom prst="rect">
            <a:avLst/>
          </a:prstGeom>
          <a:noFill/>
          <a:ln>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28" name="Rechteck 27">
            <a:extLst>
              <a:ext uri="{FF2B5EF4-FFF2-40B4-BE49-F238E27FC236}">
                <a16:creationId xmlns:a16="http://schemas.microsoft.com/office/drawing/2014/main" id="{1FEB4AC8-FF41-FFF9-FFAB-40568F024B3F}"/>
              </a:ext>
            </a:extLst>
          </p:cNvPr>
          <p:cNvSpPr/>
          <p:nvPr/>
        </p:nvSpPr>
        <p:spPr>
          <a:xfrm>
            <a:off x="6010487" y="4421732"/>
            <a:ext cx="2556000" cy="1840691"/>
          </a:xfrm>
          <a:prstGeom prst="rect">
            <a:avLst/>
          </a:prstGeom>
          <a:noFill/>
          <a:ln>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32" name="Rechteck 31">
            <a:extLst>
              <a:ext uri="{FF2B5EF4-FFF2-40B4-BE49-F238E27FC236}">
                <a16:creationId xmlns:a16="http://schemas.microsoft.com/office/drawing/2014/main" id="{629280CA-35BC-3BCD-92D3-205F41CC385C}"/>
              </a:ext>
            </a:extLst>
          </p:cNvPr>
          <p:cNvSpPr/>
          <p:nvPr/>
        </p:nvSpPr>
        <p:spPr>
          <a:xfrm>
            <a:off x="577515" y="4421746"/>
            <a:ext cx="2556000" cy="252663"/>
          </a:xfrm>
          <a:prstGeom prst="rect">
            <a:avLst/>
          </a:prstGeom>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200" b="1"/>
              <a:t>Diversifizierung der Dienstleistungen</a:t>
            </a:r>
          </a:p>
        </p:txBody>
      </p:sp>
      <p:sp>
        <p:nvSpPr>
          <p:cNvPr id="33" name="Rechteck 32">
            <a:extLst>
              <a:ext uri="{FF2B5EF4-FFF2-40B4-BE49-F238E27FC236}">
                <a16:creationId xmlns:a16="http://schemas.microsoft.com/office/drawing/2014/main" id="{77DB8F19-6288-B0E8-55C7-717AE8B0A80B}"/>
              </a:ext>
            </a:extLst>
          </p:cNvPr>
          <p:cNvSpPr/>
          <p:nvPr/>
        </p:nvSpPr>
        <p:spPr>
          <a:xfrm>
            <a:off x="3294001" y="4421733"/>
            <a:ext cx="2556000" cy="252663"/>
          </a:xfrm>
          <a:prstGeom prst="rect">
            <a:avLst/>
          </a:prstGeom>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200" b="1"/>
              <a:t>Globale Expansion</a:t>
            </a:r>
            <a:endParaRPr lang="de-DE" sz="1200"/>
          </a:p>
        </p:txBody>
      </p:sp>
      <p:sp>
        <p:nvSpPr>
          <p:cNvPr id="34" name="Rechteck 33">
            <a:extLst>
              <a:ext uri="{FF2B5EF4-FFF2-40B4-BE49-F238E27FC236}">
                <a16:creationId xmlns:a16="http://schemas.microsoft.com/office/drawing/2014/main" id="{9B00530B-E891-F720-4D7A-25D5B9F86D4B}"/>
              </a:ext>
            </a:extLst>
          </p:cNvPr>
          <p:cNvSpPr/>
          <p:nvPr/>
        </p:nvSpPr>
        <p:spPr>
          <a:xfrm>
            <a:off x="6010487" y="4421733"/>
            <a:ext cx="2556000" cy="252663"/>
          </a:xfrm>
          <a:prstGeom prst="rect">
            <a:avLst/>
          </a:prstGeom>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200" b="1"/>
              <a:t>Investitionen in neue Technologien</a:t>
            </a:r>
          </a:p>
        </p:txBody>
      </p:sp>
      <p:sp>
        <p:nvSpPr>
          <p:cNvPr id="36" name="Textfeld 35">
            <a:extLst>
              <a:ext uri="{FF2B5EF4-FFF2-40B4-BE49-F238E27FC236}">
                <a16:creationId xmlns:a16="http://schemas.microsoft.com/office/drawing/2014/main" id="{D137756A-D939-82D3-82D8-BA388D1403B0}"/>
              </a:ext>
            </a:extLst>
          </p:cNvPr>
          <p:cNvSpPr txBox="1"/>
          <p:nvPr/>
        </p:nvSpPr>
        <p:spPr>
          <a:xfrm>
            <a:off x="525936" y="4687773"/>
            <a:ext cx="2659157" cy="830997"/>
          </a:xfrm>
          <a:prstGeom prst="rect">
            <a:avLst/>
          </a:prstGeom>
          <a:noFill/>
        </p:spPr>
        <p:txBody>
          <a:bodyPr wrap="square">
            <a:spAutoFit/>
          </a:bodyPr>
          <a:lstStyle/>
          <a:p>
            <a:pPr algn="ctr"/>
            <a:r>
              <a:rPr lang="en-US" sz="1200"/>
              <a:t>Uber </a:t>
            </a:r>
            <a:r>
              <a:rPr lang="en-US" sz="1200" err="1"/>
              <a:t>bietet</a:t>
            </a:r>
            <a:r>
              <a:rPr lang="en-US" sz="1200"/>
              <a:t> </a:t>
            </a:r>
            <a:r>
              <a:rPr lang="en-US" sz="1200" err="1"/>
              <a:t>verschiedene</a:t>
            </a:r>
            <a:r>
              <a:rPr lang="en-US" sz="1200"/>
              <a:t> </a:t>
            </a:r>
            <a:r>
              <a:rPr lang="en-US" sz="1200" err="1"/>
              <a:t>Dienste</a:t>
            </a:r>
            <a:r>
              <a:rPr lang="en-US" sz="1200"/>
              <a:t> </a:t>
            </a:r>
            <a:r>
              <a:rPr lang="en-US" sz="1200" err="1"/>
              <a:t>wie</a:t>
            </a:r>
            <a:r>
              <a:rPr lang="en-US" sz="1200"/>
              <a:t> UberX, </a:t>
            </a:r>
            <a:r>
              <a:rPr lang="en-US" sz="1200" err="1"/>
              <a:t>UberPool</a:t>
            </a:r>
            <a:r>
              <a:rPr lang="en-US" sz="1200"/>
              <a:t>, UberEats, Uber Freight </a:t>
            </a:r>
            <a:r>
              <a:rPr lang="en-US" sz="1200" err="1"/>
              <a:t>usw</a:t>
            </a:r>
            <a:r>
              <a:rPr lang="en-US" sz="1200"/>
              <a:t>. an, um </a:t>
            </a:r>
            <a:r>
              <a:rPr lang="en-US" sz="1200" err="1"/>
              <a:t>verschiedene</a:t>
            </a:r>
            <a:r>
              <a:rPr lang="en-US" sz="1200"/>
              <a:t> </a:t>
            </a:r>
            <a:r>
              <a:rPr lang="en-US" sz="1200" err="1"/>
              <a:t>Marktsegmente</a:t>
            </a:r>
            <a:r>
              <a:rPr lang="en-US" sz="1200"/>
              <a:t> </a:t>
            </a:r>
            <a:r>
              <a:rPr lang="en-US" sz="1200" err="1"/>
              <a:t>anzusprechen</a:t>
            </a:r>
            <a:endParaRPr lang="en-US" sz="1200"/>
          </a:p>
        </p:txBody>
      </p:sp>
      <p:sp>
        <p:nvSpPr>
          <p:cNvPr id="37" name="Textfeld 36">
            <a:extLst>
              <a:ext uri="{FF2B5EF4-FFF2-40B4-BE49-F238E27FC236}">
                <a16:creationId xmlns:a16="http://schemas.microsoft.com/office/drawing/2014/main" id="{4C92AA12-5026-A371-093D-7EFCAA4FD5A8}"/>
              </a:ext>
            </a:extLst>
          </p:cNvPr>
          <p:cNvSpPr txBox="1"/>
          <p:nvPr/>
        </p:nvSpPr>
        <p:spPr>
          <a:xfrm>
            <a:off x="3242421" y="4686271"/>
            <a:ext cx="2659157" cy="830997"/>
          </a:xfrm>
          <a:prstGeom prst="rect">
            <a:avLst/>
          </a:prstGeom>
          <a:noFill/>
        </p:spPr>
        <p:txBody>
          <a:bodyPr wrap="square">
            <a:spAutoFit/>
          </a:bodyPr>
          <a:lstStyle/>
          <a:p>
            <a:pPr algn="ctr"/>
            <a:r>
              <a:rPr lang="en-US" sz="1200"/>
              <a:t>Uber hat </a:t>
            </a:r>
            <a:r>
              <a:rPr lang="en-US" sz="1200" err="1"/>
              <a:t>aggressiv</a:t>
            </a:r>
            <a:r>
              <a:rPr lang="en-US" sz="1200"/>
              <a:t> in </a:t>
            </a:r>
            <a:r>
              <a:rPr lang="en-US" sz="1200" err="1"/>
              <a:t>verschiedene</a:t>
            </a:r>
            <a:r>
              <a:rPr lang="en-US" sz="1200"/>
              <a:t> Länder </a:t>
            </a:r>
            <a:r>
              <a:rPr lang="en-US" sz="1200" err="1"/>
              <a:t>expandiert</a:t>
            </a:r>
            <a:r>
              <a:rPr lang="en-US" sz="1200"/>
              <a:t>, um seine </a:t>
            </a:r>
            <a:r>
              <a:rPr lang="en-US" sz="1200" err="1"/>
              <a:t>Reichweite</a:t>
            </a:r>
            <a:r>
              <a:rPr lang="en-US" sz="1200"/>
              <a:t> </a:t>
            </a:r>
            <a:r>
              <a:rPr lang="en-US" sz="1200" err="1"/>
              <a:t>zu</a:t>
            </a:r>
            <a:r>
              <a:rPr lang="en-US" sz="1200"/>
              <a:t> </a:t>
            </a:r>
            <a:r>
              <a:rPr lang="en-US" sz="1200" err="1"/>
              <a:t>erhöhen</a:t>
            </a:r>
            <a:r>
              <a:rPr lang="en-US" sz="1200"/>
              <a:t> und </a:t>
            </a:r>
            <a:r>
              <a:rPr lang="en-US" sz="1200" err="1"/>
              <a:t>neue</a:t>
            </a:r>
            <a:r>
              <a:rPr lang="en-US" sz="1200"/>
              <a:t> </a:t>
            </a:r>
            <a:r>
              <a:rPr lang="en-US" sz="1200" err="1"/>
              <a:t>Märkte</a:t>
            </a:r>
            <a:r>
              <a:rPr lang="en-US" sz="1200"/>
              <a:t> </a:t>
            </a:r>
            <a:r>
              <a:rPr lang="en-US" sz="1200" err="1"/>
              <a:t>zu</a:t>
            </a:r>
            <a:r>
              <a:rPr lang="en-US" sz="1200"/>
              <a:t> </a:t>
            </a:r>
            <a:r>
              <a:rPr lang="en-US" sz="1200" err="1"/>
              <a:t>erschließen</a:t>
            </a:r>
            <a:endParaRPr lang="en-US" sz="1400"/>
          </a:p>
        </p:txBody>
      </p:sp>
      <p:sp>
        <p:nvSpPr>
          <p:cNvPr id="38" name="Textfeld 37">
            <a:extLst>
              <a:ext uri="{FF2B5EF4-FFF2-40B4-BE49-F238E27FC236}">
                <a16:creationId xmlns:a16="http://schemas.microsoft.com/office/drawing/2014/main" id="{967535F7-E7F6-7444-DFBC-8F69D8EF8A50}"/>
              </a:ext>
            </a:extLst>
          </p:cNvPr>
          <p:cNvSpPr txBox="1"/>
          <p:nvPr/>
        </p:nvSpPr>
        <p:spPr>
          <a:xfrm>
            <a:off x="5958908" y="4674570"/>
            <a:ext cx="2659157" cy="1200329"/>
          </a:xfrm>
          <a:prstGeom prst="rect">
            <a:avLst/>
          </a:prstGeom>
          <a:noFill/>
        </p:spPr>
        <p:txBody>
          <a:bodyPr wrap="square">
            <a:spAutoFit/>
          </a:bodyPr>
          <a:lstStyle/>
          <a:p>
            <a:pPr algn="ctr"/>
            <a:r>
              <a:rPr lang="de-DE" sz="1200"/>
              <a:t>Die Entwicklung von autonomen Fahrzeugen und die kontinuierliche Verbesserung der Plattformtechnologie sind wichtige Teilstrategien, um die Kundenerfahrung zu verbessern und Effizienz zu steigern</a:t>
            </a:r>
            <a:endParaRPr lang="en-US" sz="1400"/>
          </a:p>
        </p:txBody>
      </p:sp>
      <p:sp>
        <p:nvSpPr>
          <p:cNvPr id="40" name="Textfeld 39">
            <a:extLst>
              <a:ext uri="{FF2B5EF4-FFF2-40B4-BE49-F238E27FC236}">
                <a16:creationId xmlns:a16="http://schemas.microsoft.com/office/drawing/2014/main" id="{C3FC9727-CCE4-51CC-1C69-9E63A6EAA0E8}"/>
              </a:ext>
            </a:extLst>
          </p:cNvPr>
          <p:cNvSpPr txBox="1"/>
          <p:nvPr/>
        </p:nvSpPr>
        <p:spPr>
          <a:xfrm>
            <a:off x="577515" y="5800758"/>
            <a:ext cx="2556000" cy="461665"/>
          </a:xfrm>
          <a:prstGeom prst="rect">
            <a:avLst/>
          </a:prstGeom>
          <a:noFill/>
        </p:spPr>
        <p:txBody>
          <a:bodyPr wrap="square">
            <a:spAutoFit/>
          </a:bodyPr>
          <a:lstStyle/>
          <a:p>
            <a:pPr algn="ctr"/>
            <a:r>
              <a:rPr lang="en-US" sz="1200" b="1" err="1"/>
              <a:t>Taktik</a:t>
            </a:r>
            <a:r>
              <a:rPr lang="en-US" sz="1200" b="1"/>
              <a:t> </a:t>
            </a:r>
            <a:r>
              <a:rPr lang="en-US" sz="1200" b="1" err="1"/>
              <a:t>zur</a:t>
            </a:r>
            <a:r>
              <a:rPr lang="en-US" sz="1200" b="1"/>
              <a:t> </a:t>
            </a:r>
            <a:r>
              <a:rPr lang="en-US" sz="1200" b="1" err="1"/>
              <a:t>Steigerung</a:t>
            </a:r>
            <a:r>
              <a:rPr lang="en-US" sz="1200" b="1"/>
              <a:t> von </a:t>
            </a:r>
            <a:r>
              <a:rPr lang="en-US" sz="1200" b="1" err="1"/>
              <a:t>Marktdurchdringung</a:t>
            </a:r>
            <a:endParaRPr lang="en-US" sz="1200" b="1"/>
          </a:p>
        </p:txBody>
      </p:sp>
      <p:sp>
        <p:nvSpPr>
          <p:cNvPr id="41" name="Textfeld 40">
            <a:extLst>
              <a:ext uri="{FF2B5EF4-FFF2-40B4-BE49-F238E27FC236}">
                <a16:creationId xmlns:a16="http://schemas.microsoft.com/office/drawing/2014/main" id="{BE96BE20-7C9C-5B8A-8E1E-A7F49FC4D675}"/>
              </a:ext>
            </a:extLst>
          </p:cNvPr>
          <p:cNvSpPr txBox="1"/>
          <p:nvPr/>
        </p:nvSpPr>
        <p:spPr>
          <a:xfrm>
            <a:off x="3294001" y="5800758"/>
            <a:ext cx="2556000" cy="461665"/>
          </a:xfrm>
          <a:prstGeom prst="rect">
            <a:avLst/>
          </a:prstGeom>
          <a:noFill/>
        </p:spPr>
        <p:txBody>
          <a:bodyPr wrap="square">
            <a:spAutoFit/>
          </a:bodyPr>
          <a:lstStyle/>
          <a:p>
            <a:pPr algn="ctr"/>
            <a:r>
              <a:rPr lang="en-US" sz="1200" b="1" err="1"/>
              <a:t>Taktik</a:t>
            </a:r>
            <a:r>
              <a:rPr lang="en-US" sz="1200" b="1"/>
              <a:t> </a:t>
            </a:r>
            <a:r>
              <a:rPr lang="en-US" sz="1200" b="1" err="1"/>
              <a:t>zur</a:t>
            </a:r>
            <a:r>
              <a:rPr lang="en-US" sz="1200" b="1"/>
              <a:t> </a:t>
            </a:r>
            <a:r>
              <a:rPr lang="en-US" sz="1200" b="1" err="1"/>
              <a:t>Steigerung</a:t>
            </a:r>
            <a:r>
              <a:rPr lang="en-US" sz="1200" b="1"/>
              <a:t> von </a:t>
            </a:r>
            <a:r>
              <a:rPr lang="en-US" sz="1200" b="1" err="1"/>
              <a:t>Marktdurchdringung</a:t>
            </a:r>
            <a:endParaRPr lang="en-US" sz="1200" b="1"/>
          </a:p>
        </p:txBody>
      </p:sp>
      <p:sp>
        <p:nvSpPr>
          <p:cNvPr id="42" name="Textfeld 41">
            <a:extLst>
              <a:ext uri="{FF2B5EF4-FFF2-40B4-BE49-F238E27FC236}">
                <a16:creationId xmlns:a16="http://schemas.microsoft.com/office/drawing/2014/main" id="{161AF29F-1028-C625-F90C-2EC0AC522E6E}"/>
              </a:ext>
            </a:extLst>
          </p:cNvPr>
          <p:cNvSpPr txBox="1"/>
          <p:nvPr/>
        </p:nvSpPr>
        <p:spPr>
          <a:xfrm>
            <a:off x="6010487" y="5808891"/>
            <a:ext cx="2556000" cy="461665"/>
          </a:xfrm>
          <a:prstGeom prst="rect">
            <a:avLst/>
          </a:prstGeom>
          <a:noFill/>
        </p:spPr>
        <p:txBody>
          <a:bodyPr wrap="square">
            <a:spAutoFit/>
          </a:bodyPr>
          <a:lstStyle/>
          <a:p>
            <a:pPr algn="ctr"/>
            <a:r>
              <a:rPr lang="en-US" sz="1200" b="1" err="1"/>
              <a:t>Strategische</a:t>
            </a:r>
            <a:r>
              <a:rPr lang="en-US" sz="1200" b="1"/>
              <a:t> Initiative für </a:t>
            </a:r>
            <a:r>
              <a:rPr lang="en-US" sz="1200" b="1" err="1"/>
              <a:t>langfristige</a:t>
            </a:r>
            <a:r>
              <a:rPr lang="en-US" sz="1200" b="1"/>
              <a:t> Wettbewerbsfähigkeit</a:t>
            </a:r>
          </a:p>
        </p:txBody>
      </p:sp>
    </p:spTree>
    <p:extLst>
      <p:ext uri="{BB962C8B-B14F-4D97-AF65-F5344CB8AC3E}">
        <p14:creationId xmlns:p14="http://schemas.microsoft.com/office/powerpoint/2010/main" val="28462328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66A22C-E31F-C768-6008-539DC8F0C6F0}"/>
              </a:ext>
            </a:extLst>
          </p:cNvPr>
          <p:cNvSpPr>
            <a:spLocks noGrp="1"/>
          </p:cNvSpPr>
          <p:nvPr>
            <p:ph type="title"/>
          </p:nvPr>
        </p:nvSpPr>
        <p:spPr/>
        <p:txBody>
          <a:bodyPr/>
          <a:lstStyle/>
          <a:p>
            <a:r>
              <a:rPr lang="en-US"/>
              <a:t>Zwischen UberEats und Lieferando gibt es sehr viel mehr Unterschiede als Ähnlichkeiten</a:t>
            </a:r>
          </a:p>
        </p:txBody>
      </p:sp>
      <p:graphicFrame>
        <p:nvGraphicFramePr>
          <p:cNvPr id="8" name="Inhaltsplatzhalter 7">
            <a:extLst>
              <a:ext uri="{FF2B5EF4-FFF2-40B4-BE49-F238E27FC236}">
                <a16:creationId xmlns:a16="http://schemas.microsoft.com/office/drawing/2014/main" id="{8C2C3FE5-0312-6ACB-7929-62602F9C6564}"/>
              </a:ext>
            </a:extLst>
          </p:cNvPr>
          <p:cNvGraphicFramePr>
            <a:graphicFrameLocks noGrp="1"/>
          </p:cNvGraphicFramePr>
          <p:nvPr>
            <p:ph idx="1"/>
            <p:extLst>
              <p:ext uri="{D42A27DB-BD31-4B8C-83A1-F6EECF244321}">
                <p14:modId xmlns:p14="http://schemas.microsoft.com/office/powerpoint/2010/main" val="703371655"/>
              </p:ext>
            </p:extLst>
          </p:nvPr>
        </p:nvGraphicFramePr>
        <p:xfrm>
          <a:off x="360362" y="1989138"/>
          <a:ext cx="8567737" cy="4491588"/>
        </p:xfrm>
        <a:graphic>
          <a:graphicData uri="http://schemas.openxmlformats.org/drawingml/2006/table">
            <a:tbl>
              <a:tblPr firstRow="1" bandRow="1">
                <a:tableStyleId>{073A0DAA-6AF3-43AB-8588-CEC1D06C72B9}</a:tableStyleId>
              </a:tblPr>
              <a:tblGrid>
                <a:gridCol w="1476547">
                  <a:extLst>
                    <a:ext uri="{9D8B030D-6E8A-4147-A177-3AD203B41FA5}">
                      <a16:colId xmlns:a16="http://schemas.microsoft.com/office/drawing/2014/main" val="349886750"/>
                    </a:ext>
                  </a:extLst>
                </a:gridCol>
                <a:gridCol w="2937458">
                  <a:extLst>
                    <a:ext uri="{9D8B030D-6E8A-4147-A177-3AD203B41FA5}">
                      <a16:colId xmlns:a16="http://schemas.microsoft.com/office/drawing/2014/main" val="857868009"/>
                    </a:ext>
                  </a:extLst>
                </a:gridCol>
                <a:gridCol w="4153732">
                  <a:extLst>
                    <a:ext uri="{9D8B030D-6E8A-4147-A177-3AD203B41FA5}">
                      <a16:colId xmlns:a16="http://schemas.microsoft.com/office/drawing/2014/main" val="2253940520"/>
                    </a:ext>
                  </a:extLst>
                </a:gridCol>
              </a:tblGrid>
              <a:tr h="344808">
                <a:tc>
                  <a:txBody>
                    <a:bodyPr/>
                    <a:lstStyle/>
                    <a:p>
                      <a:r>
                        <a:rPr lang="en-US" sz="1200"/>
                        <a:t>Unternehmen</a:t>
                      </a:r>
                    </a:p>
                  </a:txBody>
                  <a:tcPr/>
                </a:tc>
                <a:tc>
                  <a:txBody>
                    <a:bodyPr/>
                    <a:lstStyle/>
                    <a:p>
                      <a:r>
                        <a:rPr lang="en-US" sz="1200"/>
                        <a:t>Ähnlichkeiten</a:t>
                      </a:r>
                    </a:p>
                  </a:txBody>
                  <a:tcPr/>
                </a:tc>
                <a:tc>
                  <a:txBody>
                    <a:bodyPr/>
                    <a:lstStyle/>
                    <a:p>
                      <a:r>
                        <a:rPr lang="en-US" sz="1200"/>
                        <a:t>Unterschiede</a:t>
                      </a:r>
                    </a:p>
                  </a:txBody>
                  <a:tcPr/>
                </a:tc>
                <a:extLst>
                  <a:ext uri="{0D108BD9-81ED-4DB2-BD59-A6C34878D82A}">
                    <a16:rowId xmlns:a16="http://schemas.microsoft.com/office/drawing/2014/main" val="2495574209"/>
                  </a:ext>
                </a:extLst>
              </a:tr>
              <a:tr h="2226540">
                <a:tc>
                  <a:txBody>
                    <a:bodyPr/>
                    <a:lstStyle/>
                    <a:p>
                      <a:r>
                        <a:rPr lang="en-US" sz="1200"/>
                        <a:t>UberEats </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Marketingstrategie: Social Media und T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Online-Bestellplattfo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Breite Auswahl an Restaurants</a:t>
                      </a:r>
                    </a:p>
                    <a:p>
                      <a:endParaRPr lang="en-US" sz="120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11% der deutschen Kunden nutzen UberEa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Geschäftsmodell: Vermittlung von Bestellungen zwischen Kunden und Restaurants, aber auch eigene Lieferflott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Basiert auf bestehender Plattform von Uber, nahtlose Integration in Uber-Ap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UberEats gibt es noch nicht so lange und ist deshalb unbekann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Wird hauptsächlich von den Millennials (48%) (1981-1969) und der Generation Z (36%) (1997-2012) genutz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Die meisten Kunden bestellen aus Großstädten oder Städten mit über 1 Million Einwohnern </a:t>
                      </a:r>
                    </a:p>
                  </a:txBody>
                  <a:tcPr/>
                </a:tc>
                <a:extLst>
                  <a:ext uri="{0D108BD9-81ED-4DB2-BD59-A6C34878D82A}">
                    <a16:rowId xmlns:a16="http://schemas.microsoft.com/office/drawing/2014/main" val="1675635553"/>
                  </a:ext>
                </a:extLst>
              </a:tr>
              <a:tr h="1870294">
                <a:tc>
                  <a:txBody>
                    <a:bodyPr/>
                    <a:lstStyle/>
                    <a:p>
                      <a:r>
                        <a:rPr lang="en-US" sz="1200"/>
                        <a:t>Lieferando</a:t>
                      </a:r>
                    </a:p>
                  </a:txBody>
                  <a:tcPr/>
                </a:tc>
                <a:tc>
                  <a:txBody>
                    <a:bodyPr/>
                    <a:lstStyle/>
                    <a:p>
                      <a:pPr marL="285750" indent="-285750">
                        <a:buFont typeface="Arial" panose="020B0604020202020204" pitchFamily="34" charset="0"/>
                        <a:buChar char="•"/>
                      </a:pPr>
                      <a:r>
                        <a:rPr lang="en-US" sz="1200"/>
                        <a:t>Marketingstrategie: Social Media und T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Online-Bestellplattfo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Breite Auswahl an Restaurants</a:t>
                      </a:r>
                    </a:p>
                    <a:p>
                      <a:pPr marL="0" indent="0">
                        <a:buFont typeface="Arial" panose="020B0604020202020204" pitchFamily="34" charset="0"/>
                        <a:buNone/>
                      </a:pPr>
                      <a:endParaRPr lang="en-US" sz="120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76% der deutschen Kunden nutzen Lieferand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Geschäftsmodell: Vermittlung von Bestellungen zwischen Kunden und Restaura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Eigenständige Plattform, nur für Bestellung und Lieferung von Speisen entwicke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Lieferando ist in Deutschland bekann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Wird hauptsächlich von den Millennials (38%) (1981-1996) und der Generation X (33%) (1965-1980) genutz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Die Kunden bestellen relativ gleich verteilt von kleinen Dörfern bis hin zu Großstädten</a:t>
                      </a:r>
                    </a:p>
                  </a:txBody>
                  <a:tcPr/>
                </a:tc>
                <a:extLst>
                  <a:ext uri="{0D108BD9-81ED-4DB2-BD59-A6C34878D82A}">
                    <a16:rowId xmlns:a16="http://schemas.microsoft.com/office/drawing/2014/main" val="4234474423"/>
                  </a:ext>
                </a:extLst>
              </a:tr>
            </a:tbl>
          </a:graphicData>
        </a:graphic>
      </p:graphicFrame>
      <p:sp>
        <p:nvSpPr>
          <p:cNvPr id="4" name="Foliennummernplatzhalter 3">
            <a:extLst>
              <a:ext uri="{FF2B5EF4-FFF2-40B4-BE49-F238E27FC236}">
                <a16:creationId xmlns:a16="http://schemas.microsoft.com/office/drawing/2014/main" id="{CDF7C36B-B82A-4370-2AD1-AABB9986F971}"/>
              </a:ext>
            </a:extLst>
          </p:cNvPr>
          <p:cNvSpPr>
            <a:spLocks noGrp="1"/>
          </p:cNvSpPr>
          <p:nvPr>
            <p:ph type="sldNum" sz="quarter" idx="4"/>
          </p:nvPr>
        </p:nvSpPr>
        <p:spPr/>
        <p:txBody>
          <a:bodyPr/>
          <a:lstStyle/>
          <a:p>
            <a:fld id="{BAF04893-69FB-435D-AB2E-CA259D85B32F}" type="slidenum">
              <a:rPr lang="en-US" smtClean="0"/>
              <a:pPr/>
              <a:t>20</a:t>
            </a:fld>
            <a:endParaRPr lang="en-US"/>
          </a:p>
        </p:txBody>
      </p:sp>
      <p:sp>
        <p:nvSpPr>
          <p:cNvPr id="5" name="Inhaltsplatzhalter 4">
            <a:extLst>
              <a:ext uri="{FF2B5EF4-FFF2-40B4-BE49-F238E27FC236}">
                <a16:creationId xmlns:a16="http://schemas.microsoft.com/office/drawing/2014/main" id="{522FA02C-A4FC-7EFF-AE2C-47E5AE77004B}"/>
              </a:ext>
            </a:extLst>
          </p:cNvPr>
          <p:cNvSpPr>
            <a:spLocks noGrp="1"/>
          </p:cNvSpPr>
          <p:nvPr>
            <p:ph idx="10"/>
          </p:nvPr>
        </p:nvSpPr>
        <p:spPr/>
        <p:txBody>
          <a:bodyPr/>
          <a:lstStyle/>
          <a:p>
            <a:r>
              <a:rPr lang="en-US"/>
              <a:t>Vergleich mit nationalem Konkurrenten Lieferando </a:t>
            </a:r>
          </a:p>
        </p:txBody>
      </p:sp>
      <p:sp>
        <p:nvSpPr>
          <p:cNvPr id="6" name="Inhaltsplatzhalter 5">
            <a:extLst>
              <a:ext uri="{FF2B5EF4-FFF2-40B4-BE49-F238E27FC236}">
                <a16:creationId xmlns:a16="http://schemas.microsoft.com/office/drawing/2014/main" id="{EC82643D-7AC4-C049-247E-4C0BD808B577}"/>
              </a:ext>
            </a:extLst>
          </p:cNvPr>
          <p:cNvSpPr>
            <a:spLocks noGrp="1"/>
          </p:cNvSpPr>
          <p:nvPr>
            <p:ph idx="11"/>
          </p:nvPr>
        </p:nvSpPr>
        <p:spPr/>
        <p:txBody>
          <a:bodyPr/>
          <a:lstStyle/>
          <a:p>
            <a:r>
              <a:rPr lang="en-US">
                <a:hlinkClick r:id="rId3" action="ppaction://hlinkfile"/>
              </a:rPr>
              <a:t>file:///C:/Users/49175/Downloads/study_id97750_lieferdienste-lieferando-kundinnen-in-deutschland.pdf</a:t>
            </a:r>
            <a:endParaRPr lang="en-US"/>
          </a:p>
          <a:p>
            <a:r>
              <a:rPr lang="en-US">
                <a:hlinkClick r:id="rId4" action="ppaction://hlinkfile"/>
              </a:rPr>
              <a:t>file:///C:/Users/49175/Downloads/study_id145828_lieferdienste-uber-eats-kundinnen-in-deutschland.pdf</a:t>
            </a:r>
            <a:endParaRPr lang="en-US"/>
          </a:p>
        </p:txBody>
      </p:sp>
      <p:sp>
        <p:nvSpPr>
          <p:cNvPr id="7" name="Inhaltsplatzhalter 6">
            <a:extLst>
              <a:ext uri="{FF2B5EF4-FFF2-40B4-BE49-F238E27FC236}">
                <a16:creationId xmlns:a16="http://schemas.microsoft.com/office/drawing/2014/main" id="{858C44A8-BD5F-847E-B494-73DED5C25D51}"/>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397569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55E0E8-0A25-6A00-4C1B-DE0057E40C8D}"/>
              </a:ext>
            </a:extLst>
          </p:cNvPr>
          <p:cNvSpPr>
            <a:spLocks noGrp="1"/>
          </p:cNvSpPr>
          <p:nvPr>
            <p:ph type="title"/>
          </p:nvPr>
        </p:nvSpPr>
        <p:spPr/>
        <p:txBody>
          <a:bodyPr/>
          <a:lstStyle/>
          <a:p>
            <a:r>
              <a:rPr lang="en-US"/>
              <a:t>Uber behauptet sich in der Branche als führendes Technologieunternehmen im Bereich Mobilität</a:t>
            </a:r>
          </a:p>
        </p:txBody>
      </p:sp>
      <p:sp>
        <p:nvSpPr>
          <p:cNvPr id="4" name="Foliennummernplatzhalter 3">
            <a:extLst>
              <a:ext uri="{FF2B5EF4-FFF2-40B4-BE49-F238E27FC236}">
                <a16:creationId xmlns:a16="http://schemas.microsoft.com/office/drawing/2014/main" id="{A12B1F9C-DF59-2FE0-08F2-F197B2C98CE8}"/>
              </a:ext>
            </a:extLst>
          </p:cNvPr>
          <p:cNvSpPr>
            <a:spLocks noGrp="1"/>
          </p:cNvSpPr>
          <p:nvPr>
            <p:ph type="sldNum" sz="quarter" idx="4"/>
          </p:nvPr>
        </p:nvSpPr>
        <p:spPr/>
        <p:txBody>
          <a:bodyPr/>
          <a:lstStyle/>
          <a:p>
            <a:fld id="{BAF04893-69FB-435D-AB2E-CA259D85B32F}" type="slidenum">
              <a:rPr lang="en-US" smtClean="0"/>
              <a:pPr/>
              <a:t>21</a:t>
            </a:fld>
            <a:endParaRPr lang="en-US"/>
          </a:p>
        </p:txBody>
      </p:sp>
      <p:sp>
        <p:nvSpPr>
          <p:cNvPr id="5" name="Inhaltsplatzhalter 4">
            <a:extLst>
              <a:ext uri="{FF2B5EF4-FFF2-40B4-BE49-F238E27FC236}">
                <a16:creationId xmlns:a16="http://schemas.microsoft.com/office/drawing/2014/main" id="{F3CC4AA9-195E-B525-9759-64C081C0757E}"/>
              </a:ext>
            </a:extLst>
          </p:cNvPr>
          <p:cNvSpPr>
            <a:spLocks noGrp="1"/>
          </p:cNvSpPr>
          <p:nvPr>
            <p:ph idx="10"/>
          </p:nvPr>
        </p:nvSpPr>
        <p:spPr/>
        <p:txBody>
          <a:bodyPr/>
          <a:lstStyle/>
          <a:p>
            <a:r>
              <a:rPr lang="en-US"/>
              <a:t>Ubers Position in der Branche</a:t>
            </a:r>
          </a:p>
        </p:txBody>
      </p:sp>
      <p:sp>
        <p:nvSpPr>
          <p:cNvPr id="6" name="Inhaltsplatzhalter 5">
            <a:extLst>
              <a:ext uri="{FF2B5EF4-FFF2-40B4-BE49-F238E27FC236}">
                <a16:creationId xmlns:a16="http://schemas.microsoft.com/office/drawing/2014/main" id="{D38C4579-376D-F9B9-E8B8-DC6999240C12}"/>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76581BB8-5A08-0BB6-9D02-74455CB93008}"/>
              </a:ext>
            </a:extLst>
          </p:cNvPr>
          <p:cNvSpPr>
            <a:spLocks noGrp="1"/>
          </p:cNvSpPr>
          <p:nvPr>
            <p:ph idx="12"/>
          </p:nvPr>
        </p:nvSpPr>
        <p:spPr/>
        <p:txBody>
          <a:bodyPr/>
          <a:lstStyle/>
          <a:p>
            <a:endParaRPr lang="en-US"/>
          </a:p>
        </p:txBody>
      </p:sp>
      <p:sp>
        <p:nvSpPr>
          <p:cNvPr id="10" name="Inhaltsplatzhalter 9">
            <a:extLst>
              <a:ext uri="{FF2B5EF4-FFF2-40B4-BE49-F238E27FC236}">
                <a16:creationId xmlns:a16="http://schemas.microsoft.com/office/drawing/2014/main" id="{6D54E017-E35A-1D2D-1BEA-09F8F0A92DF6}"/>
              </a:ext>
            </a:extLst>
          </p:cNvPr>
          <p:cNvSpPr>
            <a:spLocks noGrp="1"/>
          </p:cNvSpPr>
          <p:nvPr>
            <p:ph idx="1"/>
          </p:nvPr>
        </p:nvSpPr>
        <p:spPr/>
        <p:txBody>
          <a:bodyPr/>
          <a:lstStyle/>
          <a:p>
            <a:r>
              <a:rPr lang="en-US" sz="1400" b="1"/>
              <a:t>Kernelemente von Ubers Position in der Branche:</a:t>
            </a:r>
          </a:p>
          <a:p>
            <a:pPr marL="285750" indent="-285750">
              <a:buFont typeface="Arial" panose="020B0604020202020204" pitchFamily="34" charset="0"/>
              <a:buChar char="•"/>
            </a:pPr>
            <a:r>
              <a:rPr lang="en-US" sz="1400" err="1"/>
              <a:t>führendes</a:t>
            </a:r>
            <a:r>
              <a:rPr lang="en-US" sz="1400"/>
              <a:t> </a:t>
            </a:r>
            <a:r>
              <a:rPr lang="en-US" sz="1400" err="1"/>
              <a:t>Technologieunternehmen</a:t>
            </a:r>
            <a:r>
              <a:rPr lang="en-US" sz="1400"/>
              <a:t> </a:t>
            </a:r>
            <a:r>
              <a:rPr lang="en-US" sz="1400" err="1"/>
              <a:t>im</a:t>
            </a:r>
            <a:r>
              <a:rPr lang="en-US" sz="1400"/>
              <a:t> </a:t>
            </a:r>
            <a:r>
              <a:rPr lang="en-US" sz="1400" err="1"/>
              <a:t>Bereich</a:t>
            </a:r>
            <a:r>
              <a:rPr lang="en-US" sz="1400"/>
              <a:t> der </a:t>
            </a:r>
            <a:r>
              <a:rPr lang="en-US" sz="1400" err="1"/>
              <a:t>Mobilität</a:t>
            </a:r>
            <a:r>
              <a:rPr lang="en-US" sz="1400"/>
              <a:t> und </a:t>
            </a:r>
            <a:r>
              <a:rPr lang="en-US" sz="1400" err="1"/>
              <a:t>Logistik</a:t>
            </a:r>
            <a:endParaRPr lang="en-US" sz="1400"/>
          </a:p>
          <a:p>
            <a:pPr marL="285750" indent="-285750">
              <a:buFont typeface="Arial" panose="020B0604020202020204" pitchFamily="34" charset="0"/>
              <a:buChar char="•"/>
            </a:pPr>
            <a:r>
              <a:rPr lang="en-US" sz="1400"/>
              <a:t>Es </a:t>
            </a:r>
            <a:r>
              <a:rPr lang="en-US" sz="1400" err="1"/>
              <a:t>strebt</a:t>
            </a:r>
            <a:r>
              <a:rPr lang="en-US" sz="1400"/>
              <a:t> </a:t>
            </a:r>
            <a:r>
              <a:rPr lang="en-US" sz="1400" err="1"/>
              <a:t>danach</a:t>
            </a:r>
            <a:r>
              <a:rPr lang="en-US" sz="1400"/>
              <a:t>, </a:t>
            </a:r>
            <a:r>
              <a:rPr lang="en-US" sz="1400" err="1"/>
              <a:t>durch</a:t>
            </a:r>
            <a:r>
              <a:rPr lang="en-US" sz="1400"/>
              <a:t> innovative </a:t>
            </a:r>
            <a:r>
              <a:rPr lang="en-US" sz="1400" err="1"/>
              <a:t>Technologien</a:t>
            </a:r>
            <a:r>
              <a:rPr lang="en-US" sz="1400"/>
              <a:t> und </a:t>
            </a:r>
            <a:r>
              <a:rPr lang="en-US" sz="1400" err="1"/>
              <a:t>vielfältige</a:t>
            </a:r>
            <a:r>
              <a:rPr lang="en-US" sz="1400"/>
              <a:t> </a:t>
            </a:r>
            <a:r>
              <a:rPr lang="en-US" sz="1400" err="1"/>
              <a:t>Dienstleistungen</a:t>
            </a:r>
            <a:r>
              <a:rPr lang="en-US" sz="1400"/>
              <a:t> die Art und Weise </a:t>
            </a:r>
            <a:r>
              <a:rPr lang="en-US" sz="1400" err="1"/>
              <a:t>zu</a:t>
            </a:r>
            <a:r>
              <a:rPr lang="en-US" sz="1400"/>
              <a:t> </a:t>
            </a:r>
            <a:r>
              <a:rPr lang="en-US" sz="1400" err="1"/>
              <a:t>verändern</a:t>
            </a:r>
            <a:r>
              <a:rPr lang="en-US" sz="1400"/>
              <a:t>, </a:t>
            </a:r>
            <a:r>
              <a:rPr lang="en-US" sz="1400" err="1"/>
              <a:t>wie</a:t>
            </a:r>
            <a:r>
              <a:rPr lang="en-US" sz="1400"/>
              <a:t> Menschen </a:t>
            </a:r>
            <a:r>
              <a:rPr lang="en-US" sz="1400" err="1"/>
              <a:t>sich</a:t>
            </a:r>
            <a:r>
              <a:rPr lang="en-US" sz="1400"/>
              <a:t> </a:t>
            </a:r>
            <a:r>
              <a:rPr lang="en-US" sz="1400" err="1"/>
              <a:t>fortbewegen</a:t>
            </a:r>
            <a:r>
              <a:rPr lang="en-US" sz="1400"/>
              <a:t> und </a:t>
            </a:r>
            <a:r>
              <a:rPr lang="en-US" sz="1400" err="1"/>
              <a:t>Waren</a:t>
            </a:r>
            <a:r>
              <a:rPr lang="en-US" sz="1400"/>
              <a:t> </a:t>
            </a:r>
            <a:r>
              <a:rPr lang="en-US" sz="1400" err="1"/>
              <a:t>transportieren</a:t>
            </a:r>
            <a:r>
              <a:rPr lang="en-US" sz="1400"/>
              <a:t> </a:t>
            </a:r>
          </a:p>
          <a:p>
            <a:pPr marL="285750" indent="-285750">
              <a:buFont typeface="Arial" panose="020B0604020202020204" pitchFamily="34" charset="0"/>
              <a:buChar char="•"/>
            </a:pPr>
            <a:r>
              <a:rPr lang="en-US" sz="1400" err="1"/>
              <a:t>Fokussierung</a:t>
            </a:r>
            <a:r>
              <a:rPr lang="en-US" sz="1400"/>
              <a:t> auf </a:t>
            </a:r>
            <a:r>
              <a:rPr lang="en-US" sz="1400" err="1"/>
              <a:t>Technologie</a:t>
            </a:r>
            <a:r>
              <a:rPr lang="en-US" sz="1400"/>
              <a:t>, </a:t>
            </a:r>
            <a:r>
              <a:rPr lang="en-US" sz="1400" err="1"/>
              <a:t>globale</a:t>
            </a:r>
            <a:r>
              <a:rPr lang="en-US" sz="1400"/>
              <a:t> </a:t>
            </a:r>
            <a:r>
              <a:rPr lang="en-US" sz="1400" err="1"/>
              <a:t>Präsenz</a:t>
            </a:r>
            <a:r>
              <a:rPr lang="en-US" sz="1400"/>
              <a:t> und die </a:t>
            </a:r>
            <a:r>
              <a:rPr lang="en-US" sz="1400" err="1"/>
              <a:t>Diversifizierung</a:t>
            </a:r>
            <a:r>
              <a:rPr lang="en-US" sz="1400"/>
              <a:t> von </a:t>
            </a:r>
            <a:r>
              <a:rPr lang="en-US" sz="1400" err="1"/>
              <a:t>Dienstleistungen</a:t>
            </a:r>
            <a:r>
              <a:rPr lang="en-US" sz="1400"/>
              <a:t> </a:t>
            </a:r>
            <a:r>
              <a:rPr lang="en-US" sz="1400" err="1"/>
              <a:t>wie</a:t>
            </a:r>
            <a:r>
              <a:rPr lang="en-US" sz="1400"/>
              <a:t> Ride-Hailing (UberX, </a:t>
            </a:r>
            <a:r>
              <a:rPr lang="en-US" sz="1400" err="1"/>
              <a:t>UberPool</a:t>
            </a:r>
            <a:r>
              <a:rPr lang="en-US" sz="1400"/>
              <a:t>), </a:t>
            </a:r>
            <a:r>
              <a:rPr lang="en-US" sz="1400" err="1"/>
              <a:t>Essenslieferungen</a:t>
            </a:r>
            <a:r>
              <a:rPr lang="en-US" sz="1400"/>
              <a:t> (UberEats), </a:t>
            </a:r>
            <a:r>
              <a:rPr lang="en-US" sz="1400" err="1"/>
              <a:t>Frachttransport</a:t>
            </a:r>
            <a:r>
              <a:rPr lang="en-US" sz="1400"/>
              <a:t> (Uber Freight)</a:t>
            </a:r>
          </a:p>
          <a:p>
            <a:pPr marL="285750" indent="-285750">
              <a:buFont typeface="Arial" panose="020B0604020202020204" pitchFamily="34" charset="0"/>
              <a:buChar char="•"/>
            </a:pPr>
            <a:r>
              <a:rPr lang="en-US" sz="1400" err="1"/>
              <a:t>zukünftige</a:t>
            </a:r>
            <a:r>
              <a:rPr lang="en-US" sz="1400"/>
              <a:t> </a:t>
            </a:r>
            <a:r>
              <a:rPr lang="en-US" sz="1400" err="1"/>
              <a:t>Bereiche</a:t>
            </a:r>
            <a:r>
              <a:rPr lang="en-US" sz="1400"/>
              <a:t> </a:t>
            </a:r>
            <a:r>
              <a:rPr lang="en-US" sz="1400" err="1"/>
              <a:t>wie</a:t>
            </a:r>
            <a:r>
              <a:rPr lang="en-US" sz="1400"/>
              <a:t> </a:t>
            </a:r>
            <a:r>
              <a:rPr lang="en-US" sz="1400" err="1"/>
              <a:t>autonomes</a:t>
            </a:r>
            <a:r>
              <a:rPr lang="en-US" sz="1400"/>
              <a:t> </a:t>
            </a:r>
            <a:r>
              <a:rPr lang="en-US" sz="1400" err="1"/>
              <a:t>Fahren</a:t>
            </a:r>
            <a:endParaRPr lang="en-US" sz="1400"/>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endParaRPr lang="en-US" sz="1400"/>
          </a:p>
          <a:p>
            <a:pPr marL="285750" indent="-285750">
              <a:buFont typeface="Wingdings" panose="05000000000000000000" pitchFamily="2" charset="2"/>
              <a:buChar char="è"/>
            </a:pPr>
            <a:r>
              <a:rPr lang="en-US" sz="1400" err="1"/>
              <a:t>Unternehmen</a:t>
            </a:r>
            <a:r>
              <a:rPr lang="en-US" sz="1400"/>
              <a:t> </a:t>
            </a:r>
            <a:r>
              <a:rPr lang="en-US" sz="1400" err="1"/>
              <a:t>wie</a:t>
            </a:r>
            <a:r>
              <a:rPr lang="en-US" sz="1400"/>
              <a:t> Uber </a:t>
            </a:r>
            <a:r>
              <a:rPr lang="en-US" sz="1400" err="1"/>
              <a:t>befinden</a:t>
            </a:r>
            <a:r>
              <a:rPr lang="en-US" sz="1400"/>
              <a:t> </a:t>
            </a:r>
            <a:r>
              <a:rPr lang="en-US" sz="1400" err="1"/>
              <a:t>sich</a:t>
            </a:r>
            <a:r>
              <a:rPr lang="en-US" sz="1400"/>
              <a:t> in </a:t>
            </a:r>
            <a:r>
              <a:rPr lang="en-US" sz="1400" err="1"/>
              <a:t>einem</a:t>
            </a:r>
            <a:r>
              <a:rPr lang="en-US" sz="1400"/>
              <a:t> </a:t>
            </a:r>
            <a:r>
              <a:rPr lang="en-US" sz="1400" err="1"/>
              <a:t>ständig</a:t>
            </a:r>
            <a:r>
              <a:rPr lang="en-US" sz="1400"/>
              <a:t> </a:t>
            </a:r>
            <a:r>
              <a:rPr lang="en-US" sz="1400" err="1"/>
              <a:t>verändernden</a:t>
            </a:r>
            <a:r>
              <a:rPr lang="en-US" sz="1400"/>
              <a:t> </a:t>
            </a:r>
            <a:r>
              <a:rPr lang="en-US" sz="1400" err="1"/>
              <a:t>Umfeld</a:t>
            </a:r>
            <a:r>
              <a:rPr lang="en-US" sz="1400"/>
              <a:t> und </a:t>
            </a:r>
            <a:r>
              <a:rPr lang="en-US" sz="1400" err="1"/>
              <a:t>müssen</a:t>
            </a:r>
            <a:r>
              <a:rPr lang="en-US" sz="1400"/>
              <a:t> </a:t>
            </a:r>
            <a:r>
              <a:rPr lang="en-US" sz="1400" err="1"/>
              <a:t>sich</a:t>
            </a:r>
            <a:r>
              <a:rPr lang="en-US" sz="1400"/>
              <a:t> </a:t>
            </a:r>
            <a:r>
              <a:rPr lang="en-US" sz="1400" err="1"/>
              <a:t>dort</a:t>
            </a:r>
            <a:r>
              <a:rPr lang="en-US" sz="1400"/>
              <a:t> </a:t>
            </a:r>
            <a:r>
              <a:rPr lang="en-US" sz="1400" err="1"/>
              <a:t>behaupten</a:t>
            </a:r>
            <a:endParaRPr lang="en-US" sz="1400"/>
          </a:p>
          <a:p>
            <a:pPr marL="285750" indent="-285750">
              <a:buFont typeface="Wingdings" panose="05000000000000000000" pitchFamily="2" charset="2"/>
              <a:buChar char="è"/>
            </a:pPr>
            <a:r>
              <a:rPr lang="en-US" sz="1400"/>
              <a:t>Uber muss seine Position </a:t>
            </a:r>
            <a:r>
              <a:rPr lang="en-US" sz="1400" err="1"/>
              <a:t>im</a:t>
            </a:r>
            <a:r>
              <a:rPr lang="en-US" sz="1400"/>
              <a:t> </a:t>
            </a:r>
            <a:r>
              <a:rPr lang="en-US" sz="1400" err="1"/>
              <a:t>Markt</a:t>
            </a:r>
            <a:r>
              <a:rPr lang="en-US" sz="1400"/>
              <a:t> </a:t>
            </a:r>
            <a:r>
              <a:rPr lang="en-US" sz="1400" err="1"/>
              <a:t>stärken</a:t>
            </a:r>
            <a:r>
              <a:rPr lang="en-US" sz="1400"/>
              <a:t>, um </a:t>
            </a:r>
            <a:r>
              <a:rPr lang="en-US" sz="1400" err="1"/>
              <a:t>langfristigen</a:t>
            </a:r>
            <a:r>
              <a:rPr lang="en-US" sz="1400"/>
              <a:t> </a:t>
            </a:r>
            <a:r>
              <a:rPr lang="en-US" sz="1400" err="1"/>
              <a:t>Erfolg</a:t>
            </a:r>
            <a:r>
              <a:rPr lang="en-US" sz="1400"/>
              <a:t> </a:t>
            </a:r>
            <a:r>
              <a:rPr lang="en-US" sz="1400" err="1"/>
              <a:t>zu</a:t>
            </a:r>
            <a:r>
              <a:rPr lang="en-US" sz="1400"/>
              <a:t> </a:t>
            </a:r>
            <a:r>
              <a:rPr lang="en-US" sz="1400" err="1"/>
              <a:t>gewährleisten</a:t>
            </a:r>
            <a:endParaRPr lang="en-US" sz="1400"/>
          </a:p>
          <a:p>
            <a:pPr marL="285750" indent="-285750">
              <a:buFont typeface="Wingdings" panose="05000000000000000000" pitchFamily="2" charset="2"/>
              <a:buChar char="è"/>
            </a:pPr>
            <a:r>
              <a:rPr lang="en-US" sz="1400"/>
              <a:t>Dies </a:t>
            </a:r>
            <a:r>
              <a:rPr lang="en-US" sz="1400" err="1"/>
              <a:t>kann</a:t>
            </a:r>
            <a:r>
              <a:rPr lang="en-US" sz="1400"/>
              <a:t> </a:t>
            </a:r>
            <a:r>
              <a:rPr lang="en-US" sz="1400" err="1"/>
              <a:t>nur</a:t>
            </a:r>
            <a:r>
              <a:rPr lang="en-US" sz="1400"/>
              <a:t> </a:t>
            </a:r>
            <a:r>
              <a:rPr lang="en-US" sz="1400" err="1"/>
              <a:t>geschehen</a:t>
            </a:r>
            <a:r>
              <a:rPr lang="en-US" sz="1400"/>
              <a:t>, </a:t>
            </a:r>
            <a:r>
              <a:rPr lang="en-US" sz="1400" err="1"/>
              <a:t>wenn</a:t>
            </a:r>
            <a:r>
              <a:rPr lang="en-US" sz="1400"/>
              <a:t> Uber die </a:t>
            </a:r>
            <a:r>
              <a:rPr lang="en-US" sz="1400" err="1"/>
              <a:t>aktuellen</a:t>
            </a:r>
            <a:r>
              <a:rPr lang="en-US" sz="1400"/>
              <a:t> </a:t>
            </a:r>
            <a:r>
              <a:rPr lang="en-US" sz="1400" err="1"/>
              <a:t>Herausforderungen</a:t>
            </a:r>
            <a:r>
              <a:rPr lang="en-US" sz="1400"/>
              <a:t> </a:t>
            </a:r>
            <a:r>
              <a:rPr lang="en-US" sz="1400" err="1"/>
              <a:t>bewältigen</a:t>
            </a:r>
            <a:r>
              <a:rPr lang="en-US" sz="1400"/>
              <a:t> </a:t>
            </a:r>
            <a:r>
              <a:rPr lang="en-US" sz="1400" err="1"/>
              <a:t>kann</a:t>
            </a:r>
            <a:endParaRPr lang="en-US" sz="1400"/>
          </a:p>
          <a:p>
            <a:endParaRPr lang="en-US"/>
          </a:p>
          <a:p>
            <a:endParaRPr lang="en-US"/>
          </a:p>
        </p:txBody>
      </p:sp>
    </p:spTree>
    <p:extLst>
      <p:ext uri="{BB962C8B-B14F-4D97-AF65-F5344CB8AC3E}">
        <p14:creationId xmlns:p14="http://schemas.microsoft.com/office/powerpoint/2010/main" val="17902691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55E0E8-0A25-6A00-4C1B-DE0057E40C8D}"/>
              </a:ext>
            </a:extLst>
          </p:cNvPr>
          <p:cNvSpPr>
            <a:spLocks noGrp="1"/>
          </p:cNvSpPr>
          <p:nvPr>
            <p:ph type="title"/>
          </p:nvPr>
        </p:nvSpPr>
        <p:spPr/>
        <p:txBody>
          <a:bodyPr/>
          <a:lstStyle/>
          <a:p>
            <a:r>
              <a:rPr lang="en-US"/>
              <a:t>In der Ride-Hailing Branche gibt es viele aktuelle Herausforderungen, die für die Zukunft gelöst werden müssen</a:t>
            </a:r>
          </a:p>
        </p:txBody>
      </p:sp>
      <p:graphicFrame>
        <p:nvGraphicFramePr>
          <p:cNvPr id="8" name="Inhaltsplatzhalter 7">
            <a:extLst>
              <a:ext uri="{FF2B5EF4-FFF2-40B4-BE49-F238E27FC236}">
                <a16:creationId xmlns:a16="http://schemas.microsoft.com/office/drawing/2014/main" id="{E895970E-4FA1-B0DC-EDA0-27753F739FF3}"/>
              </a:ext>
            </a:extLst>
          </p:cNvPr>
          <p:cNvGraphicFramePr>
            <a:graphicFrameLocks noGrp="1"/>
          </p:cNvGraphicFramePr>
          <p:nvPr>
            <p:ph idx="1"/>
            <p:extLst>
              <p:ext uri="{D42A27DB-BD31-4B8C-83A1-F6EECF244321}">
                <p14:modId xmlns:p14="http://schemas.microsoft.com/office/powerpoint/2010/main" val="4214888468"/>
              </p:ext>
            </p:extLst>
          </p:nvPr>
        </p:nvGraphicFramePr>
        <p:xfrm>
          <a:off x="360363" y="1989138"/>
          <a:ext cx="8567737" cy="35113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liennummernplatzhalter 3">
            <a:extLst>
              <a:ext uri="{FF2B5EF4-FFF2-40B4-BE49-F238E27FC236}">
                <a16:creationId xmlns:a16="http://schemas.microsoft.com/office/drawing/2014/main" id="{A12B1F9C-DF59-2FE0-08F2-F197B2C98CE8}"/>
              </a:ext>
            </a:extLst>
          </p:cNvPr>
          <p:cNvSpPr>
            <a:spLocks noGrp="1"/>
          </p:cNvSpPr>
          <p:nvPr>
            <p:ph type="sldNum" sz="quarter" idx="4"/>
          </p:nvPr>
        </p:nvSpPr>
        <p:spPr/>
        <p:txBody>
          <a:bodyPr/>
          <a:lstStyle/>
          <a:p>
            <a:fld id="{BAF04893-69FB-435D-AB2E-CA259D85B32F}" type="slidenum">
              <a:rPr lang="en-US" smtClean="0"/>
              <a:pPr/>
              <a:t>22</a:t>
            </a:fld>
            <a:endParaRPr lang="en-US"/>
          </a:p>
        </p:txBody>
      </p:sp>
      <p:sp>
        <p:nvSpPr>
          <p:cNvPr id="5" name="Inhaltsplatzhalter 4">
            <a:extLst>
              <a:ext uri="{FF2B5EF4-FFF2-40B4-BE49-F238E27FC236}">
                <a16:creationId xmlns:a16="http://schemas.microsoft.com/office/drawing/2014/main" id="{F3CC4AA9-195E-B525-9759-64C081C0757E}"/>
              </a:ext>
            </a:extLst>
          </p:cNvPr>
          <p:cNvSpPr>
            <a:spLocks noGrp="1"/>
          </p:cNvSpPr>
          <p:nvPr>
            <p:ph idx="10"/>
          </p:nvPr>
        </p:nvSpPr>
        <p:spPr/>
        <p:txBody>
          <a:bodyPr/>
          <a:lstStyle/>
          <a:p>
            <a:r>
              <a:rPr lang="en-US"/>
              <a:t>Aktuelle Herausforderungen in der Branche</a:t>
            </a:r>
          </a:p>
        </p:txBody>
      </p:sp>
      <p:sp>
        <p:nvSpPr>
          <p:cNvPr id="6" name="Inhaltsplatzhalter 5">
            <a:extLst>
              <a:ext uri="{FF2B5EF4-FFF2-40B4-BE49-F238E27FC236}">
                <a16:creationId xmlns:a16="http://schemas.microsoft.com/office/drawing/2014/main" id="{D38C4579-376D-F9B9-E8B8-DC6999240C12}"/>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76581BB8-5A08-0BB6-9D02-74455CB93008}"/>
              </a:ext>
            </a:extLst>
          </p:cNvPr>
          <p:cNvSpPr>
            <a:spLocks noGrp="1"/>
          </p:cNvSpPr>
          <p:nvPr>
            <p:ph idx="12"/>
          </p:nvPr>
        </p:nvSpPr>
        <p:spPr/>
        <p:txBody>
          <a:bodyPr/>
          <a:lstStyle/>
          <a:p>
            <a:endParaRPr lang="en-US"/>
          </a:p>
        </p:txBody>
      </p:sp>
      <p:sp>
        <p:nvSpPr>
          <p:cNvPr id="9" name="Textfeld 8">
            <a:extLst>
              <a:ext uri="{FF2B5EF4-FFF2-40B4-BE49-F238E27FC236}">
                <a16:creationId xmlns:a16="http://schemas.microsoft.com/office/drawing/2014/main" id="{B9A128E5-8BA1-6B5C-7875-8C103BBACB19}"/>
              </a:ext>
            </a:extLst>
          </p:cNvPr>
          <p:cNvSpPr txBox="1"/>
          <p:nvPr/>
        </p:nvSpPr>
        <p:spPr>
          <a:xfrm>
            <a:off x="359997" y="5580993"/>
            <a:ext cx="8567737" cy="830997"/>
          </a:xfrm>
          <a:prstGeom prst="rect">
            <a:avLst/>
          </a:prstGeom>
          <a:noFill/>
        </p:spPr>
        <p:txBody>
          <a:bodyPr wrap="square" rtlCol="0">
            <a:spAutoFit/>
          </a:bodyPr>
          <a:lstStyle/>
          <a:p>
            <a:r>
              <a:rPr lang="en-US" sz="1200" err="1"/>
              <a:t>Diese</a:t>
            </a:r>
            <a:r>
              <a:rPr lang="en-US" sz="1200"/>
              <a:t> </a:t>
            </a:r>
            <a:r>
              <a:rPr lang="en-US" sz="1200" err="1"/>
              <a:t>Herausforderungen</a:t>
            </a:r>
            <a:r>
              <a:rPr lang="en-US" sz="1200"/>
              <a:t> </a:t>
            </a:r>
            <a:r>
              <a:rPr lang="en-US" sz="1200" err="1"/>
              <a:t>können</a:t>
            </a:r>
            <a:r>
              <a:rPr lang="en-US" sz="1200"/>
              <a:t> </a:t>
            </a:r>
            <a:r>
              <a:rPr lang="en-US" sz="1200" err="1"/>
              <a:t>nur</a:t>
            </a:r>
            <a:r>
              <a:rPr lang="en-US" sz="1200"/>
              <a:t> </a:t>
            </a:r>
            <a:r>
              <a:rPr lang="en-US" sz="1200" err="1"/>
              <a:t>durch</a:t>
            </a:r>
            <a:r>
              <a:rPr lang="en-US" sz="1200"/>
              <a:t> </a:t>
            </a:r>
            <a:r>
              <a:rPr lang="en-US" sz="1200" err="1"/>
              <a:t>kontinuierliche</a:t>
            </a:r>
            <a:r>
              <a:rPr lang="en-US" sz="1200"/>
              <a:t> </a:t>
            </a:r>
            <a:r>
              <a:rPr lang="en-US" sz="1200" err="1"/>
              <a:t>Anpassungen</a:t>
            </a:r>
            <a:r>
              <a:rPr lang="en-US" sz="1200"/>
              <a:t> in der </a:t>
            </a:r>
            <a:r>
              <a:rPr lang="en-US" sz="1200" err="1"/>
              <a:t>Geschäftsstrategie</a:t>
            </a:r>
            <a:r>
              <a:rPr lang="en-US" sz="1200"/>
              <a:t>, </a:t>
            </a:r>
            <a:r>
              <a:rPr lang="en-US" sz="1200" err="1"/>
              <a:t>technologischen</a:t>
            </a:r>
            <a:r>
              <a:rPr lang="en-US" sz="1200"/>
              <a:t> Innovation, </a:t>
            </a:r>
            <a:r>
              <a:rPr lang="en-US" sz="1200" err="1"/>
              <a:t>Sensibilität</a:t>
            </a:r>
            <a:r>
              <a:rPr lang="en-US" sz="1200"/>
              <a:t> für </a:t>
            </a:r>
            <a:r>
              <a:rPr lang="en-US" sz="1200" err="1"/>
              <a:t>gesellschaftliche</a:t>
            </a:r>
            <a:r>
              <a:rPr lang="en-US" sz="1200"/>
              <a:t> </a:t>
            </a:r>
            <a:r>
              <a:rPr lang="en-US" sz="1200" err="1"/>
              <a:t>Erwartungen</a:t>
            </a:r>
            <a:r>
              <a:rPr lang="en-US" sz="1200"/>
              <a:t> und </a:t>
            </a:r>
            <a:r>
              <a:rPr lang="en-US" sz="1200" err="1"/>
              <a:t>regulatorische</a:t>
            </a:r>
            <a:r>
              <a:rPr lang="en-US" sz="1200"/>
              <a:t> </a:t>
            </a:r>
            <a:r>
              <a:rPr lang="en-US" sz="1200" err="1"/>
              <a:t>Anforderungen</a:t>
            </a:r>
            <a:r>
              <a:rPr lang="en-US" sz="1200"/>
              <a:t> </a:t>
            </a:r>
            <a:r>
              <a:rPr lang="en-US" sz="1200" err="1"/>
              <a:t>bewältigt</a:t>
            </a:r>
            <a:r>
              <a:rPr lang="en-US" sz="1200"/>
              <a:t> </a:t>
            </a:r>
            <a:r>
              <a:rPr lang="en-US" sz="1200" err="1"/>
              <a:t>werden</a:t>
            </a:r>
            <a:r>
              <a:rPr lang="en-US" sz="1200"/>
              <a:t>. </a:t>
            </a:r>
            <a:r>
              <a:rPr lang="en-US" sz="1200" err="1"/>
              <a:t>Außerdem</a:t>
            </a:r>
            <a:r>
              <a:rPr lang="en-US" sz="1200"/>
              <a:t> </a:t>
            </a:r>
            <a:r>
              <a:rPr lang="en-US" sz="1200" err="1"/>
              <a:t>befindet</a:t>
            </a:r>
            <a:r>
              <a:rPr lang="en-US" sz="1200"/>
              <a:t> </a:t>
            </a:r>
            <a:r>
              <a:rPr lang="en-US" sz="1200" err="1"/>
              <a:t>Unternehmen</a:t>
            </a:r>
            <a:r>
              <a:rPr lang="en-US" sz="1200"/>
              <a:t> </a:t>
            </a:r>
            <a:r>
              <a:rPr lang="en-US" sz="1200" err="1"/>
              <a:t>wie</a:t>
            </a:r>
            <a:r>
              <a:rPr lang="en-US" sz="1200"/>
              <a:t> Uber </a:t>
            </a:r>
            <a:r>
              <a:rPr lang="en-US" sz="1200" err="1"/>
              <a:t>müssen</a:t>
            </a:r>
            <a:r>
              <a:rPr lang="en-US" sz="1200"/>
              <a:t> </a:t>
            </a:r>
            <a:r>
              <a:rPr lang="en-US" sz="1200" err="1"/>
              <a:t>sich</a:t>
            </a:r>
            <a:r>
              <a:rPr lang="en-US" sz="1200"/>
              <a:t> in </a:t>
            </a:r>
            <a:r>
              <a:rPr lang="en-US" sz="1200" err="1"/>
              <a:t>einem</a:t>
            </a:r>
            <a:r>
              <a:rPr lang="en-US" sz="1200"/>
              <a:t> </a:t>
            </a:r>
            <a:r>
              <a:rPr lang="en-US" sz="1200" err="1"/>
              <a:t>sich</a:t>
            </a:r>
            <a:r>
              <a:rPr lang="en-US" sz="1200"/>
              <a:t> </a:t>
            </a:r>
            <a:r>
              <a:rPr lang="en-US" sz="1200" err="1"/>
              <a:t>ständig</a:t>
            </a:r>
            <a:r>
              <a:rPr lang="en-US" sz="1200"/>
              <a:t> </a:t>
            </a:r>
            <a:r>
              <a:rPr lang="en-US" sz="1200" err="1"/>
              <a:t>verändernden</a:t>
            </a:r>
            <a:r>
              <a:rPr lang="en-US" sz="1200"/>
              <a:t> </a:t>
            </a:r>
            <a:r>
              <a:rPr lang="en-US" sz="1200" err="1"/>
              <a:t>Umfeld</a:t>
            </a:r>
            <a:r>
              <a:rPr lang="en-US" sz="1200"/>
              <a:t> </a:t>
            </a:r>
            <a:r>
              <a:rPr lang="en-US" sz="1200" err="1"/>
              <a:t>behaupten</a:t>
            </a:r>
            <a:r>
              <a:rPr lang="en-US" sz="1200"/>
              <a:t> und </a:t>
            </a:r>
            <a:r>
              <a:rPr lang="en-US" sz="1200" err="1"/>
              <a:t>ihre</a:t>
            </a:r>
            <a:r>
              <a:rPr lang="en-US" sz="1200"/>
              <a:t> Position </a:t>
            </a:r>
            <a:r>
              <a:rPr lang="en-US" sz="1200" err="1"/>
              <a:t>im</a:t>
            </a:r>
            <a:r>
              <a:rPr lang="en-US" sz="1200"/>
              <a:t> </a:t>
            </a:r>
            <a:r>
              <a:rPr lang="en-US" sz="1200" err="1"/>
              <a:t>Markt</a:t>
            </a:r>
            <a:r>
              <a:rPr lang="en-US" sz="1200"/>
              <a:t> </a:t>
            </a:r>
            <a:r>
              <a:rPr lang="en-US" sz="1200" err="1"/>
              <a:t>stärken</a:t>
            </a:r>
            <a:r>
              <a:rPr lang="en-US" sz="1200"/>
              <a:t>, um </a:t>
            </a:r>
            <a:r>
              <a:rPr lang="en-US" sz="1200" err="1"/>
              <a:t>langfristigen</a:t>
            </a:r>
            <a:r>
              <a:rPr lang="en-US" sz="1200"/>
              <a:t> </a:t>
            </a:r>
            <a:r>
              <a:rPr lang="en-US" sz="1200" err="1"/>
              <a:t>Erfolg</a:t>
            </a:r>
            <a:r>
              <a:rPr lang="en-US" sz="1200"/>
              <a:t> </a:t>
            </a:r>
            <a:r>
              <a:rPr lang="en-US" sz="1200" err="1"/>
              <a:t>zu</a:t>
            </a:r>
            <a:r>
              <a:rPr lang="en-US" sz="1200"/>
              <a:t> </a:t>
            </a:r>
            <a:r>
              <a:rPr lang="en-US" sz="1200" err="1"/>
              <a:t>gewährleisten</a:t>
            </a:r>
            <a:r>
              <a:rPr lang="en-US" sz="1200"/>
              <a:t>.</a:t>
            </a:r>
          </a:p>
        </p:txBody>
      </p:sp>
    </p:spTree>
    <p:extLst>
      <p:ext uri="{BB962C8B-B14F-4D97-AF65-F5344CB8AC3E}">
        <p14:creationId xmlns:p14="http://schemas.microsoft.com/office/powerpoint/2010/main" val="32426100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1F6C5D-5863-F569-639B-5B2249F8AA19}"/>
              </a:ext>
            </a:extLst>
          </p:cNvPr>
          <p:cNvGraphicFramePr>
            <a:graphicFrameLocks noChangeAspect="1"/>
          </p:cNvGraphicFramePr>
          <p:nvPr>
            <p:custDataLst>
              <p:tags r:id="rId1"/>
            </p:custDataLst>
            <p:extLst>
              <p:ext uri="{D42A27DB-BD31-4B8C-83A1-F6EECF244321}">
                <p14:modId xmlns:p14="http://schemas.microsoft.com/office/powerpoint/2010/main" val="185671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5" name="think-cell data - do not delete" hidden="1">
                        <a:extLst>
                          <a:ext uri="{FF2B5EF4-FFF2-40B4-BE49-F238E27FC236}">
                            <a16:creationId xmlns:a16="http://schemas.microsoft.com/office/drawing/2014/main" id="{E81F6C5D-5863-F569-639B-5B2249F8AA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9CF71D-69DB-0F38-348E-EDD6B061A5F6}"/>
              </a:ext>
            </a:extLst>
          </p:cNvPr>
          <p:cNvSpPr>
            <a:spLocks noGrp="1"/>
          </p:cNvSpPr>
          <p:nvPr>
            <p:ph type="title"/>
          </p:nvPr>
        </p:nvSpPr>
        <p:spPr>
          <a:xfrm>
            <a:off x="360000" y="1980000"/>
            <a:ext cx="8550000" cy="1384995"/>
          </a:xfrm>
        </p:spPr>
        <p:txBody>
          <a:bodyPr vert="horz"/>
          <a:lstStyle/>
          <a:p>
            <a:r>
              <a:rPr lang="en-US"/>
              <a:t>Frage 2: Corporate Lifecycle – Main – 6 Folien</a:t>
            </a:r>
          </a:p>
        </p:txBody>
      </p:sp>
      <p:sp>
        <p:nvSpPr>
          <p:cNvPr id="3" name="Textplatzhalter 2">
            <a:extLst>
              <a:ext uri="{FF2B5EF4-FFF2-40B4-BE49-F238E27FC236}">
                <a16:creationId xmlns:a16="http://schemas.microsoft.com/office/drawing/2014/main" id="{4643EE31-1C72-3234-2CAD-AC1EE7C353A8}"/>
              </a:ext>
            </a:extLst>
          </p:cNvPr>
          <p:cNvSpPr>
            <a:spLocks noGrp="1"/>
          </p:cNvSpPr>
          <p:nvPr>
            <p:ph type="body" idx="1"/>
          </p:nvPr>
        </p:nvSpPr>
        <p:spPr/>
        <p:txBody>
          <a:bodyPr/>
          <a:lstStyle/>
          <a:p>
            <a:r>
              <a:rPr lang="en-US"/>
              <a:t>Kevin Clausen</a:t>
            </a:r>
          </a:p>
        </p:txBody>
      </p:sp>
    </p:spTree>
    <p:extLst>
      <p:ext uri="{BB962C8B-B14F-4D97-AF65-F5344CB8AC3E}">
        <p14:creationId xmlns:p14="http://schemas.microsoft.com/office/powerpoint/2010/main" val="41294779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2335164A-86F7-0C4D-BE2F-FBB41B9422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08" imgH="408" progId="TCLayout.ActiveDocument.1">
                  <p:embed/>
                </p:oleObj>
              </mc:Choice>
              <mc:Fallback>
                <p:oleObj name="think-cell Folie" r:id="rId6" imgW="408" imgH="408" progId="TCLayout.ActiveDocument.1">
                  <p:embed/>
                  <p:pic>
                    <p:nvPicPr>
                      <p:cNvPr id="15" name="think-cell data - do not delete" hidden="1">
                        <a:extLst>
                          <a:ext uri="{FF2B5EF4-FFF2-40B4-BE49-F238E27FC236}">
                            <a16:creationId xmlns:a16="http://schemas.microsoft.com/office/drawing/2014/main" id="{2335164A-86F7-0C4D-BE2F-FBB41B94226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Autofit/>
          </a:bodyPr>
          <a:lstStyle/>
          <a:p>
            <a:r>
              <a:rPr lang="en-US"/>
              <a:t>Uber can be placed at the end of the Growth Stage as one of the pioneers in the transportation platform industry</a:t>
            </a:r>
          </a:p>
        </p:txBody>
      </p:sp>
      <p:sp>
        <p:nvSpPr>
          <p:cNvPr id="11" name="Inhaltsplatzhalter 10">
            <a:extLst>
              <a:ext uri="{FF2B5EF4-FFF2-40B4-BE49-F238E27FC236}">
                <a16:creationId xmlns:a16="http://schemas.microsoft.com/office/drawing/2014/main" id="{CC0D1C68-3CEF-5A59-FC41-FC5759D22C26}"/>
              </a:ext>
            </a:extLst>
          </p:cNvPr>
          <p:cNvSpPr>
            <a:spLocks noGrp="1"/>
          </p:cNvSpPr>
          <p:nvPr>
            <p:ph idx="10"/>
          </p:nvPr>
        </p:nvSpPr>
        <p:spPr/>
        <p:txBody>
          <a:bodyPr/>
          <a:lstStyle/>
          <a:p>
            <a:r>
              <a:rPr lang="en-US"/>
              <a:t>Lifecycles</a:t>
            </a:r>
          </a:p>
        </p:txBody>
      </p:sp>
      <p:sp>
        <p:nvSpPr>
          <p:cNvPr id="12" name="Inhaltsplatzhalter 11">
            <a:extLst>
              <a:ext uri="{FF2B5EF4-FFF2-40B4-BE49-F238E27FC236}">
                <a16:creationId xmlns:a16="http://schemas.microsoft.com/office/drawing/2014/main" id="{8D67A70B-D020-B408-CEC8-C5C377A94F89}"/>
              </a:ext>
            </a:extLst>
          </p:cNvPr>
          <p:cNvSpPr>
            <a:spLocks noGrp="1"/>
          </p:cNvSpPr>
          <p:nvPr>
            <p:ph idx="11"/>
          </p:nvPr>
        </p:nvSpPr>
        <p:spPr/>
        <p:txBody>
          <a:bodyPr/>
          <a:lstStyle/>
          <a:p>
            <a:r>
              <a:rPr lang="en-US"/>
              <a:t>Own representation</a:t>
            </a:r>
          </a:p>
        </p:txBody>
      </p:sp>
      <p:sp>
        <p:nvSpPr>
          <p:cNvPr id="13" name="Inhaltsplatzhalter 12">
            <a:extLst>
              <a:ext uri="{FF2B5EF4-FFF2-40B4-BE49-F238E27FC236}">
                <a16:creationId xmlns:a16="http://schemas.microsoft.com/office/drawing/2014/main" id="{E919CE4F-20CA-44B9-94C2-837536AE47E1}"/>
              </a:ext>
            </a:extLst>
          </p:cNvPr>
          <p:cNvSpPr>
            <a:spLocks noGrp="1"/>
          </p:cNvSpPr>
          <p:nvPr>
            <p:ph idx="12"/>
          </p:nvPr>
        </p:nvSpPr>
        <p:spPr/>
        <p:txBody>
          <a:bodyPr/>
          <a:lstStyle/>
          <a:p>
            <a:r>
              <a:rPr lang="en-US"/>
              <a:t>Corporate Lifecycle</a:t>
            </a:r>
          </a:p>
          <a:p>
            <a:endParaRPr lang="en-US"/>
          </a:p>
        </p:txBody>
      </p:sp>
      <p:sp>
        <p:nvSpPr>
          <p:cNvPr id="4" name="Pentagon 3"/>
          <p:cNvSpPr/>
          <p:nvPr/>
        </p:nvSpPr>
        <p:spPr>
          <a:xfrm>
            <a:off x="536945" y="3470631"/>
            <a:ext cx="2206329" cy="525381"/>
          </a:xfrm>
          <a:prstGeom prst="homePlate">
            <a:avLst>
              <a:gd name="adj" fmla="val 51790"/>
            </a:avLst>
          </a:prstGeom>
          <a:solidFill>
            <a:schemeClr val="accent2">
              <a:lumMod val="40000"/>
              <a:lumOff val="60000"/>
            </a:schemeClr>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kern="0">
                <a:solidFill>
                  <a:schemeClr val="tx1"/>
                </a:solidFill>
              </a:rPr>
              <a:t>Startup Stage</a:t>
            </a:r>
          </a:p>
        </p:txBody>
      </p:sp>
      <p:sp>
        <p:nvSpPr>
          <p:cNvPr id="5" name="Chevron 4"/>
          <p:cNvSpPr/>
          <p:nvPr/>
        </p:nvSpPr>
        <p:spPr>
          <a:xfrm>
            <a:off x="2465813" y="3470631"/>
            <a:ext cx="2206329" cy="525381"/>
          </a:xfrm>
          <a:prstGeom prst="chevron">
            <a:avLst/>
          </a:prstGeom>
          <a:solidFill>
            <a:schemeClr val="accent2">
              <a:lumMod val="60000"/>
              <a:lumOff val="40000"/>
            </a:schemeClr>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1350" kern="0">
                <a:solidFill>
                  <a:schemeClr val="tx1"/>
                </a:solidFill>
              </a:rPr>
              <a:t>Growth Stage</a:t>
            </a:r>
          </a:p>
        </p:txBody>
      </p:sp>
      <p:sp>
        <p:nvSpPr>
          <p:cNvPr id="6" name="Chevron 5"/>
          <p:cNvSpPr/>
          <p:nvPr/>
        </p:nvSpPr>
        <p:spPr>
          <a:xfrm>
            <a:off x="4394681" y="3470631"/>
            <a:ext cx="2206329" cy="525381"/>
          </a:xfrm>
          <a:prstGeom prst="chevron">
            <a:avLst/>
          </a:prstGeom>
          <a:solidFill>
            <a:schemeClr val="accent2"/>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1350" kern="0"/>
              <a:t>Maturity Stage</a:t>
            </a:r>
          </a:p>
        </p:txBody>
      </p:sp>
      <p:sp>
        <p:nvSpPr>
          <p:cNvPr id="9" name="Chevron 8"/>
          <p:cNvSpPr/>
          <p:nvPr/>
        </p:nvSpPr>
        <p:spPr>
          <a:xfrm>
            <a:off x="6323548" y="3472158"/>
            <a:ext cx="2206329" cy="525381"/>
          </a:xfrm>
          <a:prstGeom prst="chevron">
            <a:avLst/>
          </a:prstGeom>
          <a:solidFill>
            <a:schemeClr val="tx1"/>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1350" kern="0"/>
              <a:t>Decline / Renewal Stage</a:t>
            </a:r>
          </a:p>
        </p:txBody>
      </p:sp>
      <p:cxnSp>
        <p:nvCxnSpPr>
          <p:cNvPr id="17" name="Gerader Verbinder 16">
            <a:extLst>
              <a:ext uri="{FF2B5EF4-FFF2-40B4-BE49-F238E27FC236}">
                <a16:creationId xmlns:a16="http://schemas.microsoft.com/office/drawing/2014/main" id="{33F4D40D-CEE2-5CCE-C55A-C32E595EAB57}"/>
              </a:ext>
            </a:extLst>
          </p:cNvPr>
          <p:cNvCxnSpPr>
            <a:cxnSpLocks/>
          </p:cNvCxnSpPr>
          <p:nvPr/>
        </p:nvCxnSpPr>
        <p:spPr>
          <a:xfrm>
            <a:off x="2465813" y="4163087"/>
            <a:ext cx="0" cy="2237724"/>
          </a:xfrm>
          <a:prstGeom prst="line">
            <a:avLst/>
          </a:prstGeom>
        </p:spPr>
        <p:style>
          <a:lnRef idx="1">
            <a:schemeClr val="accent2"/>
          </a:lnRef>
          <a:fillRef idx="0">
            <a:schemeClr val="accent2"/>
          </a:fillRef>
          <a:effectRef idx="0">
            <a:schemeClr val="accent2"/>
          </a:effectRef>
          <a:fontRef idx="minor">
            <a:schemeClr val="tx1"/>
          </a:fontRef>
        </p:style>
      </p:cxnSp>
      <p:cxnSp>
        <p:nvCxnSpPr>
          <p:cNvPr id="19" name="Gerader Verbinder 18">
            <a:extLst>
              <a:ext uri="{FF2B5EF4-FFF2-40B4-BE49-F238E27FC236}">
                <a16:creationId xmlns:a16="http://schemas.microsoft.com/office/drawing/2014/main" id="{9DF54CFE-D57B-3B75-0308-6EE3828983EB}"/>
              </a:ext>
            </a:extLst>
          </p:cNvPr>
          <p:cNvCxnSpPr>
            <a:cxnSpLocks/>
          </p:cNvCxnSpPr>
          <p:nvPr/>
        </p:nvCxnSpPr>
        <p:spPr>
          <a:xfrm>
            <a:off x="4394643" y="4163087"/>
            <a:ext cx="0" cy="2237724"/>
          </a:xfrm>
          <a:prstGeom prst="line">
            <a:avLst/>
          </a:prstGeom>
        </p:spPr>
        <p:style>
          <a:lnRef idx="1">
            <a:schemeClr val="accent2"/>
          </a:lnRef>
          <a:fillRef idx="0">
            <a:schemeClr val="accent2"/>
          </a:fillRef>
          <a:effectRef idx="0">
            <a:schemeClr val="accent2"/>
          </a:effectRef>
          <a:fontRef idx="minor">
            <a:schemeClr val="tx1"/>
          </a:fontRef>
        </p:style>
      </p:cxnSp>
      <p:cxnSp>
        <p:nvCxnSpPr>
          <p:cNvPr id="20" name="Gerader Verbinder 19">
            <a:extLst>
              <a:ext uri="{FF2B5EF4-FFF2-40B4-BE49-F238E27FC236}">
                <a16:creationId xmlns:a16="http://schemas.microsoft.com/office/drawing/2014/main" id="{F8928741-6C95-502C-0334-751540F3A11F}"/>
              </a:ext>
            </a:extLst>
          </p:cNvPr>
          <p:cNvCxnSpPr>
            <a:cxnSpLocks/>
          </p:cNvCxnSpPr>
          <p:nvPr/>
        </p:nvCxnSpPr>
        <p:spPr>
          <a:xfrm>
            <a:off x="6323473" y="4163087"/>
            <a:ext cx="0" cy="2237724"/>
          </a:xfrm>
          <a:prstGeom prst="line">
            <a:avLst/>
          </a:prstGeom>
        </p:spPr>
        <p:style>
          <a:lnRef idx="1">
            <a:schemeClr val="accent2"/>
          </a:lnRef>
          <a:fillRef idx="0">
            <a:schemeClr val="accent2"/>
          </a:fillRef>
          <a:effectRef idx="0">
            <a:schemeClr val="accent2"/>
          </a:effectRef>
          <a:fontRef idx="minor">
            <a:schemeClr val="tx1"/>
          </a:fontRef>
        </p:style>
      </p:cxnSp>
      <p:sp>
        <p:nvSpPr>
          <p:cNvPr id="22" name="Textfeld 21">
            <a:extLst>
              <a:ext uri="{FF2B5EF4-FFF2-40B4-BE49-F238E27FC236}">
                <a16:creationId xmlns:a16="http://schemas.microsoft.com/office/drawing/2014/main" id="{87227926-2414-A666-FD19-BDE708F4749D}"/>
              </a:ext>
            </a:extLst>
          </p:cNvPr>
          <p:cNvSpPr txBox="1"/>
          <p:nvPr/>
        </p:nvSpPr>
        <p:spPr>
          <a:xfrm>
            <a:off x="536944" y="4225562"/>
            <a:ext cx="1803007" cy="646331"/>
          </a:xfrm>
          <a:prstGeom prst="rect">
            <a:avLst/>
          </a:prstGeom>
          <a:noFill/>
        </p:spPr>
        <p:txBody>
          <a:bodyPr wrap="square" rtlCol="0">
            <a:spAutoFit/>
          </a:bodyPr>
          <a:lstStyle/>
          <a:p>
            <a:pPr algn="ctr"/>
            <a:r>
              <a:rPr lang="en-US" sz="1200" b="1"/>
              <a:t>KPIs focus on market penetration and initial growth metrics</a:t>
            </a:r>
          </a:p>
        </p:txBody>
      </p:sp>
      <p:sp>
        <p:nvSpPr>
          <p:cNvPr id="23" name="Textfeld 22">
            <a:extLst>
              <a:ext uri="{FF2B5EF4-FFF2-40B4-BE49-F238E27FC236}">
                <a16:creationId xmlns:a16="http://schemas.microsoft.com/office/drawing/2014/main" id="{83DA45EC-B71F-CEDC-1237-0BE9870D49E9}"/>
              </a:ext>
            </a:extLst>
          </p:cNvPr>
          <p:cNvSpPr txBox="1"/>
          <p:nvPr/>
        </p:nvSpPr>
        <p:spPr>
          <a:xfrm>
            <a:off x="2528725" y="4225562"/>
            <a:ext cx="1803007" cy="830997"/>
          </a:xfrm>
          <a:prstGeom prst="rect">
            <a:avLst/>
          </a:prstGeom>
          <a:noFill/>
        </p:spPr>
        <p:txBody>
          <a:bodyPr wrap="square" rtlCol="0">
            <a:spAutoFit/>
          </a:bodyPr>
          <a:lstStyle/>
          <a:p>
            <a:pPr algn="ctr"/>
            <a:r>
              <a:rPr lang="en-US" sz="1200" b="1"/>
              <a:t>KPIs focus on rapid expansion, customer base growth and revenue increases</a:t>
            </a:r>
          </a:p>
        </p:txBody>
      </p:sp>
      <p:sp>
        <p:nvSpPr>
          <p:cNvPr id="31" name="Textfeld 30">
            <a:extLst>
              <a:ext uri="{FF2B5EF4-FFF2-40B4-BE49-F238E27FC236}">
                <a16:creationId xmlns:a16="http://schemas.microsoft.com/office/drawing/2014/main" id="{F1E6F240-B72E-A102-D179-BB6A34C48A81}"/>
              </a:ext>
            </a:extLst>
          </p:cNvPr>
          <p:cNvSpPr txBox="1"/>
          <p:nvPr/>
        </p:nvSpPr>
        <p:spPr>
          <a:xfrm>
            <a:off x="4434834" y="4225562"/>
            <a:ext cx="1865919" cy="830997"/>
          </a:xfrm>
          <a:prstGeom prst="rect">
            <a:avLst/>
          </a:prstGeom>
          <a:noFill/>
        </p:spPr>
        <p:txBody>
          <a:bodyPr wrap="square" rtlCol="0">
            <a:spAutoFit/>
          </a:bodyPr>
          <a:lstStyle/>
          <a:p>
            <a:pPr algn="ctr"/>
            <a:r>
              <a:rPr lang="en-US" sz="1200" b="1"/>
              <a:t>KPIs focus on profitability, efficiency and customer loyalty, reflecting a shift to sustainability</a:t>
            </a:r>
          </a:p>
        </p:txBody>
      </p:sp>
      <p:sp>
        <p:nvSpPr>
          <p:cNvPr id="32" name="Textfeld 31">
            <a:extLst>
              <a:ext uri="{FF2B5EF4-FFF2-40B4-BE49-F238E27FC236}">
                <a16:creationId xmlns:a16="http://schemas.microsoft.com/office/drawing/2014/main" id="{05CD629C-7FDA-0799-C98B-470FFB16552A}"/>
              </a:ext>
            </a:extLst>
          </p:cNvPr>
          <p:cNvSpPr txBox="1"/>
          <p:nvPr/>
        </p:nvSpPr>
        <p:spPr>
          <a:xfrm>
            <a:off x="6358817" y="4225561"/>
            <a:ext cx="1865919" cy="830997"/>
          </a:xfrm>
          <a:prstGeom prst="rect">
            <a:avLst/>
          </a:prstGeom>
          <a:noFill/>
        </p:spPr>
        <p:txBody>
          <a:bodyPr wrap="square" rtlCol="0">
            <a:spAutoFit/>
          </a:bodyPr>
          <a:lstStyle/>
          <a:p>
            <a:pPr algn="ctr"/>
            <a:r>
              <a:rPr lang="en-US" sz="1200" b="1"/>
              <a:t>KPIs focus on innovation, market repositioning and maximizing value from existing revenue streams</a:t>
            </a:r>
          </a:p>
        </p:txBody>
      </p:sp>
      <p:sp>
        <p:nvSpPr>
          <p:cNvPr id="33" name="Textfeld 32">
            <a:extLst>
              <a:ext uri="{FF2B5EF4-FFF2-40B4-BE49-F238E27FC236}">
                <a16:creationId xmlns:a16="http://schemas.microsoft.com/office/drawing/2014/main" id="{60B8C8CD-E75F-7AC9-2807-38BFD5170F67}"/>
              </a:ext>
            </a:extLst>
          </p:cNvPr>
          <p:cNvSpPr txBox="1"/>
          <p:nvPr/>
        </p:nvSpPr>
        <p:spPr>
          <a:xfrm>
            <a:off x="536944" y="5281949"/>
            <a:ext cx="1803007" cy="1015663"/>
          </a:xfrm>
          <a:prstGeom prst="rect">
            <a:avLst/>
          </a:prstGeom>
          <a:noFill/>
        </p:spPr>
        <p:txBody>
          <a:bodyPr wrap="square" rtlCol="0">
            <a:spAutoFit/>
          </a:bodyPr>
          <a:lstStyle/>
          <a:p>
            <a:pPr marL="171450" indent="-171450">
              <a:buFont typeface="Arial" panose="020B0604020202020204" pitchFamily="34" charset="0"/>
              <a:buChar char="•"/>
            </a:pPr>
            <a:r>
              <a:rPr lang="en-US" sz="1200"/>
              <a:t>Customer Acquisition Cost (CAC)</a:t>
            </a:r>
          </a:p>
          <a:p>
            <a:pPr marL="171450" indent="-171450">
              <a:buFont typeface="Arial" panose="020B0604020202020204" pitchFamily="34" charset="0"/>
              <a:buChar char="•"/>
            </a:pPr>
            <a:r>
              <a:rPr lang="en-US" sz="1200"/>
              <a:t>Market Share</a:t>
            </a:r>
          </a:p>
          <a:p>
            <a:pPr marL="171450" indent="-171450">
              <a:buFont typeface="Arial" panose="020B0604020202020204" pitchFamily="34" charset="0"/>
              <a:buChar char="•"/>
            </a:pPr>
            <a:r>
              <a:rPr lang="en-US" sz="1200"/>
              <a:t>App Downloads and Active Users</a:t>
            </a:r>
          </a:p>
        </p:txBody>
      </p:sp>
      <p:sp>
        <p:nvSpPr>
          <p:cNvPr id="34" name="Textfeld 33">
            <a:extLst>
              <a:ext uri="{FF2B5EF4-FFF2-40B4-BE49-F238E27FC236}">
                <a16:creationId xmlns:a16="http://schemas.microsoft.com/office/drawing/2014/main" id="{D566F997-9750-4A1F-1194-890287C964FA}"/>
              </a:ext>
            </a:extLst>
          </p:cNvPr>
          <p:cNvSpPr txBox="1"/>
          <p:nvPr/>
        </p:nvSpPr>
        <p:spPr>
          <a:xfrm>
            <a:off x="2528724" y="5281948"/>
            <a:ext cx="1803007" cy="1015663"/>
          </a:xfrm>
          <a:prstGeom prst="rect">
            <a:avLst/>
          </a:prstGeom>
          <a:noFill/>
        </p:spPr>
        <p:txBody>
          <a:bodyPr wrap="square" rtlCol="0">
            <a:spAutoFit/>
          </a:bodyPr>
          <a:lstStyle/>
          <a:p>
            <a:pPr marL="171450" indent="-171450">
              <a:buFont typeface="Arial" panose="020B0604020202020204" pitchFamily="34" charset="0"/>
              <a:buChar char="•"/>
            </a:pPr>
            <a:r>
              <a:rPr lang="en-US" sz="1200"/>
              <a:t>Revenue Growth Rate</a:t>
            </a:r>
          </a:p>
          <a:p>
            <a:pPr marL="171450" indent="-171450">
              <a:buFont typeface="Arial" panose="020B0604020202020204" pitchFamily="34" charset="0"/>
              <a:buChar char="•"/>
            </a:pPr>
            <a:r>
              <a:rPr lang="en-US" sz="1200"/>
              <a:t>Geographical Expansion Rate</a:t>
            </a:r>
          </a:p>
          <a:p>
            <a:pPr marL="171450" indent="-171450">
              <a:buFont typeface="Arial" panose="020B0604020202020204" pitchFamily="34" charset="0"/>
              <a:buChar char="•"/>
            </a:pPr>
            <a:r>
              <a:rPr lang="en-US" sz="1200"/>
              <a:t>Customer Retention Rate</a:t>
            </a:r>
          </a:p>
        </p:txBody>
      </p:sp>
      <p:sp>
        <p:nvSpPr>
          <p:cNvPr id="35" name="Textfeld 34">
            <a:extLst>
              <a:ext uri="{FF2B5EF4-FFF2-40B4-BE49-F238E27FC236}">
                <a16:creationId xmlns:a16="http://schemas.microsoft.com/office/drawing/2014/main" id="{D36A588C-1A2D-8B90-3A5D-2E7E44683A4D}"/>
              </a:ext>
            </a:extLst>
          </p:cNvPr>
          <p:cNvSpPr txBox="1"/>
          <p:nvPr/>
        </p:nvSpPr>
        <p:spPr>
          <a:xfrm>
            <a:off x="4457553" y="5289434"/>
            <a:ext cx="1803007" cy="1015663"/>
          </a:xfrm>
          <a:prstGeom prst="rect">
            <a:avLst/>
          </a:prstGeom>
          <a:noFill/>
        </p:spPr>
        <p:txBody>
          <a:bodyPr wrap="square" rtlCol="0">
            <a:spAutoFit/>
          </a:bodyPr>
          <a:lstStyle/>
          <a:p>
            <a:pPr marL="171450" indent="-171450">
              <a:buFont typeface="Arial" panose="020B0604020202020204" pitchFamily="34" charset="0"/>
              <a:buChar char="•"/>
            </a:pPr>
            <a:r>
              <a:rPr lang="en-US" sz="1200"/>
              <a:t>EBIT</a:t>
            </a:r>
          </a:p>
          <a:p>
            <a:pPr marL="171450" indent="-171450">
              <a:buFont typeface="Arial" panose="020B0604020202020204" pitchFamily="34" charset="0"/>
              <a:buChar char="•"/>
            </a:pPr>
            <a:r>
              <a:rPr lang="en-US" sz="1200"/>
              <a:t>Net Promoter Score (NPS)</a:t>
            </a:r>
          </a:p>
          <a:p>
            <a:pPr marL="171450" indent="-171450">
              <a:buFont typeface="Arial" panose="020B0604020202020204" pitchFamily="34" charset="0"/>
              <a:buChar char="•"/>
            </a:pPr>
            <a:r>
              <a:rPr lang="en-US" sz="1200"/>
              <a:t>Operational Efficiency Ratios</a:t>
            </a:r>
          </a:p>
        </p:txBody>
      </p:sp>
      <p:sp>
        <p:nvSpPr>
          <p:cNvPr id="36" name="Textfeld 35">
            <a:extLst>
              <a:ext uri="{FF2B5EF4-FFF2-40B4-BE49-F238E27FC236}">
                <a16:creationId xmlns:a16="http://schemas.microsoft.com/office/drawing/2014/main" id="{94EB4C75-D1A8-E755-369E-3DCFD5A39DA1}"/>
              </a:ext>
            </a:extLst>
          </p:cNvPr>
          <p:cNvSpPr txBox="1"/>
          <p:nvPr/>
        </p:nvSpPr>
        <p:spPr>
          <a:xfrm>
            <a:off x="6386382" y="5296920"/>
            <a:ext cx="1803007" cy="830997"/>
          </a:xfrm>
          <a:prstGeom prst="rect">
            <a:avLst/>
          </a:prstGeom>
          <a:noFill/>
        </p:spPr>
        <p:txBody>
          <a:bodyPr wrap="square" rtlCol="0">
            <a:spAutoFit/>
          </a:bodyPr>
          <a:lstStyle/>
          <a:p>
            <a:pPr marL="171450" indent="-171450">
              <a:buFont typeface="Arial" panose="020B0604020202020204" pitchFamily="34" charset="0"/>
              <a:buChar char="•"/>
            </a:pPr>
            <a:r>
              <a:rPr lang="en-US" sz="1200"/>
              <a:t>Innovation Rate</a:t>
            </a:r>
          </a:p>
          <a:p>
            <a:pPr marL="171450" indent="-171450">
              <a:buFont typeface="Arial" panose="020B0604020202020204" pitchFamily="34" charset="0"/>
              <a:buChar char="•"/>
            </a:pPr>
            <a:r>
              <a:rPr lang="en-US" sz="1200"/>
              <a:t>Market Exit Rate</a:t>
            </a:r>
          </a:p>
          <a:p>
            <a:pPr marL="171450" indent="-171450">
              <a:buFont typeface="Arial" panose="020B0604020202020204" pitchFamily="34" charset="0"/>
              <a:buChar char="•"/>
            </a:pPr>
            <a:r>
              <a:rPr lang="en-US" sz="1200"/>
              <a:t>Customer Lifetime Value (CLV)</a:t>
            </a:r>
          </a:p>
        </p:txBody>
      </p:sp>
      <p:pic>
        <p:nvPicPr>
          <p:cNvPr id="1026" name="Picture 2">
            <a:extLst>
              <a:ext uri="{FF2B5EF4-FFF2-40B4-BE49-F238E27FC236}">
                <a16:creationId xmlns:a16="http://schemas.microsoft.com/office/drawing/2014/main" id="{0E522F78-C985-43E5-E8DC-A2911F90F4E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534" t="-18852" r="-14266" b="-15948"/>
          <a:stretch/>
        </p:blipFill>
        <p:spPr bwMode="auto">
          <a:xfrm>
            <a:off x="4315197" y="2752445"/>
            <a:ext cx="360000" cy="360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0136D97-2794-B0A9-840D-F6F53B68398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57805" y="2109515"/>
            <a:ext cx="360000" cy="360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EFA1D8E-BC8D-B72F-2AFF-BE37021ABBC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1263" t="-24305" r="-19471" b="-16429"/>
          <a:stretch/>
        </p:blipFill>
        <p:spPr bwMode="auto">
          <a:xfrm>
            <a:off x="3274863" y="2105554"/>
            <a:ext cx="360000" cy="360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ECB1E9B0-722E-C0F7-200D-F64E00BB600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72041" y="2107534"/>
            <a:ext cx="360000" cy="360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5B7C1FA7-A7FC-429D-81C4-D9D591AD162C}"/>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7756" t="-27756" r="-27756" b="-27756"/>
          <a:stretch/>
        </p:blipFill>
        <p:spPr bwMode="auto">
          <a:xfrm>
            <a:off x="1667270" y="2747023"/>
            <a:ext cx="360000" cy="360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38" name="Gerader Verbinder 37">
            <a:extLst>
              <a:ext uri="{FF2B5EF4-FFF2-40B4-BE49-F238E27FC236}">
                <a16:creationId xmlns:a16="http://schemas.microsoft.com/office/drawing/2014/main" id="{DE2E0245-C1E8-9CA3-40B5-5DAF41C2A648}"/>
              </a:ext>
            </a:extLst>
          </p:cNvPr>
          <p:cNvCxnSpPr>
            <a:cxnSpLocks/>
          </p:cNvCxnSpPr>
          <p:nvPr/>
        </p:nvCxnSpPr>
        <p:spPr>
          <a:xfrm flipV="1">
            <a:off x="4049737" y="2927023"/>
            <a:ext cx="0" cy="806298"/>
          </a:xfrm>
          <a:prstGeom prst="line">
            <a:avLst/>
          </a:prstGeom>
          <a:ln w="9525"/>
        </p:spPr>
        <p:style>
          <a:lnRef idx="1">
            <a:schemeClr val="dk1"/>
          </a:lnRef>
          <a:fillRef idx="0">
            <a:schemeClr val="dk1"/>
          </a:fillRef>
          <a:effectRef idx="0">
            <a:schemeClr val="dk1"/>
          </a:effectRef>
          <a:fontRef idx="minor">
            <a:schemeClr val="tx1"/>
          </a:fontRef>
        </p:style>
      </p:cxnSp>
      <p:sp>
        <p:nvSpPr>
          <p:cNvPr id="40" name="Ellipse 39">
            <a:extLst>
              <a:ext uri="{FF2B5EF4-FFF2-40B4-BE49-F238E27FC236}">
                <a16:creationId xmlns:a16="http://schemas.microsoft.com/office/drawing/2014/main" id="{2A1CC1C2-9064-37B7-816B-8E883177097A}"/>
              </a:ext>
            </a:extLst>
          </p:cNvPr>
          <p:cNvSpPr/>
          <p:nvPr/>
        </p:nvSpPr>
        <p:spPr>
          <a:xfrm>
            <a:off x="4013751" y="3698085"/>
            <a:ext cx="72000" cy="72000"/>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Gerader Verbinder 40">
            <a:extLst>
              <a:ext uri="{FF2B5EF4-FFF2-40B4-BE49-F238E27FC236}">
                <a16:creationId xmlns:a16="http://schemas.microsoft.com/office/drawing/2014/main" id="{2DB98EA4-AB19-3DD4-58B6-6EE16749945D}"/>
              </a:ext>
            </a:extLst>
          </p:cNvPr>
          <p:cNvCxnSpPr>
            <a:cxnSpLocks/>
            <a:stCxn id="1028" idx="2"/>
          </p:cNvCxnSpPr>
          <p:nvPr/>
        </p:nvCxnSpPr>
        <p:spPr>
          <a:xfrm flipH="1">
            <a:off x="4202137" y="2289515"/>
            <a:ext cx="355668" cy="0"/>
          </a:xfrm>
          <a:prstGeom prst="line">
            <a:avLst/>
          </a:prstGeom>
          <a:ln w="9525"/>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39B33CFE-A1E5-9E33-CC03-F45698F9A982}"/>
              </a:ext>
            </a:extLst>
          </p:cNvPr>
          <p:cNvCxnSpPr>
            <a:cxnSpLocks/>
          </p:cNvCxnSpPr>
          <p:nvPr/>
        </p:nvCxnSpPr>
        <p:spPr>
          <a:xfrm flipH="1">
            <a:off x="4049737" y="2932445"/>
            <a:ext cx="253272" cy="0"/>
          </a:xfrm>
          <a:prstGeom prst="line">
            <a:avLst/>
          </a:prstGeom>
          <a:ln w="9525"/>
        </p:spPr>
        <p:style>
          <a:lnRef idx="1">
            <a:schemeClr val="dk1"/>
          </a:lnRef>
          <a:fillRef idx="0">
            <a:schemeClr val="dk1"/>
          </a:fillRef>
          <a:effectRef idx="0">
            <a:schemeClr val="dk1"/>
          </a:effectRef>
          <a:fontRef idx="minor">
            <a:schemeClr val="tx1"/>
          </a:fontRef>
        </p:style>
      </p:cxnSp>
      <p:cxnSp>
        <p:nvCxnSpPr>
          <p:cNvPr id="50" name="Gerader Verbinder 49">
            <a:extLst>
              <a:ext uri="{FF2B5EF4-FFF2-40B4-BE49-F238E27FC236}">
                <a16:creationId xmlns:a16="http://schemas.microsoft.com/office/drawing/2014/main" id="{D6D74C65-BEEB-0E3C-2F42-C886B9FC64CA}"/>
              </a:ext>
            </a:extLst>
          </p:cNvPr>
          <p:cNvCxnSpPr>
            <a:cxnSpLocks/>
          </p:cNvCxnSpPr>
          <p:nvPr/>
        </p:nvCxnSpPr>
        <p:spPr>
          <a:xfrm flipV="1">
            <a:off x="2272920" y="2287534"/>
            <a:ext cx="0" cy="1447767"/>
          </a:xfrm>
          <a:prstGeom prst="line">
            <a:avLst/>
          </a:prstGeom>
          <a:ln w="9525"/>
        </p:spPr>
        <p:style>
          <a:lnRef idx="1">
            <a:schemeClr val="dk1"/>
          </a:lnRef>
          <a:fillRef idx="0">
            <a:schemeClr val="dk1"/>
          </a:fillRef>
          <a:effectRef idx="0">
            <a:schemeClr val="dk1"/>
          </a:effectRef>
          <a:fontRef idx="minor">
            <a:schemeClr val="tx1"/>
          </a:fontRef>
        </p:style>
      </p:cxnSp>
      <p:sp>
        <p:nvSpPr>
          <p:cNvPr id="51" name="Ellipse 50">
            <a:extLst>
              <a:ext uri="{FF2B5EF4-FFF2-40B4-BE49-F238E27FC236}">
                <a16:creationId xmlns:a16="http://schemas.microsoft.com/office/drawing/2014/main" id="{92D1DA4D-6851-87E4-2B28-B11021F1CBA7}"/>
              </a:ext>
            </a:extLst>
          </p:cNvPr>
          <p:cNvSpPr/>
          <p:nvPr/>
        </p:nvSpPr>
        <p:spPr>
          <a:xfrm>
            <a:off x="2246253" y="3691991"/>
            <a:ext cx="72000" cy="72000"/>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Gerader Verbinder 51">
            <a:extLst>
              <a:ext uri="{FF2B5EF4-FFF2-40B4-BE49-F238E27FC236}">
                <a16:creationId xmlns:a16="http://schemas.microsoft.com/office/drawing/2014/main" id="{DD7734D4-C885-0E0D-D31D-428D260F8120}"/>
              </a:ext>
            </a:extLst>
          </p:cNvPr>
          <p:cNvCxnSpPr>
            <a:cxnSpLocks/>
            <a:endCxn id="1032" idx="6"/>
          </p:cNvCxnSpPr>
          <p:nvPr/>
        </p:nvCxnSpPr>
        <p:spPr>
          <a:xfrm flipH="1">
            <a:off x="2032041" y="2287534"/>
            <a:ext cx="240879" cy="0"/>
          </a:xfrm>
          <a:prstGeom prst="line">
            <a:avLst/>
          </a:prstGeom>
          <a:ln w="9525"/>
        </p:spPr>
        <p:style>
          <a:lnRef idx="1">
            <a:schemeClr val="dk1"/>
          </a:lnRef>
          <a:fillRef idx="0">
            <a:schemeClr val="dk1"/>
          </a:fillRef>
          <a:effectRef idx="0">
            <a:schemeClr val="dk1"/>
          </a:effectRef>
          <a:fontRef idx="minor">
            <a:schemeClr val="tx1"/>
          </a:fontRef>
        </p:style>
      </p:cxnSp>
      <p:cxnSp>
        <p:nvCxnSpPr>
          <p:cNvPr id="53" name="Gerader Verbinder 52">
            <a:extLst>
              <a:ext uri="{FF2B5EF4-FFF2-40B4-BE49-F238E27FC236}">
                <a16:creationId xmlns:a16="http://schemas.microsoft.com/office/drawing/2014/main" id="{F6AC108B-7E88-1D26-B5AF-33946CA1FC83}"/>
              </a:ext>
            </a:extLst>
          </p:cNvPr>
          <p:cNvCxnSpPr>
            <a:cxnSpLocks/>
            <a:endCxn id="1034" idx="6"/>
          </p:cNvCxnSpPr>
          <p:nvPr/>
        </p:nvCxnSpPr>
        <p:spPr>
          <a:xfrm flipH="1">
            <a:off x="2027270" y="2927023"/>
            <a:ext cx="245650" cy="0"/>
          </a:xfrm>
          <a:prstGeom prst="line">
            <a:avLst/>
          </a:prstGeom>
          <a:ln w="9525"/>
        </p:spPr>
        <p:style>
          <a:lnRef idx="1">
            <a:schemeClr val="dk1"/>
          </a:lnRef>
          <a:fillRef idx="0">
            <a:schemeClr val="dk1"/>
          </a:fillRef>
          <a:effectRef idx="0">
            <a:schemeClr val="dk1"/>
          </a:effectRef>
          <a:fontRef idx="minor">
            <a:schemeClr val="tx1"/>
          </a:fontRef>
        </p:style>
      </p:cxnSp>
      <p:cxnSp>
        <p:nvCxnSpPr>
          <p:cNvPr id="60" name="Gerader Verbinder 59">
            <a:extLst>
              <a:ext uri="{FF2B5EF4-FFF2-40B4-BE49-F238E27FC236}">
                <a16:creationId xmlns:a16="http://schemas.microsoft.com/office/drawing/2014/main" id="{4807B8A7-EF7D-E584-218E-A3CA554BBA81}"/>
              </a:ext>
            </a:extLst>
          </p:cNvPr>
          <p:cNvCxnSpPr>
            <a:cxnSpLocks/>
          </p:cNvCxnSpPr>
          <p:nvPr/>
        </p:nvCxnSpPr>
        <p:spPr>
          <a:xfrm flipV="1">
            <a:off x="3786926" y="2285554"/>
            <a:ext cx="0" cy="1447767"/>
          </a:xfrm>
          <a:prstGeom prst="line">
            <a:avLst/>
          </a:prstGeom>
          <a:ln w="9525"/>
        </p:spPr>
        <p:style>
          <a:lnRef idx="1">
            <a:schemeClr val="dk1"/>
          </a:lnRef>
          <a:fillRef idx="0">
            <a:schemeClr val="dk1"/>
          </a:fillRef>
          <a:effectRef idx="0">
            <a:schemeClr val="dk1"/>
          </a:effectRef>
          <a:fontRef idx="minor">
            <a:schemeClr val="tx1"/>
          </a:fontRef>
        </p:style>
      </p:cxnSp>
      <p:sp>
        <p:nvSpPr>
          <p:cNvPr id="61" name="Ellipse 60">
            <a:extLst>
              <a:ext uri="{FF2B5EF4-FFF2-40B4-BE49-F238E27FC236}">
                <a16:creationId xmlns:a16="http://schemas.microsoft.com/office/drawing/2014/main" id="{E7D65EEF-7534-05FD-8C82-22577763020B}"/>
              </a:ext>
            </a:extLst>
          </p:cNvPr>
          <p:cNvSpPr/>
          <p:nvPr/>
        </p:nvSpPr>
        <p:spPr>
          <a:xfrm>
            <a:off x="3760259" y="3698085"/>
            <a:ext cx="72000" cy="72000"/>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Gerader Verbinder 61">
            <a:extLst>
              <a:ext uri="{FF2B5EF4-FFF2-40B4-BE49-F238E27FC236}">
                <a16:creationId xmlns:a16="http://schemas.microsoft.com/office/drawing/2014/main" id="{4150CDA9-8028-0818-F94C-260D01042F61}"/>
              </a:ext>
            </a:extLst>
          </p:cNvPr>
          <p:cNvCxnSpPr>
            <a:cxnSpLocks/>
            <a:endCxn id="1030" idx="6"/>
          </p:cNvCxnSpPr>
          <p:nvPr/>
        </p:nvCxnSpPr>
        <p:spPr>
          <a:xfrm flipH="1" flipV="1">
            <a:off x="3634863" y="2285554"/>
            <a:ext cx="152063" cy="1425"/>
          </a:xfrm>
          <a:prstGeom prst="line">
            <a:avLst/>
          </a:prstGeom>
          <a:ln w="9525"/>
        </p:spPr>
        <p:style>
          <a:lnRef idx="1">
            <a:schemeClr val="dk1"/>
          </a:lnRef>
          <a:fillRef idx="0">
            <a:schemeClr val="dk1"/>
          </a:fillRef>
          <a:effectRef idx="0">
            <a:schemeClr val="dk1"/>
          </a:effectRef>
          <a:fontRef idx="minor">
            <a:schemeClr val="tx1"/>
          </a:fontRef>
        </p:style>
      </p:cxnSp>
      <p:sp>
        <p:nvSpPr>
          <p:cNvPr id="1024" name="Textfeld 1023">
            <a:extLst>
              <a:ext uri="{FF2B5EF4-FFF2-40B4-BE49-F238E27FC236}">
                <a16:creationId xmlns:a16="http://schemas.microsoft.com/office/drawing/2014/main" id="{9DE87BDD-AE55-7637-0DE5-1125A4E068E3}"/>
              </a:ext>
            </a:extLst>
          </p:cNvPr>
          <p:cNvSpPr txBox="1"/>
          <p:nvPr/>
        </p:nvSpPr>
        <p:spPr>
          <a:xfrm>
            <a:off x="4961063" y="2139342"/>
            <a:ext cx="826148" cy="307777"/>
          </a:xfrm>
          <a:prstGeom prst="rect">
            <a:avLst/>
          </a:prstGeom>
          <a:noFill/>
        </p:spPr>
        <p:txBody>
          <a:bodyPr wrap="square" rtlCol="0">
            <a:spAutoFit/>
          </a:bodyPr>
          <a:lstStyle/>
          <a:p>
            <a:r>
              <a:rPr lang="en-US" sz="1400" b="1"/>
              <a:t>Uber</a:t>
            </a:r>
          </a:p>
        </p:txBody>
      </p:sp>
      <p:sp>
        <p:nvSpPr>
          <p:cNvPr id="1025" name="Textfeld 1024">
            <a:extLst>
              <a:ext uri="{FF2B5EF4-FFF2-40B4-BE49-F238E27FC236}">
                <a16:creationId xmlns:a16="http://schemas.microsoft.com/office/drawing/2014/main" id="{F2173324-E26B-5C1C-4D3C-C70D3D12F54A}"/>
              </a:ext>
            </a:extLst>
          </p:cNvPr>
          <p:cNvSpPr txBox="1"/>
          <p:nvPr/>
        </p:nvSpPr>
        <p:spPr>
          <a:xfrm>
            <a:off x="4718455" y="2773134"/>
            <a:ext cx="826148" cy="307777"/>
          </a:xfrm>
          <a:prstGeom prst="rect">
            <a:avLst/>
          </a:prstGeom>
          <a:noFill/>
        </p:spPr>
        <p:txBody>
          <a:bodyPr wrap="square" rtlCol="0">
            <a:spAutoFit/>
          </a:bodyPr>
          <a:lstStyle/>
          <a:p>
            <a:r>
              <a:rPr lang="en-US" sz="1400" b="1"/>
              <a:t>Lyft</a:t>
            </a:r>
          </a:p>
        </p:txBody>
      </p:sp>
      <p:sp>
        <p:nvSpPr>
          <p:cNvPr id="1027" name="Textfeld 1026">
            <a:extLst>
              <a:ext uri="{FF2B5EF4-FFF2-40B4-BE49-F238E27FC236}">
                <a16:creationId xmlns:a16="http://schemas.microsoft.com/office/drawing/2014/main" id="{C2C25580-E270-7664-1896-C206DB461E7F}"/>
              </a:ext>
            </a:extLst>
          </p:cNvPr>
          <p:cNvSpPr txBox="1"/>
          <p:nvPr/>
        </p:nvSpPr>
        <p:spPr>
          <a:xfrm>
            <a:off x="2316359" y="2139341"/>
            <a:ext cx="954501" cy="307777"/>
          </a:xfrm>
          <a:prstGeom prst="rect">
            <a:avLst/>
          </a:prstGeom>
          <a:noFill/>
        </p:spPr>
        <p:txBody>
          <a:bodyPr wrap="square" rtlCol="0">
            <a:spAutoFit/>
          </a:bodyPr>
          <a:lstStyle/>
          <a:p>
            <a:r>
              <a:rPr lang="en-US" sz="1400" b="1"/>
              <a:t>DiDi Xiang</a:t>
            </a:r>
          </a:p>
        </p:txBody>
      </p:sp>
      <p:sp>
        <p:nvSpPr>
          <p:cNvPr id="1029" name="Textfeld 1028">
            <a:extLst>
              <a:ext uri="{FF2B5EF4-FFF2-40B4-BE49-F238E27FC236}">
                <a16:creationId xmlns:a16="http://schemas.microsoft.com/office/drawing/2014/main" id="{7E803D9A-EEF9-BE5B-7478-A8DE5903D4BB}"/>
              </a:ext>
            </a:extLst>
          </p:cNvPr>
          <p:cNvSpPr txBox="1"/>
          <p:nvPr/>
        </p:nvSpPr>
        <p:spPr>
          <a:xfrm>
            <a:off x="1021169" y="2134932"/>
            <a:ext cx="954501" cy="307777"/>
          </a:xfrm>
          <a:prstGeom prst="rect">
            <a:avLst/>
          </a:prstGeom>
          <a:noFill/>
        </p:spPr>
        <p:txBody>
          <a:bodyPr wrap="square" rtlCol="0">
            <a:spAutoFit/>
          </a:bodyPr>
          <a:lstStyle/>
          <a:p>
            <a:r>
              <a:rPr lang="en-US" sz="1400" b="1"/>
              <a:t>Grab</a:t>
            </a:r>
          </a:p>
        </p:txBody>
      </p:sp>
      <p:sp>
        <p:nvSpPr>
          <p:cNvPr id="1031" name="Textfeld 1030">
            <a:extLst>
              <a:ext uri="{FF2B5EF4-FFF2-40B4-BE49-F238E27FC236}">
                <a16:creationId xmlns:a16="http://schemas.microsoft.com/office/drawing/2014/main" id="{2F9888E7-6B8A-CC59-9C45-FDD499B7E62F}"/>
              </a:ext>
            </a:extLst>
          </p:cNvPr>
          <p:cNvSpPr txBox="1"/>
          <p:nvPr/>
        </p:nvSpPr>
        <p:spPr>
          <a:xfrm>
            <a:off x="928732" y="2771848"/>
            <a:ext cx="954501" cy="307777"/>
          </a:xfrm>
          <a:prstGeom prst="rect">
            <a:avLst/>
          </a:prstGeom>
          <a:noFill/>
        </p:spPr>
        <p:txBody>
          <a:bodyPr wrap="square" rtlCol="0">
            <a:spAutoFit/>
          </a:bodyPr>
          <a:lstStyle/>
          <a:p>
            <a:r>
              <a:rPr lang="en-US" sz="1400" b="1"/>
              <a:t>Ola Cab</a:t>
            </a:r>
          </a:p>
        </p:txBody>
      </p:sp>
      <p:pic>
        <p:nvPicPr>
          <p:cNvPr id="3" name="Picture 2">
            <a:extLst>
              <a:ext uri="{FF2B5EF4-FFF2-40B4-BE49-F238E27FC236}">
                <a16:creationId xmlns:a16="http://schemas.microsoft.com/office/drawing/2014/main" id="{A9289BBE-49A7-0BF5-E029-73BB83CE58C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72858" y="2750043"/>
            <a:ext cx="360000" cy="360000"/>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7" name="Gerader Verbinder 6">
            <a:extLst>
              <a:ext uri="{FF2B5EF4-FFF2-40B4-BE49-F238E27FC236}">
                <a16:creationId xmlns:a16="http://schemas.microsoft.com/office/drawing/2014/main" id="{8AA7A15B-8553-6B3C-4585-AD1AC89695D8}"/>
              </a:ext>
            </a:extLst>
          </p:cNvPr>
          <p:cNvCxnSpPr>
            <a:cxnSpLocks/>
          </p:cNvCxnSpPr>
          <p:nvPr/>
        </p:nvCxnSpPr>
        <p:spPr>
          <a:xfrm flipH="1" flipV="1">
            <a:off x="3632858" y="2938673"/>
            <a:ext cx="152063" cy="1425"/>
          </a:xfrm>
          <a:prstGeom prst="line">
            <a:avLst/>
          </a:prstGeom>
          <a:ln w="9525"/>
        </p:spPr>
        <p:style>
          <a:lnRef idx="1">
            <a:schemeClr val="dk1"/>
          </a:lnRef>
          <a:fillRef idx="0">
            <a:schemeClr val="dk1"/>
          </a:fillRef>
          <a:effectRef idx="0">
            <a:schemeClr val="dk1"/>
          </a:effectRef>
          <a:fontRef idx="minor">
            <a:schemeClr val="tx1"/>
          </a:fontRef>
        </p:style>
      </p:cxnSp>
      <p:sp>
        <p:nvSpPr>
          <p:cNvPr id="8" name="Textfeld 7">
            <a:extLst>
              <a:ext uri="{FF2B5EF4-FFF2-40B4-BE49-F238E27FC236}">
                <a16:creationId xmlns:a16="http://schemas.microsoft.com/office/drawing/2014/main" id="{33768A4B-C8A0-96B9-295B-8EFA5B50D52D}"/>
              </a:ext>
            </a:extLst>
          </p:cNvPr>
          <p:cNvSpPr txBox="1"/>
          <p:nvPr/>
        </p:nvSpPr>
        <p:spPr>
          <a:xfrm>
            <a:off x="2320113" y="2771848"/>
            <a:ext cx="954501" cy="307777"/>
          </a:xfrm>
          <a:prstGeom prst="rect">
            <a:avLst/>
          </a:prstGeom>
          <a:solidFill>
            <a:schemeClr val="bg1"/>
          </a:solidFill>
        </p:spPr>
        <p:txBody>
          <a:bodyPr wrap="square" rtlCol="0">
            <a:spAutoFit/>
          </a:bodyPr>
          <a:lstStyle/>
          <a:p>
            <a:r>
              <a:rPr lang="en-US" sz="1400" b="1"/>
              <a:t>DoorDash</a:t>
            </a:r>
          </a:p>
        </p:txBody>
      </p:sp>
      <p:cxnSp>
        <p:nvCxnSpPr>
          <p:cNvPr id="14" name="Gerader Verbinder 13">
            <a:extLst>
              <a:ext uri="{FF2B5EF4-FFF2-40B4-BE49-F238E27FC236}">
                <a16:creationId xmlns:a16="http://schemas.microsoft.com/office/drawing/2014/main" id="{EB2A1A95-3FEB-8CF2-5430-76EADB7FCDF1}"/>
              </a:ext>
            </a:extLst>
          </p:cNvPr>
          <p:cNvCxnSpPr>
            <a:cxnSpLocks/>
          </p:cNvCxnSpPr>
          <p:nvPr/>
        </p:nvCxnSpPr>
        <p:spPr>
          <a:xfrm flipV="1">
            <a:off x="4202137" y="2285554"/>
            <a:ext cx="0" cy="1450874"/>
          </a:xfrm>
          <a:prstGeom prst="line">
            <a:avLst/>
          </a:prstGeom>
          <a:ln w="9525"/>
        </p:spPr>
        <p:style>
          <a:lnRef idx="1">
            <a:schemeClr val="dk1"/>
          </a:lnRef>
          <a:fillRef idx="0">
            <a:schemeClr val="dk1"/>
          </a:fillRef>
          <a:effectRef idx="0">
            <a:schemeClr val="dk1"/>
          </a:effectRef>
          <a:fontRef idx="minor">
            <a:schemeClr val="tx1"/>
          </a:fontRef>
        </p:style>
      </p:cxnSp>
      <p:sp>
        <p:nvSpPr>
          <p:cNvPr id="21" name="Ellipse 20">
            <a:extLst>
              <a:ext uri="{FF2B5EF4-FFF2-40B4-BE49-F238E27FC236}">
                <a16:creationId xmlns:a16="http://schemas.microsoft.com/office/drawing/2014/main" id="{360942A8-DB58-205E-3C91-63F2463F268B}"/>
              </a:ext>
            </a:extLst>
          </p:cNvPr>
          <p:cNvSpPr/>
          <p:nvPr/>
        </p:nvSpPr>
        <p:spPr>
          <a:xfrm>
            <a:off x="4166151" y="3691862"/>
            <a:ext cx="72000" cy="72000"/>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Geschweifte Klammer rechts 23">
            <a:extLst>
              <a:ext uri="{FF2B5EF4-FFF2-40B4-BE49-F238E27FC236}">
                <a16:creationId xmlns:a16="http://schemas.microsoft.com/office/drawing/2014/main" id="{627F3719-7CF7-0F3C-F40F-2B34F9822E55}"/>
              </a:ext>
            </a:extLst>
          </p:cNvPr>
          <p:cNvSpPr/>
          <p:nvPr/>
        </p:nvSpPr>
        <p:spPr>
          <a:xfrm>
            <a:off x="5535494" y="2105554"/>
            <a:ext cx="153188" cy="1270546"/>
          </a:xfrm>
          <a:prstGeom prst="rightBrace">
            <a:avLst/>
          </a:prstGeom>
          <a:noFill/>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2"/>
              </a:solidFill>
            </a:endParaRPr>
          </a:p>
        </p:txBody>
      </p:sp>
      <p:sp>
        <p:nvSpPr>
          <p:cNvPr id="25" name="Textfeld 24">
            <a:extLst>
              <a:ext uri="{FF2B5EF4-FFF2-40B4-BE49-F238E27FC236}">
                <a16:creationId xmlns:a16="http://schemas.microsoft.com/office/drawing/2014/main" id="{518D8A0F-17FE-4F72-D54C-DE77F7D7A9EC}"/>
              </a:ext>
            </a:extLst>
          </p:cNvPr>
          <p:cNvSpPr txBox="1"/>
          <p:nvPr/>
        </p:nvSpPr>
        <p:spPr>
          <a:xfrm>
            <a:off x="5794942" y="2120143"/>
            <a:ext cx="2658593" cy="1015663"/>
          </a:xfrm>
          <a:prstGeom prst="rect">
            <a:avLst/>
          </a:prstGeom>
          <a:noFill/>
        </p:spPr>
        <p:txBody>
          <a:bodyPr wrap="square" rtlCol="0">
            <a:spAutoFit/>
          </a:bodyPr>
          <a:lstStyle/>
          <a:p>
            <a:r>
              <a:rPr lang="en-US" sz="1200"/>
              <a:t>Uber is on its way to the Maturity Stage but still, indicates growth in its Revenue and User statistics. This can also be seen in relatively high spending on advertisement.</a:t>
            </a:r>
          </a:p>
        </p:txBody>
      </p:sp>
    </p:spTree>
    <p:custDataLst>
      <p:tags r:id="rId1"/>
    </p:custDataLst>
    <p:extLst>
      <p:ext uri="{BB962C8B-B14F-4D97-AF65-F5344CB8AC3E}">
        <p14:creationId xmlns:p14="http://schemas.microsoft.com/office/powerpoint/2010/main" val="1581556713"/>
      </p:ext>
    </p:extLst>
  </p:cSld>
  <p:clrMapOvr>
    <a:masterClrMapping/>
  </p:clrMapOvr>
  <p:extLst>
    <p:ext uri="{6950BFC3-D8DA-4A85-94F7-54DA5524770B}">
      <p188:commentRel xmlns:p188="http://schemas.microsoft.com/office/powerpoint/2018/8/main" r:id="rId5"/>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9" name="think-cell data - do not delete" hidden="1">
            <a:extLst>
              <a:ext uri="{FF2B5EF4-FFF2-40B4-BE49-F238E27FC236}">
                <a16:creationId xmlns:a16="http://schemas.microsoft.com/office/drawing/2014/main" id="{D0FDF4E6-BDA0-7FBA-914A-8494F9F9F3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8" imgH="408" progId="TCLayout.ActiveDocument.1">
                  <p:embed/>
                </p:oleObj>
              </mc:Choice>
              <mc:Fallback>
                <p:oleObj name="think-cell Folie" r:id="rId7" imgW="408" imgH="408" progId="TCLayout.ActiveDocument.1">
                  <p:embed/>
                  <p:pic>
                    <p:nvPicPr>
                      <p:cNvPr id="269" name="think-cell data - do not delete" hidden="1">
                        <a:extLst>
                          <a:ext uri="{FF2B5EF4-FFF2-40B4-BE49-F238E27FC236}">
                            <a16:creationId xmlns:a16="http://schemas.microsoft.com/office/drawing/2014/main" id="{D0FDF4E6-BDA0-7FBA-914A-8494F9F9F35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F5986E9-454E-5287-7C7A-DCF30BB4B999}"/>
              </a:ext>
            </a:extLst>
          </p:cNvPr>
          <p:cNvSpPr>
            <a:spLocks noGrp="1"/>
          </p:cNvSpPr>
          <p:nvPr>
            <p:ph type="title"/>
          </p:nvPr>
        </p:nvSpPr>
        <p:spPr/>
        <p:txBody>
          <a:bodyPr vert="horz"/>
          <a:lstStyle/>
          <a:p>
            <a:r>
              <a:rPr lang="en-US"/>
              <a:t>Ubers revenue distribution hasn’t really changed in recent years with, a strong focus on the North American and European markets</a:t>
            </a:r>
          </a:p>
        </p:txBody>
      </p:sp>
      <p:sp>
        <p:nvSpPr>
          <p:cNvPr id="4" name="Foliennummernplatzhalter 3">
            <a:extLst>
              <a:ext uri="{FF2B5EF4-FFF2-40B4-BE49-F238E27FC236}">
                <a16:creationId xmlns:a16="http://schemas.microsoft.com/office/drawing/2014/main" id="{93DD582D-0A07-95A1-8B7D-6E70B930A0AF}"/>
              </a:ext>
            </a:extLst>
          </p:cNvPr>
          <p:cNvSpPr>
            <a:spLocks noGrp="1"/>
          </p:cNvSpPr>
          <p:nvPr>
            <p:ph type="sldNum" sz="quarter" idx="4"/>
          </p:nvPr>
        </p:nvSpPr>
        <p:spPr/>
        <p:txBody>
          <a:bodyPr/>
          <a:lstStyle/>
          <a:p>
            <a:fld id="{BAF04893-69FB-435D-AB2E-CA259D85B32F}" type="slidenum">
              <a:rPr lang="en-US" smtClean="0"/>
              <a:pPr/>
              <a:t>25</a:t>
            </a:fld>
            <a:endParaRPr lang="en-US"/>
          </a:p>
        </p:txBody>
      </p:sp>
      <p:sp>
        <p:nvSpPr>
          <p:cNvPr id="6" name="Inhaltsplatzhalter 5">
            <a:extLst>
              <a:ext uri="{FF2B5EF4-FFF2-40B4-BE49-F238E27FC236}">
                <a16:creationId xmlns:a16="http://schemas.microsoft.com/office/drawing/2014/main" id="{A2D454F0-A0E7-7292-CB65-E1E3E76CBDBF}"/>
              </a:ext>
            </a:extLst>
          </p:cNvPr>
          <p:cNvSpPr>
            <a:spLocks noGrp="1"/>
          </p:cNvSpPr>
          <p:nvPr>
            <p:ph idx="11"/>
          </p:nvPr>
        </p:nvSpPr>
        <p:spPr/>
        <p:txBody>
          <a:bodyPr/>
          <a:lstStyle/>
          <a:p>
            <a:r>
              <a:rPr lang="en-US">
                <a:hlinkClick r:id="rId9"/>
              </a:rPr>
              <a:t>Bloomberg (2022)</a:t>
            </a:r>
            <a:r>
              <a:rPr lang="en-US"/>
              <a:t>,  </a:t>
            </a:r>
            <a:r>
              <a:rPr lang="en-US">
                <a:hlinkClick r:id="rId10"/>
              </a:rPr>
              <a:t>Seeking Alpha (2020)</a:t>
            </a:r>
            <a:r>
              <a:rPr lang="en-US"/>
              <a:t>, Annual Report Uber</a:t>
            </a:r>
          </a:p>
        </p:txBody>
      </p:sp>
      <p:sp>
        <p:nvSpPr>
          <p:cNvPr id="7" name="Inhaltsplatzhalter 6">
            <a:extLst>
              <a:ext uri="{FF2B5EF4-FFF2-40B4-BE49-F238E27FC236}">
                <a16:creationId xmlns:a16="http://schemas.microsoft.com/office/drawing/2014/main" id="{7BBDE659-AFDF-6C75-011B-0DABB14D910A}"/>
              </a:ext>
            </a:extLst>
          </p:cNvPr>
          <p:cNvSpPr>
            <a:spLocks noGrp="1"/>
          </p:cNvSpPr>
          <p:nvPr>
            <p:ph idx="12"/>
          </p:nvPr>
        </p:nvSpPr>
        <p:spPr/>
        <p:txBody>
          <a:bodyPr/>
          <a:lstStyle/>
          <a:p>
            <a:r>
              <a:rPr lang="en-US"/>
              <a:t>Corporate Lifecycle</a:t>
            </a:r>
          </a:p>
        </p:txBody>
      </p:sp>
      <p:sp>
        <p:nvSpPr>
          <p:cNvPr id="256" name="Inhaltsplatzhalter 255">
            <a:extLst>
              <a:ext uri="{FF2B5EF4-FFF2-40B4-BE49-F238E27FC236}">
                <a16:creationId xmlns:a16="http://schemas.microsoft.com/office/drawing/2014/main" id="{E7FEA951-3B89-A540-2544-ABB8A0D617C9}"/>
              </a:ext>
            </a:extLst>
          </p:cNvPr>
          <p:cNvSpPr>
            <a:spLocks noGrp="1"/>
          </p:cNvSpPr>
          <p:nvPr>
            <p:ph idx="10"/>
          </p:nvPr>
        </p:nvSpPr>
        <p:spPr/>
        <p:txBody>
          <a:bodyPr/>
          <a:lstStyle/>
          <a:p>
            <a:r>
              <a:rPr lang="en-US"/>
              <a:t>Revenue - Region</a:t>
            </a:r>
          </a:p>
        </p:txBody>
      </p:sp>
      <p:graphicFrame>
        <p:nvGraphicFramePr>
          <p:cNvPr id="3" name="Diagramm 2">
            <a:extLst>
              <a:ext uri="{FF2B5EF4-FFF2-40B4-BE49-F238E27FC236}">
                <a16:creationId xmlns:a16="http://schemas.microsoft.com/office/drawing/2014/main" id="{74837AA4-E14A-C2E9-9429-BE7EBA4418C1}"/>
              </a:ext>
            </a:extLst>
          </p:cNvPr>
          <p:cNvGraphicFramePr>
            <a:graphicFrameLocks/>
          </p:cNvGraphicFramePr>
          <p:nvPr>
            <p:custDataLst>
              <p:tags r:id="rId2"/>
            </p:custDataLst>
          </p:nvPr>
        </p:nvGraphicFramePr>
        <p:xfrm>
          <a:off x="359997" y="1956776"/>
          <a:ext cx="3380481" cy="1883998"/>
        </p:xfrm>
        <a:graphic>
          <a:graphicData uri="http://schemas.openxmlformats.org/drawingml/2006/chart">
            <c:chart xmlns:c="http://schemas.openxmlformats.org/drawingml/2006/chart" xmlns:r="http://schemas.openxmlformats.org/officeDocument/2006/relationships" r:id="rId11"/>
          </a:graphicData>
        </a:graphic>
      </p:graphicFrame>
      <p:sp>
        <p:nvSpPr>
          <p:cNvPr id="252" name="Textfeld 251">
            <a:extLst>
              <a:ext uri="{FF2B5EF4-FFF2-40B4-BE49-F238E27FC236}">
                <a16:creationId xmlns:a16="http://schemas.microsoft.com/office/drawing/2014/main" id="{83DD8E7C-4972-A389-C5C9-F769EC8BEF1D}"/>
              </a:ext>
            </a:extLst>
          </p:cNvPr>
          <p:cNvSpPr txBox="1"/>
          <p:nvPr/>
        </p:nvSpPr>
        <p:spPr>
          <a:xfrm>
            <a:off x="1172159" y="3778700"/>
            <a:ext cx="2149219" cy="276999"/>
          </a:xfrm>
          <a:prstGeom prst="rect">
            <a:avLst/>
          </a:prstGeom>
          <a:noFill/>
        </p:spPr>
        <p:txBody>
          <a:bodyPr wrap="square" rtlCol="0">
            <a:spAutoFit/>
          </a:bodyPr>
          <a:lstStyle/>
          <a:p>
            <a:pPr algn="ctr"/>
            <a:r>
              <a:rPr lang="en-US" sz="1200" b="1"/>
              <a:t>72 countries on all continents</a:t>
            </a:r>
          </a:p>
        </p:txBody>
      </p:sp>
      <p:pic>
        <p:nvPicPr>
          <p:cNvPr id="5" name="Grafik 4">
            <a:extLst>
              <a:ext uri="{FF2B5EF4-FFF2-40B4-BE49-F238E27FC236}">
                <a16:creationId xmlns:a16="http://schemas.microsoft.com/office/drawing/2014/main" id="{D2EFF180-A069-C4FF-87A4-E91284AB2AE4}"/>
              </a:ext>
            </a:extLst>
          </p:cNvPr>
          <p:cNvPicPr>
            <a:picLocks noChangeAspect="1"/>
          </p:cNvPicPr>
          <p:nvPr/>
        </p:nvPicPr>
        <p:blipFill>
          <a:blip r:embed="rId12"/>
          <a:stretch>
            <a:fillRect/>
          </a:stretch>
        </p:blipFill>
        <p:spPr>
          <a:xfrm>
            <a:off x="680443" y="3992383"/>
            <a:ext cx="3290070" cy="1692780"/>
          </a:xfrm>
          <a:prstGeom prst="rect">
            <a:avLst/>
          </a:prstGeom>
        </p:spPr>
      </p:pic>
      <p:sp>
        <p:nvSpPr>
          <p:cNvPr id="255" name="Textfeld 254">
            <a:extLst>
              <a:ext uri="{FF2B5EF4-FFF2-40B4-BE49-F238E27FC236}">
                <a16:creationId xmlns:a16="http://schemas.microsoft.com/office/drawing/2014/main" id="{7E2C2CC5-2EE3-447C-7B02-FCFCEC7F66E6}"/>
              </a:ext>
            </a:extLst>
          </p:cNvPr>
          <p:cNvSpPr txBox="1"/>
          <p:nvPr/>
        </p:nvSpPr>
        <p:spPr>
          <a:xfrm>
            <a:off x="680443" y="5622558"/>
            <a:ext cx="838200" cy="246221"/>
          </a:xfrm>
          <a:prstGeom prst="rect">
            <a:avLst/>
          </a:prstGeom>
          <a:noFill/>
        </p:spPr>
        <p:txBody>
          <a:bodyPr wrap="square" rtlCol="0">
            <a:spAutoFit/>
          </a:bodyPr>
          <a:lstStyle/>
          <a:p>
            <a:pPr algn="ctr"/>
            <a:r>
              <a:rPr lang="en-US" sz="1000" b="1"/>
              <a:t>US &amp; CAN</a:t>
            </a:r>
          </a:p>
        </p:txBody>
      </p:sp>
      <p:sp>
        <p:nvSpPr>
          <p:cNvPr id="258" name="Textfeld 257">
            <a:extLst>
              <a:ext uri="{FF2B5EF4-FFF2-40B4-BE49-F238E27FC236}">
                <a16:creationId xmlns:a16="http://schemas.microsoft.com/office/drawing/2014/main" id="{F5203B43-A8F7-36A3-3C94-73A6725DE07D}"/>
              </a:ext>
            </a:extLst>
          </p:cNvPr>
          <p:cNvSpPr txBox="1"/>
          <p:nvPr/>
        </p:nvSpPr>
        <p:spPr>
          <a:xfrm>
            <a:off x="1408568" y="5622557"/>
            <a:ext cx="838200" cy="246221"/>
          </a:xfrm>
          <a:prstGeom prst="rect">
            <a:avLst/>
          </a:prstGeom>
          <a:noFill/>
        </p:spPr>
        <p:txBody>
          <a:bodyPr wrap="square" rtlCol="0">
            <a:spAutoFit/>
          </a:bodyPr>
          <a:lstStyle/>
          <a:p>
            <a:pPr algn="ctr"/>
            <a:r>
              <a:rPr lang="en-US" sz="1000" b="1"/>
              <a:t>LatAm</a:t>
            </a:r>
          </a:p>
        </p:txBody>
      </p:sp>
      <p:sp>
        <p:nvSpPr>
          <p:cNvPr id="259" name="Textfeld 258">
            <a:extLst>
              <a:ext uri="{FF2B5EF4-FFF2-40B4-BE49-F238E27FC236}">
                <a16:creationId xmlns:a16="http://schemas.microsoft.com/office/drawing/2014/main" id="{078A7F5A-E9EC-85F1-0B5D-AA2A1D226773}"/>
              </a:ext>
            </a:extLst>
          </p:cNvPr>
          <p:cNvSpPr txBox="1"/>
          <p:nvPr/>
        </p:nvSpPr>
        <p:spPr>
          <a:xfrm>
            <a:off x="2151513" y="5622556"/>
            <a:ext cx="838200" cy="246221"/>
          </a:xfrm>
          <a:prstGeom prst="rect">
            <a:avLst/>
          </a:prstGeom>
          <a:noFill/>
        </p:spPr>
        <p:txBody>
          <a:bodyPr wrap="square" rtlCol="0">
            <a:spAutoFit/>
          </a:bodyPr>
          <a:lstStyle/>
          <a:p>
            <a:pPr algn="ctr"/>
            <a:r>
              <a:rPr lang="en-US" sz="1000" b="1"/>
              <a:t>EMEA</a:t>
            </a:r>
          </a:p>
        </p:txBody>
      </p:sp>
      <p:sp>
        <p:nvSpPr>
          <p:cNvPr id="260" name="Textfeld 259">
            <a:extLst>
              <a:ext uri="{FF2B5EF4-FFF2-40B4-BE49-F238E27FC236}">
                <a16:creationId xmlns:a16="http://schemas.microsoft.com/office/drawing/2014/main" id="{6529392F-0B3C-F407-2814-A223B83430FA}"/>
              </a:ext>
            </a:extLst>
          </p:cNvPr>
          <p:cNvSpPr txBox="1"/>
          <p:nvPr/>
        </p:nvSpPr>
        <p:spPr>
          <a:xfrm>
            <a:off x="2902278" y="5622556"/>
            <a:ext cx="838200" cy="246221"/>
          </a:xfrm>
          <a:prstGeom prst="rect">
            <a:avLst/>
          </a:prstGeom>
          <a:noFill/>
        </p:spPr>
        <p:txBody>
          <a:bodyPr wrap="square" rtlCol="0">
            <a:spAutoFit/>
          </a:bodyPr>
          <a:lstStyle/>
          <a:p>
            <a:pPr algn="ctr"/>
            <a:r>
              <a:rPr lang="en-US" sz="1000" b="1"/>
              <a:t>APAC</a:t>
            </a:r>
          </a:p>
        </p:txBody>
      </p:sp>
      <p:sp>
        <p:nvSpPr>
          <p:cNvPr id="261" name="Textfeld 260">
            <a:extLst>
              <a:ext uri="{FF2B5EF4-FFF2-40B4-BE49-F238E27FC236}">
                <a16:creationId xmlns:a16="http://schemas.microsoft.com/office/drawing/2014/main" id="{3476C3C8-10A4-CD3F-BC3E-4DE27E6671FA}"/>
              </a:ext>
            </a:extLst>
          </p:cNvPr>
          <p:cNvSpPr txBox="1"/>
          <p:nvPr/>
        </p:nvSpPr>
        <p:spPr>
          <a:xfrm>
            <a:off x="661713" y="5831526"/>
            <a:ext cx="838200" cy="400110"/>
          </a:xfrm>
          <a:prstGeom prst="rect">
            <a:avLst/>
          </a:prstGeom>
          <a:noFill/>
        </p:spPr>
        <p:txBody>
          <a:bodyPr wrap="square" rtlCol="0">
            <a:spAutoFit/>
          </a:bodyPr>
          <a:lstStyle/>
          <a:p>
            <a:pPr algn="ctr"/>
            <a:r>
              <a:rPr lang="en-US" sz="1000"/>
              <a:t>$ 19.474 Mio.</a:t>
            </a:r>
          </a:p>
        </p:txBody>
      </p:sp>
      <p:sp>
        <p:nvSpPr>
          <p:cNvPr id="262" name="Textfeld 261">
            <a:extLst>
              <a:ext uri="{FF2B5EF4-FFF2-40B4-BE49-F238E27FC236}">
                <a16:creationId xmlns:a16="http://schemas.microsoft.com/office/drawing/2014/main" id="{D88FCA20-590C-4A3D-1E3C-FA5F5DECA78E}"/>
              </a:ext>
            </a:extLst>
          </p:cNvPr>
          <p:cNvSpPr txBox="1"/>
          <p:nvPr/>
        </p:nvSpPr>
        <p:spPr>
          <a:xfrm>
            <a:off x="1408568" y="5831526"/>
            <a:ext cx="838200" cy="400110"/>
          </a:xfrm>
          <a:prstGeom prst="rect">
            <a:avLst/>
          </a:prstGeom>
          <a:noFill/>
        </p:spPr>
        <p:txBody>
          <a:bodyPr wrap="square" rtlCol="0">
            <a:spAutoFit/>
          </a:bodyPr>
          <a:lstStyle/>
          <a:p>
            <a:pPr algn="ctr"/>
            <a:r>
              <a:rPr lang="en-US" sz="1000"/>
              <a:t>$ 1.978</a:t>
            </a:r>
            <a:br>
              <a:rPr lang="en-US" sz="1000"/>
            </a:br>
            <a:r>
              <a:rPr lang="en-US" sz="1000"/>
              <a:t> Mio.</a:t>
            </a:r>
          </a:p>
        </p:txBody>
      </p:sp>
      <p:sp>
        <p:nvSpPr>
          <p:cNvPr id="263" name="Textfeld 262">
            <a:extLst>
              <a:ext uri="{FF2B5EF4-FFF2-40B4-BE49-F238E27FC236}">
                <a16:creationId xmlns:a16="http://schemas.microsoft.com/office/drawing/2014/main" id="{997C2250-0825-E60C-DCCA-0389F08A25E6}"/>
              </a:ext>
            </a:extLst>
          </p:cNvPr>
          <p:cNvSpPr txBox="1"/>
          <p:nvPr/>
        </p:nvSpPr>
        <p:spPr>
          <a:xfrm>
            <a:off x="2132783" y="5831526"/>
            <a:ext cx="838200" cy="400110"/>
          </a:xfrm>
          <a:prstGeom prst="rect">
            <a:avLst/>
          </a:prstGeom>
          <a:noFill/>
        </p:spPr>
        <p:txBody>
          <a:bodyPr wrap="square" rtlCol="0">
            <a:spAutoFit/>
          </a:bodyPr>
          <a:lstStyle/>
          <a:p>
            <a:pPr algn="ctr"/>
            <a:r>
              <a:rPr lang="en-US" sz="1000"/>
              <a:t>$ 6.944</a:t>
            </a:r>
            <a:br>
              <a:rPr lang="en-US" sz="1000"/>
            </a:br>
            <a:r>
              <a:rPr lang="en-US" sz="1000"/>
              <a:t> Mio.</a:t>
            </a:r>
          </a:p>
        </p:txBody>
      </p:sp>
      <p:sp>
        <p:nvSpPr>
          <p:cNvPr id="264" name="Textfeld 263">
            <a:extLst>
              <a:ext uri="{FF2B5EF4-FFF2-40B4-BE49-F238E27FC236}">
                <a16:creationId xmlns:a16="http://schemas.microsoft.com/office/drawing/2014/main" id="{92FB604A-3102-0572-D352-98A646111A27}"/>
              </a:ext>
            </a:extLst>
          </p:cNvPr>
          <p:cNvSpPr txBox="1"/>
          <p:nvPr/>
        </p:nvSpPr>
        <p:spPr>
          <a:xfrm>
            <a:off x="2902278" y="5831526"/>
            <a:ext cx="838200" cy="400110"/>
          </a:xfrm>
          <a:prstGeom prst="rect">
            <a:avLst/>
          </a:prstGeom>
          <a:noFill/>
        </p:spPr>
        <p:txBody>
          <a:bodyPr wrap="square" rtlCol="0">
            <a:spAutoFit/>
          </a:bodyPr>
          <a:lstStyle/>
          <a:p>
            <a:pPr algn="ctr"/>
            <a:r>
              <a:rPr lang="en-US" sz="1000"/>
              <a:t>$ 3.481</a:t>
            </a:r>
            <a:br>
              <a:rPr lang="en-US" sz="1000"/>
            </a:br>
            <a:r>
              <a:rPr lang="en-US" sz="1000"/>
              <a:t> Mio.</a:t>
            </a:r>
          </a:p>
        </p:txBody>
      </p:sp>
      <p:sp>
        <p:nvSpPr>
          <p:cNvPr id="265" name="Textfeld 264">
            <a:extLst>
              <a:ext uri="{FF2B5EF4-FFF2-40B4-BE49-F238E27FC236}">
                <a16:creationId xmlns:a16="http://schemas.microsoft.com/office/drawing/2014/main" id="{D5995F34-41E9-E615-318B-7A104E850EB6}"/>
              </a:ext>
            </a:extLst>
          </p:cNvPr>
          <p:cNvSpPr txBox="1"/>
          <p:nvPr/>
        </p:nvSpPr>
        <p:spPr>
          <a:xfrm rot="5400000">
            <a:off x="210847" y="5822581"/>
            <a:ext cx="838200" cy="246221"/>
          </a:xfrm>
          <a:prstGeom prst="rect">
            <a:avLst/>
          </a:prstGeom>
          <a:noFill/>
        </p:spPr>
        <p:txBody>
          <a:bodyPr wrap="square" rtlCol="0">
            <a:spAutoFit/>
          </a:bodyPr>
          <a:lstStyle/>
          <a:p>
            <a:pPr algn="ctr"/>
            <a:r>
              <a:rPr lang="en-US" sz="1000" b="1">
                <a:solidFill>
                  <a:schemeClr val="accent2"/>
                </a:solidFill>
              </a:rPr>
              <a:t>2022</a:t>
            </a:r>
          </a:p>
        </p:txBody>
      </p:sp>
      <p:sp>
        <p:nvSpPr>
          <p:cNvPr id="266" name="Textfeld 265">
            <a:extLst>
              <a:ext uri="{FF2B5EF4-FFF2-40B4-BE49-F238E27FC236}">
                <a16:creationId xmlns:a16="http://schemas.microsoft.com/office/drawing/2014/main" id="{2A0A7785-0C51-E08D-E25C-F5EDC8CD6329}"/>
              </a:ext>
            </a:extLst>
          </p:cNvPr>
          <p:cNvSpPr txBox="1"/>
          <p:nvPr/>
        </p:nvSpPr>
        <p:spPr>
          <a:xfrm>
            <a:off x="4310743" y="2251648"/>
            <a:ext cx="4617357" cy="1200329"/>
          </a:xfrm>
          <a:prstGeom prst="rect">
            <a:avLst/>
          </a:prstGeom>
          <a:noFill/>
        </p:spPr>
        <p:txBody>
          <a:bodyPr wrap="square" rtlCol="0">
            <a:spAutoFit/>
          </a:bodyPr>
          <a:lstStyle/>
          <a:p>
            <a:pPr marL="285750" indent="-285750">
              <a:buFont typeface="Arial" panose="020B0604020202020204" pitchFamily="34" charset="0"/>
              <a:buChar char="•"/>
            </a:pPr>
            <a:r>
              <a:rPr lang="en-US" sz="1200"/>
              <a:t>Ubers </a:t>
            </a:r>
            <a:r>
              <a:rPr lang="en-US" sz="1200" b="1"/>
              <a:t>revenue distribution </a:t>
            </a:r>
            <a:r>
              <a:rPr lang="en-US" sz="1200"/>
              <a:t>in </a:t>
            </a:r>
            <a:r>
              <a:rPr lang="en-US" sz="1200" b="1"/>
              <a:t>the US &amp; Canada</a:t>
            </a:r>
            <a:r>
              <a:rPr lang="en-US" sz="1200"/>
              <a:t> (US &amp;CAN), </a:t>
            </a:r>
            <a:r>
              <a:rPr lang="en-US" sz="1200" b="1"/>
              <a:t>Europe, Middle East and Africa </a:t>
            </a:r>
            <a:r>
              <a:rPr lang="en-US" sz="1200"/>
              <a:t>(EMEA) </a:t>
            </a:r>
            <a:r>
              <a:rPr lang="en-US" sz="1200" b="1"/>
              <a:t>and Asia-Pacific </a:t>
            </a:r>
            <a:r>
              <a:rPr lang="en-US" sz="1200"/>
              <a:t>(APAC) regions shows a </a:t>
            </a:r>
            <a:r>
              <a:rPr lang="en-US" sz="1200" b="1"/>
              <a:t>relatively constant distribution </a:t>
            </a:r>
            <a:r>
              <a:rPr lang="en-US" sz="1200"/>
              <a:t>over the years 2018 to 2022</a:t>
            </a:r>
          </a:p>
          <a:p>
            <a:pPr marL="285750" indent="-285750">
              <a:buFont typeface="Arial" panose="020B0604020202020204" pitchFamily="34" charset="0"/>
              <a:buChar char="•"/>
            </a:pPr>
            <a:r>
              <a:rPr lang="en-US" sz="1200"/>
              <a:t>In the </a:t>
            </a:r>
            <a:r>
              <a:rPr lang="en-US" sz="1200" b="1"/>
              <a:t>US and Canada</a:t>
            </a:r>
            <a:r>
              <a:rPr lang="en-US" sz="1200"/>
              <a:t>, revenue of around USD 19,474 million was generated in 2022, representing the </a:t>
            </a:r>
            <a:r>
              <a:rPr lang="en-US" sz="1200" b="1"/>
              <a:t>largest share of total revenue</a:t>
            </a:r>
          </a:p>
        </p:txBody>
      </p:sp>
      <p:graphicFrame>
        <p:nvGraphicFramePr>
          <p:cNvPr id="267" name="Diagramm 266">
            <a:extLst>
              <a:ext uri="{FF2B5EF4-FFF2-40B4-BE49-F238E27FC236}">
                <a16:creationId xmlns:a16="http://schemas.microsoft.com/office/drawing/2014/main" id="{5B65E7EC-DE6E-479A-8807-734E51537BF0}"/>
              </a:ext>
            </a:extLst>
          </p:cNvPr>
          <p:cNvGraphicFramePr>
            <a:graphicFrameLocks/>
          </p:cNvGraphicFramePr>
          <p:nvPr>
            <p:custDataLst>
              <p:tags r:id="rId3"/>
            </p:custDataLst>
          </p:nvPr>
        </p:nvGraphicFramePr>
        <p:xfrm>
          <a:off x="4356179" y="3545906"/>
          <a:ext cx="4571921" cy="1397646"/>
        </p:xfrm>
        <a:graphic>
          <a:graphicData uri="http://schemas.openxmlformats.org/drawingml/2006/chart">
            <c:chart xmlns:c="http://schemas.openxmlformats.org/drawingml/2006/chart" xmlns:r="http://schemas.openxmlformats.org/officeDocument/2006/relationships" r:id="rId13"/>
          </a:graphicData>
        </a:graphic>
      </p:graphicFrame>
      <p:sp>
        <p:nvSpPr>
          <p:cNvPr id="268" name="Textfeld 267">
            <a:extLst>
              <a:ext uri="{FF2B5EF4-FFF2-40B4-BE49-F238E27FC236}">
                <a16:creationId xmlns:a16="http://schemas.microsoft.com/office/drawing/2014/main" id="{A7A51E26-E2B6-929B-C6F5-F7E1B987B658}"/>
              </a:ext>
            </a:extLst>
          </p:cNvPr>
          <p:cNvSpPr txBox="1"/>
          <p:nvPr/>
        </p:nvSpPr>
        <p:spPr>
          <a:xfrm>
            <a:off x="4357477" y="4979003"/>
            <a:ext cx="4617357" cy="1200329"/>
          </a:xfrm>
          <a:prstGeom prst="rect">
            <a:avLst/>
          </a:prstGeom>
          <a:noFill/>
        </p:spPr>
        <p:txBody>
          <a:bodyPr wrap="square" rtlCol="0">
            <a:spAutoFit/>
          </a:bodyPr>
          <a:lstStyle/>
          <a:p>
            <a:pPr marL="285750" indent="-285750">
              <a:buFont typeface="Arial" panose="020B0604020202020204" pitchFamily="34" charset="0"/>
              <a:buChar char="•"/>
            </a:pPr>
            <a:r>
              <a:rPr lang="en-US" sz="1200"/>
              <a:t>Uber's revenue share in </a:t>
            </a:r>
            <a:r>
              <a:rPr lang="en-US" sz="1200" b="1"/>
              <a:t>Latin America </a:t>
            </a:r>
            <a:r>
              <a:rPr lang="en-US" sz="1200"/>
              <a:t>has been </a:t>
            </a:r>
            <a:r>
              <a:rPr lang="en-US" sz="1200" b="1"/>
              <a:t>steadily declining </a:t>
            </a:r>
            <a:r>
              <a:rPr lang="en-US" sz="1200"/>
              <a:t>since 2018.  </a:t>
            </a:r>
            <a:r>
              <a:rPr lang="en-US" sz="1200" b="1"/>
              <a:t>Uber</a:t>
            </a:r>
            <a:r>
              <a:rPr lang="en-US" sz="1200"/>
              <a:t> has </a:t>
            </a:r>
            <a:r>
              <a:rPr lang="en-US" sz="1200" b="1"/>
              <a:t>exited</a:t>
            </a:r>
            <a:r>
              <a:rPr lang="en-US" sz="1200"/>
              <a:t> </a:t>
            </a:r>
            <a:r>
              <a:rPr lang="en-US" sz="1200" b="1"/>
              <a:t>various markets </a:t>
            </a:r>
            <a:r>
              <a:rPr lang="en-US" sz="1200"/>
              <a:t>in South America, for example, in 2022 </a:t>
            </a:r>
            <a:r>
              <a:rPr lang="en-US" sz="1200" b="1"/>
              <a:t>UberEats stopped operations in Brazil </a:t>
            </a:r>
            <a:r>
              <a:rPr lang="en-US" sz="1200"/>
              <a:t>due to competition and the inability to be number one in the market</a:t>
            </a:r>
          </a:p>
          <a:p>
            <a:pPr marL="285750" indent="-285750">
              <a:buFont typeface="Arial" panose="020B0604020202020204" pitchFamily="34" charset="0"/>
              <a:buChar char="•"/>
            </a:pPr>
            <a:r>
              <a:rPr lang="en-US" sz="1200"/>
              <a:t>In 2020, </a:t>
            </a:r>
            <a:r>
              <a:rPr lang="en-US" sz="1200" b="1"/>
              <a:t>Uber ceased operations in Colombia after failing to win a government decision </a:t>
            </a:r>
            <a:r>
              <a:rPr lang="en-US" sz="1200"/>
              <a:t>on the violation of competition norms</a:t>
            </a:r>
          </a:p>
        </p:txBody>
      </p:sp>
    </p:spTree>
    <p:extLst>
      <p:ext uri="{BB962C8B-B14F-4D97-AF65-F5344CB8AC3E}">
        <p14:creationId xmlns:p14="http://schemas.microsoft.com/office/powerpoint/2010/main" val="2388721765"/>
      </p:ext>
    </p:extLst>
  </p:cSld>
  <p:clrMapOvr>
    <a:masterClrMapping/>
  </p:clrMapOvr>
  <p:extLst>
    <p:ext uri="{6950BFC3-D8DA-4A85-94F7-54DA5524770B}">
      <p188:commentRel xmlns:p188="http://schemas.microsoft.com/office/powerpoint/2018/8/main" r:id="rId6"/>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468286-4588-4CF5-5890-E425EE92C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08" imgH="408" progId="TCLayout.ActiveDocument.1">
                  <p:embed/>
                </p:oleObj>
              </mc:Choice>
              <mc:Fallback>
                <p:oleObj name="think-cell Folie" r:id="rId10" imgW="408" imgH="408" progId="TCLayout.ActiveDocument.1">
                  <p:embed/>
                  <p:pic>
                    <p:nvPicPr>
                      <p:cNvPr id="10" name="think-cell data - do not delete" hidden="1">
                        <a:extLst>
                          <a:ext uri="{FF2B5EF4-FFF2-40B4-BE49-F238E27FC236}">
                            <a16:creationId xmlns:a16="http://schemas.microsoft.com/office/drawing/2014/main" id="{B4468286-4588-4CF5-5890-E425EE92C87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aphicFrame>
        <p:nvGraphicFramePr>
          <p:cNvPr id="9" name="Diagramm 8">
            <a:extLst>
              <a:ext uri="{FF2B5EF4-FFF2-40B4-BE49-F238E27FC236}">
                <a16:creationId xmlns:a16="http://schemas.microsoft.com/office/drawing/2014/main" id="{5738F4F2-46FC-4C09-B2C4-5D8BEAA4BFB2}"/>
              </a:ext>
            </a:extLst>
          </p:cNvPr>
          <p:cNvGraphicFramePr>
            <a:graphicFrameLocks/>
          </p:cNvGraphicFramePr>
          <p:nvPr>
            <p:custDataLst>
              <p:tags r:id="rId2"/>
            </p:custDataLst>
          </p:nvPr>
        </p:nvGraphicFramePr>
        <p:xfrm>
          <a:off x="359997" y="1952526"/>
          <a:ext cx="3380481" cy="1888248"/>
        </p:xfrm>
        <a:graphic>
          <a:graphicData uri="http://schemas.openxmlformats.org/drawingml/2006/chart">
            <c:chart xmlns:c="http://schemas.openxmlformats.org/drawingml/2006/chart" xmlns:r="http://schemas.openxmlformats.org/officeDocument/2006/relationships" r:id="rId12"/>
          </a:graphicData>
        </a:graphic>
      </p:graphicFrame>
      <p:sp>
        <p:nvSpPr>
          <p:cNvPr id="2" name="Titel 1">
            <a:extLst>
              <a:ext uri="{FF2B5EF4-FFF2-40B4-BE49-F238E27FC236}">
                <a16:creationId xmlns:a16="http://schemas.microsoft.com/office/drawing/2014/main" id="{4359AE52-0199-E14A-62AC-22ED34E1C40A}"/>
              </a:ext>
            </a:extLst>
          </p:cNvPr>
          <p:cNvSpPr>
            <a:spLocks noGrp="1"/>
          </p:cNvSpPr>
          <p:nvPr>
            <p:ph type="title"/>
          </p:nvPr>
        </p:nvSpPr>
        <p:spPr/>
        <p:txBody>
          <a:bodyPr vert="horz"/>
          <a:lstStyle/>
          <a:p>
            <a:r>
              <a:rPr lang="en-US"/>
              <a:t>Ubers revenue distribution shifted in the last years due to several factors and shows Ubers increased diversification over the years</a:t>
            </a:r>
          </a:p>
        </p:txBody>
      </p:sp>
      <p:sp>
        <p:nvSpPr>
          <p:cNvPr id="4" name="Foliennummernplatzhalter 3">
            <a:extLst>
              <a:ext uri="{FF2B5EF4-FFF2-40B4-BE49-F238E27FC236}">
                <a16:creationId xmlns:a16="http://schemas.microsoft.com/office/drawing/2014/main" id="{A9C0B4EC-B09E-816F-F484-F496E13D15CD}"/>
              </a:ext>
            </a:extLst>
          </p:cNvPr>
          <p:cNvSpPr>
            <a:spLocks noGrp="1"/>
          </p:cNvSpPr>
          <p:nvPr>
            <p:ph type="sldNum" sz="quarter" idx="4"/>
          </p:nvPr>
        </p:nvSpPr>
        <p:spPr/>
        <p:txBody>
          <a:bodyPr/>
          <a:lstStyle/>
          <a:p>
            <a:fld id="{BAF04893-69FB-435D-AB2E-CA259D85B32F}" type="slidenum">
              <a:rPr lang="en-US" smtClean="0"/>
              <a:pPr/>
              <a:t>26</a:t>
            </a:fld>
            <a:endParaRPr lang="en-US"/>
          </a:p>
        </p:txBody>
      </p:sp>
      <p:sp>
        <p:nvSpPr>
          <p:cNvPr id="5" name="Inhaltsplatzhalter 4">
            <a:extLst>
              <a:ext uri="{FF2B5EF4-FFF2-40B4-BE49-F238E27FC236}">
                <a16:creationId xmlns:a16="http://schemas.microsoft.com/office/drawing/2014/main" id="{4E672803-9E25-9C67-0B41-743FA8EE74C2}"/>
              </a:ext>
            </a:extLst>
          </p:cNvPr>
          <p:cNvSpPr>
            <a:spLocks noGrp="1"/>
          </p:cNvSpPr>
          <p:nvPr>
            <p:ph idx="10"/>
          </p:nvPr>
        </p:nvSpPr>
        <p:spPr/>
        <p:txBody>
          <a:bodyPr/>
          <a:lstStyle/>
          <a:p>
            <a:r>
              <a:rPr lang="en-US"/>
              <a:t>Revenue – Business Units</a:t>
            </a:r>
          </a:p>
        </p:txBody>
      </p:sp>
      <p:sp>
        <p:nvSpPr>
          <p:cNvPr id="6" name="Inhaltsplatzhalter 5">
            <a:extLst>
              <a:ext uri="{FF2B5EF4-FFF2-40B4-BE49-F238E27FC236}">
                <a16:creationId xmlns:a16="http://schemas.microsoft.com/office/drawing/2014/main" id="{C94563A1-6605-6716-4043-5C33078FCF85}"/>
              </a:ext>
            </a:extLst>
          </p:cNvPr>
          <p:cNvSpPr>
            <a:spLocks noGrp="1"/>
          </p:cNvSpPr>
          <p:nvPr>
            <p:ph idx="11"/>
          </p:nvPr>
        </p:nvSpPr>
        <p:spPr/>
        <p:txBody>
          <a:bodyPr/>
          <a:lstStyle/>
          <a:p>
            <a:r>
              <a:rPr lang="en-US"/>
              <a:t>Annual Report Uber</a:t>
            </a:r>
          </a:p>
        </p:txBody>
      </p:sp>
      <p:sp>
        <p:nvSpPr>
          <p:cNvPr id="7" name="Inhaltsplatzhalter 6">
            <a:extLst>
              <a:ext uri="{FF2B5EF4-FFF2-40B4-BE49-F238E27FC236}">
                <a16:creationId xmlns:a16="http://schemas.microsoft.com/office/drawing/2014/main" id="{FD735184-84AE-DE84-D93E-BCF5AD5425EB}"/>
              </a:ext>
            </a:extLst>
          </p:cNvPr>
          <p:cNvSpPr>
            <a:spLocks noGrp="1"/>
          </p:cNvSpPr>
          <p:nvPr>
            <p:ph idx="12"/>
          </p:nvPr>
        </p:nvSpPr>
        <p:spPr/>
        <p:txBody>
          <a:bodyPr/>
          <a:lstStyle/>
          <a:p>
            <a:r>
              <a:rPr lang="en-US"/>
              <a:t>Corporate Lifecycle</a:t>
            </a:r>
          </a:p>
          <a:p>
            <a:endParaRPr lang="en-US"/>
          </a:p>
        </p:txBody>
      </p:sp>
      <p:grpSp>
        <p:nvGrpSpPr>
          <p:cNvPr id="22" name="Truck21" descr="{&quot;Key&quot;:&quot;POWER_USER_SHAPE_ICON&quot;,&quot;Value&quot;:&quot;POWER_USER_SHAPE_ICON_STYLE_1&quot;}">
            <a:extLst>
              <a:ext uri="{FF2B5EF4-FFF2-40B4-BE49-F238E27FC236}">
                <a16:creationId xmlns:a16="http://schemas.microsoft.com/office/drawing/2014/main" id="{25764079-5A00-5CD9-558F-8BE759545C92}"/>
              </a:ext>
            </a:extLst>
          </p:cNvPr>
          <p:cNvGrpSpPr>
            <a:grpSpLocks noChangeAspect="1"/>
          </p:cNvGrpSpPr>
          <p:nvPr/>
        </p:nvGrpSpPr>
        <p:grpSpPr>
          <a:xfrm>
            <a:off x="809512" y="5450166"/>
            <a:ext cx="402577" cy="398696"/>
            <a:chOff x="5294458" y="4040257"/>
            <a:chExt cx="1874935" cy="2532243"/>
          </a:xfrm>
          <a:solidFill>
            <a:schemeClr val="accent1"/>
          </a:solidFill>
        </p:grpSpPr>
        <p:sp>
          <p:nvSpPr>
            <p:cNvPr id="23" name="Freeform: Shape 966">
              <a:extLst>
                <a:ext uri="{FF2B5EF4-FFF2-40B4-BE49-F238E27FC236}">
                  <a16:creationId xmlns:a16="http://schemas.microsoft.com/office/drawing/2014/main" id="{13880BCA-EDB9-B778-64FC-1F5B7A45A82F}"/>
                </a:ext>
              </a:extLst>
            </p:cNvPr>
            <p:cNvSpPr>
              <a:spLocks/>
            </p:cNvSpPr>
            <p:nvPr/>
          </p:nvSpPr>
          <p:spPr bwMode="auto">
            <a:xfrm>
              <a:off x="5671603" y="6292338"/>
              <a:ext cx="301714" cy="280162"/>
            </a:xfrm>
            <a:custGeom>
              <a:avLst/>
              <a:gdLst>
                <a:gd name="connsiteX0" fmla="*/ 0 w 301714"/>
                <a:gd name="connsiteY0" fmla="*/ 0 h 280162"/>
                <a:gd name="connsiteX1" fmla="*/ 53878 w 301714"/>
                <a:gd name="connsiteY1" fmla="*/ 0 h 280162"/>
                <a:gd name="connsiteX2" fmla="*/ 53878 w 301714"/>
                <a:gd name="connsiteY2" fmla="*/ 226284 h 280162"/>
                <a:gd name="connsiteX3" fmla="*/ 258612 w 301714"/>
                <a:gd name="connsiteY3" fmla="*/ 226284 h 280162"/>
                <a:gd name="connsiteX4" fmla="*/ 258612 w 301714"/>
                <a:gd name="connsiteY4" fmla="*/ 247836 h 280162"/>
                <a:gd name="connsiteX5" fmla="*/ 280163 w 301714"/>
                <a:gd name="connsiteY5" fmla="*/ 247836 h 280162"/>
                <a:gd name="connsiteX6" fmla="*/ 280163 w 301714"/>
                <a:gd name="connsiteY6" fmla="*/ 226284 h 280162"/>
                <a:gd name="connsiteX7" fmla="*/ 258612 w 301714"/>
                <a:gd name="connsiteY7" fmla="*/ 226284 h 280162"/>
                <a:gd name="connsiteX8" fmla="*/ 258612 w 301714"/>
                <a:gd name="connsiteY8" fmla="*/ 0 h 280162"/>
                <a:gd name="connsiteX9" fmla="*/ 301714 w 301714"/>
                <a:gd name="connsiteY9" fmla="*/ 0 h 280162"/>
                <a:gd name="connsiteX10" fmla="*/ 301714 w 301714"/>
                <a:gd name="connsiteY10" fmla="*/ 247836 h 280162"/>
                <a:gd name="connsiteX11" fmla="*/ 301714 w 301714"/>
                <a:gd name="connsiteY11" fmla="*/ 280162 h 280162"/>
                <a:gd name="connsiteX12" fmla="*/ 0 w 301714"/>
                <a:gd name="connsiteY12" fmla="*/ 280162 h 280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1714" h="280162">
                  <a:moveTo>
                    <a:pt x="0" y="0"/>
                  </a:moveTo>
                  <a:lnTo>
                    <a:pt x="53878" y="0"/>
                  </a:lnTo>
                  <a:lnTo>
                    <a:pt x="53878" y="226284"/>
                  </a:lnTo>
                  <a:lnTo>
                    <a:pt x="258612" y="226284"/>
                  </a:lnTo>
                  <a:lnTo>
                    <a:pt x="258612" y="247836"/>
                  </a:lnTo>
                  <a:lnTo>
                    <a:pt x="280163" y="247836"/>
                  </a:lnTo>
                  <a:lnTo>
                    <a:pt x="280163" y="226284"/>
                  </a:lnTo>
                  <a:lnTo>
                    <a:pt x="258612" y="226284"/>
                  </a:lnTo>
                  <a:lnTo>
                    <a:pt x="258612" y="0"/>
                  </a:lnTo>
                  <a:lnTo>
                    <a:pt x="301714" y="0"/>
                  </a:lnTo>
                  <a:lnTo>
                    <a:pt x="301714" y="247836"/>
                  </a:lnTo>
                  <a:lnTo>
                    <a:pt x="301714" y="280162"/>
                  </a:lnTo>
                  <a:lnTo>
                    <a:pt x="0" y="280162"/>
                  </a:lnTo>
                  <a:close/>
                </a:path>
              </a:pathLst>
            </a:custGeom>
            <a:grpFill/>
            <a:ln w="9525">
              <a:solidFill>
                <a:schemeClr val="tx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967">
              <a:extLst>
                <a:ext uri="{FF2B5EF4-FFF2-40B4-BE49-F238E27FC236}">
                  <a16:creationId xmlns:a16="http://schemas.microsoft.com/office/drawing/2014/main" id="{E3F5D543-A151-DC1E-1E1E-02397F7108B7}"/>
                </a:ext>
              </a:extLst>
            </p:cNvPr>
            <p:cNvSpPr>
              <a:spLocks/>
            </p:cNvSpPr>
            <p:nvPr/>
          </p:nvSpPr>
          <p:spPr bwMode="auto">
            <a:xfrm>
              <a:off x="6490541" y="6292338"/>
              <a:ext cx="290942" cy="280162"/>
            </a:xfrm>
            <a:custGeom>
              <a:avLst/>
              <a:gdLst>
                <a:gd name="connsiteX0" fmla="*/ 0 w 290942"/>
                <a:gd name="connsiteY0" fmla="*/ 0 h 280162"/>
                <a:gd name="connsiteX1" fmla="*/ 43103 w 290942"/>
                <a:gd name="connsiteY1" fmla="*/ 0 h 280162"/>
                <a:gd name="connsiteX2" fmla="*/ 43103 w 290942"/>
                <a:gd name="connsiteY2" fmla="*/ 226284 h 280162"/>
                <a:gd name="connsiteX3" fmla="*/ 247840 w 290942"/>
                <a:gd name="connsiteY3" fmla="*/ 226284 h 280162"/>
                <a:gd name="connsiteX4" fmla="*/ 247840 w 290942"/>
                <a:gd name="connsiteY4" fmla="*/ 247836 h 280162"/>
                <a:gd name="connsiteX5" fmla="*/ 269391 w 290942"/>
                <a:gd name="connsiteY5" fmla="*/ 247836 h 280162"/>
                <a:gd name="connsiteX6" fmla="*/ 269391 w 290942"/>
                <a:gd name="connsiteY6" fmla="*/ 226284 h 280162"/>
                <a:gd name="connsiteX7" fmla="*/ 247840 w 290942"/>
                <a:gd name="connsiteY7" fmla="*/ 226284 h 280162"/>
                <a:gd name="connsiteX8" fmla="*/ 247840 w 290942"/>
                <a:gd name="connsiteY8" fmla="*/ 0 h 280162"/>
                <a:gd name="connsiteX9" fmla="*/ 290942 w 290942"/>
                <a:gd name="connsiteY9" fmla="*/ 0 h 280162"/>
                <a:gd name="connsiteX10" fmla="*/ 290942 w 290942"/>
                <a:gd name="connsiteY10" fmla="*/ 247836 h 280162"/>
                <a:gd name="connsiteX11" fmla="*/ 290942 w 290942"/>
                <a:gd name="connsiteY11" fmla="*/ 280162 h 280162"/>
                <a:gd name="connsiteX12" fmla="*/ 0 w 290942"/>
                <a:gd name="connsiteY12" fmla="*/ 280162 h 280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0942" h="280162">
                  <a:moveTo>
                    <a:pt x="0" y="0"/>
                  </a:moveTo>
                  <a:lnTo>
                    <a:pt x="43103" y="0"/>
                  </a:lnTo>
                  <a:lnTo>
                    <a:pt x="43103" y="226284"/>
                  </a:lnTo>
                  <a:lnTo>
                    <a:pt x="247840" y="226284"/>
                  </a:lnTo>
                  <a:lnTo>
                    <a:pt x="247840" y="247836"/>
                  </a:lnTo>
                  <a:lnTo>
                    <a:pt x="269391" y="247836"/>
                  </a:lnTo>
                  <a:lnTo>
                    <a:pt x="269391" y="226284"/>
                  </a:lnTo>
                  <a:lnTo>
                    <a:pt x="247840" y="226284"/>
                  </a:lnTo>
                  <a:lnTo>
                    <a:pt x="247840" y="0"/>
                  </a:lnTo>
                  <a:lnTo>
                    <a:pt x="290942" y="0"/>
                  </a:lnTo>
                  <a:lnTo>
                    <a:pt x="290942" y="247836"/>
                  </a:lnTo>
                  <a:lnTo>
                    <a:pt x="290942" y="280162"/>
                  </a:lnTo>
                  <a:lnTo>
                    <a:pt x="0" y="280162"/>
                  </a:lnTo>
                  <a:close/>
                </a:path>
              </a:pathLst>
            </a:custGeom>
            <a:grpFill/>
            <a:ln w="9525">
              <a:solidFill>
                <a:schemeClr val="tx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102">
              <a:extLst>
                <a:ext uri="{FF2B5EF4-FFF2-40B4-BE49-F238E27FC236}">
                  <a16:creationId xmlns:a16="http://schemas.microsoft.com/office/drawing/2014/main" id="{1E7908AC-8A07-6364-845C-A9FD39EFE179}"/>
                </a:ext>
              </a:extLst>
            </p:cNvPr>
            <p:cNvSpPr>
              <a:spLocks/>
            </p:cNvSpPr>
            <p:nvPr/>
          </p:nvSpPr>
          <p:spPr bwMode="auto">
            <a:xfrm>
              <a:off x="6005640" y="5818209"/>
              <a:ext cx="452571" cy="53881"/>
            </a:xfrm>
            <a:custGeom>
              <a:avLst/>
              <a:gdLst>
                <a:gd name="T0" fmla="*/ 0 w 327"/>
                <a:gd name="T1" fmla="*/ 34 h 34"/>
                <a:gd name="T2" fmla="*/ 327 w 327"/>
                <a:gd name="T3" fmla="*/ 34 h 34"/>
                <a:gd name="T4" fmla="*/ 327 w 327"/>
                <a:gd name="T5" fmla="*/ 0 h 34"/>
                <a:gd name="T6" fmla="*/ 0 w 327"/>
                <a:gd name="T7" fmla="*/ 0 h 34"/>
              </a:gdLst>
              <a:ahLst/>
              <a:cxnLst>
                <a:cxn ang="0">
                  <a:pos x="T0" y="T1"/>
                </a:cxn>
                <a:cxn ang="0">
                  <a:pos x="T2" y="T3"/>
                </a:cxn>
                <a:cxn ang="0">
                  <a:pos x="T4" y="T5"/>
                </a:cxn>
                <a:cxn ang="0">
                  <a:pos x="T6" y="T7"/>
                </a:cxn>
              </a:cxnLst>
              <a:rect l="0" t="0" r="r" b="b"/>
              <a:pathLst>
                <a:path w="327" h="34">
                  <a:moveTo>
                    <a:pt x="0" y="34"/>
                  </a:moveTo>
                  <a:lnTo>
                    <a:pt x="327" y="34"/>
                  </a:lnTo>
                  <a:lnTo>
                    <a:pt x="327" y="0"/>
                  </a:lnTo>
                  <a:lnTo>
                    <a:pt x="0" y="0"/>
                  </a:lnTo>
                </a:path>
              </a:pathLst>
            </a:custGeom>
            <a:grpFill/>
            <a:ln w="952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Shape 969">
              <a:extLst>
                <a:ext uri="{FF2B5EF4-FFF2-40B4-BE49-F238E27FC236}">
                  <a16:creationId xmlns:a16="http://schemas.microsoft.com/office/drawing/2014/main" id="{B761A0F8-AA6B-49F2-AE59-8D100A9CFBBE}"/>
                </a:ext>
              </a:extLst>
            </p:cNvPr>
            <p:cNvSpPr>
              <a:spLocks/>
            </p:cNvSpPr>
            <p:nvPr/>
          </p:nvSpPr>
          <p:spPr bwMode="auto">
            <a:xfrm>
              <a:off x="5359111" y="4040257"/>
              <a:ext cx="1745629" cy="1831833"/>
            </a:xfrm>
            <a:custGeom>
              <a:avLst/>
              <a:gdLst>
                <a:gd name="connsiteX0" fmla="*/ 1691752 w 1745629"/>
                <a:gd name="connsiteY0" fmla="*/ 1379263 h 1831833"/>
                <a:gd name="connsiteX1" fmla="*/ 1745629 w 1745629"/>
                <a:gd name="connsiteY1" fmla="*/ 1379263 h 1831833"/>
                <a:gd name="connsiteX2" fmla="*/ 1745629 w 1745629"/>
                <a:gd name="connsiteY2" fmla="*/ 1799507 h 1831833"/>
                <a:gd name="connsiteX3" fmla="*/ 1745629 w 1745629"/>
                <a:gd name="connsiteY3" fmla="*/ 1831833 h 1831833"/>
                <a:gd name="connsiteX4" fmla="*/ 1519348 w 1745629"/>
                <a:gd name="connsiteY4" fmla="*/ 1831833 h 1831833"/>
                <a:gd name="connsiteX5" fmla="*/ 1519348 w 1745629"/>
                <a:gd name="connsiteY5" fmla="*/ 1777956 h 1831833"/>
                <a:gd name="connsiteX6" fmla="*/ 1691752 w 1745629"/>
                <a:gd name="connsiteY6" fmla="*/ 1777956 h 1831833"/>
                <a:gd name="connsiteX7" fmla="*/ 1691752 w 1745629"/>
                <a:gd name="connsiteY7" fmla="*/ 1799507 h 1831833"/>
                <a:gd name="connsiteX8" fmla="*/ 1724078 w 1745629"/>
                <a:gd name="connsiteY8" fmla="*/ 1799507 h 1831833"/>
                <a:gd name="connsiteX9" fmla="*/ 1724078 w 1745629"/>
                <a:gd name="connsiteY9" fmla="*/ 1777956 h 1831833"/>
                <a:gd name="connsiteX10" fmla="*/ 1691752 w 1745629"/>
                <a:gd name="connsiteY10" fmla="*/ 1777956 h 1831833"/>
                <a:gd name="connsiteX11" fmla="*/ 0 w 1745629"/>
                <a:gd name="connsiteY11" fmla="*/ 1379263 h 1831833"/>
                <a:gd name="connsiteX12" fmla="*/ 43102 w 1745629"/>
                <a:gd name="connsiteY12" fmla="*/ 1379263 h 1831833"/>
                <a:gd name="connsiteX13" fmla="*/ 43102 w 1745629"/>
                <a:gd name="connsiteY13" fmla="*/ 1777956 h 1831833"/>
                <a:gd name="connsiteX14" fmla="*/ 215510 w 1745629"/>
                <a:gd name="connsiteY14" fmla="*/ 1777956 h 1831833"/>
                <a:gd name="connsiteX15" fmla="*/ 215510 w 1745629"/>
                <a:gd name="connsiteY15" fmla="*/ 1831833 h 1831833"/>
                <a:gd name="connsiteX16" fmla="*/ 0 w 1745629"/>
                <a:gd name="connsiteY16" fmla="*/ 1831833 h 1831833"/>
                <a:gd name="connsiteX17" fmla="*/ 0 w 1745629"/>
                <a:gd name="connsiteY17" fmla="*/ 0 h 1831833"/>
                <a:gd name="connsiteX18" fmla="*/ 1745629 w 1745629"/>
                <a:gd name="connsiteY18" fmla="*/ 0 h 1831833"/>
                <a:gd name="connsiteX19" fmla="*/ 1745629 w 1745629"/>
                <a:gd name="connsiteY19" fmla="*/ 1099100 h 1831833"/>
                <a:gd name="connsiteX20" fmla="*/ 1691752 w 1745629"/>
                <a:gd name="connsiteY20" fmla="*/ 1099100 h 1831833"/>
                <a:gd name="connsiteX21" fmla="*/ 1691752 w 1745629"/>
                <a:gd name="connsiteY21" fmla="*/ 53878 h 1831833"/>
                <a:gd name="connsiteX22" fmla="*/ 43102 w 1745629"/>
                <a:gd name="connsiteY22" fmla="*/ 53878 h 1831833"/>
                <a:gd name="connsiteX23" fmla="*/ 43102 w 1745629"/>
                <a:gd name="connsiteY23" fmla="*/ 1099100 h 1831833"/>
                <a:gd name="connsiteX24" fmla="*/ 0 w 1745629"/>
                <a:gd name="connsiteY24" fmla="*/ 1099100 h 1831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5629" h="1831833">
                  <a:moveTo>
                    <a:pt x="1691752" y="1379263"/>
                  </a:moveTo>
                  <a:lnTo>
                    <a:pt x="1745629" y="1379263"/>
                  </a:lnTo>
                  <a:lnTo>
                    <a:pt x="1745629" y="1799507"/>
                  </a:lnTo>
                  <a:lnTo>
                    <a:pt x="1745629" y="1831833"/>
                  </a:lnTo>
                  <a:lnTo>
                    <a:pt x="1519348" y="1831833"/>
                  </a:lnTo>
                  <a:lnTo>
                    <a:pt x="1519348" y="1777956"/>
                  </a:lnTo>
                  <a:lnTo>
                    <a:pt x="1691752" y="1777956"/>
                  </a:lnTo>
                  <a:lnTo>
                    <a:pt x="1691752" y="1799507"/>
                  </a:lnTo>
                  <a:lnTo>
                    <a:pt x="1724078" y="1799507"/>
                  </a:lnTo>
                  <a:lnTo>
                    <a:pt x="1724078" y="1777956"/>
                  </a:lnTo>
                  <a:lnTo>
                    <a:pt x="1691752" y="1777956"/>
                  </a:lnTo>
                  <a:close/>
                  <a:moveTo>
                    <a:pt x="0" y="1379263"/>
                  </a:moveTo>
                  <a:lnTo>
                    <a:pt x="43102" y="1379263"/>
                  </a:lnTo>
                  <a:lnTo>
                    <a:pt x="43102" y="1777956"/>
                  </a:lnTo>
                  <a:lnTo>
                    <a:pt x="215510" y="1777956"/>
                  </a:lnTo>
                  <a:lnTo>
                    <a:pt x="215510" y="1831833"/>
                  </a:lnTo>
                  <a:lnTo>
                    <a:pt x="0" y="1831833"/>
                  </a:lnTo>
                  <a:close/>
                  <a:moveTo>
                    <a:pt x="0" y="0"/>
                  </a:moveTo>
                  <a:lnTo>
                    <a:pt x="1745629" y="0"/>
                  </a:lnTo>
                  <a:lnTo>
                    <a:pt x="1745629" y="1099100"/>
                  </a:lnTo>
                  <a:lnTo>
                    <a:pt x="1691752" y="1099100"/>
                  </a:lnTo>
                  <a:lnTo>
                    <a:pt x="1691752" y="53878"/>
                  </a:lnTo>
                  <a:lnTo>
                    <a:pt x="43102" y="53878"/>
                  </a:lnTo>
                  <a:lnTo>
                    <a:pt x="43102" y="1099100"/>
                  </a:lnTo>
                  <a:lnTo>
                    <a:pt x="0" y="1099100"/>
                  </a:lnTo>
                  <a:close/>
                </a:path>
              </a:pathLst>
            </a:custGeom>
            <a:grpFill/>
            <a:ln w="9525">
              <a:solidFill>
                <a:schemeClr val="tx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3105">
              <a:extLst>
                <a:ext uri="{FF2B5EF4-FFF2-40B4-BE49-F238E27FC236}">
                  <a16:creationId xmlns:a16="http://schemas.microsoft.com/office/drawing/2014/main" id="{FC70E8AF-6D5A-F0FF-D666-73437BA271E9}"/>
                </a:ext>
              </a:extLst>
            </p:cNvPr>
            <p:cNvSpPr>
              <a:spLocks/>
            </p:cNvSpPr>
            <p:nvPr/>
          </p:nvSpPr>
          <p:spPr bwMode="auto">
            <a:xfrm>
              <a:off x="5294458" y="5117806"/>
              <a:ext cx="215510" cy="334044"/>
            </a:xfrm>
            <a:custGeom>
              <a:avLst/>
              <a:gdLst>
                <a:gd name="T0" fmla="*/ 18 w 20"/>
                <a:gd name="T1" fmla="*/ 28 h 31"/>
                <a:gd name="T2" fmla="*/ 18 w 20"/>
                <a:gd name="T3" fmla="*/ 26 h 31"/>
                <a:gd name="T4" fmla="*/ 4 w 20"/>
                <a:gd name="T5" fmla="*/ 26 h 31"/>
                <a:gd name="T6" fmla="*/ 4 w 20"/>
                <a:gd name="T7" fmla="*/ 4 h 31"/>
                <a:gd name="T8" fmla="*/ 16 w 20"/>
                <a:gd name="T9" fmla="*/ 4 h 31"/>
                <a:gd name="T10" fmla="*/ 16 w 20"/>
                <a:gd name="T11" fmla="*/ 28 h 31"/>
                <a:gd name="T12" fmla="*/ 18 w 20"/>
                <a:gd name="T13" fmla="*/ 28 h 31"/>
                <a:gd name="T14" fmla="*/ 18 w 20"/>
                <a:gd name="T15" fmla="*/ 26 h 31"/>
                <a:gd name="T16" fmla="*/ 18 w 20"/>
                <a:gd name="T17" fmla="*/ 28 h 31"/>
                <a:gd name="T18" fmla="*/ 20 w 20"/>
                <a:gd name="T19" fmla="*/ 28 h 31"/>
                <a:gd name="T20" fmla="*/ 20 w 20"/>
                <a:gd name="T21" fmla="*/ 0 h 31"/>
                <a:gd name="T22" fmla="*/ 0 w 20"/>
                <a:gd name="T23" fmla="*/ 0 h 31"/>
                <a:gd name="T24" fmla="*/ 0 w 20"/>
                <a:gd name="T25" fmla="*/ 31 h 31"/>
                <a:gd name="T26" fmla="*/ 20 w 20"/>
                <a:gd name="T27" fmla="*/ 31 h 31"/>
                <a:gd name="T28" fmla="*/ 20 w 20"/>
                <a:gd name="T29" fmla="*/ 28 h 31"/>
                <a:gd name="T30" fmla="*/ 18 w 20"/>
                <a:gd name="T31"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31">
                  <a:moveTo>
                    <a:pt x="18" y="28"/>
                  </a:moveTo>
                  <a:lnTo>
                    <a:pt x="18" y="26"/>
                  </a:lnTo>
                  <a:lnTo>
                    <a:pt x="4" y="26"/>
                  </a:lnTo>
                  <a:lnTo>
                    <a:pt x="4" y="4"/>
                  </a:lnTo>
                  <a:lnTo>
                    <a:pt x="16" y="4"/>
                  </a:lnTo>
                  <a:lnTo>
                    <a:pt x="16" y="28"/>
                  </a:lnTo>
                  <a:lnTo>
                    <a:pt x="18" y="28"/>
                  </a:lnTo>
                  <a:lnTo>
                    <a:pt x="18" y="26"/>
                  </a:lnTo>
                  <a:lnTo>
                    <a:pt x="18" y="28"/>
                  </a:lnTo>
                  <a:lnTo>
                    <a:pt x="20" y="28"/>
                  </a:lnTo>
                  <a:lnTo>
                    <a:pt x="20" y="0"/>
                  </a:lnTo>
                  <a:lnTo>
                    <a:pt x="0" y="0"/>
                  </a:lnTo>
                  <a:lnTo>
                    <a:pt x="0" y="31"/>
                  </a:lnTo>
                  <a:lnTo>
                    <a:pt x="20" y="31"/>
                  </a:lnTo>
                  <a:lnTo>
                    <a:pt x="20" y="28"/>
                  </a:lnTo>
                  <a:lnTo>
                    <a:pt x="18" y="28"/>
                  </a:lnTo>
                  <a:close/>
                </a:path>
              </a:pathLst>
            </a:custGeom>
            <a:grpFill/>
            <a:ln w="952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3106">
              <a:extLst>
                <a:ext uri="{FF2B5EF4-FFF2-40B4-BE49-F238E27FC236}">
                  <a16:creationId xmlns:a16="http://schemas.microsoft.com/office/drawing/2014/main" id="{3F5CD840-B5D7-07B9-751A-F65FBEC41C5F}"/>
                </a:ext>
              </a:extLst>
            </p:cNvPr>
            <p:cNvSpPr>
              <a:spLocks/>
            </p:cNvSpPr>
            <p:nvPr/>
          </p:nvSpPr>
          <p:spPr bwMode="auto">
            <a:xfrm>
              <a:off x="5488417" y="5257884"/>
              <a:ext cx="86204" cy="53881"/>
            </a:xfrm>
            <a:custGeom>
              <a:avLst/>
              <a:gdLst>
                <a:gd name="T0" fmla="*/ 0 w 67"/>
                <a:gd name="T1" fmla="*/ 34 h 34"/>
                <a:gd name="T2" fmla="*/ 67 w 67"/>
                <a:gd name="T3" fmla="*/ 34 h 34"/>
                <a:gd name="T4" fmla="*/ 67 w 67"/>
                <a:gd name="T5" fmla="*/ 0 h 34"/>
                <a:gd name="T6" fmla="*/ 0 w 67"/>
                <a:gd name="T7" fmla="*/ 0 h 34"/>
              </a:gdLst>
              <a:ahLst/>
              <a:cxnLst>
                <a:cxn ang="0">
                  <a:pos x="T0" y="T1"/>
                </a:cxn>
                <a:cxn ang="0">
                  <a:pos x="T2" y="T3"/>
                </a:cxn>
                <a:cxn ang="0">
                  <a:pos x="T4" y="T5"/>
                </a:cxn>
                <a:cxn ang="0">
                  <a:pos x="T6" y="T7"/>
                </a:cxn>
              </a:cxnLst>
              <a:rect l="0" t="0" r="r" b="b"/>
              <a:pathLst>
                <a:path w="67" h="34">
                  <a:moveTo>
                    <a:pt x="0" y="34"/>
                  </a:moveTo>
                  <a:lnTo>
                    <a:pt x="67" y="34"/>
                  </a:lnTo>
                  <a:lnTo>
                    <a:pt x="67" y="0"/>
                  </a:lnTo>
                  <a:lnTo>
                    <a:pt x="0" y="0"/>
                  </a:lnTo>
                </a:path>
              </a:pathLst>
            </a:custGeom>
            <a:grpFill/>
            <a:ln w="952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3108">
              <a:extLst>
                <a:ext uri="{FF2B5EF4-FFF2-40B4-BE49-F238E27FC236}">
                  <a16:creationId xmlns:a16="http://schemas.microsoft.com/office/drawing/2014/main" id="{F560DB81-4E90-9921-FE07-03F868FD4D14}"/>
                </a:ext>
              </a:extLst>
            </p:cNvPr>
            <p:cNvSpPr>
              <a:spLocks/>
            </p:cNvSpPr>
            <p:nvPr/>
          </p:nvSpPr>
          <p:spPr bwMode="auto">
            <a:xfrm>
              <a:off x="6953883" y="5117806"/>
              <a:ext cx="215510" cy="334044"/>
            </a:xfrm>
            <a:custGeom>
              <a:avLst/>
              <a:gdLst>
                <a:gd name="T0" fmla="*/ 2 w 20"/>
                <a:gd name="T1" fmla="*/ 2 h 31"/>
                <a:gd name="T2" fmla="*/ 2 w 20"/>
                <a:gd name="T3" fmla="*/ 4 h 31"/>
                <a:gd name="T4" fmla="*/ 15 w 20"/>
                <a:gd name="T5" fmla="*/ 4 h 31"/>
                <a:gd name="T6" fmla="*/ 15 w 20"/>
                <a:gd name="T7" fmla="*/ 26 h 31"/>
                <a:gd name="T8" fmla="*/ 4 w 20"/>
                <a:gd name="T9" fmla="*/ 26 h 31"/>
                <a:gd name="T10" fmla="*/ 4 w 20"/>
                <a:gd name="T11" fmla="*/ 2 h 31"/>
                <a:gd name="T12" fmla="*/ 2 w 20"/>
                <a:gd name="T13" fmla="*/ 2 h 31"/>
                <a:gd name="T14" fmla="*/ 2 w 20"/>
                <a:gd name="T15" fmla="*/ 4 h 31"/>
                <a:gd name="T16" fmla="*/ 2 w 20"/>
                <a:gd name="T17" fmla="*/ 2 h 31"/>
                <a:gd name="T18" fmla="*/ 0 w 20"/>
                <a:gd name="T19" fmla="*/ 2 h 31"/>
                <a:gd name="T20" fmla="*/ 0 w 20"/>
                <a:gd name="T21" fmla="*/ 31 h 31"/>
                <a:gd name="T22" fmla="*/ 20 w 20"/>
                <a:gd name="T23" fmla="*/ 31 h 31"/>
                <a:gd name="T24" fmla="*/ 20 w 20"/>
                <a:gd name="T25" fmla="*/ 0 h 31"/>
                <a:gd name="T26" fmla="*/ 0 w 20"/>
                <a:gd name="T27" fmla="*/ 0 h 31"/>
                <a:gd name="T28" fmla="*/ 0 w 20"/>
                <a:gd name="T29" fmla="*/ 2 h 31"/>
                <a:gd name="T30" fmla="*/ 2 w 20"/>
                <a:gd name="T31"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31">
                  <a:moveTo>
                    <a:pt x="2" y="2"/>
                  </a:moveTo>
                  <a:lnTo>
                    <a:pt x="2" y="4"/>
                  </a:lnTo>
                  <a:lnTo>
                    <a:pt x="15" y="4"/>
                  </a:lnTo>
                  <a:lnTo>
                    <a:pt x="15" y="26"/>
                  </a:lnTo>
                  <a:lnTo>
                    <a:pt x="4" y="26"/>
                  </a:lnTo>
                  <a:lnTo>
                    <a:pt x="4" y="2"/>
                  </a:lnTo>
                  <a:lnTo>
                    <a:pt x="2" y="2"/>
                  </a:lnTo>
                  <a:lnTo>
                    <a:pt x="2" y="4"/>
                  </a:lnTo>
                  <a:lnTo>
                    <a:pt x="2" y="2"/>
                  </a:lnTo>
                  <a:lnTo>
                    <a:pt x="0" y="2"/>
                  </a:lnTo>
                  <a:lnTo>
                    <a:pt x="0" y="31"/>
                  </a:lnTo>
                  <a:lnTo>
                    <a:pt x="20" y="31"/>
                  </a:lnTo>
                  <a:lnTo>
                    <a:pt x="20" y="0"/>
                  </a:lnTo>
                  <a:lnTo>
                    <a:pt x="0" y="0"/>
                  </a:lnTo>
                  <a:lnTo>
                    <a:pt x="0" y="2"/>
                  </a:lnTo>
                  <a:lnTo>
                    <a:pt x="2" y="2"/>
                  </a:lnTo>
                  <a:close/>
                </a:path>
              </a:pathLst>
            </a:custGeom>
            <a:grpFill/>
            <a:ln w="952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3109">
              <a:extLst>
                <a:ext uri="{FF2B5EF4-FFF2-40B4-BE49-F238E27FC236}">
                  <a16:creationId xmlns:a16="http://schemas.microsoft.com/office/drawing/2014/main" id="{D2CCC0F1-298E-F497-497F-1634B2B8AC59}"/>
                </a:ext>
              </a:extLst>
            </p:cNvPr>
            <p:cNvSpPr>
              <a:spLocks/>
            </p:cNvSpPr>
            <p:nvPr/>
          </p:nvSpPr>
          <p:spPr bwMode="auto">
            <a:xfrm>
              <a:off x="6878458" y="5257884"/>
              <a:ext cx="96983" cy="43102"/>
            </a:xfrm>
            <a:custGeom>
              <a:avLst/>
              <a:gdLst>
                <a:gd name="T0" fmla="*/ 67 w 67"/>
                <a:gd name="T1" fmla="*/ 0 h 33"/>
                <a:gd name="T2" fmla="*/ 0 w 67"/>
                <a:gd name="T3" fmla="*/ 0 h 33"/>
                <a:gd name="T4" fmla="*/ 0 w 67"/>
                <a:gd name="T5" fmla="*/ 33 h 33"/>
                <a:gd name="T6" fmla="*/ 67 w 67"/>
                <a:gd name="T7" fmla="*/ 33 h 33"/>
              </a:gdLst>
              <a:ahLst/>
              <a:cxnLst>
                <a:cxn ang="0">
                  <a:pos x="T0" y="T1"/>
                </a:cxn>
                <a:cxn ang="0">
                  <a:pos x="T2" y="T3"/>
                </a:cxn>
                <a:cxn ang="0">
                  <a:pos x="T4" y="T5"/>
                </a:cxn>
                <a:cxn ang="0">
                  <a:pos x="T6" y="T7"/>
                </a:cxn>
              </a:cxnLst>
              <a:rect l="0" t="0" r="r" b="b"/>
              <a:pathLst>
                <a:path w="67" h="33">
                  <a:moveTo>
                    <a:pt x="67" y="0"/>
                  </a:moveTo>
                  <a:lnTo>
                    <a:pt x="0" y="0"/>
                  </a:lnTo>
                  <a:lnTo>
                    <a:pt x="0" y="33"/>
                  </a:lnTo>
                  <a:lnTo>
                    <a:pt x="67" y="33"/>
                  </a:lnTo>
                </a:path>
              </a:pathLst>
            </a:custGeom>
            <a:grpFill/>
            <a:ln w="952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Shape 974">
              <a:extLst>
                <a:ext uri="{FF2B5EF4-FFF2-40B4-BE49-F238E27FC236}">
                  <a16:creationId xmlns:a16="http://schemas.microsoft.com/office/drawing/2014/main" id="{54E2763B-3652-327F-F94D-A87E4B5EBA76}"/>
                </a:ext>
              </a:extLst>
            </p:cNvPr>
            <p:cNvSpPr>
              <a:spLocks/>
            </p:cNvSpPr>
            <p:nvPr/>
          </p:nvSpPr>
          <p:spPr bwMode="auto">
            <a:xfrm>
              <a:off x="5553070" y="4816092"/>
              <a:ext cx="1346939" cy="1142202"/>
            </a:xfrm>
            <a:custGeom>
              <a:avLst/>
              <a:gdLst>
                <a:gd name="connsiteX0" fmla="*/ 80622 w 1346939"/>
                <a:gd name="connsiteY0" fmla="*/ 0 h 1142202"/>
                <a:gd name="connsiteX1" fmla="*/ 1266317 w 1346939"/>
                <a:gd name="connsiteY1" fmla="*/ 0 h 1142202"/>
                <a:gd name="connsiteX2" fmla="*/ 1346939 w 1346939"/>
                <a:gd name="connsiteY2" fmla="*/ 81298 h 1142202"/>
                <a:gd name="connsiteX3" fmla="*/ 1346939 w 1346939"/>
                <a:gd name="connsiteY3" fmla="*/ 1142202 h 1142202"/>
                <a:gd name="connsiteX4" fmla="*/ 1301068 w 1346939"/>
                <a:gd name="connsiteY4" fmla="*/ 1142202 h 1142202"/>
                <a:gd name="connsiteX5" fmla="*/ 1301068 w 1346939"/>
                <a:gd name="connsiteY5" fmla="*/ 81298 h 1142202"/>
                <a:gd name="connsiteX6" fmla="*/ 1266317 w 1346939"/>
                <a:gd name="connsiteY6" fmla="*/ 46256 h 1142202"/>
                <a:gd name="connsiteX7" fmla="*/ 80622 w 1346939"/>
                <a:gd name="connsiteY7" fmla="*/ 46256 h 1142202"/>
                <a:gd name="connsiteX8" fmla="*/ 45871 w 1346939"/>
                <a:gd name="connsiteY8" fmla="*/ 81298 h 1142202"/>
                <a:gd name="connsiteX9" fmla="*/ 45871 w 1346939"/>
                <a:gd name="connsiteY9" fmla="*/ 1142202 h 1142202"/>
                <a:gd name="connsiteX10" fmla="*/ 0 w 1346939"/>
                <a:gd name="connsiteY10" fmla="*/ 1142202 h 1142202"/>
                <a:gd name="connsiteX11" fmla="*/ 0 w 1346939"/>
                <a:gd name="connsiteY11" fmla="*/ 81298 h 1142202"/>
                <a:gd name="connsiteX12" fmla="*/ 80622 w 1346939"/>
                <a:gd name="connsiteY12" fmla="*/ 0 h 114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6939" h="1142202">
                  <a:moveTo>
                    <a:pt x="80622" y="0"/>
                  </a:moveTo>
                  <a:lnTo>
                    <a:pt x="1266317" y="0"/>
                  </a:lnTo>
                  <a:cubicBezTo>
                    <a:pt x="1310798" y="0"/>
                    <a:pt x="1346939" y="36444"/>
                    <a:pt x="1346939" y="81298"/>
                  </a:cubicBezTo>
                  <a:lnTo>
                    <a:pt x="1346939" y="1142202"/>
                  </a:lnTo>
                  <a:lnTo>
                    <a:pt x="1301068" y="1142202"/>
                  </a:lnTo>
                  <a:lnTo>
                    <a:pt x="1301068" y="81298"/>
                  </a:lnTo>
                  <a:cubicBezTo>
                    <a:pt x="1301068" y="61675"/>
                    <a:pt x="1285778" y="46256"/>
                    <a:pt x="1266317" y="46256"/>
                  </a:cubicBezTo>
                  <a:lnTo>
                    <a:pt x="80622" y="46256"/>
                  </a:lnTo>
                  <a:cubicBezTo>
                    <a:pt x="61162" y="46256"/>
                    <a:pt x="45871" y="61675"/>
                    <a:pt x="45871" y="81298"/>
                  </a:cubicBezTo>
                  <a:lnTo>
                    <a:pt x="45871" y="1142202"/>
                  </a:lnTo>
                  <a:lnTo>
                    <a:pt x="0" y="1142202"/>
                  </a:lnTo>
                  <a:lnTo>
                    <a:pt x="0" y="81298"/>
                  </a:lnTo>
                  <a:cubicBezTo>
                    <a:pt x="0" y="36444"/>
                    <a:pt x="36141" y="0"/>
                    <a:pt x="80622" y="0"/>
                  </a:cubicBezTo>
                  <a:close/>
                </a:path>
              </a:pathLst>
            </a:custGeom>
            <a:grpFill/>
            <a:ln w="9525">
              <a:solidFill>
                <a:schemeClr val="tx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3112">
              <a:extLst>
                <a:ext uri="{FF2B5EF4-FFF2-40B4-BE49-F238E27FC236}">
                  <a16:creationId xmlns:a16="http://schemas.microsoft.com/office/drawing/2014/main" id="{3EC9E562-04DB-6AA1-245E-4C53E748774F}"/>
                </a:ext>
              </a:extLst>
            </p:cNvPr>
            <p:cNvSpPr>
              <a:spLocks/>
            </p:cNvSpPr>
            <p:nvPr/>
          </p:nvSpPr>
          <p:spPr bwMode="auto">
            <a:xfrm>
              <a:off x="6005640" y="5656580"/>
              <a:ext cx="452571" cy="43102"/>
            </a:xfrm>
            <a:custGeom>
              <a:avLst/>
              <a:gdLst>
                <a:gd name="T0" fmla="*/ 0 w 327"/>
                <a:gd name="T1" fmla="*/ 33 h 33"/>
                <a:gd name="T2" fmla="*/ 327 w 327"/>
                <a:gd name="T3" fmla="*/ 33 h 33"/>
                <a:gd name="T4" fmla="*/ 327 w 327"/>
                <a:gd name="T5" fmla="*/ 0 h 33"/>
                <a:gd name="T6" fmla="*/ 0 w 327"/>
                <a:gd name="T7" fmla="*/ 0 h 33"/>
              </a:gdLst>
              <a:ahLst/>
              <a:cxnLst>
                <a:cxn ang="0">
                  <a:pos x="T0" y="T1"/>
                </a:cxn>
                <a:cxn ang="0">
                  <a:pos x="T2" y="T3"/>
                </a:cxn>
                <a:cxn ang="0">
                  <a:pos x="T4" y="T5"/>
                </a:cxn>
                <a:cxn ang="0">
                  <a:pos x="T6" y="T7"/>
                </a:cxn>
              </a:cxnLst>
              <a:rect l="0" t="0" r="r" b="b"/>
              <a:pathLst>
                <a:path w="327" h="33">
                  <a:moveTo>
                    <a:pt x="0" y="33"/>
                  </a:moveTo>
                  <a:lnTo>
                    <a:pt x="327" y="33"/>
                  </a:lnTo>
                  <a:lnTo>
                    <a:pt x="327" y="0"/>
                  </a:lnTo>
                  <a:lnTo>
                    <a:pt x="0" y="0"/>
                  </a:lnTo>
                </a:path>
              </a:pathLst>
            </a:custGeom>
            <a:grpFill/>
            <a:ln w="952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3113">
              <a:extLst>
                <a:ext uri="{FF2B5EF4-FFF2-40B4-BE49-F238E27FC236}">
                  <a16:creationId xmlns:a16="http://schemas.microsoft.com/office/drawing/2014/main" id="{23D4A505-DD4F-AEFF-2FE1-14D9A4A7FF78}"/>
                </a:ext>
              </a:extLst>
            </p:cNvPr>
            <p:cNvSpPr>
              <a:spLocks/>
            </p:cNvSpPr>
            <p:nvPr/>
          </p:nvSpPr>
          <p:spPr bwMode="auto">
            <a:xfrm>
              <a:off x="6005640" y="5818209"/>
              <a:ext cx="452571" cy="53881"/>
            </a:xfrm>
            <a:custGeom>
              <a:avLst/>
              <a:gdLst>
                <a:gd name="T0" fmla="*/ 0 w 327"/>
                <a:gd name="T1" fmla="*/ 34 h 34"/>
                <a:gd name="T2" fmla="*/ 327 w 327"/>
                <a:gd name="T3" fmla="*/ 34 h 34"/>
                <a:gd name="T4" fmla="*/ 327 w 327"/>
                <a:gd name="T5" fmla="*/ 0 h 34"/>
                <a:gd name="T6" fmla="*/ 0 w 327"/>
                <a:gd name="T7" fmla="*/ 0 h 34"/>
              </a:gdLst>
              <a:ahLst/>
              <a:cxnLst>
                <a:cxn ang="0">
                  <a:pos x="T0" y="T1"/>
                </a:cxn>
                <a:cxn ang="0">
                  <a:pos x="T2" y="T3"/>
                </a:cxn>
                <a:cxn ang="0">
                  <a:pos x="T4" y="T5"/>
                </a:cxn>
                <a:cxn ang="0">
                  <a:pos x="T6" y="T7"/>
                </a:cxn>
              </a:cxnLst>
              <a:rect l="0" t="0" r="r" b="b"/>
              <a:pathLst>
                <a:path w="327" h="34">
                  <a:moveTo>
                    <a:pt x="0" y="34"/>
                  </a:moveTo>
                  <a:lnTo>
                    <a:pt x="327" y="34"/>
                  </a:lnTo>
                  <a:lnTo>
                    <a:pt x="327" y="0"/>
                  </a:lnTo>
                  <a:lnTo>
                    <a:pt x="0" y="0"/>
                  </a:lnTo>
                </a:path>
              </a:pathLst>
            </a:custGeom>
            <a:grpFill/>
            <a:ln w="952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3115">
              <a:extLst>
                <a:ext uri="{FF2B5EF4-FFF2-40B4-BE49-F238E27FC236}">
                  <a16:creationId xmlns:a16="http://schemas.microsoft.com/office/drawing/2014/main" id="{69867C1B-EAA3-E917-5B99-9F83CBEA1F8E}"/>
                </a:ext>
              </a:extLst>
            </p:cNvPr>
            <p:cNvSpPr>
              <a:spLocks/>
            </p:cNvSpPr>
            <p:nvPr/>
          </p:nvSpPr>
          <p:spPr bwMode="auto">
            <a:xfrm>
              <a:off x="5466866" y="5936743"/>
              <a:ext cx="1530119" cy="377145"/>
            </a:xfrm>
            <a:custGeom>
              <a:avLst/>
              <a:gdLst>
                <a:gd name="T0" fmla="*/ 140 w 142"/>
                <a:gd name="T1" fmla="*/ 33 h 35"/>
                <a:gd name="T2" fmla="*/ 140 w 142"/>
                <a:gd name="T3" fmla="*/ 31 h 35"/>
                <a:gd name="T4" fmla="*/ 4 w 142"/>
                <a:gd name="T5" fmla="*/ 31 h 35"/>
                <a:gd name="T6" fmla="*/ 4 w 142"/>
                <a:gd name="T7" fmla="*/ 4 h 35"/>
                <a:gd name="T8" fmla="*/ 137 w 142"/>
                <a:gd name="T9" fmla="*/ 4 h 35"/>
                <a:gd name="T10" fmla="*/ 137 w 142"/>
                <a:gd name="T11" fmla="*/ 33 h 35"/>
                <a:gd name="T12" fmla="*/ 140 w 142"/>
                <a:gd name="T13" fmla="*/ 33 h 35"/>
                <a:gd name="T14" fmla="*/ 140 w 142"/>
                <a:gd name="T15" fmla="*/ 31 h 35"/>
                <a:gd name="T16" fmla="*/ 140 w 142"/>
                <a:gd name="T17" fmla="*/ 33 h 35"/>
                <a:gd name="T18" fmla="*/ 142 w 142"/>
                <a:gd name="T19" fmla="*/ 33 h 35"/>
                <a:gd name="T20" fmla="*/ 142 w 142"/>
                <a:gd name="T21" fmla="*/ 0 h 35"/>
                <a:gd name="T22" fmla="*/ 0 w 142"/>
                <a:gd name="T23" fmla="*/ 0 h 35"/>
                <a:gd name="T24" fmla="*/ 0 w 142"/>
                <a:gd name="T25" fmla="*/ 35 h 35"/>
                <a:gd name="T26" fmla="*/ 142 w 142"/>
                <a:gd name="T27" fmla="*/ 35 h 35"/>
                <a:gd name="T28" fmla="*/ 142 w 142"/>
                <a:gd name="T29" fmla="*/ 33 h 35"/>
                <a:gd name="T30" fmla="*/ 140 w 142"/>
                <a:gd name="T31"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35">
                  <a:moveTo>
                    <a:pt x="140" y="33"/>
                  </a:moveTo>
                  <a:lnTo>
                    <a:pt x="140" y="31"/>
                  </a:lnTo>
                  <a:lnTo>
                    <a:pt x="4" y="31"/>
                  </a:lnTo>
                  <a:lnTo>
                    <a:pt x="4" y="4"/>
                  </a:lnTo>
                  <a:lnTo>
                    <a:pt x="137" y="4"/>
                  </a:lnTo>
                  <a:lnTo>
                    <a:pt x="137" y="33"/>
                  </a:lnTo>
                  <a:lnTo>
                    <a:pt x="140" y="33"/>
                  </a:lnTo>
                  <a:lnTo>
                    <a:pt x="140" y="31"/>
                  </a:lnTo>
                  <a:lnTo>
                    <a:pt x="140" y="33"/>
                  </a:lnTo>
                  <a:lnTo>
                    <a:pt x="142" y="33"/>
                  </a:lnTo>
                  <a:lnTo>
                    <a:pt x="142" y="0"/>
                  </a:lnTo>
                  <a:lnTo>
                    <a:pt x="0" y="0"/>
                  </a:lnTo>
                  <a:lnTo>
                    <a:pt x="0" y="35"/>
                  </a:lnTo>
                  <a:lnTo>
                    <a:pt x="142" y="35"/>
                  </a:lnTo>
                  <a:lnTo>
                    <a:pt x="142" y="33"/>
                  </a:lnTo>
                  <a:lnTo>
                    <a:pt x="140" y="33"/>
                  </a:lnTo>
                  <a:close/>
                </a:path>
              </a:pathLst>
            </a:custGeom>
            <a:grpFill/>
            <a:ln w="952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3116">
              <a:extLst>
                <a:ext uri="{FF2B5EF4-FFF2-40B4-BE49-F238E27FC236}">
                  <a16:creationId xmlns:a16="http://schemas.microsoft.com/office/drawing/2014/main" id="{B2E6ABC5-283B-393E-B4C8-07FEB60906DD}"/>
                </a:ext>
              </a:extLst>
            </p:cNvPr>
            <p:cNvSpPr>
              <a:spLocks/>
            </p:cNvSpPr>
            <p:nvPr/>
          </p:nvSpPr>
          <p:spPr bwMode="auto">
            <a:xfrm>
              <a:off x="5703927" y="4956170"/>
              <a:ext cx="1055998" cy="560325"/>
            </a:xfrm>
            <a:custGeom>
              <a:avLst/>
              <a:gdLst>
                <a:gd name="T0" fmla="*/ 96 w 98"/>
                <a:gd name="T1" fmla="*/ 50 h 52"/>
                <a:gd name="T2" fmla="*/ 96 w 98"/>
                <a:gd name="T3" fmla="*/ 47 h 52"/>
                <a:gd name="T4" fmla="*/ 4 w 98"/>
                <a:gd name="T5" fmla="*/ 47 h 52"/>
                <a:gd name="T6" fmla="*/ 4 w 98"/>
                <a:gd name="T7" fmla="*/ 4 h 52"/>
                <a:gd name="T8" fmla="*/ 93 w 98"/>
                <a:gd name="T9" fmla="*/ 4 h 52"/>
                <a:gd name="T10" fmla="*/ 93 w 98"/>
                <a:gd name="T11" fmla="*/ 50 h 52"/>
                <a:gd name="T12" fmla="*/ 96 w 98"/>
                <a:gd name="T13" fmla="*/ 50 h 52"/>
                <a:gd name="T14" fmla="*/ 96 w 98"/>
                <a:gd name="T15" fmla="*/ 47 h 52"/>
                <a:gd name="T16" fmla="*/ 96 w 98"/>
                <a:gd name="T17" fmla="*/ 50 h 52"/>
                <a:gd name="T18" fmla="*/ 98 w 98"/>
                <a:gd name="T19" fmla="*/ 50 h 52"/>
                <a:gd name="T20" fmla="*/ 98 w 98"/>
                <a:gd name="T21" fmla="*/ 0 h 52"/>
                <a:gd name="T22" fmla="*/ 0 w 98"/>
                <a:gd name="T23" fmla="*/ 0 h 52"/>
                <a:gd name="T24" fmla="*/ 0 w 98"/>
                <a:gd name="T25" fmla="*/ 52 h 52"/>
                <a:gd name="T26" fmla="*/ 98 w 98"/>
                <a:gd name="T27" fmla="*/ 52 h 52"/>
                <a:gd name="T28" fmla="*/ 98 w 98"/>
                <a:gd name="T29" fmla="*/ 50 h 52"/>
                <a:gd name="T30" fmla="*/ 96 w 98"/>
                <a:gd name="T3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52">
                  <a:moveTo>
                    <a:pt x="96" y="50"/>
                  </a:moveTo>
                  <a:lnTo>
                    <a:pt x="96" y="47"/>
                  </a:lnTo>
                  <a:lnTo>
                    <a:pt x="4" y="47"/>
                  </a:lnTo>
                  <a:lnTo>
                    <a:pt x="4" y="4"/>
                  </a:lnTo>
                  <a:lnTo>
                    <a:pt x="93" y="4"/>
                  </a:lnTo>
                  <a:lnTo>
                    <a:pt x="93" y="50"/>
                  </a:lnTo>
                  <a:lnTo>
                    <a:pt x="96" y="50"/>
                  </a:lnTo>
                  <a:lnTo>
                    <a:pt x="96" y="47"/>
                  </a:lnTo>
                  <a:lnTo>
                    <a:pt x="96" y="50"/>
                  </a:lnTo>
                  <a:lnTo>
                    <a:pt x="98" y="50"/>
                  </a:lnTo>
                  <a:lnTo>
                    <a:pt x="98" y="0"/>
                  </a:lnTo>
                  <a:lnTo>
                    <a:pt x="0" y="0"/>
                  </a:lnTo>
                  <a:lnTo>
                    <a:pt x="0" y="52"/>
                  </a:lnTo>
                  <a:lnTo>
                    <a:pt x="98" y="52"/>
                  </a:lnTo>
                  <a:lnTo>
                    <a:pt x="98" y="50"/>
                  </a:lnTo>
                  <a:lnTo>
                    <a:pt x="96" y="50"/>
                  </a:lnTo>
                  <a:close/>
                </a:path>
              </a:pathLst>
            </a:custGeom>
            <a:grpFill/>
            <a:ln w="952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3117">
              <a:extLst>
                <a:ext uri="{FF2B5EF4-FFF2-40B4-BE49-F238E27FC236}">
                  <a16:creationId xmlns:a16="http://schemas.microsoft.com/office/drawing/2014/main" id="{B929994E-3CA7-5774-F782-F00267D49060}"/>
                </a:ext>
              </a:extLst>
            </p:cNvPr>
            <p:cNvSpPr>
              <a:spLocks/>
            </p:cNvSpPr>
            <p:nvPr/>
          </p:nvSpPr>
          <p:spPr bwMode="auto">
            <a:xfrm>
              <a:off x="6253480" y="5333316"/>
              <a:ext cx="323265" cy="161636"/>
            </a:xfrm>
            <a:custGeom>
              <a:avLst/>
              <a:gdLst>
                <a:gd name="T0" fmla="*/ 33 w 232"/>
                <a:gd name="T1" fmla="*/ 116 h 116"/>
                <a:gd name="T2" fmla="*/ 57 w 232"/>
                <a:gd name="T3" fmla="*/ 57 h 116"/>
                <a:gd name="T4" fmla="*/ 116 w 232"/>
                <a:gd name="T5" fmla="*/ 33 h 116"/>
                <a:gd name="T6" fmla="*/ 174 w 232"/>
                <a:gd name="T7" fmla="*/ 57 h 116"/>
                <a:gd name="T8" fmla="*/ 198 w 232"/>
                <a:gd name="T9" fmla="*/ 116 h 116"/>
                <a:gd name="T10" fmla="*/ 232 w 232"/>
                <a:gd name="T11" fmla="*/ 116 h 116"/>
                <a:gd name="T12" fmla="*/ 116 w 232"/>
                <a:gd name="T13" fmla="*/ 0 h 116"/>
                <a:gd name="T14" fmla="*/ 0 w 232"/>
                <a:gd name="T15" fmla="*/ 116 h 116"/>
                <a:gd name="T16" fmla="*/ 33 w 23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116">
                  <a:moveTo>
                    <a:pt x="33" y="116"/>
                  </a:moveTo>
                  <a:cubicBezTo>
                    <a:pt x="33" y="93"/>
                    <a:pt x="42" y="72"/>
                    <a:pt x="57" y="57"/>
                  </a:cubicBezTo>
                  <a:cubicBezTo>
                    <a:pt x="72" y="43"/>
                    <a:pt x="93" y="33"/>
                    <a:pt x="116" y="33"/>
                  </a:cubicBezTo>
                  <a:cubicBezTo>
                    <a:pt x="139" y="33"/>
                    <a:pt x="159" y="43"/>
                    <a:pt x="174" y="57"/>
                  </a:cubicBezTo>
                  <a:cubicBezTo>
                    <a:pt x="189" y="72"/>
                    <a:pt x="198" y="93"/>
                    <a:pt x="198" y="116"/>
                  </a:cubicBezTo>
                  <a:lnTo>
                    <a:pt x="232" y="116"/>
                  </a:lnTo>
                  <a:cubicBezTo>
                    <a:pt x="232" y="52"/>
                    <a:pt x="180" y="0"/>
                    <a:pt x="116" y="0"/>
                  </a:cubicBezTo>
                  <a:cubicBezTo>
                    <a:pt x="52" y="0"/>
                    <a:pt x="0" y="52"/>
                    <a:pt x="0" y="116"/>
                  </a:cubicBezTo>
                  <a:lnTo>
                    <a:pt x="33" y="116"/>
                  </a:lnTo>
                </a:path>
              </a:pathLst>
            </a:custGeom>
            <a:grpFill/>
            <a:ln w="952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3118">
              <a:extLst>
                <a:ext uri="{FF2B5EF4-FFF2-40B4-BE49-F238E27FC236}">
                  <a16:creationId xmlns:a16="http://schemas.microsoft.com/office/drawing/2014/main" id="{6A05A5EB-E1FC-A2F8-097D-704FB5361E10}"/>
                </a:ext>
              </a:extLst>
            </p:cNvPr>
            <p:cNvSpPr>
              <a:spLocks/>
            </p:cNvSpPr>
            <p:nvPr/>
          </p:nvSpPr>
          <p:spPr bwMode="auto">
            <a:xfrm>
              <a:off x="5585400" y="6012168"/>
              <a:ext cx="226289" cy="226289"/>
            </a:xfrm>
            <a:custGeom>
              <a:avLst/>
              <a:gdLst>
                <a:gd name="T0" fmla="*/ 140 w 157"/>
                <a:gd name="T1" fmla="*/ 79 h 157"/>
                <a:gd name="T2" fmla="*/ 124 w 157"/>
                <a:gd name="T3" fmla="*/ 79 h 157"/>
                <a:gd name="T4" fmla="*/ 79 w 157"/>
                <a:gd name="T5" fmla="*/ 124 h 157"/>
                <a:gd name="T6" fmla="*/ 33 w 157"/>
                <a:gd name="T7" fmla="*/ 79 h 157"/>
                <a:gd name="T8" fmla="*/ 79 w 157"/>
                <a:gd name="T9" fmla="*/ 34 h 157"/>
                <a:gd name="T10" fmla="*/ 124 w 157"/>
                <a:gd name="T11" fmla="*/ 79 h 157"/>
                <a:gd name="T12" fmla="*/ 140 w 157"/>
                <a:gd name="T13" fmla="*/ 79 h 157"/>
                <a:gd name="T14" fmla="*/ 157 w 157"/>
                <a:gd name="T15" fmla="*/ 79 h 157"/>
                <a:gd name="T16" fmla="*/ 79 w 157"/>
                <a:gd name="T17" fmla="*/ 0 h 157"/>
                <a:gd name="T18" fmla="*/ 0 w 157"/>
                <a:gd name="T19" fmla="*/ 79 h 157"/>
                <a:gd name="T20" fmla="*/ 79 w 157"/>
                <a:gd name="T21" fmla="*/ 157 h 157"/>
                <a:gd name="T22" fmla="*/ 157 w 157"/>
                <a:gd name="T23" fmla="*/ 79 h 157"/>
                <a:gd name="T24" fmla="*/ 140 w 157"/>
                <a:gd name="T25"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7">
                  <a:moveTo>
                    <a:pt x="140" y="79"/>
                  </a:moveTo>
                  <a:lnTo>
                    <a:pt x="124" y="79"/>
                  </a:lnTo>
                  <a:cubicBezTo>
                    <a:pt x="124" y="104"/>
                    <a:pt x="103" y="124"/>
                    <a:pt x="79" y="124"/>
                  </a:cubicBezTo>
                  <a:cubicBezTo>
                    <a:pt x="54" y="124"/>
                    <a:pt x="33" y="104"/>
                    <a:pt x="33" y="79"/>
                  </a:cubicBezTo>
                  <a:cubicBezTo>
                    <a:pt x="33" y="54"/>
                    <a:pt x="54" y="34"/>
                    <a:pt x="79" y="34"/>
                  </a:cubicBezTo>
                  <a:cubicBezTo>
                    <a:pt x="103" y="34"/>
                    <a:pt x="124" y="54"/>
                    <a:pt x="124" y="79"/>
                  </a:cubicBezTo>
                  <a:lnTo>
                    <a:pt x="140" y="79"/>
                  </a:lnTo>
                  <a:lnTo>
                    <a:pt x="157" y="79"/>
                  </a:lnTo>
                  <a:cubicBezTo>
                    <a:pt x="157" y="36"/>
                    <a:pt x="122" y="0"/>
                    <a:pt x="79" y="0"/>
                  </a:cubicBezTo>
                  <a:cubicBezTo>
                    <a:pt x="35" y="0"/>
                    <a:pt x="0" y="36"/>
                    <a:pt x="0" y="79"/>
                  </a:cubicBezTo>
                  <a:cubicBezTo>
                    <a:pt x="0" y="122"/>
                    <a:pt x="35" y="157"/>
                    <a:pt x="79" y="157"/>
                  </a:cubicBezTo>
                  <a:cubicBezTo>
                    <a:pt x="122" y="157"/>
                    <a:pt x="157" y="122"/>
                    <a:pt x="157" y="79"/>
                  </a:cubicBezTo>
                  <a:lnTo>
                    <a:pt x="140" y="79"/>
                  </a:lnTo>
                  <a:close/>
                </a:path>
              </a:pathLst>
            </a:custGeom>
            <a:grpFill/>
            <a:ln w="952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3119">
              <a:extLst>
                <a:ext uri="{FF2B5EF4-FFF2-40B4-BE49-F238E27FC236}">
                  <a16:creationId xmlns:a16="http://schemas.microsoft.com/office/drawing/2014/main" id="{CA8DEBF7-7044-A7BF-2DB6-9E87D20D04E1}"/>
                </a:ext>
              </a:extLst>
            </p:cNvPr>
            <p:cNvSpPr>
              <a:spLocks/>
            </p:cNvSpPr>
            <p:nvPr/>
          </p:nvSpPr>
          <p:spPr bwMode="auto">
            <a:xfrm>
              <a:off x="6652170" y="6012168"/>
              <a:ext cx="215510" cy="226289"/>
            </a:xfrm>
            <a:custGeom>
              <a:avLst/>
              <a:gdLst>
                <a:gd name="T0" fmla="*/ 140 w 157"/>
                <a:gd name="T1" fmla="*/ 79 h 157"/>
                <a:gd name="T2" fmla="*/ 123 w 157"/>
                <a:gd name="T3" fmla="*/ 79 h 157"/>
                <a:gd name="T4" fmla="*/ 78 w 157"/>
                <a:gd name="T5" fmla="*/ 124 h 157"/>
                <a:gd name="T6" fmla="*/ 33 w 157"/>
                <a:gd name="T7" fmla="*/ 79 h 157"/>
                <a:gd name="T8" fmla="*/ 78 w 157"/>
                <a:gd name="T9" fmla="*/ 34 h 157"/>
                <a:gd name="T10" fmla="*/ 123 w 157"/>
                <a:gd name="T11" fmla="*/ 79 h 157"/>
                <a:gd name="T12" fmla="*/ 140 w 157"/>
                <a:gd name="T13" fmla="*/ 79 h 157"/>
                <a:gd name="T14" fmla="*/ 157 w 157"/>
                <a:gd name="T15" fmla="*/ 79 h 157"/>
                <a:gd name="T16" fmla="*/ 78 w 157"/>
                <a:gd name="T17" fmla="*/ 0 h 157"/>
                <a:gd name="T18" fmla="*/ 0 w 157"/>
                <a:gd name="T19" fmla="*/ 79 h 157"/>
                <a:gd name="T20" fmla="*/ 78 w 157"/>
                <a:gd name="T21" fmla="*/ 157 h 157"/>
                <a:gd name="T22" fmla="*/ 157 w 157"/>
                <a:gd name="T23" fmla="*/ 79 h 157"/>
                <a:gd name="T24" fmla="*/ 140 w 157"/>
                <a:gd name="T25"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7">
                  <a:moveTo>
                    <a:pt x="140" y="79"/>
                  </a:moveTo>
                  <a:lnTo>
                    <a:pt x="123" y="79"/>
                  </a:lnTo>
                  <a:cubicBezTo>
                    <a:pt x="123" y="104"/>
                    <a:pt x="103" y="124"/>
                    <a:pt x="78" y="124"/>
                  </a:cubicBezTo>
                  <a:cubicBezTo>
                    <a:pt x="53" y="124"/>
                    <a:pt x="33" y="104"/>
                    <a:pt x="33" y="79"/>
                  </a:cubicBezTo>
                  <a:cubicBezTo>
                    <a:pt x="33" y="54"/>
                    <a:pt x="53" y="34"/>
                    <a:pt x="78" y="34"/>
                  </a:cubicBezTo>
                  <a:cubicBezTo>
                    <a:pt x="103" y="34"/>
                    <a:pt x="123" y="54"/>
                    <a:pt x="123" y="79"/>
                  </a:cubicBezTo>
                  <a:lnTo>
                    <a:pt x="140" y="79"/>
                  </a:lnTo>
                  <a:lnTo>
                    <a:pt x="157" y="79"/>
                  </a:lnTo>
                  <a:cubicBezTo>
                    <a:pt x="157" y="36"/>
                    <a:pt x="122" y="0"/>
                    <a:pt x="78" y="0"/>
                  </a:cubicBezTo>
                  <a:cubicBezTo>
                    <a:pt x="35" y="0"/>
                    <a:pt x="0" y="36"/>
                    <a:pt x="0" y="79"/>
                  </a:cubicBezTo>
                  <a:cubicBezTo>
                    <a:pt x="0" y="122"/>
                    <a:pt x="35" y="157"/>
                    <a:pt x="78" y="157"/>
                  </a:cubicBezTo>
                  <a:cubicBezTo>
                    <a:pt x="122" y="157"/>
                    <a:pt x="157" y="122"/>
                    <a:pt x="157" y="79"/>
                  </a:cubicBezTo>
                  <a:lnTo>
                    <a:pt x="140" y="79"/>
                  </a:lnTo>
                  <a:close/>
                </a:path>
              </a:pathLst>
            </a:custGeom>
            <a:grpFill/>
            <a:ln w="952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9" name="Shipment2" descr="{&quot;Key&quot;:&quot;POWER_USER_SHAPE_ICON&quot;,&quot;Value&quot;:&quot;POWER_USER_SHAPE_ICON_STYLE_1&quot;}">
            <a:extLst>
              <a:ext uri="{FF2B5EF4-FFF2-40B4-BE49-F238E27FC236}">
                <a16:creationId xmlns:a16="http://schemas.microsoft.com/office/drawing/2014/main" id="{6014B8E3-AF4A-5179-6EE6-0BF605E5857C}"/>
              </a:ext>
            </a:extLst>
          </p:cNvPr>
          <p:cNvGrpSpPr>
            <a:grpSpLocks noChangeAspect="1"/>
          </p:cNvGrpSpPr>
          <p:nvPr>
            <p:custDataLst>
              <p:tags r:id="rId3"/>
            </p:custDataLst>
          </p:nvPr>
        </p:nvGrpSpPr>
        <p:grpSpPr>
          <a:xfrm>
            <a:off x="779782" y="4684386"/>
            <a:ext cx="479959" cy="476188"/>
            <a:chOff x="7051676" y="280988"/>
            <a:chExt cx="808038" cy="801688"/>
          </a:xfrm>
          <a:noFill/>
        </p:grpSpPr>
        <p:sp>
          <p:nvSpPr>
            <p:cNvPr id="40" name="Freeform 224">
              <a:extLst>
                <a:ext uri="{FF2B5EF4-FFF2-40B4-BE49-F238E27FC236}">
                  <a16:creationId xmlns:a16="http://schemas.microsoft.com/office/drawing/2014/main" id="{AA2FB70D-8CA1-37C6-B48C-4480B5CED0B7}"/>
                </a:ext>
              </a:extLst>
            </p:cNvPr>
            <p:cNvSpPr>
              <a:spLocks/>
            </p:cNvSpPr>
            <p:nvPr/>
          </p:nvSpPr>
          <p:spPr bwMode="auto">
            <a:xfrm>
              <a:off x="7275514" y="419101"/>
              <a:ext cx="314325" cy="609600"/>
            </a:xfrm>
            <a:custGeom>
              <a:avLst/>
              <a:gdLst>
                <a:gd name="T0" fmla="*/ 246 w 455"/>
                <a:gd name="T1" fmla="*/ 850 h 879"/>
                <a:gd name="T2" fmla="*/ 210 w 455"/>
                <a:gd name="T3" fmla="*/ 825 h 879"/>
                <a:gd name="T4" fmla="*/ 163 w 455"/>
                <a:gd name="T5" fmla="*/ 317 h 879"/>
                <a:gd name="T6" fmla="*/ 260 w 455"/>
                <a:gd name="T7" fmla="*/ 134 h 879"/>
                <a:gd name="T8" fmla="*/ 380 w 455"/>
                <a:gd name="T9" fmla="*/ 243 h 879"/>
                <a:gd name="T10" fmla="*/ 411 w 455"/>
                <a:gd name="T11" fmla="*/ 257 h 879"/>
                <a:gd name="T12" fmla="*/ 438 w 455"/>
                <a:gd name="T13" fmla="*/ 253 h 879"/>
                <a:gd name="T14" fmla="*/ 443 w 455"/>
                <a:gd name="T15" fmla="*/ 225 h 879"/>
                <a:gd name="T16" fmla="*/ 303 w 455"/>
                <a:gd name="T17" fmla="*/ 59 h 879"/>
                <a:gd name="T18" fmla="*/ 196 w 455"/>
                <a:gd name="T19" fmla="*/ 7 h 879"/>
                <a:gd name="T20" fmla="*/ 116 w 455"/>
                <a:gd name="T21" fmla="*/ 75 h 879"/>
                <a:gd name="T22" fmla="*/ 26 w 455"/>
                <a:gd name="T23" fmla="*/ 243 h 879"/>
                <a:gd name="T24" fmla="*/ 16 w 455"/>
                <a:gd name="T25" fmla="*/ 362 h 879"/>
                <a:gd name="T26" fmla="*/ 147 w 455"/>
                <a:gd name="T27" fmla="*/ 849 h 879"/>
                <a:gd name="T28" fmla="*/ 167 w 455"/>
                <a:gd name="T29" fmla="*/ 878 h 879"/>
                <a:gd name="T30" fmla="*/ 241 w 455"/>
                <a:gd name="T31" fmla="*/ 879 h 879"/>
                <a:gd name="T32" fmla="*/ 246 w 455"/>
                <a:gd name="T33" fmla="*/ 85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5" h="879">
                  <a:moveTo>
                    <a:pt x="246" y="850"/>
                  </a:moveTo>
                  <a:cubicBezTo>
                    <a:pt x="232" y="845"/>
                    <a:pt x="214" y="830"/>
                    <a:pt x="210" y="825"/>
                  </a:cubicBezTo>
                  <a:cubicBezTo>
                    <a:pt x="201" y="762"/>
                    <a:pt x="176" y="419"/>
                    <a:pt x="163" y="317"/>
                  </a:cubicBezTo>
                  <a:cubicBezTo>
                    <a:pt x="181" y="276"/>
                    <a:pt x="249" y="156"/>
                    <a:pt x="260" y="134"/>
                  </a:cubicBezTo>
                  <a:cubicBezTo>
                    <a:pt x="292" y="162"/>
                    <a:pt x="361" y="224"/>
                    <a:pt x="380" y="243"/>
                  </a:cubicBezTo>
                  <a:cubicBezTo>
                    <a:pt x="391" y="253"/>
                    <a:pt x="399" y="259"/>
                    <a:pt x="411" y="257"/>
                  </a:cubicBezTo>
                  <a:cubicBezTo>
                    <a:pt x="421" y="256"/>
                    <a:pt x="428" y="254"/>
                    <a:pt x="438" y="253"/>
                  </a:cubicBezTo>
                  <a:cubicBezTo>
                    <a:pt x="445" y="251"/>
                    <a:pt x="455" y="240"/>
                    <a:pt x="443" y="225"/>
                  </a:cubicBezTo>
                  <a:cubicBezTo>
                    <a:pt x="417" y="192"/>
                    <a:pt x="324" y="83"/>
                    <a:pt x="303" y="59"/>
                  </a:cubicBezTo>
                  <a:cubicBezTo>
                    <a:pt x="285" y="39"/>
                    <a:pt x="260" y="15"/>
                    <a:pt x="196" y="7"/>
                  </a:cubicBezTo>
                  <a:cubicBezTo>
                    <a:pt x="149" y="0"/>
                    <a:pt x="130" y="45"/>
                    <a:pt x="116" y="75"/>
                  </a:cubicBezTo>
                  <a:cubicBezTo>
                    <a:pt x="94" y="122"/>
                    <a:pt x="37" y="216"/>
                    <a:pt x="26" y="243"/>
                  </a:cubicBezTo>
                  <a:cubicBezTo>
                    <a:pt x="0" y="306"/>
                    <a:pt x="7" y="332"/>
                    <a:pt x="16" y="362"/>
                  </a:cubicBezTo>
                  <a:cubicBezTo>
                    <a:pt x="37" y="436"/>
                    <a:pt x="141" y="781"/>
                    <a:pt x="147" y="849"/>
                  </a:cubicBezTo>
                  <a:cubicBezTo>
                    <a:pt x="149" y="871"/>
                    <a:pt x="158" y="878"/>
                    <a:pt x="167" y="878"/>
                  </a:cubicBezTo>
                  <a:cubicBezTo>
                    <a:pt x="179" y="878"/>
                    <a:pt x="236" y="879"/>
                    <a:pt x="241" y="879"/>
                  </a:cubicBezTo>
                  <a:cubicBezTo>
                    <a:pt x="251" y="879"/>
                    <a:pt x="260" y="854"/>
                    <a:pt x="246" y="850"/>
                  </a:cubicBez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225">
              <a:extLst>
                <a:ext uri="{FF2B5EF4-FFF2-40B4-BE49-F238E27FC236}">
                  <a16:creationId xmlns:a16="http://schemas.microsoft.com/office/drawing/2014/main" id="{16BC6F5D-BE7D-E2E4-78E3-74021A4340FC}"/>
                </a:ext>
              </a:extLst>
            </p:cNvPr>
            <p:cNvSpPr>
              <a:spLocks/>
            </p:cNvSpPr>
            <p:nvPr/>
          </p:nvSpPr>
          <p:spPr bwMode="auto">
            <a:xfrm>
              <a:off x="7400926" y="641351"/>
              <a:ext cx="125413" cy="76200"/>
            </a:xfrm>
            <a:custGeom>
              <a:avLst/>
              <a:gdLst>
                <a:gd name="T0" fmla="*/ 148 w 180"/>
                <a:gd name="T1" fmla="*/ 47 h 110"/>
                <a:gd name="T2" fmla="*/ 0 w 180"/>
                <a:gd name="T3" fmla="*/ 0 h 110"/>
                <a:gd name="T4" fmla="*/ 10 w 180"/>
                <a:gd name="T5" fmla="*/ 100 h 110"/>
                <a:gd name="T6" fmla="*/ 66 w 180"/>
                <a:gd name="T7" fmla="*/ 110 h 110"/>
                <a:gd name="T8" fmla="*/ 180 w 180"/>
                <a:gd name="T9" fmla="*/ 91 h 110"/>
                <a:gd name="T10" fmla="*/ 148 w 180"/>
                <a:gd name="T11" fmla="*/ 47 h 110"/>
              </a:gdLst>
              <a:ahLst/>
              <a:cxnLst>
                <a:cxn ang="0">
                  <a:pos x="T0" y="T1"/>
                </a:cxn>
                <a:cxn ang="0">
                  <a:pos x="T2" y="T3"/>
                </a:cxn>
                <a:cxn ang="0">
                  <a:pos x="T4" y="T5"/>
                </a:cxn>
                <a:cxn ang="0">
                  <a:pos x="T6" y="T7"/>
                </a:cxn>
                <a:cxn ang="0">
                  <a:pos x="T8" y="T9"/>
                </a:cxn>
                <a:cxn ang="0">
                  <a:pos x="T10" y="T11"/>
                </a:cxn>
              </a:cxnLst>
              <a:rect l="0" t="0" r="r" b="b"/>
              <a:pathLst>
                <a:path w="180" h="110">
                  <a:moveTo>
                    <a:pt x="148" y="47"/>
                  </a:moveTo>
                  <a:cubicBezTo>
                    <a:pt x="128" y="37"/>
                    <a:pt x="46" y="12"/>
                    <a:pt x="0" y="0"/>
                  </a:cubicBezTo>
                  <a:cubicBezTo>
                    <a:pt x="3" y="23"/>
                    <a:pt x="8" y="83"/>
                    <a:pt x="10" y="100"/>
                  </a:cubicBezTo>
                  <a:cubicBezTo>
                    <a:pt x="25" y="104"/>
                    <a:pt x="42" y="107"/>
                    <a:pt x="66" y="110"/>
                  </a:cubicBezTo>
                  <a:lnTo>
                    <a:pt x="180" y="91"/>
                  </a:lnTo>
                  <a:cubicBezTo>
                    <a:pt x="175" y="69"/>
                    <a:pt x="160" y="53"/>
                    <a:pt x="148" y="47"/>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226">
              <a:extLst>
                <a:ext uri="{FF2B5EF4-FFF2-40B4-BE49-F238E27FC236}">
                  <a16:creationId xmlns:a16="http://schemas.microsoft.com/office/drawing/2014/main" id="{ADD98AA7-9F73-7633-8445-869CA05DC5A9}"/>
                </a:ext>
              </a:extLst>
            </p:cNvPr>
            <p:cNvSpPr>
              <a:spLocks/>
            </p:cNvSpPr>
            <p:nvPr/>
          </p:nvSpPr>
          <p:spPr bwMode="auto">
            <a:xfrm>
              <a:off x="7431089" y="749301"/>
              <a:ext cx="85725" cy="120650"/>
            </a:xfrm>
            <a:custGeom>
              <a:avLst/>
              <a:gdLst>
                <a:gd name="T0" fmla="*/ 38 w 124"/>
                <a:gd name="T1" fmla="*/ 13 h 174"/>
                <a:gd name="T2" fmla="*/ 5 w 124"/>
                <a:gd name="T3" fmla="*/ 143 h 174"/>
                <a:gd name="T4" fmla="*/ 7 w 124"/>
                <a:gd name="T5" fmla="*/ 174 h 174"/>
                <a:gd name="T6" fmla="*/ 104 w 124"/>
                <a:gd name="T7" fmla="*/ 57 h 174"/>
                <a:gd name="T8" fmla="*/ 124 w 124"/>
                <a:gd name="T9" fmla="*/ 0 h 174"/>
                <a:gd name="T10" fmla="*/ 38 w 124"/>
                <a:gd name="T11" fmla="*/ 13 h 174"/>
              </a:gdLst>
              <a:ahLst/>
              <a:cxnLst>
                <a:cxn ang="0">
                  <a:pos x="T0" y="T1"/>
                </a:cxn>
                <a:cxn ang="0">
                  <a:pos x="T2" y="T3"/>
                </a:cxn>
                <a:cxn ang="0">
                  <a:pos x="T4" y="T5"/>
                </a:cxn>
                <a:cxn ang="0">
                  <a:pos x="T6" y="T7"/>
                </a:cxn>
                <a:cxn ang="0">
                  <a:pos x="T8" y="T9"/>
                </a:cxn>
                <a:cxn ang="0">
                  <a:pos x="T10" y="T11"/>
                </a:cxn>
              </a:cxnLst>
              <a:rect l="0" t="0" r="r" b="b"/>
              <a:pathLst>
                <a:path w="124" h="174">
                  <a:moveTo>
                    <a:pt x="38" y="13"/>
                  </a:moveTo>
                  <a:cubicBezTo>
                    <a:pt x="29" y="58"/>
                    <a:pt x="19" y="95"/>
                    <a:pt x="5" y="143"/>
                  </a:cubicBezTo>
                  <a:cubicBezTo>
                    <a:pt x="0" y="159"/>
                    <a:pt x="2" y="169"/>
                    <a:pt x="7" y="174"/>
                  </a:cubicBezTo>
                  <a:lnTo>
                    <a:pt x="104" y="57"/>
                  </a:lnTo>
                  <a:cubicBezTo>
                    <a:pt x="110" y="40"/>
                    <a:pt x="117" y="21"/>
                    <a:pt x="124" y="0"/>
                  </a:cubicBezTo>
                  <a:lnTo>
                    <a:pt x="38" y="13"/>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27">
              <a:extLst>
                <a:ext uri="{FF2B5EF4-FFF2-40B4-BE49-F238E27FC236}">
                  <a16:creationId xmlns:a16="http://schemas.microsoft.com/office/drawing/2014/main" id="{73588013-0E49-68C9-5BC0-2E55E26C8052}"/>
                </a:ext>
              </a:extLst>
            </p:cNvPr>
            <p:cNvSpPr>
              <a:spLocks/>
            </p:cNvSpPr>
            <p:nvPr/>
          </p:nvSpPr>
          <p:spPr bwMode="auto">
            <a:xfrm>
              <a:off x="7477126" y="869951"/>
              <a:ext cx="28575" cy="25400"/>
            </a:xfrm>
            <a:custGeom>
              <a:avLst/>
              <a:gdLst>
                <a:gd name="T0" fmla="*/ 14 w 41"/>
                <a:gd name="T1" fmla="*/ 33 h 37"/>
                <a:gd name="T2" fmla="*/ 29 w 41"/>
                <a:gd name="T3" fmla="*/ 8 h 37"/>
                <a:gd name="T4" fmla="*/ 23 w 41"/>
                <a:gd name="T5" fmla="*/ 0 h 37"/>
                <a:gd name="T6" fmla="*/ 0 w 41"/>
                <a:gd name="T7" fmla="*/ 28 h 37"/>
                <a:gd name="T8" fmla="*/ 14 w 41"/>
                <a:gd name="T9" fmla="*/ 33 h 37"/>
              </a:gdLst>
              <a:ahLst/>
              <a:cxnLst>
                <a:cxn ang="0">
                  <a:pos x="T0" y="T1"/>
                </a:cxn>
                <a:cxn ang="0">
                  <a:pos x="T2" y="T3"/>
                </a:cxn>
                <a:cxn ang="0">
                  <a:pos x="T4" y="T5"/>
                </a:cxn>
                <a:cxn ang="0">
                  <a:pos x="T6" y="T7"/>
                </a:cxn>
                <a:cxn ang="0">
                  <a:pos x="T8" y="T9"/>
                </a:cxn>
              </a:cxnLst>
              <a:rect l="0" t="0" r="r" b="b"/>
              <a:pathLst>
                <a:path w="41" h="37">
                  <a:moveTo>
                    <a:pt x="14" y="33"/>
                  </a:moveTo>
                  <a:cubicBezTo>
                    <a:pt x="23" y="37"/>
                    <a:pt x="41" y="17"/>
                    <a:pt x="29" y="8"/>
                  </a:cubicBezTo>
                  <a:cubicBezTo>
                    <a:pt x="27" y="6"/>
                    <a:pt x="25" y="3"/>
                    <a:pt x="23" y="0"/>
                  </a:cubicBezTo>
                  <a:lnTo>
                    <a:pt x="0" y="28"/>
                  </a:lnTo>
                  <a:cubicBezTo>
                    <a:pt x="7" y="30"/>
                    <a:pt x="12" y="32"/>
                    <a:pt x="14" y="33"/>
                  </a:cubicBez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228">
              <a:extLst>
                <a:ext uri="{FF2B5EF4-FFF2-40B4-BE49-F238E27FC236}">
                  <a16:creationId xmlns:a16="http://schemas.microsoft.com/office/drawing/2014/main" id="{87DB5793-43F5-E6D8-4A54-CD535E66223C}"/>
                </a:ext>
              </a:extLst>
            </p:cNvPr>
            <p:cNvSpPr>
              <a:spLocks/>
            </p:cNvSpPr>
            <p:nvPr/>
          </p:nvSpPr>
          <p:spPr bwMode="auto">
            <a:xfrm>
              <a:off x="7396164" y="344488"/>
              <a:ext cx="103188" cy="77788"/>
            </a:xfrm>
            <a:custGeom>
              <a:avLst/>
              <a:gdLst>
                <a:gd name="T0" fmla="*/ 4 w 150"/>
                <a:gd name="T1" fmla="*/ 0 h 112"/>
                <a:gd name="T2" fmla="*/ 2 w 150"/>
                <a:gd name="T3" fmla="*/ 18 h 112"/>
                <a:gd name="T4" fmla="*/ 73 w 150"/>
                <a:gd name="T5" fmla="*/ 111 h 112"/>
                <a:gd name="T6" fmla="*/ 150 w 150"/>
                <a:gd name="T7" fmla="*/ 22 h 112"/>
                <a:gd name="T8" fmla="*/ 149 w 150"/>
                <a:gd name="T9" fmla="*/ 4 h 112"/>
                <a:gd name="T10" fmla="*/ 4 w 150"/>
                <a:gd name="T11" fmla="*/ 0 h 112"/>
              </a:gdLst>
              <a:ahLst/>
              <a:cxnLst>
                <a:cxn ang="0">
                  <a:pos x="T0" y="T1"/>
                </a:cxn>
                <a:cxn ang="0">
                  <a:pos x="T2" y="T3"/>
                </a:cxn>
                <a:cxn ang="0">
                  <a:pos x="T4" y="T5"/>
                </a:cxn>
                <a:cxn ang="0">
                  <a:pos x="T6" y="T7"/>
                </a:cxn>
                <a:cxn ang="0">
                  <a:pos x="T8" y="T9"/>
                </a:cxn>
                <a:cxn ang="0">
                  <a:pos x="T10" y="T11"/>
                </a:cxn>
              </a:cxnLst>
              <a:rect l="0" t="0" r="r" b="b"/>
              <a:pathLst>
                <a:path w="150" h="112">
                  <a:moveTo>
                    <a:pt x="4" y="0"/>
                  </a:moveTo>
                  <a:cubicBezTo>
                    <a:pt x="3" y="6"/>
                    <a:pt x="2" y="11"/>
                    <a:pt x="2" y="18"/>
                  </a:cubicBezTo>
                  <a:cubicBezTo>
                    <a:pt x="0" y="68"/>
                    <a:pt x="32" y="110"/>
                    <a:pt x="73" y="111"/>
                  </a:cubicBezTo>
                  <a:cubicBezTo>
                    <a:pt x="114" y="112"/>
                    <a:pt x="148" y="73"/>
                    <a:pt x="150" y="22"/>
                  </a:cubicBezTo>
                  <a:cubicBezTo>
                    <a:pt x="150" y="16"/>
                    <a:pt x="150" y="10"/>
                    <a:pt x="149" y="4"/>
                  </a:cubicBezTo>
                  <a:lnTo>
                    <a:pt x="4"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229">
              <a:extLst>
                <a:ext uri="{FF2B5EF4-FFF2-40B4-BE49-F238E27FC236}">
                  <a16:creationId xmlns:a16="http://schemas.microsoft.com/office/drawing/2014/main" id="{5310D2BD-E041-60C6-BACA-BA9E431BA027}"/>
                </a:ext>
              </a:extLst>
            </p:cNvPr>
            <p:cNvSpPr>
              <a:spLocks/>
            </p:cNvSpPr>
            <p:nvPr/>
          </p:nvSpPr>
          <p:spPr bwMode="auto">
            <a:xfrm>
              <a:off x="7392989" y="280988"/>
              <a:ext cx="139700" cy="60325"/>
            </a:xfrm>
            <a:custGeom>
              <a:avLst/>
              <a:gdLst>
                <a:gd name="T0" fmla="*/ 7 w 201"/>
                <a:gd name="T1" fmla="*/ 81 h 87"/>
                <a:gd name="T2" fmla="*/ 194 w 201"/>
                <a:gd name="T3" fmla="*/ 87 h 87"/>
                <a:gd name="T4" fmla="*/ 201 w 201"/>
                <a:gd name="T5" fmla="*/ 83 h 87"/>
                <a:gd name="T6" fmla="*/ 196 w 201"/>
                <a:gd name="T7" fmla="*/ 70 h 87"/>
                <a:gd name="T8" fmla="*/ 162 w 201"/>
                <a:gd name="T9" fmla="*/ 64 h 87"/>
                <a:gd name="T10" fmla="*/ 156 w 201"/>
                <a:gd name="T11" fmla="*/ 59 h 87"/>
                <a:gd name="T12" fmla="*/ 131 w 201"/>
                <a:gd name="T13" fmla="*/ 9 h 87"/>
                <a:gd name="T14" fmla="*/ 115 w 201"/>
                <a:gd name="T15" fmla="*/ 3 h 87"/>
                <a:gd name="T16" fmla="*/ 45 w 201"/>
                <a:gd name="T17" fmla="*/ 0 h 87"/>
                <a:gd name="T18" fmla="*/ 28 w 201"/>
                <a:gd name="T19" fmla="*/ 10 h 87"/>
                <a:gd name="T20" fmla="*/ 1 w 201"/>
                <a:gd name="T21" fmla="*/ 72 h 87"/>
                <a:gd name="T22" fmla="*/ 7 w 201"/>
                <a:gd name="T23"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87">
                  <a:moveTo>
                    <a:pt x="7" y="81"/>
                  </a:moveTo>
                  <a:cubicBezTo>
                    <a:pt x="49" y="82"/>
                    <a:pt x="162" y="86"/>
                    <a:pt x="194" y="87"/>
                  </a:cubicBezTo>
                  <a:cubicBezTo>
                    <a:pt x="198" y="87"/>
                    <a:pt x="200" y="85"/>
                    <a:pt x="201" y="83"/>
                  </a:cubicBezTo>
                  <a:cubicBezTo>
                    <a:pt x="201" y="77"/>
                    <a:pt x="201" y="71"/>
                    <a:pt x="196" y="70"/>
                  </a:cubicBezTo>
                  <a:cubicBezTo>
                    <a:pt x="186" y="69"/>
                    <a:pt x="178" y="66"/>
                    <a:pt x="162" y="64"/>
                  </a:cubicBezTo>
                  <a:cubicBezTo>
                    <a:pt x="157" y="64"/>
                    <a:pt x="156" y="60"/>
                    <a:pt x="156" y="59"/>
                  </a:cubicBezTo>
                  <a:cubicBezTo>
                    <a:pt x="152" y="39"/>
                    <a:pt x="143" y="22"/>
                    <a:pt x="131" y="9"/>
                  </a:cubicBezTo>
                  <a:cubicBezTo>
                    <a:pt x="128" y="7"/>
                    <a:pt x="123" y="3"/>
                    <a:pt x="115" y="3"/>
                  </a:cubicBezTo>
                  <a:cubicBezTo>
                    <a:pt x="100" y="2"/>
                    <a:pt x="58" y="1"/>
                    <a:pt x="45" y="0"/>
                  </a:cubicBezTo>
                  <a:cubicBezTo>
                    <a:pt x="39" y="0"/>
                    <a:pt x="31" y="6"/>
                    <a:pt x="28" y="10"/>
                  </a:cubicBezTo>
                  <a:cubicBezTo>
                    <a:pt x="16" y="28"/>
                    <a:pt x="4" y="54"/>
                    <a:pt x="1" y="72"/>
                  </a:cubicBezTo>
                  <a:cubicBezTo>
                    <a:pt x="0" y="78"/>
                    <a:pt x="5" y="81"/>
                    <a:pt x="7" y="81"/>
                  </a:cubicBez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30">
              <a:extLst>
                <a:ext uri="{FF2B5EF4-FFF2-40B4-BE49-F238E27FC236}">
                  <a16:creationId xmlns:a16="http://schemas.microsoft.com/office/drawing/2014/main" id="{61AA558B-0C0C-6336-8569-1F4E704EDF40}"/>
                </a:ext>
              </a:extLst>
            </p:cNvPr>
            <p:cNvSpPr>
              <a:spLocks/>
            </p:cNvSpPr>
            <p:nvPr/>
          </p:nvSpPr>
          <p:spPr bwMode="auto">
            <a:xfrm>
              <a:off x="7069139" y="550863"/>
              <a:ext cx="195263" cy="192088"/>
            </a:xfrm>
            <a:custGeom>
              <a:avLst/>
              <a:gdLst>
                <a:gd name="T0" fmla="*/ 266 w 282"/>
                <a:gd name="T1" fmla="*/ 0 h 276"/>
                <a:gd name="T2" fmla="*/ 195 w 282"/>
                <a:gd name="T3" fmla="*/ 0 h 276"/>
                <a:gd name="T4" fmla="*/ 195 w 282"/>
                <a:gd name="T5" fmla="*/ 79 h 276"/>
                <a:gd name="T6" fmla="*/ 87 w 282"/>
                <a:gd name="T7" fmla="*/ 79 h 276"/>
                <a:gd name="T8" fmla="*/ 87 w 282"/>
                <a:gd name="T9" fmla="*/ 0 h 276"/>
                <a:gd name="T10" fmla="*/ 15 w 282"/>
                <a:gd name="T11" fmla="*/ 0 h 276"/>
                <a:gd name="T12" fmla="*/ 0 w 282"/>
                <a:gd name="T13" fmla="*/ 16 h 276"/>
                <a:gd name="T14" fmla="*/ 0 w 282"/>
                <a:gd name="T15" fmla="*/ 260 h 276"/>
                <a:gd name="T16" fmla="*/ 15 w 282"/>
                <a:gd name="T17" fmla="*/ 276 h 276"/>
                <a:gd name="T18" fmla="*/ 266 w 282"/>
                <a:gd name="T19" fmla="*/ 276 h 276"/>
                <a:gd name="T20" fmla="*/ 282 w 282"/>
                <a:gd name="T21" fmla="*/ 260 h 276"/>
                <a:gd name="T22" fmla="*/ 282 w 282"/>
                <a:gd name="T23" fmla="*/ 16 h 276"/>
                <a:gd name="T24" fmla="*/ 266 w 282"/>
                <a:gd name="T2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2" h="276">
                  <a:moveTo>
                    <a:pt x="266" y="0"/>
                  </a:moveTo>
                  <a:lnTo>
                    <a:pt x="195" y="0"/>
                  </a:lnTo>
                  <a:lnTo>
                    <a:pt x="195" y="79"/>
                  </a:lnTo>
                  <a:lnTo>
                    <a:pt x="87" y="79"/>
                  </a:lnTo>
                  <a:lnTo>
                    <a:pt x="87" y="0"/>
                  </a:lnTo>
                  <a:lnTo>
                    <a:pt x="15" y="0"/>
                  </a:lnTo>
                  <a:cubicBezTo>
                    <a:pt x="7" y="0"/>
                    <a:pt x="0" y="7"/>
                    <a:pt x="0" y="16"/>
                  </a:cubicBezTo>
                  <a:lnTo>
                    <a:pt x="0" y="260"/>
                  </a:lnTo>
                  <a:cubicBezTo>
                    <a:pt x="0" y="269"/>
                    <a:pt x="7" y="276"/>
                    <a:pt x="15" y="276"/>
                  </a:cubicBezTo>
                  <a:lnTo>
                    <a:pt x="266" y="276"/>
                  </a:lnTo>
                  <a:cubicBezTo>
                    <a:pt x="275" y="276"/>
                    <a:pt x="282" y="269"/>
                    <a:pt x="282" y="260"/>
                  </a:cubicBezTo>
                  <a:lnTo>
                    <a:pt x="282" y="16"/>
                  </a:lnTo>
                  <a:cubicBezTo>
                    <a:pt x="282" y="7"/>
                    <a:pt x="275" y="0"/>
                    <a:pt x="266" y="0"/>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231">
              <a:extLst>
                <a:ext uri="{FF2B5EF4-FFF2-40B4-BE49-F238E27FC236}">
                  <a16:creationId xmlns:a16="http://schemas.microsoft.com/office/drawing/2014/main" id="{027E96CA-159F-625B-B8C9-E713C227F61D}"/>
                </a:ext>
              </a:extLst>
            </p:cNvPr>
            <p:cNvSpPr>
              <a:spLocks noChangeArrowheads="1"/>
            </p:cNvSpPr>
            <p:nvPr/>
          </p:nvSpPr>
          <p:spPr bwMode="auto">
            <a:xfrm>
              <a:off x="7138989" y="550863"/>
              <a:ext cx="57150" cy="46038"/>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232">
              <a:extLst>
                <a:ext uri="{FF2B5EF4-FFF2-40B4-BE49-F238E27FC236}">
                  <a16:creationId xmlns:a16="http://schemas.microsoft.com/office/drawing/2014/main" id="{26BD3D02-8F2C-7F9F-C1A0-5ACC6A24C4E3}"/>
                </a:ext>
              </a:extLst>
            </p:cNvPr>
            <p:cNvSpPr>
              <a:spLocks/>
            </p:cNvSpPr>
            <p:nvPr/>
          </p:nvSpPr>
          <p:spPr bwMode="auto">
            <a:xfrm>
              <a:off x="7540626" y="604838"/>
              <a:ext cx="87313" cy="71438"/>
            </a:xfrm>
            <a:custGeom>
              <a:avLst/>
              <a:gdLst>
                <a:gd name="T0" fmla="*/ 18 w 125"/>
                <a:gd name="T1" fmla="*/ 40 h 103"/>
                <a:gd name="T2" fmla="*/ 66 w 125"/>
                <a:gd name="T3" fmla="*/ 36 h 103"/>
                <a:gd name="T4" fmla="*/ 79 w 125"/>
                <a:gd name="T5" fmla="*/ 36 h 103"/>
                <a:gd name="T6" fmla="*/ 80 w 125"/>
                <a:gd name="T7" fmla="*/ 30 h 103"/>
                <a:gd name="T8" fmla="*/ 68 w 125"/>
                <a:gd name="T9" fmla="*/ 59 h 103"/>
                <a:gd name="T10" fmla="*/ 50 w 125"/>
                <a:gd name="T11" fmla="*/ 87 h 103"/>
                <a:gd name="T12" fmla="*/ 55 w 125"/>
                <a:gd name="T13" fmla="*/ 103 h 103"/>
                <a:gd name="T14" fmla="*/ 76 w 125"/>
                <a:gd name="T15" fmla="*/ 97 h 103"/>
                <a:gd name="T16" fmla="*/ 71 w 125"/>
                <a:gd name="T17" fmla="*/ 79 h 103"/>
                <a:gd name="T18" fmla="*/ 112 w 125"/>
                <a:gd name="T19" fmla="*/ 29 h 103"/>
                <a:gd name="T20" fmla="*/ 78 w 125"/>
                <a:gd name="T21" fmla="*/ 13 h 103"/>
                <a:gd name="T22" fmla="*/ 75 w 125"/>
                <a:gd name="T23" fmla="*/ 7 h 103"/>
                <a:gd name="T24" fmla="*/ 61 w 125"/>
                <a:gd name="T25" fmla="*/ 9 h 103"/>
                <a:gd name="T26" fmla="*/ 15 w 125"/>
                <a:gd name="T27" fmla="*/ 14 h 103"/>
                <a:gd name="T28" fmla="*/ 2 w 125"/>
                <a:gd name="T29" fmla="*/ 15 h 103"/>
                <a:gd name="T30" fmla="*/ 4 w 125"/>
                <a:gd name="T31" fmla="*/ 41 h 103"/>
                <a:gd name="T32" fmla="*/ 18 w 125"/>
                <a:gd name="T33" fmla="*/ 4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03">
                  <a:moveTo>
                    <a:pt x="18" y="40"/>
                  </a:moveTo>
                  <a:cubicBezTo>
                    <a:pt x="32" y="44"/>
                    <a:pt x="58" y="39"/>
                    <a:pt x="66" y="36"/>
                  </a:cubicBezTo>
                  <a:cubicBezTo>
                    <a:pt x="67" y="43"/>
                    <a:pt x="76" y="44"/>
                    <a:pt x="79" y="36"/>
                  </a:cubicBezTo>
                  <a:cubicBezTo>
                    <a:pt x="80" y="34"/>
                    <a:pt x="80" y="32"/>
                    <a:pt x="80" y="30"/>
                  </a:cubicBezTo>
                  <a:cubicBezTo>
                    <a:pt x="103" y="31"/>
                    <a:pt x="96" y="52"/>
                    <a:pt x="68" y="59"/>
                  </a:cubicBezTo>
                  <a:cubicBezTo>
                    <a:pt x="50" y="63"/>
                    <a:pt x="47" y="75"/>
                    <a:pt x="50" y="87"/>
                  </a:cubicBezTo>
                  <a:cubicBezTo>
                    <a:pt x="53" y="95"/>
                    <a:pt x="53" y="98"/>
                    <a:pt x="55" y="103"/>
                  </a:cubicBezTo>
                  <a:lnTo>
                    <a:pt x="76" y="97"/>
                  </a:lnTo>
                  <a:cubicBezTo>
                    <a:pt x="75" y="91"/>
                    <a:pt x="73" y="87"/>
                    <a:pt x="71" y="79"/>
                  </a:cubicBezTo>
                  <a:cubicBezTo>
                    <a:pt x="97" y="70"/>
                    <a:pt x="125" y="53"/>
                    <a:pt x="112" y="29"/>
                  </a:cubicBezTo>
                  <a:cubicBezTo>
                    <a:pt x="104" y="14"/>
                    <a:pt x="92" y="12"/>
                    <a:pt x="78" y="13"/>
                  </a:cubicBezTo>
                  <a:cubicBezTo>
                    <a:pt x="78" y="11"/>
                    <a:pt x="77" y="9"/>
                    <a:pt x="75" y="7"/>
                  </a:cubicBezTo>
                  <a:cubicBezTo>
                    <a:pt x="70" y="0"/>
                    <a:pt x="62" y="2"/>
                    <a:pt x="61" y="9"/>
                  </a:cubicBezTo>
                  <a:cubicBezTo>
                    <a:pt x="53" y="8"/>
                    <a:pt x="30" y="8"/>
                    <a:pt x="15" y="14"/>
                  </a:cubicBezTo>
                  <a:cubicBezTo>
                    <a:pt x="11" y="5"/>
                    <a:pt x="4" y="8"/>
                    <a:pt x="2" y="15"/>
                  </a:cubicBezTo>
                  <a:cubicBezTo>
                    <a:pt x="0" y="23"/>
                    <a:pt x="2" y="36"/>
                    <a:pt x="4" y="41"/>
                  </a:cubicBezTo>
                  <a:cubicBezTo>
                    <a:pt x="8" y="50"/>
                    <a:pt x="15" y="50"/>
                    <a:pt x="18" y="40"/>
                  </a:cubicBez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33">
              <a:extLst>
                <a:ext uri="{FF2B5EF4-FFF2-40B4-BE49-F238E27FC236}">
                  <a16:creationId xmlns:a16="http://schemas.microsoft.com/office/drawing/2014/main" id="{C001C012-1AE2-F794-4755-3F7C7D2CD9BF}"/>
                </a:ext>
              </a:extLst>
            </p:cNvPr>
            <p:cNvSpPr>
              <a:spLocks noEditPoints="1"/>
            </p:cNvSpPr>
            <p:nvPr/>
          </p:nvSpPr>
          <p:spPr bwMode="auto">
            <a:xfrm>
              <a:off x="7512051" y="733426"/>
              <a:ext cx="347663" cy="349250"/>
            </a:xfrm>
            <a:custGeom>
              <a:avLst/>
              <a:gdLst>
                <a:gd name="T0" fmla="*/ 309 w 502"/>
                <a:gd name="T1" fmla="*/ 414 h 502"/>
                <a:gd name="T2" fmla="*/ 88 w 502"/>
                <a:gd name="T3" fmla="*/ 193 h 502"/>
                <a:gd name="T4" fmla="*/ 193 w 502"/>
                <a:gd name="T5" fmla="*/ 88 h 502"/>
                <a:gd name="T6" fmla="*/ 414 w 502"/>
                <a:gd name="T7" fmla="*/ 309 h 502"/>
                <a:gd name="T8" fmla="*/ 309 w 502"/>
                <a:gd name="T9" fmla="*/ 414 h 502"/>
                <a:gd name="T10" fmla="*/ 312 w 502"/>
                <a:gd name="T11" fmla="*/ 45 h 502"/>
                <a:gd name="T12" fmla="*/ 45 w 502"/>
                <a:gd name="T13" fmla="*/ 312 h 502"/>
                <a:gd name="T14" fmla="*/ 190 w 502"/>
                <a:gd name="T15" fmla="*/ 457 h 502"/>
                <a:gd name="T16" fmla="*/ 457 w 502"/>
                <a:gd name="T17" fmla="*/ 190 h 502"/>
                <a:gd name="T18" fmla="*/ 312 w 502"/>
                <a:gd name="T19" fmla="*/ 4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2" h="502">
                  <a:moveTo>
                    <a:pt x="309" y="414"/>
                  </a:moveTo>
                  <a:cubicBezTo>
                    <a:pt x="169" y="459"/>
                    <a:pt x="43" y="333"/>
                    <a:pt x="88" y="193"/>
                  </a:cubicBezTo>
                  <a:cubicBezTo>
                    <a:pt x="104" y="144"/>
                    <a:pt x="144" y="104"/>
                    <a:pt x="193" y="88"/>
                  </a:cubicBezTo>
                  <a:cubicBezTo>
                    <a:pt x="333" y="43"/>
                    <a:pt x="460" y="170"/>
                    <a:pt x="414" y="309"/>
                  </a:cubicBezTo>
                  <a:cubicBezTo>
                    <a:pt x="398" y="359"/>
                    <a:pt x="358" y="398"/>
                    <a:pt x="309" y="414"/>
                  </a:cubicBezTo>
                  <a:close/>
                  <a:moveTo>
                    <a:pt x="312" y="45"/>
                  </a:moveTo>
                  <a:cubicBezTo>
                    <a:pt x="147" y="0"/>
                    <a:pt x="0" y="147"/>
                    <a:pt x="45" y="312"/>
                  </a:cubicBezTo>
                  <a:cubicBezTo>
                    <a:pt x="65" y="382"/>
                    <a:pt x="120" y="437"/>
                    <a:pt x="190" y="457"/>
                  </a:cubicBezTo>
                  <a:cubicBezTo>
                    <a:pt x="355" y="502"/>
                    <a:pt x="502" y="355"/>
                    <a:pt x="457" y="190"/>
                  </a:cubicBezTo>
                  <a:cubicBezTo>
                    <a:pt x="437" y="120"/>
                    <a:pt x="382" y="65"/>
                    <a:pt x="312" y="45"/>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34">
              <a:extLst>
                <a:ext uri="{FF2B5EF4-FFF2-40B4-BE49-F238E27FC236}">
                  <a16:creationId xmlns:a16="http://schemas.microsoft.com/office/drawing/2014/main" id="{82CFA3FE-2C1A-0610-05B1-ED7E47CAD78D}"/>
                </a:ext>
              </a:extLst>
            </p:cNvPr>
            <p:cNvSpPr>
              <a:spLocks/>
            </p:cNvSpPr>
            <p:nvPr/>
          </p:nvSpPr>
          <p:spPr bwMode="auto">
            <a:xfrm>
              <a:off x="7666039" y="890588"/>
              <a:ext cx="36513" cy="36513"/>
            </a:xfrm>
            <a:custGeom>
              <a:avLst/>
              <a:gdLst>
                <a:gd name="T0" fmla="*/ 32 w 53"/>
                <a:gd name="T1" fmla="*/ 3 h 53"/>
                <a:gd name="T2" fmla="*/ 4 w 53"/>
                <a:gd name="T3" fmla="*/ 31 h 53"/>
                <a:gd name="T4" fmla="*/ 22 w 53"/>
                <a:gd name="T5" fmla="*/ 49 h 53"/>
                <a:gd name="T6" fmla="*/ 50 w 53"/>
                <a:gd name="T7" fmla="*/ 21 h 53"/>
                <a:gd name="T8" fmla="*/ 32 w 53"/>
                <a:gd name="T9" fmla="*/ 3 h 53"/>
              </a:gdLst>
              <a:ahLst/>
              <a:cxnLst>
                <a:cxn ang="0">
                  <a:pos x="T0" y="T1"/>
                </a:cxn>
                <a:cxn ang="0">
                  <a:pos x="T2" y="T3"/>
                </a:cxn>
                <a:cxn ang="0">
                  <a:pos x="T4" y="T5"/>
                </a:cxn>
                <a:cxn ang="0">
                  <a:pos x="T6" y="T7"/>
                </a:cxn>
                <a:cxn ang="0">
                  <a:pos x="T8" y="T9"/>
                </a:cxn>
              </a:cxnLst>
              <a:rect l="0" t="0" r="r" b="b"/>
              <a:pathLst>
                <a:path w="53" h="53">
                  <a:moveTo>
                    <a:pt x="32" y="3"/>
                  </a:moveTo>
                  <a:cubicBezTo>
                    <a:pt x="15" y="0"/>
                    <a:pt x="0" y="14"/>
                    <a:pt x="4" y="31"/>
                  </a:cubicBezTo>
                  <a:cubicBezTo>
                    <a:pt x="5" y="40"/>
                    <a:pt x="13" y="48"/>
                    <a:pt x="22" y="49"/>
                  </a:cubicBezTo>
                  <a:cubicBezTo>
                    <a:pt x="39" y="53"/>
                    <a:pt x="53" y="38"/>
                    <a:pt x="50" y="21"/>
                  </a:cubicBezTo>
                  <a:cubicBezTo>
                    <a:pt x="49" y="12"/>
                    <a:pt x="41" y="5"/>
                    <a:pt x="32" y="3"/>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35">
              <a:extLst>
                <a:ext uri="{FF2B5EF4-FFF2-40B4-BE49-F238E27FC236}">
                  <a16:creationId xmlns:a16="http://schemas.microsoft.com/office/drawing/2014/main" id="{C7C61B75-1353-C0AE-DEE6-002952F5C6B5}"/>
                </a:ext>
              </a:extLst>
            </p:cNvPr>
            <p:cNvSpPr>
              <a:spLocks noEditPoints="1"/>
            </p:cNvSpPr>
            <p:nvPr/>
          </p:nvSpPr>
          <p:spPr bwMode="auto">
            <a:xfrm>
              <a:off x="7170739" y="793751"/>
              <a:ext cx="174625" cy="147638"/>
            </a:xfrm>
            <a:custGeom>
              <a:avLst/>
              <a:gdLst>
                <a:gd name="T0" fmla="*/ 59 w 252"/>
                <a:gd name="T1" fmla="*/ 187 h 215"/>
                <a:gd name="T2" fmla="*/ 34 w 252"/>
                <a:gd name="T3" fmla="*/ 161 h 215"/>
                <a:gd name="T4" fmla="*/ 49 w 252"/>
                <a:gd name="T5" fmla="*/ 146 h 215"/>
                <a:gd name="T6" fmla="*/ 75 w 252"/>
                <a:gd name="T7" fmla="*/ 171 h 215"/>
                <a:gd name="T8" fmla="*/ 59 w 252"/>
                <a:gd name="T9" fmla="*/ 187 h 215"/>
                <a:gd name="T10" fmla="*/ 103 w 252"/>
                <a:gd name="T11" fmla="*/ 164 h 215"/>
                <a:gd name="T12" fmla="*/ 94 w 252"/>
                <a:gd name="T13" fmla="*/ 138 h 215"/>
                <a:gd name="T14" fmla="*/ 196 w 252"/>
                <a:gd name="T15" fmla="*/ 25 h 215"/>
                <a:gd name="T16" fmla="*/ 188 w 252"/>
                <a:gd name="T17" fmla="*/ 0 h 215"/>
                <a:gd name="T18" fmla="*/ 76 w 252"/>
                <a:gd name="T19" fmla="*/ 123 h 215"/>
                <a:gd name="T20" fmla="*/ 44 w 252"/>
                <a:gd name="T21" fmla="*/ 118 h 215"/>
                <a:gd name="T22" fmla="*/ 6 w 252"/>
                <a:gd name="T23" fmla="*/ 156 h 215"/>
                <a:gd name="T24" fmla="*/ 54 w 252"/>
                <a:gd name="T25" fmla="*/ 215 h 215"/>
                <a:gd name="T26" fmla="*/ 99 w 252"/>
                <a:gd name="T27" fmla="*/ 185 h 215"/>
                <a:gd name="T28" fmla="*/ 252 w 252"/>
                <a:gd name="T29" fmla="*/ 200 h 215"/>
                <a:gd name="T30" fmla="*/ 245 w 252"/>
                <a:gd name="T31" fmla="*/ 178 h 215"/>
                <a:gd name="T32" fmla="*/ 103 w 252"/>
                <a:gd name="T33" fmla="*/ 16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2" h="215">
                  <a:moveTo>
                    <a:pt x="59" y="187"/>
                  </a:moveTo>
                  <a:cubicBezTo>
                    <a:pt x="44" y="190"/>
                    <a:pt x="30" y="177"/>
                    <a:pt x="34" y="161"/>
                  </a:cubicBezTo>
                  <a:cubicBezTo>
                    <a:pt x="35" y="153"/>
                    <a:pt x="41" y="147"/>
                    <a:pt x="49" y="146"/>
                  </a:cubicBezTo>
                  <a:cubicBezTo>
                    <a:pt x="65" y="142"/>
                    <a:pt x="78" y="156"/>
                    <a:pt x="75" y="171"/>
                  </a:cubicBezTo>
                  <a:cubicBezTo>
                    <a:pt x="73" y="179"/>
                    <a:pt x="67" y="185"/>
                    <a:pt x="59" y="187"/>
                  </a:cubicBezTo>
                  <a:close/>
                  <a:moveTo>
                    <a:pt x="103" y="164"/>
                  </a:moveTo>
                  <a:cubicBezTo>
                    <a:pt x="103" y="154"/>
                    <a:pt x="99" y="145"/>
                    <a:pt x="94" y="138"/>
                  </a:cubicBezTo>
                  <a:lnTo>
                    <a:pt x="196" y="25"/>
                  </a:lnTo>
                  <a:lnTo>
                    <a:pt x="188" y="0"/>
                  </a:lnTo>
                  <a:lnTo>
                    <a:pt x="76" y="123"/>
                  </a:lnTo>
                  <a:cubicBezTo>
                    <a:pt x="67" y="118"/>
                    <a:pt x="56" y="116"/>
                    <a:pt x="44" y="118"/>
                  </a:cubicBezTo>
                  <a:cubicBezTo>
                    <a:pt x="25" y="122"/>
                    <a:pt x="10" y="137"/>
                    <a:pt x="6" y="156"/>
                  </a:cubicBezTo>
                  <a:cubicBezTo>
                    <a:pt x="0" y="187"/>
                    <a:pt x="24" y="215"/>
                    <a:pt x="54" y="215"/>
                  </a:cubicBezTo>
                  <a:cubicBezTo>
                    <a:pt x="74" y="215"/>
                    <a:pt x="92" y="203"/>
                    <a:pt x="99" y="185"/>
                  </a:cubicBezTo>
                  <a:lnTo>
                    <a:pt x="252" y="200"/>
                  </a:lnTo>
                  <a:lnTo>
                    <a:pt x="245" y="178"/>
                  </a:lnTo>
                  <a:lnTo>
                    <a:pt x="103" y="164"/>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36">
              <a:extLst>
                <a:ext uri="{FF2B5EF4-FFF2-40B4-BE49-F238E27FC236}">
                  <a16:creationId xmlns:a16="http://schemas.microsoft.com/office/drawing/2014/main" id="{0055E51F-BBE5-B4CB-B40D-82876E488584}"/>
                </a:ext>
              </a:extLst>
            </p:cNvPr>
            <p:cNvSpPr>
              <a:spLocks/>
            </p:cNvSpPr>
            <p:nvPr/>
          </p:nvSpPr>
          <p:spPr bwMode="auto">
            <a:xfrm>
              <a:off x="7408864" y="685801"/>
              <a:ext cx="282575" cy="306388"/>
            </a:xfrm>
            <a:custGeom>
              <a:avLst/>
              <a:gdLst>
                <a:gd name="T0" fmla="*/ 394 w 407"/>
                <a:gd name="T1" fmla="*/ 55 h 442"/>
                <a:gd name="T2" fmla="*/ 306 w 407"/>
                <a:gd name="T3" fmla="*/ 70 h 442"/>
                <a:gd name="T4" fmla="*/ 284 w 407"/>
                <a:gd name="T5" fmla="*/ 0 h 442"/>
                <a:gd name="T6" fmla="*/ 242 w 407"/>
                <a:gd name="T7" fmla="*/ 13 h 442"/>
                <a:gd name="T8" fmla="*/ 247 w 407"/>
                <a:gd name="T9" fmla="*/ 28 h 442"/>
                <a:gd name="T10" fmla="*/ 0 w 407"/>
                <a:gd name="T11" fmla="*/ 67 h 442"/>
                <a:gd name="T12" fmla="*/ 3 w 407"/>
                <a:gd name="T13" fmla="*/ 102 h 442"/>
                <a:gd name="T14" fmla="*/ 220 w 407"/>
                <a:gd name="T15" fmla="*/ 68 h 442"/>
                <a:gd name="T16" fmla="*/ 41 w 407"/>
                <a:gd name="T17" fmla="*/ 285 h 442"/>
                <a:gd name="T18" fmla="*/ 19 w 407"/>
                <a:gd name="T19" fmla="*/ 282 h 442"/>
                <a:gd name="T20" fmla="*/ 21 w 407"/>
                <a:gd name="T21" fmla="*/ 309 h 442"/>
                <a:gd name="T22" fmla="*/ 75 w 407"/>
                <a:gd name="T23" fmla="*/ 373 h 442"/>
                <a:gd name="T24" fmla="*/ 29 w 407"/>
                <a:gd name="T25" fmla="*/ 419 h 442"/>
                <a:gd name="T26" fmla="*/ 30 w 407"/>
                <a:gd name="T27" fmla="*/ 435 h 442"/>
                <a:gd name="T28" fmla="*/ 46 w 407"/>
                <a:gd name="T29" fmla="*/ 442 h 442"/>
                <a:gd name="T30" fmla="*/ 102 w 407"/>
                <a:gd name="T31" fmla="*/ 364 h 442"/>
                <a:gd name="T32" fmla="*/ 73 w 407"/>
                <a:gd name="T33" fmla="*/ 302 h 442"/>
                <a:gd name="T34" fmla="*/ 261 w 407"/>
                <a:gd name="T35" fmla="*/ 72 h 442"/>
                <a:gd name="T36" fmla="*/ 268 w 407"/>
                <a:gd name="T37" fmla="*/ 96 h 442"/>
                <a:gd name="T38" fmla="*/ 285 w 407"/>
                <a:gd name="T39" fmla="*/ 103 h 442"/>
                <a:gd name="T40" fmla="*/ 395 w 407"/>
                <a:gd name="T41" fmla="*/ 76 h 442"/>
                <a:gd name="T42" fmla="*/ 394 w 407"/>
                <a:gd name="T43" fmla="*/ 5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7" h="442">
                  <a:moveTo>
                    <a:pt x="394" y="55"/>
                  </a:moveTo>
                  <a:cubicBezTo>
                    <a:pt x="363" y="55"/>
                    <a:pt x="333" y="60"/>
                    <a:pt x="306" y="70"/>
                  </a:cubicBezTo>
                  <a:lnTo>
                    <a:pt x="284" y="0"/>
                  </a:lnTo>
                  <a:lnTo>
                    <a:pt x="242" y="13"/>
                  </a:lnTo>
                  <a:lnTo>
                    <a:pt x="247" y="28"/>
                  </a:lnTo>
                  <a:lnTo>
                    <a:pt x="0" y="67"/>
                  </a:lnTo>
                  <a:lnTo>
                    <a:pt x="3" y="102"/>
                  </a:lnTo>
                  <a:lnTo>
                    <a:pt x="220" y="68"/>
                  </a:lnTo>
                  <a:lnTo>
                    <a:pt x="41" y="285"/>
                  </a:lnTo>
                  <a:cubicBezTo>
                    <a:pt x="35" y="283"/>
                    <a:pt x="27" y="282"/>
                    <a:pt x="19" y="282"/>
                  </a:cubicBezTo>
                  <a:lnTo>
                    <a:pt x="21" y="309"/>
                  </a:lnTo>
                  <a:cubicBezTo>
                    <a:pt x="54" y="309"/>
                    <a:pt x="80" y="339"/>
                    <a:pt x="75" y="373"/>
                  </a:cubicBezTo>
                  <a:cubicBezTo>
                    <a:pt x="71" y="396"/>
                    <a:pt x="52" y="415"/>
                    <a:pt x="29" y="419"/>
                  </a:cubicBezTo>
                  <a:cubicBezTo>
                    <a:pt x="29" y="419"/>
                    <a:pt x="30" y="429"/>
                    <a:pt x="30" y="435"/>
                  </a:cubicBezTo>
                  <a:cubicBezTo>
                    <a:pt x="35" y="439"/>
                    <a:pt x="41" y="441"/>
                    <a:pt x="46" y="442"/>
                  </a:cubicBezTo>
                  <a:cubicBezTo>
                    <a:pt x="78" y="431"/>
                    <a:pt x="102" y="400"/>
                    <a:pt x="102" y="364"/>
                  </a:cubicBezTo>
                  <a:cubicBezTo>
                    <a:pt x="102" y="339"/>
                    <a:pt x="91" y="317"/>
                    <a:pt x="73" y="302"/>
                  </a:cubicBezTo>
                  <a:lnTo>
                    <a:pt x="261" y="72"/>
                  </a:lnTo>
                  <a:cubicBezTo>
                    <a:pt x="262" y="76"/>
                    <a:pt x="266" y="89"/>
                    <a:pt x="268" y="96"/>
                  </a:cubicBezTo>
                  <a:cubicBezTo>
                    <a:pt x="270" y="102"/>
                    <a:pt x="279" y="106"/>
                    <a:pt x="285" y="103"/>
                  </a:cubicBezTo>
                  <a:cubicBezTo>
                    <a:pt x="318" y="86"/>
                    <a:pt x="355" y="76"/>
                    <a:pt x="395" y="76"/>
                  </a:cubicBezTo>
                  <a:cubicBezTo>
                    <a:pt x="407" y="76"/>
                    <a:pt x="407" y="55"/>
                    <a:pt x="394" y="55"/>
                  </a:cubicBez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237">
              <a:extLst>
                <a:ext uri="{FF2B5EF4-FFF2-40B4-BE49-F238E27FC236}">
                  <a16:creationId xmlns:a16="http://schemas.microsoft.com/office/drawing/2014/main" id="{703FCBB9-EF12-C3D4-E894-C6D5A3FF2756}"/>
                </a:ext>
              </a:extLst>
            </p:cNvPr>
            <p:cNvSpPr>
              <a:spLocks/>
            </p:cNvSpPr>
            <p:nvPr/>
          </p:nvSpPr>
          <p:spPr bwMode="auto">
            <a:xfrm>
              <a:off x="7424739" y="923926"/>
              <a:ext cx="15875" cy="28575"/>
            </a:xfrm>
            <a:custGeom>
              <a:avLst/>
              <a:gdLst>
                <a:gd name="T0" fmla="*/ 20 w 23"/>
                <a:gd name="T1" fmla="*/ 16 h 42"/>
                <a:gd name="T2" fmla="*/ 4 w 23"/>
                <a:gd name="T3" fmla="*/ 1 h 42"/>
                <a:gd name="T4" fmla="*/ 0 w 23"/>
                <a:gd name="T5" fmla="*/ 0 h 42"/>
                <a:gd name="T6" fmla="*/ 3 w 23"/>
                <a:gd name="T7" fmla="*/ 42 h 42"/>
                <a:gd name="T8" fmla="*/ 20 w 23"/>
                <a:gd name="T9" fmla="*/ 16 h 42"/>
              </a:gdLst>
              <a:ahLst/>
              <a:cxnLst>
                <a:cxn ang="0">
                  <a:pos x="T0" y="T1"/>
                </a:cxn>
                <a:cxn ang="0">
                  <a:pos x="T2" y="T3"/>
                </a:cxn>
                <a:cxn ang="0">
                  <a:pos x="T4" y="T5"/>
                </a:cxn>
                <a:cxn ang="0">
                  <a:pos x="T6" y="T7"/>
                </a:cxn>
                <a:cxn ang="0">
                  <a:pos x="T8" y="T9"/>
                </a:cxn>
              </a:cxnLst>
              <a:rect l="0" t="0" r="r" b="b"/>
              <a:pathLst>
                <a:path w="23" h="42">
                  <a:moveTo>
                    <a:pt x="20" y="16"/>
                  </a:moveTo>
                  <a:cubicBezTo>
                    <a:pt x="18" y="8"/>
                    <a:pt x="12" y="2"/>
                    <a:pt x="4" y="1"/>
                  </a:cubicBezTo>
                  <a:cubicBezTo>
                    <a:pt x="3" y="0"/>
                    <a:pt x="2" y="0"/>
                    <a:pt x="0" y="0"/>
                  </a:cubicBezTo>
                  <a:cubicBezTo>
                    <a:pt x="0" y="14"/>
                    <a:pt x="1" y="28"/>
                    <a:pt x="3" y="42"/>
                  </a:cubicBezTo>
                  <a:cubicBezTo>
                    <a:pt x="14" y="40"/>
                    <a:pt x="23" y="29"/>
                    <a:pt x="20" y="16"/>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238">
              <a:extLst>
                <a:ext uri="{FF2B5EF4-FFF2-40B4-BE49-F238E27FC236}">
                  <a16:creationId xmlns:a16="http://schemas.microsoft.com/office/drawing/2014/main" id="{6DAE76A7-6CED-3B7A-FDF1-169A0B940DAE}"/>
                </a:ext>
              </a:extLst>
            </p:cNvPr>
            <p:cNvSpPr>
              <a:spLocks/>
            </p:cNvSpPr>
            <p:nvPr/>
          </p:nvSpPr>
          <p:spPr bwMode="auto">
            <a:xfrm>
              <a:off x="7051676" y="755651"/>
              <a:ext cx="296863" cy="300038"/>
            </a:xfrm>
            <a:custGeom>
              <a:avLst/>
              <a:gdLst>
                <a:gd name="T0" fmla="*/ 227 w 430"/>
                <a:gd name="T1" fmla="*/ 392 h 433"/>
                <a:gd name="T2" fmla="*/ 54 w 430"/>
                <a:gd name="T3" fmla="*/ 221 h 433"/>
                <a:gd name="T4" fmla="*/ 221 w 430"/>
                <a:gd name="T5" fmla="*/ 47 h 433"/>
                <a:gd name="T6" fmla="*/ 309 w 430"/>
                <a:gd name="T7" fmla="*/ 67 h 433"/>
                <a:gd name="T8" fmla="*/ 334 w 430"/>
                <a:gd name="T9" fmla="*/ 34 h 433"/>
                <a:gd name="T10" fmla="*/ 199 w 430"/>
                <a:gd name="T11" fmla="*/ 7 h 433"/>
                <a:gd name="T12" fmla="*/ 14 w 430"/>
                <a:gd name="T13" fmla="*/ 195 h 433"/>
                <a:gd name="T14" fmla="*/ 227 w 430"/>
                <a:gd name="T15" fmla="*/ 433 h 433"/>
                <a:gd name="T16" fmla="*/ 430 w 430"/>
                <a:gd name="T17" fmla="*/ 287 h 433"/>
                <a:gd name="T18" fmla="*/ 387 w 430"/>
                <a:gd name="T19" fmla="*/ 282 h 433"/>
                <a:gd name="T20" fmla="*/ 227 w 430"/>
                <a:gd name="T21" fmla="*/ 39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0" h="433">
                  <a:moveTo>
                    <a:pt x="227" y="392"/>
                  </a:moveTo>
                  <a:cubicBezTo>
                    <a:pt x="132" y="392"/>
                    <a:pt x="55" y="315"/>
                    <a:pt x="54" y="221"/>
                  </a:cubicBezTo>
                  <a:cubicBezTo>
                    <a:pt x="53" y="131"/>
                    <a:pt x="131" y="50"/>
                    <a:pt x="221" y="47"/>
                  </a:cubicBezTo>
                  <a:cubicBezTo>
                    <a:pt x="253" y="46"/>
                    <a:pt x="283" y="53"/>
                    <a:pt x="309" y="67"/>
                  </a:cubicBezTo>
                  <a:cubicBezTo>
                    <a:pt x="317" y="56"/>
                    <a:pt x="325" y="45"/>
                    <a:pt x="334" y="34"/>
                  </a:cubicBezTo>
                  <a:cubicBezTo>
                    <a:pt x="295" y="11"/>
                    <a:pt x="248" y="0"/>
                    <a:pt x="199" y="7"/>
                  </a:cubicBezTo>
                  <a:cubicBezTo>
                    <a:pt x="102" y="19"/>
                    <a:pt x="25" y="98"/>
                    <a:pt x="14" y="195"/>
                  </a:cubicBezTo>
                  <a:cubicBezTo>
                    <a:pt x="0" y="324"/>
                    <a:pt x="101" y="433"/>
                    <a:pt x="227" y="433"/>
                  </a:cubicBezTo>
                  <a:cubicBezTo>
                    <a:pt x="321" y="433"/>
                    <a:pt x="401" y="372"/>
                    <a:pt x="430" y="287"/>
                  </a:cubicBezTo>
                  <a:lnTo>
                    <a:pt x="387" y="282"/>
                  </a:lnTo>
                  <a:cubicBezTo>
                    <a:pt x="362" y="346"/>
                    <a:pt x="300" y="392"/>
                    <a:pt x="227" y="392"/>
                  </a:cubicBez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5" name="Car4" descr="{&quot;Key&quot;:&quot;POWER_USER_SHAPE_ICON&quot;,&quot;Value&quot;:&quot;POWER_USER_SHAPE_ICON_STYLE_1&quot;}">
            <a:extLst>
              <a:ext uri="{FF2B5EF4-FFF2-40B4-BE49-F238E27FC236}">
                <a16:creationId xmlns:a16="http://schemas.microsoft.com/office/drawing/2014/main" id="{F5F0EB05-E397-EFB7-C2DA-40C3AE0DC684}"/>
              </a:ext>
            </a:extLst>
          </p:cNvPr>
          <p:cNvGrpSpPr>
            <a:grpSpLocks noChangeAspect="1"/>
          </p:cNvGrpSpPr>
          <p:nvPr>
            <p:custDataLst>
              <p:tags r:id="rId4"/>
            </p:custDataLst>
          </p:nvPr>
        </p:nvGrpSpPr>
        <p:grpSpPr bwMode="auto">
          <a:xfrm>
            <a:off x="618119" y="4140923"/>
            <a:ext cx="773458" cy="299186"/>
            <a:chOff x="8" y="7"/>
            <a:chExt cx="1153" cy="446"/>
          </a:xfrm>
          <a:noFill/>
        </p:grpSpPr>
        <p:sp>
          <p:nvSpPr>
            <p:cNvPr id="66" name="Car4">
              <a:extLst>
                <a:ext uri="{FF2B5EF4-FFF2-40B4-BE49-F238E27FC236}">
                  <a16:creationId xmlns:a16="http://schemas.microsoft.com/office/drawing/2014/main" id="{BA522E7E-5C6E-5ABE-E074-6C82ED6DE9F0}"/>
                </a:ext>
              </a:extLst>
            </p:cNvPr>
            <p:cNvSpPr>
              <a:spLocks noEditPoints="1"/>
            </p:cNvSpPr>
            <p:nvPr>
              <p:custDataLst>
                <p:tags r:id="rId5"/>
              </p:custDataLst>
            </p:nvPr>
          </p:nvSpPr>
          <p:spPr bwMode="auto">
            <a:xfrm>
              <a:off x="8" y="7"/>
              <a:ext cx="1153" cy="355"/>
            </a:xfrm>
            <a:custGeom>
              <a:avLst/>
              <a:gdLst>
                <a:gd name="T0" fmla="*/ 1249 w 1250"/>
                <a:gd name="T1" fmla="*/ 200 h 384"/>
                <a:gd name="T2" fmla="*/ 1245 w 1250"/>
                <a:gd name="T3" fmla="*/ 187 h 384"/>
                <a:gd name="T4" fmla="*/ 1010 w 1250"/>
                <a:gd name="T5" fmla="*/ 1 h 384"/>
                <a:gd name="T6" fmla="*/ 538 w 1250"/>
                <a:gd name="T7" fmla="*/ 1 h 384"/>
                <a:gd name="T8" fmla="*/ 516 w 1250"/>
                <a:gd name="T9" fmla="*/ 12 h 384"/>
                <a:gd name="T10" fmla="*/ 358 w 1250"/>
                <a:gd name="T11" fmla="*/ 170 h 384"/>
                <a:gd name="T12" fmla="*/ 13 w 1250"/>
                <a:gd name="T13" fmla="*/ 227 h 384"/>
                <a:gd name="T14" fmla="*/ 0 w 1250"/>
                <a:gd name="T15" fmla="*/ 246 h 384"/>
                <a:gd name="T16" fmla="*/ 1 w 1250"/>
                <a:gd name="T17" fmla="*/ 365 h 384"/>
                <a:gd name="T18" fmla="*/ 19 w 1250"/>
                <a:gd name="T19" fmla="*/ 384 h 384"/>
                <a:gd name="T20" fmla="*/ 85 w 1250"/>
                <a:gd name="T21" fmla="*/ 384 h 384"/>
                <a:gd name="T22" fmla="*/ 326 w 1250"/>
                <a:gd name="T23" fmla="*/ 384 h 384"/>
                <a:gd name="T24" fmla="*/ 938 w 1250"/>
                <a:gd name="T25" fmla="*/ 384 h 384"/>
                <a:gd name="T26" fmla="*/ 1177 w 1250"/>
                <a:gd name="T27" fmla="*/ 384 h 384"/>
                <a:gd name="T28" fmla="*/ 1231 w 1250"/>
                <a:gd name="T29" fmla="*/ 384 h 384"/>
                <a:gd name="T30" fmla="*/ 1250 w 1250"/>
                <a:gd name="T31" fmla="*/ 365 h 384"/>
                <a:gd name="T32" fmla="*/ 1249 w 1250"/>
                <a:gd name="T33" fmla="*/ 200 h 384"/>
                <a:gd name="T34" fmla="*/ 743 w 1250"/>
                <a:gd name="T35" fmla="*/ 193 h 384"/>
                <a:gd name="T36" fmla="*/ 416 w 1250"/>
                <a:gd name="T37" fmla="*/ 193 h 384"/>
                <a:gd name="T38" fmla="*/ 407 w 1250"/>
                <a:gd name="T39" fmla="*/ 171 h 384"/>
                <a:gd name="T40" fmla="*/ 524 w 1250"/>
                <a:gd name="T41" fmla="*/ 55 h 384"/>
                <a:gd name="T42" fmla="*/ 534 w 1250"/>
                <a:gd name="T43" fmla="*/ 51 h 384"/>
                <a:gd name="T44" fmla="*/ 743 w 1250"/>
                <a:gd name="T45" fmla="*/ 51 h 384"/>
                <a:gd name="T46" fmla="*/ 743 w 1250"/>
                <a:gd name="T47" fmla="*/ 193 h 384"/>
                <a:gd name="T48" fmla="*/ 1081 w 1250"/>
                <a:gd name="T49" fmla="*/ 193 h 384"/>
                <a:gd name="T50" fmla="*/ 781 w 1250"/>
                <a:gd name="T51" fmla="*/ 193 h 384"/>
                <a:gd name="T52" fmla="*/ 781 w 1250"/>
                <a:gd name="T53" fmla="*/ 51 h 384"/>
                <a:gd name="T54" fmla="*/ 957 w 1250"/>
                <a:gd name="T55" fmla="*/ 51 h 384"/>
                <a:gd name="T56" fmla="*/ 967 w 1250"/>
                <a:gd name="T57" fmla="*/ 55 h 384"/>
                <a:gd name="T58" fmla="*/ 1067 w 1250"/>
                <a:gd name="T59" fmla="*/ 157 h 384"/>
                <a:gd name="T60" fmla="*/ 1081 w 1250"/>
                <a:gd name="T61" fmla="*/ 19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0" h="384">
                  <a:moveTo>
                    <a:pt x="1249" y="200"/>
                  </a:moveTo>
                  <a:cubicBezTo>
                    <a:pt x="1248" y="197"/>
                    <a:pt x="1247" y="193"/>
                    <a:pt x="1245" y="187"/>
                  </a:cubicBezTo>
                  <a:lnTo>
                    <a:pt x="1010" y="1"/>
                  </a:lnTo>
                  <a:lnTo>
                    <a:pt x="538" y="1"/>
                  </a:lnTo>
                  <a:cubicBezTo>
                    <a:pt x="527" y="0"/>
                    <a:pt x="521" y="6"/>
                    <a:pt x="516" y="12"/>
                  </a:cubicBezTo>
                  <a:lnTo>
                    <a:pt x="358" y="170"/>
                  </a:lnTo>
                  <a:lnTo>
                    <a:pt x="13" y="227"/>
                  </a:lnTo>
                  <a:cubicBezTo>
                    <a:pt x="9" y="231"/>
                    <a:pt x="4" y="235"/>
                    <a:pt x="0" y="246"/>
                  </a:cubicBezTo>
                  <a:lnTo>
                    <a:pt x="1" y="365"/>
                  </a:lnTo>
                  <a:cubicBezTo>
                    <a:pt x="8" y="384"/>
                    <a:pt x="13" y="381"/>
                    <a:pt x="19" y="384"/>
                  </a:cubicBezTo>
                  <a:lnTo>
                    <a:pt x="85" y="384"/>
                  </a:lnTo>
                  <a:cubicBezTo>
                    <a:pt x="85" y="223"/>
                    <a:pt x="326" y="223"/>
                    <a:pt x="326" y="384"/>
                  </a:cubicBezTo>
                  <a:lnTo>
                    <a:pt x="938" y="384"/>
                  </a:lnTo>
                  <a:cubicBezTo>
                    <a:pt x="938" y="222"/>
                    <a:pt x="1177" y="223"/>
                    <a:pt x="1177" y="384"/>
                  </a:cubicBezTo>
                  <a:lnTo>
                    <a:pt x="1231" y="384"/>
                  </a:lnTo>
                  <a:cubicBezTo>
                    <a:pt x="1241" y="383"/>
                    <a:pt x="1246" y="375"/>
                    <a:pt x="1250" y="365"/>
                  </a:cubicBezTo>
                  <a:lnTo>
                    <a:pt x="1249" y="200"/>
                  </a:lnTo>
                  <a:close/>
                  <a:moveTo>
                    <a:pt x="743" y="193"/>
                  </a:moveTo>
                  <a:lnTo>
                    <a:pt x="416" y="193"/>
                  </a:lnTo>
                  <a:cubicBezTo>
                    <a:pt x="403" y="188"/>
                    <a:pt x="402" y="180"/>
                    <a:pt x="407" y="171"/>
                  </a:cubicBezTo>
                  <a:lnTo>
                    <a:pt x="524" y="55"/>
                  </a:lnTo>
                  <a:cubicBezTo>
                    <a:pt x="527" y="53"/>
                    <a:pt x="529" y="50"/>
                    <a:pt x="534" y="51"/>
                  </a:cubicBezTo>
                  <a:lnTo>
                    <a:pt x="743" y="51"/>
                  </a:lnTo>
                  <a:lnTo>
                    <a:pt x="743" y="193"/>
                  </a:lnTo>
                  <a:close/>
                  <a:moveTo>
                    <a:pt x="1081" y="193"/>
                  </a:moveTo>
                  <a:lnTo>
                    <a:pt x="781" y="193"/>
                  </a:lnTo>
                  <a:lnTo>
                    <a:pt x="781" y="51"/>
                  </a:lnTo>
                  <a:lnTo>
                    <a:pt x="957" y="51"/>
                  </a:lnTo>
                  <a:cubicBezTo>
                    <a:pt x="962" y="50"/>
                    <a:pt x="964" y="53"/>
                    <a:pt x="967" y="55"/>
                  </a:cubicBezTo>
                  <a:lnTo>
                    <a:pt x="1067" y="157"/>
                  </a:lnTo>
                  <a:cubicBezTo>
                    <a:pt x="1077" y="171"/>
                    <a:pt x="1095" y="190"/>
                    <a:pt x="1081" y="193"/>
                  </a:cubicBezTo>
                  <a:close/>
                </a:path>
              </a:pathLst>
            </a:custGeom>
            <a:grpFill/>
            <a:ln w="952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Car4">
              <a:extLst>
                <a:ext uri="{FF2B5EF4-FFF2-40B4-BE49-F238E27FC236}">
                  <a16:creationId xmlns:a16="http://schemas.microsoft.com/office/drawing/2014/main" id="{AAF6C6DF-63EC-1C53-9687-A25D719BEF5A}"/>
                </a:ext>
              </a:extLst>
            </p:cNvPr>
            <p:cNvSpPr>
              <a:spLocks noEditPoints="1"/>
            </p:cNvSpPr>
            <p:nvPr>
              <p:custDataLst>
                <p:tags r:id="rId6"/>
              </p:custDataLst>
            </p:nvPr>
          </p:nvSpPr>
          <p:spPr bwMode="auto">
            <a:xfrm>
              <a:off x="107" y="272"/>
              <a:ext cx="180" cy="181"/>
            </a:xfrm>
            <a:custGeom>
              <a:avLst/>
              <a:gdLst>
                <a:gd name="T0" fmla="*/ 98 w 196"/>
                <a:gd name="T1" fmla="*/ 0 h 195"/>
                <a:gd name="T2" fmla="*/ 0 w 196"/>
                <a:gd name="T3" fmla="*/ 97 h 195"/>
                <a:gd name="T4" fmla="*/ 98 w 196"/>
                <a:gd name="T5" fmla="*/ 195 h 195"/>
                <a:gd name="T6" fmla="*/ 196 w 196"/>
                <a:gd name="T7" fmla="*/ 97 h 195"/>
                <a:gd name="T8" fmla="*/ 98 w 196"/>
                <a:gd name="T9" fmla="*/ 0 h 195"/>
                <a:gd name="T10" fmla="*/ 98 w 196"/>
                <a:gd name="T11" fmla="*/ 138 h 195"/>
                <a:gd name="T12" fmla="*/ 57 w 196"/>
                <a:gd name="T13" fmla="*/ 97 h 195"/>
                <a:gd name="T14" fmla="*/ 98 w 196"/>
                <a:gd name="T15" fmla="*/ 56 h 195"/>
                <a:gd name="T16" fmla="*/ 139 w 196"/>
                <a:gd name="T17" fmla="*/ 97 h 195"/>
                <a:gd name="T18" fmla="*/ 98 w 196"/>
                <a:gd name="T19" fmla="*/ 13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5">
                  <a:moveTo>
                    <a:pt x="98" y="0"/>
                  </a:moveTo>
                  <a:cubicBezTo>
                    <a:pt x="44" y="0"/>
                    <a:pt x="0" y="43"/>
                    <a:pt x="0" y="97"/>
                  </a:cubicBezTo>
                  <a:cubicBezTo>
                    <a:pt x="0" y="151"/>
                    <a:pt x="44" y="195"/>
                    <a:pt x="98" y="195"/>
                  </a:cubicBezTo>
                  <a:cubicBezTo>
                    <a:pt x="152" y="195"/>
                    <a:pt x="196" y="151"/>
                    <a:pt x="196" y="97"/>
                  </a:cubicBezTo>
                  <a:cubicBezTo>
                    <a:pt x="196" y="43"/>
                    <a:pt x="152" y="0"/>
                    <a:pt x="98" y="0"/>
                  </a:cubicBezTo>
                  <a:close/>
                  <a:moveTo>
                    <a:pt x="98" y="138"/>
                  </a:moveTo>
                  <a:cubicBezTo>
                    <a:pt x="75" y="138"/>
                    <a:pt x="57" y="120"/>
                    <a:pt x="57" y="97"/>
                  </a:cubicBezTo>
                  <a:cubicBezTo>
                    <a:pt x="57" y="74"/>
                    <a:pt x="75" y="56"/>
                    <a:pt x="98" y="56"/>
                  </a:cubicBezTo>
                  <a:cubicBezTo>
                    <a:pt x="121" y="56"/>
                    <a:pt x="139" y="74"/>
                    <a:pt x="139" y="97"/>
                  </a:cubicBezTo>
                  <a:cubicBezTo>
                    <a:pt x="139" y="120"/>
                    <a:pt x="121" y="138"/>
                    <a:pt x="98" y="138"/>
                  </a:cubicBezTo>
                  <a:close/>
                </a:path>
              </a:pathLst>
            </a:custGeom>
            <a:grpFill/>
            <a:ln w="952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Car4">
              <a:extLst>
                <a:ext uri="{FF2B5EF4-FFF2-40B4-BE49-F238E27FC236}">
                  <a16:creationId xmlns:a16="http://schemas.microsoft.com/office/drawing/2014/main" id="{CF17773A-AF98-2A2A-AC98-AC374B192BFA}"/>
                </a:ext>
              </a:extLst>
            </p:cNvPr>
            <p:cNvSpPr>
              <a:spLocks noEditPoints="1"/>
            </p:cNvSpPr>
            <p:nvPr>
              <p:custDataLst>
                <p:tags r:id="rId7"/>
              </p:custDataLst>
            </p:nvPr>
          </p:nvSpPr>
          <p:spPr bwMode="auto">
            <a:xfrm>
              <a:off x="893" y="271"/>
              <a:ext cx="180" cy="182"/>
            </a:xfrm>
            <a:custGeom>
              <a:avLst/>
              <a:gdLst>
                <a:gd name="T0" fmla="*/ 98 w 195"/>
                <a:gd name="T1" fmla="*/ 0 h 196"/>
                <a:gd name="T2" fmla="*/ 0 w 195"/>
                <a:gd name="T3" fmla="*/ 98 h 196"/>
                <a:gd name="T4" fmla="*/ 98 w 195"/>
                <a:gd name="T5" fmla="*/ 196 h 196"/>
                <a:gd name="T6" fmla="*/ 195 w 195"/>
                <a:gd name="T7" fmla="*/ 98 h 196"/>
                <a:gd name="T8" fmla="*/ 98 w 195"/>
                <a:gd name="T9" fmla="*/ 0 h 196"/>
                <a:gd name="T10" fmla="*/ 98 w 195"/>
                <a:gd name="T11" fmla="*/ 139 h 196"/>
                <a:gd name="T12" fmla="*/ 57 w 195"/>
                <a:gd name="T13" fmla="*/ 98 h 196"/>
                <a:gd name="T14" fmla="*/ 98 w 195"/>
                <a:gd name="T15" fmla="*/ 57 h 196"/>
                <a:gd name="T16" fmla="*/ 139 w 195"/>
                <a:gd name="T17" fmla="*/ 98 h 196"/>
                <a:gd name="T18" fmla="*/ 98 w 195"/>
                <a:gd name="T19" fmla="*/ 13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6">
                  <a:moveTo>
                    <a:pt x="98" y="0"/>
                  </a:moveTo>
                  <a:cubicBezTo>
                    <a:pt x="44" y="0"/>
                    <a:pt x="0" y="44"/>
                    <a:pt x="0" y="98"/>
                  </a:cubicBezTo>
                  <a:cubicBezTo>
                    <a:pt x="0" y="152"/>
                    <a:pt x="44" y="196"/>
                    <a:pt x="98" y="196"/>
                  </a:cubicBezTo>
                  <a:cubicBezTo>
                    <a:pt x="152" y="196"/>
                    <a:pt x="195" y="152"/>
                    <a:pt x="195" y="98"/>
                  </a:cubicBezTo>
                  <a:cubicBezTo>
                    <a:pt x="195" y="44"/>
                    <a:pt x="152" y="0"/>
                    <a:pt x="98" y="0"/>
                  </a:cubicBezTo>
                  <a:close/>
                  <a:moveTo>
                    <a:pt x="98" y="139"/>
                  </a:moveTo>
                  <a:cubicBezTo>
                    <a:pt x="75" y="139"/>
                    <a:pt x="57" y="121"/>
                    <a:pt x="57" y="98"/>
                  </a:cubicBezTo>
                  <a:cubicBezTo>
                    <a:pt x="57" y="75"/>
                    <a:pt x="75" y="57"/>
                    <a:pt x="98" y="57"/>
                  </a:cubicBezTo>
                  <a:cubicBezTo>
                    <a:pt x="120" y="57"/>
                    <a:pt x="139" y="75"/>
                    <a:pt x="139" y="98"/>
                  </a:cubicBezTo>
                  <a:cubicBezTo>
                    <a:pt x="139" y="121"/>
                    <a:pt x="120" y="139"/>
                    <a:pt x="98" y="139"/>
                  </a:cubicBezTo>
                  <a:close/>
                </a:path>
              </a:pathLst>
            </a:custGeom>
            <a:grpFill/>
            <a:ln w="952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9" name="Textfeld 68">
            <a:extLst>
              <a:ext uri="{FF2B5EF4-FFF2-40B4-BE49-F238E27FC236}">
                <a16:creationId xmlns:a16="http://schemas.microsoft.com/office/drawing/2014/main" id="{37E850AD-842D-ACD6-D695-CEFAAB599953}"/>
              </a:ext>
            </a:extLst>
          </p:cNvPr>
          <p:cNvSpPr txBox="1"/>
          <p:nvPr/>
        </p:nvSpPr>
        <p:spPr>
          <a:xfrm>
            <a:off x="386056" y="3805453"/>
            <a:ext cx="1249491" cy="276999"/>
          </a:xfrm>
          <a:prstGeom prst="rect">
            <a:avLst/>
          </a:prstGeom>
          <a:noFill/>
        </p:spPr>
        <p:txBody>
          <a:bodyPr wrap="square" rtlCol="0">
            <a:spAutoFit/>
          </a:bodyPr>
          <a:lstStyle/>
          <a:p>
            <a:pPr algn="ctr"/>
            <a:r>
              <a:rPr lang="en-US" sz="1200" b="1"/>
              <a:t>Uber</a:t>
            </a:r>
          </a:p>
        </p:txBody>
      </p:sp>
      <p:sp>
        <p:nvSpPr>
          <p:cNvPr id="70" name="Textfeld 69">
            <a:extLst>
              <a:ext uri="{FF2B5EF4-FFF2-40B4-BE49-F238E27FC236}">
                <a16:creationId xmlns:a16="http://schemas.microsoft.com/office/drawing/2014/main" id="{77110E6C-75DC-E982-4BC4-1A4B7CC6C306}"/>
              </a:ext>
            </a:extLst>
          </p:cNvPr>
          <p:cNvSpPr txBox="1"/>
          <p:nvPr/>
        </p:nvSpPr>
        <p:spPr>
          <a:xfrm>
            <a:off x="392415" y="4434254"/>
            <a:ext cx="1249491" cy="276999"/>
          </a:xfrm>
          <a:prstGeom prst="rect">
            <a:avLst/>
          </a:prstGeom>
          <a:noFill/>
        </p:spPr>
        <p:txBody>
          <a:bodyPr wrap="square" rtlCol="0">
            <a:spAutoFit/>
          </a:bodyPr>
          <a:lstStyle/>
          <a:p>
            <a:pPr algn="ctr"/>
            <a:r>
              <a:rPr lang="en-US" sz="1200" b="1"/>
              <a:t>Eats</a:t>
            </a:r>
          </a:p>
        </p:txBody>
      </p:sp>
      <p:sp>
        <p:nvSpPr>
          <p:cNvPr id="71" name="Textfeld 70">
            <a:extLst>
              <a:ext uri="{FF2B5EF4-FFF2-40B4-BE49-F238E27FC236}">
                <a16:creationId xmlns:a16="http://schemas.microsoft.com/office/drawing/2014/main" id="{EEB08AE2-EE1D-303C-3CF1-2C1A37973007}"/>
              </a:ext>
            </a:extLst>
          </p:cNvPr>
          <p:cNvSpPr txBox="1"/>
          <p:nvPr/>
        </p:nvSpPr>
        <p:spPr>
          <a:xfrm>
            <a:off x="386057" y="5163976"/>
            <a:ext cx="1249491" cy="276999"/>
          </a:xfrm>
          <a:prstGeom prst="rect">
            <a:avLst/>
          </a:prstGeom>
          <a:noFill/>
        </p:spPr>
        <p:txBody>
          <a:bodyPr wrap="square" rtlCol="0">
            <a:spAutoFit/>
          </a:bodyPr>
          <a:lstStyle/>
          <a:p>
            <a:pPr algn="ctr"/>
            <a:r>
              <a:rPr lang="en-US" sz="1200" b="1"/>
              <a:t>Freight</a:t>
            </a:r>
          </a:p>
        </p:txBody>
      </p:sp>
      <p:cxnSp>
        <p:nvCxnSpPr>
          <p:cNvPr id="73" name="Gerader Verbinder 72">
            <a:extLst>
              <a:ext uri="{FF2B5EF4-FFF2-40B4-BE49-F238E27FC236}">
                <a16:creationId xmlns:a16="http://schemas.microsoft.com/office/drawing/2014/main" id="{76512B32-CF6B-56BE-FC46-51FD78828100}"/>
              </a:ext>
            </a:extLst>
          </p:cNvPr>
          <p:cNvCxnSpPr>
            <a:cxnSpLocks/>
          </p:cNvCxnSpPr>
          <p:nvPr/>
        </p:nvCxnSpPr>
        <p:spPr>
          <a:xfrm>
            <a:off x="562271" y="4492884"/>
            <a:ext cx="3101009" cy="0"/>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76" name="Gerader Verbinder 75">
            <a:extLst>
              <a:ext uri="{FF2B5EF4-FFF2-40B4-BE49-F238E27FC236}">
                <a16:creationId xmlns:a16="http://schemas.microsoft.com/office/drawing/2014/main" id="{248CB1BF-0929-C9EC-FE26-34C96F98E03F}"/>
              </a:ext>
            </a:extLst>
          </p:cNvPr>
          <p:cNvCxnSpPr>
            <a:cxnSpLocks/>
          </p:cNvCxnSpPr>
          <p:nvPr/>
        </p:nvCxnSpPr>
        <p:spPr>
          <a:xfrm>
            <a:off x="562270" y="5213234"/>
            <a:ext cx="3101009" cy="0"/>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78" name="Textfeld 77">
            <a:extLst>
              <a:ext uri="{FF2B5EF4-FFF2-40B4-BE49-F238E27FC236}">
                <a16:creationId xmlns:a16="http://schemas.microsoft.com/office/drawing/2014/main" id="{0AB700E8-C9B6-D92A-B695-0D95E5FC4304}"/>
              </a:ext>
            </a:extLst>
          </p:cNvPr>
          <p:cNvSpPr txBox="1"/>
          <p:nvPr/>
        </p:nvSpPr>
        <p:spPr>
          <a:xfrm>
            <a:off x="2373311" y="4142926"/>
            <a:ext cx="1289968" cy="276999"/>
          </a:xfrm>
          <a:prstGeom prst="rect">
            <a:avLst/>
          </a:prstGeom>
          <a:noFill/>
        </p:spPr>
        <p:txBody>
          <a:bodyPr wrap="square" rtlCol="0">
            <a:spAutoFit/>
          </a:bodyPr>
          <a:lstStyle/>
          <a:p>
            <a:r>
              <a:rPr lang="en-US" sz="1200"/>
              <a:t>$14.029         Mio.</a:t>
            </a:r>
          </a:p>
        </p:txBody>
      </p:sp>
      <p:sp>
        <p:nvSpPr>
          <p:cNvPr id="79" name="Textfeld 78">
            <a:extLst>
              <a:ext uri="{FF2B5EF4-FFF2-40B4-BE49-F238E27FC236}">
                <a16:creationId xmlns:a16="http://schemas.microsoft.com/office/drawing/2014/main" id="{028111C5-583E-8A8D-629F-14CDBB2EEAE6}"/>
              </a:ext>
            </a:extLst>
          </p:cNvPr>
          <p:cNvSpPr txBox="1"/>
          <p:nvPr/>
        </p:nvSpPr>
        <p:spPr>
          <a:xfrm>
            <a:off x="2373311" y="4714657"/>
            <a:ext cx="1289968" cy="276999"/>
          </a:xfrm>
          <a:prstGeom prst="rect">
            <a:avLst/>
          </a:prstGeom>
          <a:noFill/>
        </p:spPr>
        <p:txBody>
          <a:bodyPr wrap="square" rtlCol="0">
            <a:spAutoFit/>
          </a:bodyPr>
          <a:lstStyle/>
          <a:p>
            <a:r>
              <a:rPr lang="en-US" sz="1200"/>
              <a:t>$10.901         Mio.</a:t>
            </a:r>
          </a:p>
        </p:txBody>
      </p:sp>
      <p:sp>
        <p:nvSpPr>
          <p:cNvPr id="80" name="Textfeld 79">
            <a:extLst>
              <a:ext uri="{FF2B5EF4-FFF2-40B4-BE49-F238E27FC236}">
                <a16:creationId xmlns:a16="http://schemas.microsoft.com/office/drawing/2014/main" id="{FE78D02D-6F10-0ACE-98BE-BCC14827A820}"/>
              </a:ext>
            </a:extLst>
          </p:cNvPr>
          <p:cNvSpPr txBox="1"/>
          <p:nvPr/>
        </p:nvSpPr>
        <p:spPr>
          <a:xfrm>
            <a:off x="2373311" y="5388669"/>
            <a:ext cx="1289968" cy="276999"/>
          </a:xfrm>
          <a:prstGeom prst="rect">
            <a:avLst/>
          </a:prstGeom>
          <a:noFill/>
        </p:spPr>
        <p:txBody>
          <a:bodyPr wrap="square" rtlCol="0">
            <a:spAutoFit/>
          </a:bodyPr>
          <a:lstStyle/>
          <a:p>
            <a:r>
              <a:rPr lang="en-US" sz="1200"/>
              <a:t>$6.947           Mio.</a:t>
            </a:r>
          </a:p>
        </p:txBody>
      </p:sp>
      <p:sp>
        <p:nvSpPr>
          <p:cNvPr id="81" name="Textfeld 80">
            <a:extLst>
              <a:ext uri="{FF2B5EF4-FFF2-40B4-BE49-F238E27FC236}">
                <a16:creationId xmlns:a16="http://schemas.microsoft.com/office/drawing/2014/main" id="{4F6F8237-EB67-DFF1-5DA3-8A0AC0CB5DF0}"/>
              </a:ext>
            </a:extLst>
          </p:cNvPr>
          <p:cNvSpPr txBox="1"/>
          <p:nvPr/>
        </p:nvSpPr>
        <p:spPr>
          <a:xfrm rot="5400000">
            <a:off x="-18079" y="4700526"/>
            <a:ext cx="838200" cy="276999"/>
          </a:xfrm>
          <a:prstGeom prst="rect">
            <a:avLst/>
          </a:prstGeom>
          <a:noFill/>
        </p:spPr>
        <p:txBody>
          <a:bodyPr wrap="square" rtlCol="0">
            <a:spAutoFit/>
          </a:bodyPr>
          <a:lstStyle/>
          <a:p>
            <a:pPr algn="ctr"/>
            <a:r>
              <a:rPr lang="en-US" sz="1200" b="1">
                <a:solidFill>
                  <a:schemeClr val="accent2"/>
                </a:solidFill>
              </a:rPr>
              <a:t>2022</a:t>
            </a:r>
          </a:p>
        </p:txBody>
      </p:sp>
      <p:sp>
        <p:nvSpPr>
          <p:cNvPr id="82" name="Textfeld 81">
            <a:extLst>
              <a:ext uri="{FF2B5EF4-FFF2-40B4-BE49-F238E27FC236}">
                <a16:creationId xmlns:a16="http://schemas.microsoft.com/office/drawing/2014/main" id="{93A8E80A-5130-E0BB-42DE-55F9D9B2BB32}"/>
              </a:ext>
            </a:extLst>
          </p:cNvPr>
          <p:cNvSpPr txBox="1"/>
          <p:nvPr/>
        </p:nvSpPr>
        <p:spPr>
          <a:xfrm>
            <a:off x="1669295" y="4142926"/>
            <a:ext cx="1289968" cy="276999"/>
          </a:xfrm>
          <a:prstGeom prst="rect">
            <a:avLst/>
          </a:prstGeom>
          <a:noFill/>
        </p:spPr>
        <p:txBody>
          <a:bodyPr wrap="square" rtlCol="0">
            <a:spAutoFit/>
          </a:bodyPr>
          <a:lstStyle/>
          <a:p>
            <a:r>
              <a:rPr lang="en-US" sz="1200"/>
              <a:t>44.0 %</a:t>
            </a:r>
          </a:p>
        </p:txBody>
      </p:sp>
      <p:sp>
        <p:nvSpPr>
          <p:cNvPr id="83" name="Textfeld 82">
            <a:extLst>
              <a:ext uri="{FF2B5EF4-FFF2-40B4-BE49-F238E27FC236}">
                <a16:creationId xmlns:a16="http://schemas.microsoft.com/office/drawing/2014/main" id="{4CF5E724-4C87-E7E1-41F2-55FC20C6F69D}"/>
              </a:ext>
            </a:extLst>
          </p:cNvPr>
          <p:cNvSpPr txBox="1"/>
          <p:nvPr/>
        </p:nvSpPr>
        <p:spPr>
          <a:xfrm>
            <a:off x="1669295" y="4705690"/>
            <a:ext cx="1289968" cy="276999"/>
          </a:xfrm>
          <a:prstGeom prst="rect">
            <a:avLst/>
          </a:prstGeom>
          <a:noFill/>
        </p:spPr>
        <p:txBody>
          <a:bodyPr wrap="square" rtlCol="0">
            <a:spAutoFit/>
          </a:bodyPr>
          <a:lstStyle/>
          <a:p>
            <a:r>
              <a:rPr lang="en-US" sz="1200"/>
              <a:t>34.2 %</a:t>
            </a:r>
          </a:p>
        </p:txBody>
      </p:sp>
      <p:sp>
        <p:nvSpPr>
          <p:cNvPr id="84" name="Textfeld 83">
            <a:extLst>
              <a:ext uri="{FF2B5EF4-FFF2-40B4-BE49-F238E27FC236}">
                <a16:creationId xmlns:a16="http://schemas.microsoft.com/office/drawing/2014/main" id="{B2627DCD-8716-92E8-EE11-FCDEFB7F26B7}"/>
              </a:ext>
            </a:extLst>
          </p:cNvPr>
          <p:cNvSpPr txBox="1"/>
          <p:nvPr/>
        </p:nvSpPr>
        <p:spPr>
          <a:xfrm>
            <a:off x="1640408" y="5385356"/>
            <a:ext cx="1289968" cy="276999"/>
          </a:xfrm>
          <a:prstGeom prst="rect">
            <a:avLst/>
          </a:prstGeom>
          <a:noFill/>
        </p:spPr>
        <p:txBody>
          <a:bodyPr wrap="square" rtlCol="0">
            <a:spAutoFit/>
          </a:bodyPr>
          <a:lstStyle/>
          <a:p>
            <a:r>
              <a:rPr lang="en-US" sz="1200"/>
              <a:t>21.8 %</a:t>
            </a:r>
          </a:p>
        </p:txBody>
      </p:sp>
      <p:cxnSp>
        <p:nvCxnSpPr>
          <p:cNvPr id="85" name="Gerader Verbinder 84">
            <a:extLst>
              <a:ext uri="{FF2B5EF4-FFF2-40B4-BE49-F238E27FC236}">
                <a16:creationId xmlns:a16="http://schemas.microsoft.com/office/drawing/2014/main" id="{04BAD2E2-F9BE-7576-D74C-5520C0912610}"/>
              </a:ext>
            </a:extLst>
          </p:cNvPr>
          <p:cNvCxnSpPr>
            <a:cxnSpLocks/>
          </p:cNvCxnSpPr>
          <p:nvPr/>
        </p:nvCxnSpPr>
        <p:spPr>
          <a:xfrm>
            <a:off x="2314279" y="3992691"/>
            <a:ext cx="0" cy="2385391"/>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90" name="Gerader Verbinder 89">
            <a:extLst>
              <a:ext uri="{FF2B5EF4-FFF2-40B4-BE49-F238E27FC236}">
                <a16:creationId xmlns:a16="http://schemas.microsoft.com/office/drawing/2014/main" id="{4C335769-3480-2724-DB77-61FACD89E2EE}"/>
              </a:ext>
            </a:extLst>
          </p:cNvPr>
          <p:cNvCxnSpPr>
            <a:cxnSpLocks/>
          </p:cNvCxnSpPr>
          <p:nvPr/>
        </p:nvCxnSpPr>
        <p:spPr>
          <a:xfrm>
            <a:off x="618119" y="5956986"/>
            <a:ext cx="3045160" cy="0"/>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95" name="Textfeld 94">
            <a:extLst>
              <a:ext uri="{FF2B5EF4-FFF2-40B4-BE49-F238E27FC236}">
                <a16:creationId xmlns:a16="http://schemas.microsoft.com/office/drawing/2014/main" id="{50DCABFD-57C8-847E-EEFD-15BCB513895F}"/>
              </a:ext>
            </a:extLst>
          </p:cNvPr>
          <p:cNvSpPr txBox="1"/>
          <p:nvPr/>
        </p:nvSpPr>
        <p:spPr>
          <a:xfrm>
            <a:off x="2373311" y="6036889"/>
            <a:ext cx="1409238" cy="276999"/>
          </a:xfrm>
          <a:prstGeom prst="rect">
            <a:avLst/>
          </a:prstGeom>
          <a:noFill/>
        </p:spPr>
        <p:txBody>
          <a:bodyPr wrap="square" rtlCol="0">
            <a:spAutoFit/>
          </a:bodyPr>
          <a:lstStyle/>
          <a:p>
            <a:r>
              <a:rPr lang="en-US" sz="1200"/>
              <a:t>$31.877         Mio.</a:t>
            </a:r>
          </a:p>
        </p:txBody>
      </p:sp>
      <p:sp>
        <p:nvSpPr>
          <p:cNvPr id="96" name="Textfeld 95">
            <a:extLst>
              <a:ext uri="{FF2B5EF4-FFF2-40B4-BE49-F238E27FC236}">
                <a16:creationId xmlns:a16="http://schemas.microsoft.com/office/drawing/2014/main" id="{FD07DF92-B84C-2824-52B1-D8378C13C1DD}"/>
              </a:ext>
            </a:extLst>
          </p:cNvPr>
          <p:cNvSpPr txBox="1"/>
          <p:nvPr/>
        </p:nvSpPr>
        <p:spPr>
          <a:xfrm>
            <a:off x="1580773" y="6022252"/>
            <a:ext cx="1409238" cy="276999"/>
          </a:xfrm>
          <a:prstGeom prst="rect">
            <a:avLst/>
          </a:prstGeom>
          <a:noFill/>
        </p:spPr>
        <p:txBody>
          <a:bodyPr wrap="square" rtlCol="0">
            <a:spAutoFit/>
          </a:bodyPr>
          <a:lstStyle/>
          <a:p>
            <a:r>
              <a:rPr lang="en-US" sz="1200" b="1"/>
              <a:t>Revenue</a:t>
            </a:r>
          </a:p>
        </p:txBody>
      </p:sp>
      <p:sp>
        <p:nvSpPr>
          <p:cNvPr id="97" name="Textfeld 96">
            <a:extLst>
              <a:ext uri="{FF2B5EF4-FFF2-40B4-BE49-F238E27FC236}">
                <a16:creationId xmlns:a16="http://schemas.microsoft.com/office/drawing/2014/main" id="{04BA6A21-6396-2C12-6343-7BF31219C36A}"/>
              </a:ext>
            </a:extLst>
          </p:cNvPr>
          <p:cNvSpPr txBox="1"/>
          <p:nvPr/>
        </p:nvSpPr>
        <p:spPr>
          <a:xfrm>
            <a:off x="4310743" y="2251648"/>
            <a:ext cx="4617357" cy="3046988"/>
          </a:xfrm>
          <a:prstGeom prst="rect">
            <a:avLst/>
          </a:prstGeom>
          <a:noFill/>
        </p:spPr>
        <p:txBody>
          <a:bodyPr wrap="square" rtlCol="0">
            <a:spAutoFit/>
          </a:bodyPr>
          <a:lstStyle/>
          <a:p>
            <a:pPr marL="285750" indent="-285750">
              <a:buFont typeface="Arial" panose="020B0604020202020204" pitchFamily="34" charset="0"/>
              <a:buChar char="•"/>
            </a:pPr>
            <a:r>
              <a:rPr lang="en-US" sz="1200"/>
              <a:t>The share of </a:t>
            </a:r>
            <a:r>
              <a:rPr lang="en-US" sz="1200" b="1"/>
              <a:t>Uber's traditional passenger transport business in total revenue is declining</a:t>
            </a:r>
            <a:r>
              <a:rPr lang="en-US" sz="1200"/>
              <a:t>, falling to </a:t>
            </a:r>
            <a:r>
              <a:rPr lang="en-US" sz="1200" b="1"/>
              <a:t>44.0% in 2022</a:t>
            </a:r>
            <a:r>
              <a:rPr lang="en-US" sz="1200"/>
              <a:t>. The pandemic and the decline in passenger mobility have exacerbated this trend. This is reflected in the increase in the share after the end of the pandemic in 2022, which shows a slight recovery from the steady downward trend</a:t>
            </a:r>
          </a:p>
          <a:p>
            <a:pPr marL="285750" indent="-285750">
              <a:buFont typeface="Arial" panose="020B0604020202020204" pitchFamily="34" charset="0"/>
              <a:buChar char="•"/>
            </a:pPr>
            <a:r>
              <a:rPr lang="en-US" sz="1200" b="1"/>
              <a:t>Uber Freight, Uber's logistics and freight business, is growing steadily </a:t>
            </a:r>
            <a:r>
              <a:rPr lang="en-US" sz="1200"/>
              <a:t>and accounts for </a:t>
            </a:r>
            <a:r>
              <a:rPr lang="en-US" sz="1200" b="1"/>
              <a:t>21.8% of revenue in 2022</a:t>
            </a:r>
          </a:p>
          <a:p>
            <a:pPr marL="285750" indent="-285750">
              <a:buFont typeface="Arial" panose="020B0604020202020204" pitchFamily="34" charset="0"/>
              <a:buChar char="•"/>
            </a:pPr>
            <a:r>
              <a:rPr lang="en-US" sz="1200"/>
              <a:t>Particularly notable is the rise of </a:t>
            </a:r>
            <a:r>
              <a:rPr lang="en-US" sz="1200" b="1"/>
              <a:t>food delivery service Uber Eats</a:t>
            </a:r>
            <a:r>
              <a:rPr lang="en-US" sz="1200"/>
              <a:t>, which surged during the COVID-19 pandemic and accounts for </a:t>
            </a:r>
            <a:r>
              <a:rPr lang="en-US" sz="1100" b="1"/>
              <a:t>34.2% of sales in 2022</a:t>
            </a:r>
          </a:p>
          <a:p>
            <a:pPr marL="285750" indent="-285750">
              <a:buFont typeface="Arial" panose="020B0604020202020204" pitchFamily="34" charset="0"/>
              <a:buChar char="•"/>
            </a:pPr>
            <a:r>
              <a:rPr lang="en-US" sz="1200" b="1"/>
              <a:t>Uber Freight has become a significant part of Uber's business, </a:t>
            </a:r>
            <a:r>
              <a:rPr lang="en-US" sz="1200"/>
              <a:t>with revenues of </a:t>
            </a:r>
            <a:r>
              <a:rPr lang="en-US" sz="1200" b="1"/>
              <a:t>$6.947 million in 2022</a:t>
            </a:r>
          </a:p>
          <a:p>
            <a:pPr marL="285750" indent="-285750">
              <a:buFont typeface="Arial" panose="020B0604020202020204" pitchFamily="34" charset="0"/>
              <a:buChar char="•"/>
            </a:pPr>
            <a:r>
              <a:rPr lang="en-US" sz="1200"/>
              <a:t>The total revenue of all business units amounts to </a:t>
            </a:r>
            <a:r>
              <a:rPr lang="en-US" sz="1200" b="1"/>
              <a:t>31,877 million dollars in 2022</a:t>
            </a:r>
            <a:r>
              <a:rPr lang="en-US" sz="1200"/>
              <a:t>, which shows the </a:t>
            </a:r>
            <a:r>
              <a:rPr lang="en-US" sz="1200" b="1"/>
              <a:t>diversification and growth of Uber's business models</a:t>
            </a:r>
          </a:p>
        </p:txBody>
      </p:sp>
    </p:spTree>
    <p:extLst>
      <p:ext uri="{BB962C8B-B14F-4D97-AF65-F5344CB8AC3E}">
        <p14:creationId xmlns:p14="http://schemas.microsoft.com/office/powerpoint/2010/main" val="11763143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7487DF-03AA-4AF9-334A-6B427A1B62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408" imgH="408" progId="TCLayout.ActiveDocument.1">
                  <p:embed/>
                </p:oleObj>
              </mc:Choice>
              <mc:Fallback>
                <p:oleObj name="think-cell Folie" r:id="rId9" imgW="408" imgH="408" progId="TCLayout.ActiveDocument.1">
                  <p:embed/>
                  <p:pic>
                    <p:nvPicPr>
                      <p:cNvPr id="3" name="think-cell data - do not delete" hidden="1">
                        <a:extLst>
                          <a:ext uri="{FF2B5EF4-FFF2-40B4-BE49-F238E27FC236}">
                            <a16:creationId xmlns:a16="http://schemas.microsoft.com/office/drawing/2014/main" id="{D57487DF-03AA-4AF9-334A-6B427A1B62C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DC227B-84CF-6278-1533-5EC3EAB2B8AD}"/>
              </a:ext>
            </a:extLst>
          </p:cNvPr>
          <p:cNvSpPr>
            <a:spLocks noGrp="1"/>
          </p:cNvSpPr>
          <p:nvPr>
            <p:ph type="title"/>
          </p:nvPr>
        </p:nvSpPr>
        <p:spPr/>
        <p:txBody>
          <a:bodyPr vert="horz"/>
          <a:lstStyle/>
          <a:p>
            <a:r>
              <a:rPr lang="en-US"/>
              <a:t>Uber has established itself in the food delivery business and is the second largest player in the important US market</a:t>
            </a:r>
          </a:p>
        </p:txBody>
      </p:sp>
      <p:sp>
        <p:nvSpPr>
          <p:cNvPr id="4" name="Foliennummernplatzhalter 3">
            <a:extLst>
              <a:ext uri="{FF2B5EF4-FFF2-40B4-BE49-F238E27FC236}">
                <a16:creationId xmlns:a16="http://schemas.microsoft.com/office/drawing/2014/main" id="{5F1682A5-FC6A-3683-70C2-01763354D70E}"/>
              </a:ext>
            </a:extLst>
          </p:cNvPr>
          <p:cNvSpPr>
            <a:spLocks noGrp="1"/>
          </p:cNvSpPr>
          <p:nvPr>
            <p:ph type="sldNum" sz="quarter" idx="4"/>
          </p:nvPr>
        </p:nvSpPr>
        <p:spPr/>
        <p:txBody>
          <a:bodyPr/>
          <a:lstStyle/>
          <a:p>
            <a:fld id="{BAF04893-69FB-435D-AB2E-CA259D85B32F}" type="slidenum">
              <a:rPr lang="en-US" smtClean="0"/>
              <a:pPr/>
              <a:t>27</a:t>
            </a:fld>
            <a:endParaRPr lang="en-US"/>
          </a:p>
        </p:txBody>
      </p:sp>
      <p:sp>
        <p:nvSpPr>
          <p:cNvPr id="5" name="Inhaltsplatzhalter 4">
            <a:extLst>
              <a:ext uri="{FF2B5EF4-FFF2-40B4-BE49-F238E27FC236}">
                <a16:creationId xmlns:a16="http://schemas.microsoft.com/office/drawing/2014/main" id="{120B708C-C705-AA4A-9BE0-ED7E532D9E1B}"/>
              </a:ext>
            </a:extLst>
          </p:cNvPr>
          <p:cNvSpPr>
            <a:spLocks noGrp="1"/>
          </p:cNvSpPr>
          <p:nvPr>
            <p:ph idx="10"/>
          </p:nvPr>
        </p:nvSpPr>
        <p:spPr/>
        <p:txBody>
          <a:bodyPr/>
          <a:lstStyle/>
          <a:p>
            <a:r>
              <a:rPr lang="en-US"/>
              <a:t>Comparison Food UberEats/DoorDash</a:t>
            </a:r>
          </a:p>
        </p:txBody>
      </p:sp>
      <p:sp>
        <p:nvSpPr>
          <p:cNvPr id="6" name="Inhaltsplatzhalter 5">
            <a:extLst>
              <a:ext uri="{FF2B5EF4-FFF2-40B4-BE49-F238E27FC236}">
                <a16:creationId xmlns:a16="http://schemas.microsoft.com/office/drawing/2014/main" id="{CB9C63BF-B636-53C4-4914-39D50EF9382A}"/>
              </a:ext>
            </a:extLst>
          </p:cNvPr>
          <p:cNvSpPr>
            <a:spLocks noGrp="1"/>
          </p:cNvSpPr>
          <p:nvPr>
            <p:ph idx="11"/>
          </p:nvPr>
        </p:nvSpPr>
        <p:spPr/>
        <p:txBody>
          <a:bodyPr vert="horz" lIns="0" tIns="0" rIns="0" bIns="0" rtlCol="0">
            <a:noAutofit/>
          </a:bodyPr>
          <a:lstStyle/>
          <a:p>
            <a:r>
              <a:rPr lang="en-US">
                <a:hlinkClick r:id="rId11"/>
              </a:rPr>
              <a:t>Second Measure (2023)</a:t>
            </a:r>
            <a:r>
              <a:rPr lang="en-US"/>
              <a:t>, Annual Reports Uber, DoorDash</a:t>
            </a:r>
          </a:p>
        </p:txBody>
      </p:sp>
      <p:sp>
        <p:nvSpPr>
          <p:cNvPr id="7" name="Inhaltsplatzhalter 6">
            <a:extLst>
              <a:ext uri="{FF2B5EF4-FFF2-40B4-BE49-F238E27FC236}">
                <a16:creationId xmlns:a16="http://schemas.microsoft.com/office/drawing/2014/main" id="{4F4F810D-E140-0D4A-0DBA-E542280EE9D7}"/>
              </a:ext>
            </a:extLst>
          </p:cNvPr>
          <p:cNvSpPr>
            <a:spLocks noGrp="1"/>
          </p:cNvSpPr>
          <p:nvPr>
            <p:ph idx="12"/>
          </p:nvPr>
        </p:nvSpPr>
        <p:spPr/>
        <p:txBody>
          <a:bodyPr/>
          <a:lstStyle/>
          <a:p>
            <a:r>
              <a:rPr lang="en-US"/>
              <a:t>Corporate Lifecycle</a:t>
            </a:r>
          </a:p>
          <a:p>
            <a:endParaRPr lang="en-US"/>
          </a:p>
        </p:txBody>
      </p:sp>
      <p:graphicFrame>
        <p:nvGraphicFramePr>
          <p:cNvPr id="10" name="Diagramm 9">
            <a:extLst>
              <a:ext uri="{FF2B5EF4-FFF2-40B4-BE49-F238E27FC236}">
                <a16:creationId xmlns:a16="http://schemas.microsoft.com/office/drawing/2014/main" id="{B342684C-03FF-32FF-BF35-4A47465D20EE}"/>
              </a:ext>
            </a:extLst>
          </p:cNvPr>
          <p:cNvGraphicFramePr>
            <a:graphicFrameLocks/>
          </p:cNvGraphicFramePr>
          <p:nvPr>
            <p:custDataLst>
              <p:tags r:id="rId2"/>
            </p:custDataLst>
            <p:extLst>
              <p:ext uri="{D42A27DB-BD31-4B8C-83A1-F6EECF244321}">
                <p14:modId xmlns:p14="http://schemas.microsoft.com/office/powerpoint/2010/main" val="4216288436"/>
              </p:ext>
            </p:extLst>
          </p:nvPr>
        </p:nvGraphicFramePr>
        <p:xfrm>
          <a:off x="359998" y="1986600"/>
          <a:ext cx="3373606" cy="1888248"/>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1" name="Diagramm 10">
            <a:extLst>
              <a:ext uri="{FF2B5EF4-FFF2-40B4-BE49-F238E27FC236}">
                <a16:creationId xmlns:a16="http://schemas.microsoft.com/office/drawing/2014/main" id="{C081B7B7-8414-5A6F-480C-622F2B81C39D}"/>
              </a:ext>
            </a:extLst>
          </p:cNvPr>
          <p:cNvGraphicFramePr>
            <a:graphicFrameLocks/>
          </p:cNvGraphicFramePr>
          <p:nvPr>
            <p:custDataLst>
              <p:tags r:id="rId3"/>
            </p:custDataLst>
            <p:extLst>
              <p:ext uri="{D42A27DB-BD31-4B8C-83A1-F6EECF244321}">
                <p14:modId xmlns:p14="http://schemas.microsoft.com/office/powerpoint/2010/main" val="2636294301"/>
              </p:ext>
            </p:extLst>
          </p:nvPr>
        </p:nvGraphicFramePr>
        <p:xfrm>
          <a:off x="321898" y="3994008"/>
          <a:ext cx="3314699" cy="878934"/>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2" name="Diagramm 11">
            <a:extLst>
              <a:ext uri="{FF2B5EF4-FFF2-40B4-BE49-F238E27FC236}">
                <a16:creationId xmlns:a16="http://schemas.microsoft.com/office/drawing/2014/main" id="{2BACFAD5-77C7-440A-A759-2E809484D8DA}"/>
              </a:ext>
            </a:extLst>
          </p:cNvPr>
          <p:cNvGraphicFramePr>
            <a:graphicFrameLocks/>
          </p:cNvGraphicFramePr>
          <p:nvPr>
            <p:custDataLst>
              <p:tags r:id="rId4"/>
            </p:custDataLst>
            <p:extLst>
              <p:ext uri="{D42A27DB-BD31-4B8C-83A1-F6EECF244321}">
                <p14:modId xmlns:p14="http://schemas.microsoft.com/office/powerpoint/2010/main" val="308099736"/>
              </p:ext>
            </p:extLst>
          </p:nvPr>
        </p:nvGraphicFramePr>
        <p:xfrm>
          <a:off x="359997" y="4827308"/>
          <a:ext cx="3314700" cy="878934"/>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3" name="Diagramm 12">
            <a:extLst>
              <a:ext uri="{FF2B5EF4-FFF2-40B4-BE49-F238E27FC236}">
                <a16:creationId xmlns:a16="http://schemas.microsoft.com/office/drawing/2014/main" id="{BEB349D6-9E87-4EA7-B799-D985A9C5830F}"/>
              </a:ext>
            </a:extLst>
          </p:cNvPr>
          <p:cNvGraphicFramePr>
            <a:graphicFrameLocks/>
          </p:cNvGraphicFramePr>
          <p:nvPr>
            <p:custDataLst>
              <p:tags r:id="rId5"/>
            </p:custDataLst>
          </p:nvPr>
        </p:nvGraphicFramePr>
        <p:xfrm>
          <a:off x="231569" y="5660608"/>
          <a:ext cx="3443127" cy="878934"/>
        </p:xfrm>
        <a:graphic>
          <a:graphicData uri="http://schemas.openxmlformats.org/drawingml/2006/chart">
            <c:chart xmlns:c="http://schemas.openxmlformats.org/drawingml/2006/chart" xmlns:r="http://schemas.openxmlformats.org/officeDocument/2006/relationships" r:id="rId15"/>
          </a:graphicData>
        </a:graphic>
      </p:graphicFrame>
      <p:sp>
        <p:nvSpPr>
          <p:cNvPr id="14" name="Textfeld 13">
            <a:extLst>
              <a:ext uri="{FF2B5EF4-FFF2-40B4-BE49-F238E27FC236}">
                <a16:creationId xmlns:a16="http://schemas.microsoft.com/office/drawing/2014/main" id="{31DEFB82-76B4-C3C1-71C4-A51245F3E4C4}"/>
              </a:ext>
            </a:extLst>
          </p:cNvPr>
          <p:cNvSpPr txBox="1"/>
          <p:nvPr/>
        </p:nvSpPr>
        <p:spPr>
          <a:xfrm>
            <a:off x="359997" y="3762546"/>
            <a:ext cx="3647925" cy="276999"/>
          </a:xfrm>
          <a:prstGeom prst="rect">
            <a:avLst/>
          </a:prstGeom>
          <a:noFill/>
        </p:spPr>
        <p:txBody>
          <a:bodyPr wrap="square" rtlCol="0">
            <a:spAutoFit/>
          </a:bodyPr>
          <a:lstStyle/>
          <a:p>
            <a:r>
              <a:rPr lang="en-US" sz="1200" b="1"/>
              <a:t>Survey respondents who ordered food online</a:t>
            </a:r>
          </a:p>
        </p:txBody>
      </p:sp>
      <p:sp>
        <p:nvSpPr>
          <p:cNvPr id="15" name="Textfeld 14">
            <a:extLst>
              <a:ext uri="{FF2B5EF4-FFF2-40B4-BE49-F238E27FC236}">
                <a16:creationId xmlns:a16="http://schemas.microsoft.com/office/drawing/2014/main" id="{2801FFE0-5296-F268-FBE1-E6D8ACFB1C84}"/>
              </a:ext>
            </a:extLst>
          </p:cNvPr>
          <p:cNvSpPr txBox="1"/>
          <p:nvPr/>
        </p:nvSpPr>
        <p:spPr>
          <a:xfrm>
            <a:off x="4295074" y="2664398"/>
            <a:ext cx="4617357" cy="3785652"/>
          </a:xfrm>
          <a:prstGeom prst="rect">
            <a:avLst/>
          </a:prstGeom>
          <a:noFill/>
        </p:spPr>
        <p:txBody>
          <a:bodyPr wrap="square" rtlCol="0">
            <a:spAutoFit/>
          </a:bodyPr>
          <a:lstStyle/>
          <a:p>
            <a:pPr marL="285750" indent="-285750">
              <a:buFont typeface="Arial" panose="020B0604020202020204" pitchFamily="34" charset="0"/>
              <a:buChar char="•"/>
            </a:pPr>
            <a:endParaRPr lang="en-US" sz="1200"/>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b="1"/>
              <a:t>Uber</a:t>
            </a:r>
            <a:r>
              <a:rPr lang="en-US" sz="1200"/>
              <a:t> and </a:t>
            </a:r>
            <a:r>
              <a:rPr lang="en-US" sz="1200" b="1"/>
              <a:t>DoorDash</a:t>
            </a:r>
            <a:r>
              <a:rPr lang="en-US" sz="1200"/>
              <a:t> both had a significant </a:t>
            </a:r>
            <a:r>
              <a:rPr lang="en-US" sz="1200" b="1"/>
              <a:t>increase</a:t>
            </a:r>
            <a:r>
              <a:rPr lang="en-US" sz="1200"/>
              <a:t> in </a:t>
            </a:r>
            <a:r>
              <a:rPr lang="en-US" sz="1200" b="1"/>
              <a:t>revenue</a:t>
            </a:r>
            <a:r>
              <a:rPr lang="en-US" sz="1200"/>
              <a:t> and </a:t>
            </a:r>
            <a:r>
              <a:rPr lang="en-US" sz="1200" b="1"/>
              <a:t>market share </a:t>
            </a:r>
            <a:r>
              <a:rPr lang="en-US" sz="1200"/>
              <a:t>over the past years, as reflected in the rising trend in the provided chart</a:t>
            </a:r>
          </a:p>
          <a:p>
            <a:pPr marL="285750" indent="-285750">
              <a:buFont typeface="Arial" panose="020B0604020202020204" pitchFamily="34" charset="0"/>
              <a:buChar char="•"/>
            </a:pPr>
            <a:r>
              <a:rPr lang="en-US" sz="1200" b="1"/>
              <a:t>UberEats</a:t>
            </a:r>
            <a:r>
              <a:rPr lang="en-US" sz="1200"/>
              <a:t> has firmly established itself in the </a:t>
            </a:r>
            <a:r>
              <a:rPr lang="en-US" sz="1200" b="1"/>
              <a:t>US food delivery market</a:t>
            </a:r>
            <a:r>
              <a:rPr lang="en-US" sz="1200"/>
              <a:t> and holds a </a:t>
            </a:r>
            <a:r>
              <a:rPr lang="en-US" sz="1200" b="1"/>
              <a:t>23% market share</a:t>
            </a:r>
            <a:r>
              <a:rPr lang="en-US" sz="1200"/>
              <a:t>, showing based on the recent growth in </a:t>
            </a:r>
            <a:r>
              <a:rPr lang="en-US" sz="1200" b="1"/>
              <a:t>UberEats Revenue Share </a:t>
            </a:r>
            <a:r>
              <a:rPr lang="en-US" sz="1200"/>
              <a:t>clear potential in this market</a:t>
            </a:r>
          </a:p>
          <a:p>
            <a:endParaRPr lang="en-US" sz="1200"/>
          </a:p>
          <a:p>
            <a:pPr marL="285750" indent="-285750">
              <a:buFont typeface="Arial" panose="020B0604020202020204" pitchFamily="34" charset="0"/>
              <a:buChar char="•"/>
            </a:pPr>
            <a:r>
              <a:rPr lang="en-US" sz="1200" b="1"/>
              <a:t>UberEats</a:t>
            </a:r>
            <a:r>
              <a:rPr lang="en-US" sz="1200"/>
              <a:t> challenges in </a:t>
            </a:r>
            <a:r>
              <a:rPr lang="en-US" sz="1200" b="1"/>
              <a:t>Germany</a:t>
            </a:r>
            <a:r>
              <a:rPr lang="en-US" sz="1200"/>
              <a:t> include </a:t>
            </a:r>
            <a:r>
              <a:rPr lang="en-US" sz="1200" b="1"/>
              <a:t>tough</a:t>
            </a:r>
            <a:r>
              <a:rPr lang="en-US" sz="1200"/>
              <a:t> </a:t>
            </a:r>
            <a:r>
              <a:rPr lang="en-US" sz="1200" b="1"/>
              <a:t>competition</a:t>
            </a:r>
            <a:r>
              <a:rPr lang="en-US" sz="1200"/>
              <a:t>, complex </a:t>
            </a:r>
            <a:r>
              <a:rPr lang="en-US" sz="1200" b="1"/>
              <a:t>regulations</a:t>
            </a:r>
            <a:r>
              <a:rPr lang="en-US" sz="1200"/>
              <a:t>, </a:t>
            </a:r>
            <a:r>
              <a:rPr lang="en-US" sz="1200" b="1"/>
              <a:t>cultural differences</a:t>
            </a:r>
            <a:r>
              <a:rPr lang="en-US" sz="1200"/>
              <a:t>, and </a:t>
            </a:r>
            <a:r>
              <a:rPr lang="en-US" sz="1200" b="1"/>
              <a:t>urban-centric focus</a:t>
            </a:r>
          </a:p>
          <a:p>
            <a:pPr marL="285750" indent="-285750">
              <a:buFont typeface="Arial" panose="020B0604020202020204" pitchFamily="34" charset="0"/>
              <a:buChar char="•"/>
            </a:pPr>
            <a:r>
              <a:rPr lang="en-US" sz="1200" b="1"/>
              <a:t>UberEats</a:t>
            </a:r>
            <a:r>
              <a:rPr lang="en-US" sz="1200"/>
              <a:t> thrives in </a:t>
            </a:r>
            <a:r>
              <a:rPr lang="en-US" sz="1200" b="1"/>
              <a:t>France</a:t>
            </a:r>
            <a:r>
              <a:rPr lang="en-US" sz="1200"/>
              <a:t> due to </a:t>
            </a:r>
            <a:r>
              <a:rPr lang="en-US" sz="1200" b="1"/>
              <a:t>less competition</a:t>
            </a:r>
            <a:r>
              <a:rPr lang="en-US" sz="1200"/>
              <a:t>, fewer </a:t>
            </a:r>
            <a:r>
              <a:rPr lang="en-US" sz="1200" b="1"/>
              <a:t>regulatory hurdles</a:t>
            </a:r>
            <a:r>
              <a:rPr lang="en-US" sz="1200"/>
              <a:t>, strong </a:t>
            </a:r>
            <a:r>
              <a:rPr lang="en-US" sz="1200" b="1"/>
              <a:t>food delivery culture</a:t>
            </a:r>
            <a:r>
              <a:rPr lang="en-US" sz="1200"/>
              <a:t>, and </a:t>
            </a:r>
            <a:r>
              <a:rPr lang="en-US" sz="1200" b="1"/>
              <a:t>nationwide coverage</a:t>
            </a:r>
            <a:r>
              <a:rPr lang="en-US" sz="1200"/>
              <a:t>, making it the top delivery platform there</a:t>
            </a:r>
          </a:p>
          <a:p>
            <a:pPr marL="285750" indent="-285750">
              <a:buFont typeface="Arial" panose="020B0604020202020204" pitchFamily="34" charset="0"/>
              <a:buChar char="•"/>
            </a:pPr>
            <a:r>
              <a:rPr lang="en-US" sz="1200" b="1"/>
              <a:t>UberEats</a:t>
            </a:r>
            <a:r>
              <a:rPr lang="en-US" sz="1200"/>
              <a:t> </a:t>
            </a:r>
            <a:r>
              <a:rPr lang="en-US" sz="1200" b="1"/>
              <a:t>global growth </a:t>
            </a:r>
            <a:r>
              <a:rPr lang="en-US" sz="1200"/>
              <a:t>highlights the </a:t>
            </a:r>
            <a:r>
              <a:rPr lang="en-US" sz="1200" b="1"/>
              <a:t>importance</a:t>
            </a:r>
            <a:r>
              <a:rPr lang="en-US" sz="1200"/>
              <a:t> </a:t>
            </a:r>
            <a:r>
              <a:rPr lang="en-US" sz="1200" b="1"/>
              <a:t>of tailored strategies</a:t>
            </a:r>
            <a:r>
              <a:rPr lang="en-US" sz="1200"/>
              <a:t> to compete effectively in diverse markets</a:t>
            </a:r>
          </a:p>
        </p:txBody>
      </p:sp>
      <p:graphicFrame>
        <p:nvGraphicFramePr>
          <p:cNvPr id="16" name="Diagramm 15">
            <a:extLst>
              <a:ext uri="{FF2B5EF4-FFF2-40B4-BE49-F238E27FC236}">
                <a16:creationId xmlns:a16="http://schemas.microsoft.com/office/drawing/2014/main" id="{3759936B-E862-F4A7-A5EE-B0E3F05F7035}"/>
              </a:ext>
            </a:extLst>
          </p:cNvPr>
          <p:cNvGraphicFramePr>
            <a:graphicFrameLocks/>
          </p:cNvGraphicFramePr>
          <p:nvPr>
            <p:custDataLst>
              <p:tags r:id="rId6"/>
            </p:custDataLst>
            <p:extLst>
              <p:ext uri="{D42A27DB-BD31-4B8C-83A1-F6EECF244321}">
                <p14:modId xmlns:p14="http://schemas.microsoft.com/office/powerpoint/2010/main" val="3944643257"/>
              </p:ext>
            </p:extLst>
          </p:nvPr>
        </p:nvGraphicFramePr>
        <p:xfrm>
          <a:off x="4295074" y="2081127"/>
          <a:ext cx="4572000" cy="1540449"/>
        </p:xfrm>
        <a:graphic>
          <a:graphicData uri="http://schemas.openxmlformats.org/drawingml/2006/chart">
            <c:chart xmlns:c="http://schemas.openxmlformats.org/drawingml/2006/chart" xmlns:r="http://schemas.openxmlformats.org/officeDocument/2006/relationships" r:id="rId16"/>
          </a:graphicData>
        </a:graphic>
      </p:graphicFrame>
    </p:spTree>
    <p:extLst>
      <p:ext uri="{BB962C8B-B14F-4D97-AF65-F5344CB8AC3E}">
        <p14:creationId xmlns:p14="http://schemas.microsoft.com/office/powerpoint/2010/main" val="25282918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D47155B-043F-D268-F962-759AE4634D51}"/>
              </a:ext>
            </a:extLst>
          </p:cNvPr>
          <p:cNvGraphicFramePr>
            <a:graphicFrameLocks noChangeAspect="1"/>
          </p:cNvGraphicFramePr>
          <p:nvPr>
            <p:custDataLst>
              <p:tags r:id="rId1"/>
            </p:custDataLst>
            <p:extLst>
              <p:ext uri="{D42A27DB-BD31-4B8C-83A1-F6EECF244321}">
                <p14:modId xmlns:p14="http://schemas.microsoft.com/office/powerpoint/2010/main" val="2707005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8" imgH="408" progId="TCLayout.ActiveDocument.1">
                  <p:embed/>
                </p:oleObj>
              </mc:Choice>
              <mc:Fallback>
                <p:oleObj name="think-cell Folie" r:id="rId7" imgW="408" imgH="408" progId="TCLayout.ActiveDocument.1">
                  <p:embed/>
                  <p:pic>
                    <p:nvPicPr>
                      <p:cNvPr id="9" name="think-cell data - do not delete" hidden="1">
                        <a:extLst>
                          <a:ext uri="{FF2B5EF4-FFF2-40B4-BE49-F238E27FC236}">
                            <a16:creationId xmlns:a16="http://schemas.microsoft.com/office/drawing/2014/main" id="{9D47155B-043F-D268-F962-759AE4634D5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2" name="Diagramm 1">
            <a:extLst>
              <a:ext uri="{FF2B5EF4-FFF2-40B4-BE49-F238E27FC236}">
                <a16:creationId xmlns:a16="http://schemas.microsoft.com/office/drawing/2014/main" id="{DC5DE451-4FAD-8833-C61B-77EAD7E809C4}"/>
              </a:ext>
            </a:extLst>
          </p:cNvPr>
          <p:cNvGraphicFramePr>
            <a:graphicFrameLocks/>
          </p:cNvGraphicFramePr>
          <p:nvPr>
            <p:custDataLst>
              <p:tags r:id="rId2"/>
            </p:custDataLst>
            <p:extLst>
              <p:ext uri="{D42A27DB-BD31-4B8C-83A1-F6EECF244321}">
                <p14:modId xmlns:p14="http://schemas.microsoft.com/office/powerpoint/2010/main" val="989692695"/>
              </p:ext>
            </p:extLst>
          </p:nvPr>
        </p:nvGraphicFramePr>
        <p:xfrm>
          <a:off x="359997" y="2018203"/>
          <a:ext cx="4959716" cy="2039447"/>
        </p:xfrm>
        <a:graphic>
          <a:graphicData uri="http://schemas.openxmlformats.org/drawingml/2006/chart">
            <c:chart xmlns:c="http://schemas.openxmlformats.org/drawingml/2006/chart" xmlns:r="http://schemas.openxmlformats.org/officeDocument/2006/relationships" r:id="rId9"/>
          </a:graphicData>
        </a:graphic>
      </p:graphicFrame>
      <p:sp>
        <p:nvSpPr>
          <p:cNvPr id="4" name="Foliennummernplatzhalter 3">
            <a:extLst>
              <a:ext uri="{FF2B5EF4-FFF2-40B4-BE49-F238E27FC236}">
                <a16:creationId xmlns:a16="http://schemas.microsoft.com/office/drawing/2014/main" id="{65031C8A-B73D-A3B1-1237-4589974E064D}"/>
              </a:ext>
            </a:extLst>
          </p:cNvPr>
          <p:cNvSpPr>
            <a:spLocks noGrp="1"/>
          </p:cNvSpPr>
          <p:nvPr>
            <p:ph type="sldNum" sz="quarter" idx="4"/>
          </p:nvPr>
        </p:nvSpPr>
        <p:spPr/>
        <p:txBody>
          <a:bodyPr/>
          <a:lstStyle/>
          <a:p>
            <a:fld id="{BAF04893-69FB-435D-AB2E-CA259D85B32F}" type="slidenum">
              <a:rPr lang="en-US" smtClean="0"/>
              <a:pPr/>
              <a:t>28</a:t>
            </a:fld>
            <a:endParaRPr lang="en-US"/>
          </a:p>
        </p:txBody>
      </p:sp>
      <p:sp>
        <p:nvSpPr>
          <p:cNvPr id="6" name="Inhaltsplatzhalter 5">
            <a:extLst>
              <a:ext uri="{FF2B5EF4-FFF2-40B4-BE49-F238E27FC236}">
                <a16:creationId xmlns:a16="http://schemas.microsoft.com/office/drawing/2014/main" id="{A7C86C26-4362-6963-9B90-7AA23DE2CFFD}"/>
              </a:ext>
            </a:extLst>
          </p:cNvPr>
          <p:cNvSpPr>
            <a:spLocks noGrp="1"/>
          </p:cNvSpPr>
          <p:nvPr>
            <p:ph idx="11"/>
          </p:nvPr>
        </p:nvSpPr>
        <p:spPr/>
        <p:txBody>
          <a:bodyPr/>
          <a:lstStyle/>
          <a:p>
            <a:r>
              <a:rPr lang="en-US"/>
              <a:t>Annual Reports Uber, Lyft, Etsy, eBay</a:t>
            </a:r>
          </a:p>
        </p:txBody>
      </p:sp>
      <p:sp>
        <p:nvSpPr>
          <p:cNvPr id="7" name="Inhaltsplatzhalter 6">
            <a:extLst>
              <a:ext uri="{FF2B5EF4-FFF2-40B4-BE49-F238E27FC236}">
                <a16:creationId xmlns:a16="http://schemas.microsoft.com/office/drawing/2014/main" id="{C3BE0EFA-37A6-1AAE-9238-A75FB08EEB3B}"/>
              </a:ext>
            </a:extLst>
          </p:cNvPr>
          <p:cNvSpPr>
            <a:spLocks noGrp="1"/>
          </p:cNvSpPr>
          <p:nvPr>
            <p:ph idx="12"/>
          </p:nvPr>
        </p:nvSpPr>
        <p:spPr/>
        <p:txBody>
          <a:bodyPr/>
          <a:lstStyle/>
          <a:p>
            <a:r>
              <a:rPr lang="en-US"/>
              <a:t>Corporate Lifecycle</a:t>
            </a:r>
          </a:p>
          <a:p>
            <a:endParaRPr lang="en-US"/>
          </a:p>
        </p:txBody>
      </p:sp>
      <p:sp>
        <p:nvSpPr>
          <p:cNvPr id="13" name="Titel 1">
            <a:extLst>
              <a:ext uri="{FF2B5EF4-FFF2-40B4-BE49-F238E27FC236}">
                <a16:creationId xmlns:a16="http://schemas.microsoft.com/office/drawing/2014/main" id="{D388B387-A3E7-7EA1-9070-A31F6FA6879C}"/>
              </a:ext>
            </a:extLst>
          </p:cNvPr>
          <p:cNvSpPr>
            <a:spLocks noGrp="1"/>
          </p:cNvSpPr>
          <p:nvPr>
            <p:ph type="title"/>
          </p:nvPr>
        </p:nvSpPr>
        <p:spPr>
          <a:xfrm>
            <a:off x="359998" y="1268413"/>
            <a:ext cx="8568102" cy="646747"/>
          </a:xfrm>
        </p:spPr>
        <p:txBody>
          <a:bodyPr vert="horz"/>
          <a:lstStyle/>
          <a:p>
            <a:r>
              <a:rPr lang="en-US"/>
              <a:t>Uber and Lyft are spending significantly more per customer on advertising than other 2-sided Platform businesses</a:t>
            </a:r>
          </a:p>
        </p:txBody>
      </p:sp>
      <p:sp>
        <p:nvSpPr>
          <p:cNvPr id="14" name="Inhaltsplatzhalter 4">
            <a:extLst>
              <a:ext uri="{FF2B5EF4-FFF2-40B4-BE49-F238E27FC236}">
                <a16:creationId xmlns:a16="http://schemas.microsoft.com/office/drawing/2014/main" id="{52AA7DD2-BB60-7533-CCFE-8201A4BCA192}"/>
              </a:ext>
            </a:extLst>
          </p:cNvPr>
          <p:cNvSpPr txBox="1">
            <a:spLocks/>
          </p:cNvSpPr>
          <p:nvPr/>
        </p:nvSpPr>
        <p:spPr>
          <a:xfrm>
            <a:off x="359997" y="912307"/>
            <a:ext cx="8568103" cy="28466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baseline="0">
                <a:solidFill>
                  <a:schemeClr val="tx1"/>
                </a:solidFill>
                <a:latin typeface="+mn-lt"/>
                <a:ea typeface="+mn-ea"/>
                <a:cs typeface="+mn-cs"/>
              </a:defRPr>
            </a:lvl1pPr>
            <a:lvl2pPr marL="179388" marR="0" indent="-179388" algn="l" defTabSz="896938" rtl="0" eaLnBrk="1" fontAlgn="auto" latinLnBrk="0" hangingPunct="1">
              <a:lnSpc>
                <a:spcPct val="90000"/>
              </a:lnSpc>
              <a:spcBef>
                <a:spcPts val="500"/>
              </a:spcBef>
              <a:spcAft>
                <a:spcPts val="0"/>
              </a:spcAft>
              <a:buClrTx/>
              <a:buSzTx/>
              <a:buFont typeface="Arial" panose="020B0604020202020204" pitchFamily="34" charset="0"/>
              <a:buNone/>
              <a:tabLst/>
              <a:defRPr sz="1600" kern="1200" baseline="0">
                <a:solidFill>
                  <a:schemeClr val="tx1"/>
                </a:solidFill>
                <a:latin typeface="+mn-lt"/>
                <a:ea typeface="+mn-ea"/>
                <a:cs typeface="+mn-cs"/>
              </a:defRPr>
            </a:lvl2pPr>
            <a:lvl3pPr marL="358775"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Nonfinancial KPIs</a:t>
            </a:r>
          </a:p>
        </p:txBody>
      </p:sp>
      <p:graphicFrame>
        <p:nvGraphicFramePr>
          <p:cNvPr id="5" name="Diagramm 4">
            <a:extLst>
              <a:ext uri="{FF2B5EF4-FFF2-40B4-BE49-F238E27FC236}">
                <a16:creationId xmlns:a16="http://schemas.microsoft.com/office/drawing/2014/main" id="{5100C9E4-704E-4178-A046-CEEE7A2EF08F}"/>
              </a:ext>
            </a:extLst>
          </p:cNvPr>
          <p:cNvGraphicFramePr>
            <a:graphicFrameLocks/>
          </p:cNvGraphicFramePr>
          <p:nvPr>
            <p:custDataLst>
              <p:tags r:id="rId3"/>
            </p:custDataLst>
            <p:extLst>
              <p:ext uri="{D42A27DB-BD31-4B8C-83A1-F6EECF244321}">
                <p14:modId xmlns:p14="http://schemas.microsoft.com/office/powerpoint/2010/main" val="2442352122"/>
              </p:ext>
            </p:extLst>
          </p:nvPr>
        </p:nvGraphicFramePr>
        <p:xfrm>
          <a:off x="359998" y="4160693"/>
          <a:ext cx="4959715" cy="2039447"/>
        </p:xfrm>
        <a:graphic>
          <a:graphicData uri="http://schemas.openxmlformats.org/drawingml/2006/chart">
            <c:chart xmlns:c="http://schemas.openxmlformats.org/drawingml/2006/chart" xmlns:r="http://schemas.openxmlformats.org/officeDocument/2006/relationships" r:id="rId10"/>
          </a:graphicData>
        </a:graphic>
      </p:graphicFrame>
      <p:sp>
        <p:nvSpPr>
          <p:cNvPr id="8" name="Textfeld 7">
            <a:extLst>
              <a:ext uri="{FF2B5EF4-FFF2-40B4-BE49-F238E27FC236}">
                <a16:creationId xmlns:a16="http://schemas.microsoft.com/office/drawing/2014/main" id="{574501C7-6ECF-931D-3D51-8B3A6EA5CCE5}"/>
              </a:ext>
            </a:extLst>
          </p:cNvPr>
          <p:cNvSpPr txBox="1"/>
          <p:nvPr/>
        </p:nvSpPr>
        <p:spPr>
          <a:xfrm>
            <a:off x="5694657" y="2018203"/>
            <a:ext cx="3164863" cy="4339650"/>
          </a:xfrm>
          <a:prstGeom prst="rect">
            <a:avLst/>
          </a:prstGeom>
          <a:noFill/>
        </p:spPr>
        <p:txBody>
          <a:bodyPr wrap="square" rtlCol="0">
            <a:spAutoFit/>
          </a:bodyPr>
          <a:lstStyle/>
          <a:p>
            <a:pPr marL="285750" indent="-285750">
              <a:buFont typeface="Arial" panose="020B0604020202020204" pitchFamily="34" charset="0"/>
              <a:buChar char="•"/>
            </a:pPr>
            <a:r>
              <a:rPr lang="en-US" sz="1200" b="1"/>
              <a:t>Number of MAPC (Monthly Active Platform Consumers)</a:t>
            </a:r>
            <a:r>
              <a:rPr lang="en-US" sz="1200"/>
              <a:t>:</a:t>
            </a:r>
            <a:r>
              <a:rPr lang="en-US" sz="1200" b="1"/>
              <a:t> </a:t>
            </a:r>
            <a:r>
              <a:rPr lang="en-US" sz="1200"/>
              <a:t>This is a key performance indicator of active consumer base size and engagement level over time</a:t>
            </a:r>
          </a:p>
          <a:p>
            <a:endParaRPr lang="en-US" sz="1200"/>
          </a:p>
          <a:p>
            <a:pPr marL="285750" indent="-285750">
              <a:buFont typeface="Arial" panose="020B0604020202020204" pitchFamily="34" charset="0"/>
              <a:buChar char="•"/>
            </a:pPr>
            <a:r>
              <a:rPr lang="en-US" sz="1200" b="1"/>
              <a:t>Uber</a:t>
            </a:r>
            <a:r>
              <a:rPr lang="en-US" sz="1200"/>
              <a:t> and </a:t>
            </a:r>
            <a:r>
              <a:rPr lang="en-US" sz="1200" b="1"/>
              <a:t>Lyft</a:t>
            </a:r>
            <a:r>
              <a:rPr lang="en-US" sz="1200"/>
              <a:t> have </a:t>
            </a:r>
            <a:r>
              <a:rPr lang="en-US" sz="1200" b="1"/>
              <a:t>invested</a:t>
            </a:r>
            <a:r>
              <a:rPr lang="en-US" sz="1200"/>
              <a:t> </a:t>
            </a:r>
            <a:r>
              <a:rPr lang="en-US" sz="1200" b="1"/>
              <a:t>heavily</a:t>
            </a:r>
            <a:r>
              <a:rPr lang="en-US" sz="1200"/>
              <a:t> in </a:t>
            </a:r>
            <a:r>
              <a:rPr lang="en-US" sz="1200" b="1"/>
              <a:t>advertising</a:t>
            </a:r>
            <a:r>
              <a:rPr lang="en-US" sz="1200"/>
              <a:t> over the years, which emphasizes the </a:t>
            </a:r>
            <a:r>
              <a:rPr lang="en-US" sz="1200" b="1"/>
              <a:t>importance</a:t>
            </a:r>
            <a:r>
              <a:rPr lang="en-US" sz="1200"/>
              <a:t> of </a:t>
            </a:r>
            <a:r>
              <a:rPr lang="en-US" sz="1200" b="1"/>
              <a:t>marketing</a:t>
            </a:r>
            <a:r>
              <a:rPr lang="en-US" sz="1200"/>
              <a:t> in the </a:t>
            </a:r>
            <a:r>
              <a:rPr lang="en-US" sz="1200" b="1"/>
              <a:t>passenger transport </a:t>
            </a:r>
            <a:r>
              <a:rPr lang="en-US" sz="1200"/>
              <a:t>and </a:t>
            </a:r>
            <a:r>
              <a:rPr lang="en-US" sz="1200" b="1"/>
              <a:t>food delivery industry</a:t>
            </a:r>
            <a:r>
              <a:rPr lang="en-US" sz="1200"/>
              <a:t> especially in </a:t>
            </a:r>
            <a:r>
              <a:rPr lang="en-US" sz="1200" b="1"/>
              <a:t>comparison</a:t>
            </a:r>
            <a:r>
              <a:rPr lang="en-US" sz="1200"/>
              <a:t> to other </a:t>
            </a:r>
            <a:r>
              <a:rPr lang="en-US" sz="1200" b="1"/>
              <a:t>2-sided Platform businesses </a:t>
            </a:r>
            <a:r>
              <a:rPr lang="en-US" sz="1200"/>
              <a:t>like eBay or Etsy</a:t>
            </a:r>
          </a:p>
          <a:p>
            <a:pPr marL="285750" indent="-285750">
              <a:buFont typeface="Arial" panose="020B0604020202020204" pitchFamily="34" charset="0"/>
              <a:buChar char="•"/>
            </a:pPr>
            <a:r>
              <a:rPr lang="en-US" sz="1200"/>
              <a:t>Uber spends nearly </a:t>
            </a:r>
            <a:r>
              <a:rPr lang="en-US" sz="1200" b="1"/>
              <a:t>50% more per Customer</a:t>
            </a:r>
            <a:r>
              <a:rPr lang="en-US" sz="1200"/>
              <a:t> on Advertisement than Lyft</a:t>
            </a:r>
          </a:p>
          <a:p>
            <a:endParaRPr lang="en-US" sz="1200"/>
          </a:p>
          <a:p>
            <a:r>
              <a:rPr lang="en-US" sz="1200"/>
              <a:t>The steady advertising investments despite the fluctuations </a:t>
            </a:r>
            <a:r>
              <a:rPr lang="en-US" sz="1200" b="1"/>
              <a:t>indicate that spending </a:t>
            </a:r>
            <a:r>
              <a:rPr lang="en-US" sz="1200"/>
              <a:t>on </a:t>
            </a:r>
            <a:r>
              <a:rPr lang="en-US" sz="1200" b="1"/>
              <a:t>Advertisement</a:t>
            </a:r>
            <a:r>
              <a:rPr lang="en-US" sz="1200"/>
              <a:t> is a lot </a:t>
            </a:r>
            <a:r>
              <a:rPr lang="en-US" sz="1200" b="1"/>
              <a:t>higher in the transportation industry </a:t>
            </a:r>
            <a:r>
              <a:rPr lang="en-US" sz="1200"/>
              <a:t>than in other industries like an online sales platform. </a:t>
            </a:r>
            <a:r>
              <a:rPr lang="en-US" sz="1200" b="1"/>
              <a:t>Etsy</a:t>
            </a:r>
            <a:r>
              <a:rPr lang="en-US" sz="1200"/>
              <a:t> for example </a:t>
            </a:r>
            <a:r>
              <a:rPr lang="en-US" sz="1200" b="1"/>
              <a:t>managed</a:t>
            </a:r>
            <a:r>
              <a:rPr lang="en-US" sz="1200"/>
              <a:t> to </a:t>
            </a:r>
            <a:r>
              <a:rPr lang="en-US" sz="1200" b="1"/>
              <a:t>rapidly grow,</a:t>
            </a:r>
            <a:r>
              <a:rPr lang="en-US" sz="1200"/>
              <a:t> enhanced through the pandemic, </a:t>
            </a:r>
            <a:r>
              <a:rPr lang="en-US" sz="1200" b="1"/>
              <a:t>while spending only a third as much per customer on advertising</a:t>
            </a:r>
            <a:r>
              <a:rPr lang="en-US" sz="1200"/>
              <a:t>.</a:t>
            </a:r>
          </a:p>
        </p:txBody>
      </p:sp>
    </p:spTree>
    <p:extLst>
      <p:ext uri="{BB962C8B-B14F-4D97-AF65-F5344CB8AC3E}">
        <p14:creationId xmlns:p14="http://schemas.microsoft.com/office/powerpoint/2010/main" val="2021655579"/>
      </p:ext>
    </p:extLst>
  </p:cSld>
  <p:clrMapOvr>
    <a:masterClrMapping/>
  </p:clrMapOvr>
  <p:extLst>
    <p:ext uri="{6950BFC3-D8DA-4A85-94F7-54DA5524770B}">
      <p188:commentRel xmlns:p188="http://schemas.microsoft.com/office/powerpoint/2018/8/main" r:id="rId6"/>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9E38067-268F-FDE5-DCF4-960123441D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10" name="think-cell data - do not delete" hidden="1">
                        <a:extLst>
                          <a:ext uri="{FF2B5EF4-FFF2-40B4-BE49-F238E27FC236}">
                            <a16:creationId xmlns:a16="http://schemas.microsoft.com/office/drawing/2014/main" id="{B9E38067-268F-FDE5-DCF4-960123441D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7AC58F6-482D-1F5B-F425-A94C8B9381D3}"/>
              </a:ext>
            </a:extLst>
          </p:cNvPr>
          <p:cNvSpPr>
            <a:spLocks noGrp="1"/>
          </p:cNvSpPr>
          <p:nvPr>
            <p:ph type="title"/>
          </p:nvPr>
        </p:nvSpPr>
        <p:spPr/>
        <p:txBody>
          <a:bodyPr vert="horz"/>
          <a:lstStyle/>
          <a:p>
            <a:r>
              <a:rPr lang="en-US"/>
              <a:t>Uber is the first company in the industry to reach a positive operational cash-flow highlighting its slow transition into maturity</a:t>
            </a:r>
          </a:p>
        </p:txBody>
      </p:sp>
      <p:sp>
        <p:nvSpPr>
          <p:cNvPr id="4" name="Foliennummernplatzhalter 3">
            <a:extLst>
              <a:ext uri="{FF2B5EF4-FFF2-40B4-BE49-F238E27FC236}">
                <a16:creationId xmlns:a16="http://schemas.microsoft.com/office/drawing/2014/main" id="{1967844B-23F1-38A8-FC1C-34DCE16FC847}"/>
              </a:ext>
            </a:extLst>
          </p:cNvPr>
          <p:cNvSpPr>
            <a:spLocks noGrp="1"/>
          </p:cNvSpPr>
          <p:nvPr>
            <p:ph type="sldNum" sz="quarter" idx="4"/>
          </p:nvPr>
        </p:nvSpPr>
        <p:spPr/>
        <p:txBody>
          <a:bodyPr/>
          <a:lstStyle/>
          <a:p>
            <a:fld id="{BAF04893-69FB-435D-AB2E-CA259D85B32F}" type="slidenum">
              <a:rPr lang="en-US" smtClean="0"/>
              <a:pPr/>
              <a:t>29</a:t>
            </a:fld>
            <a:endParaRPr lang="en-US"/>
          </a:p>
        </p:txBody>
      </p:sp>
      <p:sp>
        <p:nvSpPr>
          <p:cNvPr id="5" name="Inhaltsplatzhalter 4">
            <a:extLst>
              <a:ext uri="{FF2B5EF4-FFF2-40B4-BE49-F238E27FC236}">
                <a16:creationId xmlns:a16="http://schemas.microsoft.com/office/drawing/2014/main" id="{52767825-D0AC-3C6C-9E29-8E3EEB24E48F}"/>
              </a:ext>
            </a:extLst>
          </p:cNvPr>
          <p:cNvSpPr>
            <a:spLocks noGrp="1"/>
          </p:cNvSpPr>
          <p:nvPr>
            <p:ph idx="10"/>
          </p:nvPr>
        </p:nvSpPr>
        <p:spPr/>
        <p:txBody>
          <a:bodyPr/>
          <a:lstStyle/>
          <a:p>
            <a:r>
              <a:rPr lang="en-US"/>
              <a:t>Cashflow</a:t>
            </a:r>
          </a:p>
        </p:txBody>
      </p:sp>
      <p:sp>
        <p:nvSpPr>
          <p:cNvPr id="6" name="Inhaltsplatzhalter 5">
            <a:extLst>
              <a:ext uri="{FF2B5EF4-FFF2-40B4-BE49-F238E27FC236}">
                <a16:creationId xmlns:a16="http://schemas.microsoft.com/office/drawing/2014/main" id="{3435E704-5FB6-D280-72B0-F62D4504859B}"/>
              </a:ext>
            </a:extLst>
          </p:cNvPr>
          <p:cNvSpPr>
            <a:spLocks noGrp="1"/>
          </p:cNvSpPr>
          <p:nvPr>
            <p:ph idx="11"/>
          </p:nvPr>
        </p:nvSpPr>
        <p:spPr/>
        <p:txBody>
          <a:bodyPr/>
          <a:lstStyle/>
          <a:p>
            <a:r>
              <a:rPr lang="en-US">
                <a:hlinkClick r:id="rId7"/>
              </a:rPr>
              <a:t>Reuters 2022</a:t>
            </a:r>
            <a:r>
              <a:rPr lang="en-US"/>
              <a:t>, Methods of Dynamic Economics – Hicks (1987)</a:t>
            </a:r>
          </a:p>
        </p:txBody>
      </p:sp>
      <p:sp>
        <p:nvSpPr>
          <p:cNvPr id="7" name="Inhaltsplatzhalter 6">
            <a:extLst>
              <a:ext uri="{FF2B5EF4-FFF2-40B4-BE49-F238E27FC236}">
                <a16:creationId xmlns:a16="http://schemas.microsoft.com/office/drawing/2014/main" id="{88F653BC-5732-0F65-02FA-FAD594233B83}"/>
              </a:ext>
            </a:extLst>
          </p:cNvPr>
          <p:cNvSpPr>
            <a:spLocks noGrp="1"/>
          </p:cNvSpPr>
          <p:nvPr>
            <p:ph idx="12"/>
          </p:nvPr>
        </p:nvSpPr>
        <p:spPr/>
        <p:txBody>
          <a:bodyPr/>
          <a:lstStyle/>
          <a:p>
            <a:r>
              <a:rPr lang="en-US"/>
              <a:t>Corporate Lifecycle</a:t>
            </a:r>
          </a:p>
        </p:txBody>
      </p:sp>
      <p:graphicFrame>
        <p:nvGraphicFramePr>
          <p:cNvPr id="8" name="Diagramm 7">
            <a:extLst>
              <a:ext uri="{FF2B5EF4-FFF2-40B4-BE49-F238E27FC236}">
                <a16:creationId xmlns:a16="http://schemas.microsoft.com/office/drawing/2014/main" id="{366FE105-6C97-828F-6DA3-02E1165C41BE}"/>
              </a:ext>
            </a:extLst>
          </p:cNvPr>
          <p:cNvGraphicFramePr>
            <a:graphicFrameLocks/>
          </p:cNvGraphicFramePr>
          <p:nvPr>
            <p:custDataLst>
              <p:tags r:id="rId2"/>
            </p:custDataLst>
            <p:extLst>
              <p:ext uri="{D42A27DB-BD31-4B8C-83A1-F6EECF244321}">
                <p14:modId xmlns:p14="http://schemas.microsoft.com/office/powerpoint/2010/main" val="1109199010"/>
              </p:ext>
            </p:extLst>
          </p:nvPr>
        </p:nvGraphicFramePr>
        <p:xfrm>
          <a:off x="359998" y="2057399"/>
          <a:ext cx="3792022" cy="1885951"/>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feld 8">
            <a:extLst>
              <a:ext uri="{FF2B5EF4-FFF2-40B4-BE49-F238E27FC236}">
                <a16:creationId xmlns:a16="http://schemas.microsoft.com/office/drawing/2014/main" id="{BD66EC98-2340-D749-4EF0-AA98F214DBD9}"/>
              </a:ext>
            </a:extLst>
          </p:cNvPr>
          <p:cNvSpPr txBox="1"/>
          <p:nvPr/>
        </p:nvSpPr>
        <p:spPr>
          <a:xfrm>
            <a:off x="359997" y="4216030"/>
            <a:ext cx="3792022" cy="1938992"/>
          </a:xfrm>
          <a:prstGeom prst="rect">
            <a:avLst/>
          </a:prstGeom>
          <a:noFill/>
        </p:spPr>
        <p:txBody>
          <a:bodyPr wrap="square" rtlCol="0">
            <a:spAutoFit/>
          </a:bodyPr>
          <a:lstStyle/>
          <a:p>
            <a:pPr marL="285750" indent="-285750">
              <a:buFont typeface="Arial" panose="020B0604020202020204" pitchFamily="34" charset="0"/>
              <a:buChar char="•"/>
            </a:pPr>
            <a:r>
              <a:rPr lang="en-US" sz="1200" b="1"/>
              <a:t>Negative Cash Flow</a:t>
            </a:r>
            <a:r>
              <a:rPr lang="en-US" sz="1200"/>
              <a:t>: </a:t>
            </a:r>
            <a:r>
              <a:rPr lang="en-US" sz="1200" b="1"/>
              <a:t>All</a:t>
            </a:r>
            <a:r>
              <a:rPr lang="en-US" sz="1200"/>
              <a:t> three companies, had a </a:t>
            </a:r>
            <a:r>
              <a:rPr lang="en-US" sz="1200" b="1"/>
              <a:t>negative Cash Flow </a:t>
            </a:r>
            <a:r>
              <a:rPr lang="en-US" sz="1200"/>
              <a:t>in the last years, this means that they spend more cash than they are generating in their operations, </a:t>
            </a:r>
            <a:r>
              <a:rPr lang="en-US" sz="1200" b="1"/>
              <a:t>which indicates the need for additional capital or financing to maintain business activities</a:t>
            </a:r>
          </a:p>
          <a:p>
            <a:pPr marL="285750" indent="-285750">
              <a:buFont typeface="Arial" panose="020B0604020202020204" pitchFamily="34" charset="0"/>
              <a:buChar char="•"/>
            </a:pPr>
            <a:r>
              <a:rPr lang="en-US" sz="1200" b="1"/>
              <a:t>Uber achieved</a:t>
            </a:r>
            <a:r>
              <a:rPr lang="en-US" sz="1200"/>
              <a:t> a </a:t>
            </a:r>
            <a:r>
              <a:rPr lang="en-US" sz="1200" b="1"/>
              <a:t>positive Cashflow </a:t>
            </a:r>
            <a:r>
              <a:rPr lang="en-US" sz="1200"/>
              <a:t>for the first time in its history in 2022 this is achieved </a:t>
            </a:r>
            <a:r>
              <a:rPr lang="en-US" sz="1200" b="1"/>
              <a:t>due to different reasons, like an increase in Demand after the Pandemic</a:t>
            </a:r>
          </a:p>
        </p:txBody>
      </p:sp>
      <p:cxnSp>
        <p:nvCxnSpPr>
          <p:cNvPr id="11" name="Gerader Verbinder 10">
            <a:extLst>
              <a:ext uri="{FF2B5EF4-FFF2-40B4-BE49-F238E27FC236}">
                <a16:creationId xmlns:a16="http://schemas.microsoft.com/office/drawing/2014/main" id="{D469917E-D281-2F17-D7E6-668501637506}"/>
              </a:ext>
            </a:extLst>
          </p:cNvPr>
          <p:cNvCxnSpPr>
            <a:cxnSpLocks/>
          </p:cNvCxnSpPr>
          <p:nvPr/>
        </p:nvCxnSpPr>
        <p:spPr>
          <a:xfrm>
            <a:off x="4525962" y="2244355"/>
            <a:ext cx="0" cy="3702050"/>
          </a:xfrm>
          <a:prstGeom prst="line">
            <a:avLst/>
          </a:prstGeom>
        </p:spPr>
        <p:style>
          <a:lnRef idx="1">
            <a:schemeClr val="accent2"/>
          </a:lnRef>
          <a:fillRef idx="0">
            <a:schemeClr val="accent2"/>
          </a:fillRef>
          <a:effectRef idx="0">
            <a:schemeClr val="accent2"/>
          </a:effectRef>
          <a:fontRef idx="minor">
            <a:schemeClr val="tx1"/>
          </a:fontRef>
        </p:style>
      </p:cxnSp>
      <p:sp>
        <p:nvSpPr>
          <p:cNvPr id="15" name="Textfeld 14">
            <a:extLst>
              <a:ext uri="{FF2B5EF4-FFF2-40B4-BE49-F238E27FC236}">
                <a16:creationId xmlns:a16="http://schemas.microsoft.com/office/drawing/2014/main" id="{CEBC92EF-BDEC-6889-1A52-831448752911}"/>
              </a:ext>
            </a:extLst>
          </p:cNvPr>
          <p:cNvSpPr txBox="1"/>
          <p:nvPr/>
        </p:nvSpPr>
        <p:spPr>
          <a:xfrm>
            <a:off x="4572000" y="2105855"/>
            <a:ext cx="4432295" cy="276999"/>
          </a:xfrm>
          <a:prstGeom prst="rect">
            <a:avLst/>
          </a:prstGeom>
          <a:noFill/>
        </p:spPr>
        <p:txBody>
          <a:bodyPr wrap="square" rtlCol="0">
            <a:spAutoFit/>
          </a:bodyPr>
          <a:lstStyle/>
          <a:p>
            <a:r>
              <a:rPr lang="en-US" sz="1200" b="1"/>
              <a:t>Volatility of Platform businesses (Concept of Dynamic Equilibrium)</a:t>
            </a:r>
          </a:p>
        </p:txBody>
      </p:sp>
      <p:grpSp>
        <p:nvGrpSpPr>
          <p:cNvPr id="16" name="Group 2">
            <a:extLst>
              <a:ext uri="{FF2B5EF4-FFF2-40B4-BE49-F238E27FC236}">
                <a16:creationId xmlns:a16="http://schemas.microsoft.com/office/drawing/2014/main" id="{28EE7482-0A66-7CEC-5671-16D2CA810E2C}"/>
              </a:ext>
            </a:extLst>
          </p:cNvPr>
          <p:cNvGrpSpPr/>
          <p:nvPr/>
        </p:nvGrpSpPr>
        <p:grpSpPr>
          <a:xfrm rot="5400000">
            <a:off x="7809548" y="3003085"/>
            <a:ext cx="1621153" cy="522423"/>
            <a:chOff x="480293" y="2161742"/>
            <a:chExt cx="8892308" cy="2865583"/>
          </a:xfrm>
        </p:grpSpPr>
        <p:sp>
          <p:nvSpPr>
            <p:cNvPr id="17" name="Arrow: Curved Right 3">
              <a:extLst>
                <a:ext uri="{FF2B5EF4-FFF2-40B4-BE49-F238E27FC236}">
                  <a16:creationId xmlns:a16="http://schemas.microsoft.com/office/drawing/2014/main" id="{7C72FCB2-C8EB-D870-33C6-1217DBD8C921}"/>
                </a:ext>
              </a:extLst>
            </p:cNvPr>
            <p:cNvSpPr/>
            <p:nvPr/>
          </p:nvSpPr>
          <p:spPr>
            <a:xfrm rot="16200000" flipH="1">
              <a:off x="7636164" y="2060143"/>
              <a:ext cx="1634837" cy="1838036"/>
            </a:xfrm>
            <a:prstGeom prst="curvedRightArrow">
              <a:avLst>
                <a:gd name="adj1" fmla="val 50000"/>
                <a:gd name="adj2" fmla="val 50000"/>
                <a:gd name="adj3" fmla="val 25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8" name="Arrow: Curved Right 4">
              <a:extLst>
                <a:ext uri="{FF2B5EF4-FFF2-40B4-BE49-F238E27FC236}">
                  <a16:creationId xmlns:a16="http://schemas.microsoft.com/office/drawing/2014/main" id="{728BF626-A421-0400-03EA-EA0C9DA72592}"/>
                </a:ext>
              </a:extLst>
            </p:cNvPr>
            <p:cNvSpPr/>
            <p:nvPr/>
          </p:nvSpPr>
          <p:spPr>
            <a:xfrm rot="16200000">
              <a:off x="6629400" y="3290888"/>
              <a:ext cx="1634837" cy="1838036"/>
            </a:xfrm>
            <a:prstGeom prst="curvedRightArrow">
              <a:avLst>
                <a:gd name="adj1" fmla="val 50000"/>
                <a:gd name="adj2" fmla="val 50000"/>
                <a:gd name="adj3" fmla="val 25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9" name="Arrow: Curved Right 5">
              <a:extLst>
                <a:ext uri="{FF2B5EF4-FFF2-40B4-BE49-F238E27FC236}">
                  <a16:creationId xmlns:a16="http://schemas.microsoft.com/office/drawing/2014/main" id="{2F7BA3C7-602B-41DB-3136-CCAB34E6546F}"/>
                </a:ext>
              </a:extLst>
            </p:cNvPr>
            <p:cNvSpPr/>
            <p:nvPr/>
          </p:nvSpPr>
          <p:spPr>
            <a:xfrm rot="16200000" flipH="1">
              <a:off x="5622638" y="2060143"/>
              <a:ext cx="1634837" cy="1838036"/>
            </a:xfrm>
            <a:prstGeom prst="curvedRightArrow">
              <a:avLst>
                <a:gd name="adj1" fmla="val 50000"/>
                <a:gd name="adj2" fmla="val 50000"/>
                <a:gd name="adj3" fmla="val 25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20" name="Arrow: Curved Right 6">
              <a:extLst>
                <a:ext uri="{FF2B5EF4-FFF2-40B4-BE49-F238E27FC236}">
                  <a16:creationId xmlns:a16="http://schemas.microsoft.com/office/drawing/2014/main" id="{E7AEE090-F612-0116-0922-7ECEEE50394F}"/>
                </a:ext>
              </a:extLst>
            </p:cNvPr>
            <p:cNvSpPr/>
            <p:nvPr/>
          </p:nvSpPr>
          <p:spPr>
            <a:xfrm rot="16200000">
              <a:off x="4615874" y="3290889"/>
              <a:ext cx="1634837" cy="1838036"/>
            </a:xfrm>
            <a:prstGeom prst="curvedRightArrow">
              <a:avLst>
                <a:gd name="adj1" fmla="val 50000"/>
                <a:gd name="adj2" fmla="val 50000"/>
                <a:gd name="adj3" fmla="val 2500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21" name="Arrow: Curved Right 7">
              <a:extLst>
                <a:ext uri="{FF2B5EF4-FFF2-40B4-BE49-F238E27FC236}">
                  <a16:creationId xmlns:a16="http://schemas.microsoft.com/office/drawing/2014/main" id="{946A575E-F6A4-5F41-BF79-5724730F752C}"/>
                </a:ext>
              </a:extLst>
            </p:cNvPr>
            <p:cNvSpPr/>
            <p:nvPr/>
          </p:nvSpPr>
          <p:spPr>
            <a:xfrm rot="16200000" flipH="1">
              <a:off x="3602181" y="2060143"/>
              <a:ext cx="1634837" cy="1838036"/>
            </a:xfrm>
            <a:prstGeom prst="curvedRightArrow">
              <a:avLst>
                <a:gd name="adj1" fmla="val 50000"/>
                <a:gd name="adj2" fmla="val 50000"/>
                <a:gd name="adj3" fmla="val 25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22" name="Arrow: Curved Right 8">
              <a:extLst>
                <a:ext uri="{FF2B5EF4-FFF2-40B4-BE49-F238E27FC236}">
                  <a16:creationId xmlns:a16="http://schemas.microsoft.com/office/drawing/2014/main" id="{C6970815-9AD5-3CC0-C8E3-8A58CD861728}"/>
                </a:ext>
              </a:extLst>
            </p:cNvPr>
            <p:cNvSpPr/>
            <p:nvPr/>
          </p:nvSpPr>
          <p:spPr>
            <a:xfrm rot="16200000">
              <a:off x="2595418" y="3267799"/>
              <a:ext cx="1634837" cy="1838036"/>
            </a:xfrm>
            <a:prstGeom prst="curvedRightArrow">
              <a:avLst>
                <a:gd name="adj1" fmla="val 50000"/>
                <a:gd name="adj2" fmla="val 50000"/>
                <a:gd name="adj3" fmla="val 25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23" name="Arrow: Curved Right 9">
              <a:extLst>
                <a:ext uri="{FF2B5EF4-FFF2-40B4-BE49-F238E27FC236}">
                  <a16:creationId xmlns:a16="http://schemas.microsoft.com/office/drawing/2014/main" id="{E7015177-0DF8-C31A-5144-2A83B8A5EF1E}"/>
                </a:ext>
              </a:extLst>
            </p:cNvPr>
            <p:cNvSpPr/>
            <p:nvPr/>
          </p:nvSpPr>
          <p:spPr>
            <a:xfrm rot="16200000" flipH="1">
              <a:off x="1588655" y="2060143"/>
              <a:ext cx="1634837" cy="1838036"/>
            </a:xfrm>
            <a:prstGeom prst="curvedRightArrow">
              <a:avLst>
                <a:gd name="adj1" fmla="val 50000"/>
                <a:gd name="adj2" fmla="val 50000"/>
                <a:gd name="adj3" fmla="val 25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24" name="Arrow: Curved Right 10">
              <a:extLst>
                <a:ext uri="{FF2B5EF4-FFF2-40B4-BE49-F238E27FC236}">
                  <a16:creationId xmlns:a16="http://schemas.microsoft.com/office/drawing/2014/main" id="{AD78F3CC-514E-B006-523A-6CC05077C44E}"/>
                </a:ext>
              </a:extLst>
            </p:cNvPr>
            <p:cNvSpPr/>
            <p:nvPr/>
          </p:nvSpPr>
          <p:spPr>
            <a:xfrm rot="16200000">
              <a:off x="581892" y="3267800"/>
              <a:ext cx="1634837" cy="1838036"/>
            </a:xfrm>
            <a:prstGeom prst="curvedRightArrow">
              <a:avLst>
                <a:gd name="adj1" fmla="val 50000"/>
                <a:gd name="adj2" fmla="val 50000"/>
                <a:gd name="adj3" fmla="val 25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cxnSp>
        <p:nvCxnSpPr>
          <p:cNvPr id="25" name="Gerader Verbinder 24">
            <a:extLst>
              <a:ext uri="{FF2B5EF4-FFF2-40B4-BE49-F238E27FC236}">
                <a16:creationId xmlns:a16="http://schemas.microsoft.com/office/drawing/2014/main" id="{F4721F47-6153-8BC7-2A96-9C7B5AD5DF41}"/>
              </a:ext>
            </a:extLst>
          </p:cNvPr>
          <p:cNvCxnSpPr>
            <a:cxnSpLocks/>
          </p:cNvCxnSpPr>
          <p:nvPr/>
        </p:nvCxnSpPr>
        <p:spPr>
          <a:xfrm flipH="1">
            <a:off x="4794250" y="4216030"/>
            <a:ext cx="3617590" cy="0"/>
          </a:xfrm>
          <a:prstGeom prst="line">
            <a:avLst/>
          </a:prstGeom>
        </p:spPr>
        <p:style>
          <a:lnRef idx="1">
            <a:schemeClr val="accent2"/>
          </a:lnRef>
          <a:fillRef idx="0">
            <a:schemeClr val="accent2"/>
          </a:fillRef>
          <a:effectRef idx="0">
            <a:schemeClr val="accent2"/>
          </a:effectRef>
          <a:fontRef idx="minor">
            <a:schemeClr val="tx1"/>
          </a:fontRef>
        </p:style>
      </p:cxnSp>
      <p:sp>
        <p:nvSpPr>
          <p:cNvPr id="34" name="Textfeld 33">
            <a:extLst>
              <a:ext uri="{FF2B5EF4-FFF2-40B4-BE49-F238E27FC236}">
                <a16:creationId xmlns:a16="http://schemas.microsoft.com/office/drawing/2014/main" id="{77BFA119-3B2E-9762-C032-12058E1501FF}"/>
              </a:ext>
            </a:extLst>
          </p:cNvPr>
          <p:cNvSpPr txBox="1"/>
          <p:nvPr/>
        </p:nvSpPr>
        <p:spPr>
          <a:xfrm>
            <a:off x="4613887" y="2333389"/>
            <a:ext cx="4575174" cy="1754326"/>
          </a:xfrm>
          <a:prstGeom prst="rect">
            <a:avLst/>
          </a:prstGeom>
          <a:noFill/>
        </p:spPr>
        <p:txBody>
          <a:bodyPr wrap="square">
            <a:spAutoFit/>
          </a:bodyPr>
          <a:lstStyle/>
          <a:p>
            <a:r>
              <a:rPr lang="en-US" sz="1200" b="1"/>
              <a:t>1. Initial Balance: </a:t>
            </a:r>
            <a:r>
              <a:rPr lang="en-US" sz="1200"/>
              <a:t>Uber balances drivers, riders</a:t>
            </a:r>
          </a:p>
          <a:p>
            <a:r>
              <a:rPr lang="en-US" sz="1200" b="1"/>
              <a:t>2. Riders Increase: </a:t>
            </a:r>
            <a:r>
              <a:rPr lang="en-US" sz="1200"/>
              <a:t>Demand exceeds driver supply</a:t>
            </a:r>
          </a:p>
          <a:p>
            <a:r>
              <a:rPr lang="en-US" sz="1200" b="1"/>
              <a:t>3. Surge Pricing: </a:t>
            </a:r>
            <a:r>
              <a:rPr lang="en-US" sz="1200"/>
              <a:t>Costs rise for scarcity</a:t>
            </a:r>
          </a:p>
          <a:p>
            <a:r>
              <a:rPr lang="en-US" sz="1200" b="1"/>
              <a:t>4. Demand Drops: </a:t>
            </a:r>
            <a:r>
              <a:rPr lang="en-US" sz="1200"/>
              <a:t>High prices deter riders</a:t>
            </a:r>
          </a:p>
          <a:p>
            <a:r>
              <a:rPr lang="en-US" sz="1200" b="1"/>
              <a:t>5. Equilibrium Shifts: </a:t>
            </a:r>
            <a:r>
              <a:rPr lang="en-US" sz="1200"/>
              <a:t>Fewer rides, higher prices</a:t>
            </a:r>
          </a:p>
          <a:p>
            <a:r>
              <a:rPr lang="en-US" sz="1200" b="1"/>
              <a:t>6. Driver Earnings Vary: </a:t>
            </a:r>
            <a:r>
              <a:rPr lang="en-US" sz="1200"/>
              <a:t>Inconsistent income for drivers</a:t>
            </a:r>
          </a:p>
          <a:p>
            <a:r>
              <a:rPr lang="en-US" sz="1200" b="1"/>
              <a:t>7. Drivers Seek Alternatives: </a:t>
            </a:r>
            <a:r>
              <a:rPr lang="en-US" sz="1200"/>
              <a:t>Reduced driver </a:t>
            </a:r>
            <a:br>
              <a:rPr lang="en-US" sz="1200"/>
            </a:br>
            <a:r>
              <a:rPr lang="en-US" sz="1200"/>
              <a:t>     availability on Uber</a:t>
            </a:r>
          </a:p>
          <a:p>
            <a:r>
              <a:rPr lang="en-US" sz="1200" b="1"/>
              <a:t>8. Continuous Adjustments: </a:t>
            </a:r>
            <a:r>
              <a:rPr lang="en-US" sz="1200"/>
              <a:t>Uber seeks new balance</a:t>
            </a:r>
          </a:p>
        </p:txBody>
      </p:sp>
      <p:sp>
        <p:nvSpPr>
          <p:cNvPr id="35" name="Textfeld 34">
            <a:extLst>
              <a:ext uri="{FF2B5EF4-FFF2-40B4-BE49-F238E27FC236}">
                <a16:creationId xmlns:a16="http://schemas.microsoft.com/office/drawing/2014/main" id="{4FE0456A-1490-C103-0EF3-E8CF87A5AF06}"/>
              </a:ext>
            </a:extLst>
          </p:cNvPr>
          <p:cNvSpPr txBox="1"/>
          <p:nvPr/>
        </p:nvSpPr>
        <p:spPr>
          <a:xfrm>
            <a:off x="8407565" y="2598780"/>
            <a:ext cx="309563" cy="215444"/>
          </a:xfrm>
          <a:prstGeom prst="rect">
            <a:avLst/>
          </a:prstGeom>
          <a:noFill/>
        </p:spPr>
        <p:txBody>
          <a:bodyPr wrap="square" rtlCol="0">
            <a:spAutoFit/>
          </a:bodyPr>
          <a:lstStyle/>
          <a:p>
            <a:pPr algn="ctr"/>
            <a:r>
              <a:rPr lang="en-US" sz="800" b="1">
                <a:solidFill>
                  <a:schemeClr val="bg1"/>
                </a:solidFill>
              </a:rPr>
              <a:t>1.</a:t>
            </a:r>
          </a:p>
        </p:txBody>
      </p:sp>
      <p:sp>
        <p:nvSpPr>
          <p:cNvPr id="36" name="Textfeld 35">
            <a:extLst>
              <a:ext uri="{FF2B5EF4-FFF2-40B4-BE49-F238E27FC236}">
                <a16:creationId xmlns:a16="http://schemas.microsoft.com/office/drawing/2014/main" id="{0653539B-B7AD-D039-D143-1520EF02EA0B}"/>
              </a:ext>
            </a:extLst>
          </p:cNvPr>
          <p:cNvSpPr txBox="1"/>
          <p:nvPr/>
        </p:nvSpPr>
        <p:spPr>
          <a:xfrm>
            <a:off x="8420207" y="2962824"/>
            <a:ext cx="309563" cy="215444"/>
          </a:xfrm>
          <a:prstGeom prst="rect">
            <a:avLst/>
          </a:prstGeom>
          <a:noFill/>
        </p:spPr>
        <p:txBody>
          <a:bodyPr wrap="square" rtlCol="0">
            <a:spAutoFit/>
          </a:bodyPr>
          <a:lstStyle/>
          <a:p>
            <a:pPr algn="ctr"/>
            <a:r>
              <a:rPr lang="en-US" sz="800" b="1">
                <a:solidFill>
                  <a:schemeClr val="bg1"/>
                </a:solidFill>
              </a:rPr>
              <a:t>3.</a:t>
            </a:r>
          </a:p>
        </p:txBody>
      </p:sp>
      <p:sp>
        <p:nvSpPr>
          <p:cNvPr id="37" name="Textfeld 36">
            <a:extLst>
              <a:ext uri="{FF2B5EF4-FFF2-40B4-BE49-F238E27FC236}">
                <a16:creationId xmlns:a16="http://schemas.microsoft.com/office/drawing/2014/main" id="{8B5D25C3-38F8-501A-89ED-82457DD8775A}"/>
              </a:ext>
            </a:extLst>
          </p:cNvPr>
          <p:cNvSpPr txBox="1"/>
          <p:nvPr/>
        </p:nvSpPr>
        <p:spPr>
          <a:xfrm>
            <a:off x="8406838" y="3338013"/>
            <a:ext cx="309563" cy="215444"/>
          </a:xfrm>
          <a:prstGeom prst="rect">
            <a:avLst/>
          </a:prstGeom>
          <a:noFill/>
        </p:spPr>
        <p:txBody>
          <a:bodyPr wrap="square" rtlCol="0">
            <a:spAutoFit/>
          </a:bodyPr>
          <a:lstStyle/>
          <a:p>
            <a:pPr algn="ctr"/>
            <a:r>
              <a:rPr lang="en-US" sz="800" b="1">
                <a:solidFill>
                  <a:schemeClr val="bg1"/>
                </a:solidFill>
              </a:rPr>
              <a:t>5.</a:t>
            </a:r>
          </a:p>
        </p:txBody>
      </p:sp>
      <p:sp>
        <p:nvSpPr>
          <p:cNvPr id="38" name="Textfeld 37">
            <a:extLst>
              <a:ext uri="{FF2B5EF4-FFF2-40B4-BE49-F238E27FC236}">
                <a16:creationId xmlns:a16="http://schemas.microsoft.com/office/drawing/2014/main" id="{BD2D1AE2-3C36-0A3C-2475-60373FF247C1}"/>
              </a:ext>
            </a:extLst>
          </p:cNvPr>
          <p:cNvSpPr txBox="1"/>
          <p:nvPr/>
        </p:nvSpPr>
        <p:spPr>
          <a:xfrm>
            <a:off x="8406838" y="3699755"/>
            <a:ext cx="309563" cy="215444"/>
          </a:xfrm>
          <a:prstGeom prst="rect">
            <a:avLst/>
          </a:prstGeom>
          <a:noFill/>
        </p:spPr>
        <p:txBody>
          <a:bodyPr wrap="square" rtlCol="0">
            <a:spAutoFit/>
          </a:bodyPr>
          <a:lstStyle/>
          <a:p>
            <a:pPr algn="ctr"/>
            <a:r>
              <a:rPr lang="en-US" sz="800" b="1">
                <a:solidFill>
                  <a:schemeClr val="bg1"/>
                </a:solidFill>
              </a:rPr>
              <a:t>7.</a:t>
            </a:r>
          </a:p>
        </p:txBody>
      </p:sp>
      <p:sp>
        <p:nvSpPr>
          <p:cNvPr id="39" name="Textfeld 38">
            <a:extLst>
              <a:ext uri="{FF2B5EF4-FFF2-40B4-BE49-F238E27FC236}">
                <a16:creationId xmlns:a16="http://schemas.microsoft.com/office/drawing/2014/main" id="{5FB4AF3B-B7B6-EDD4-64CF-4933FFC5B8E8}"/>
              </a:ext>
            </a:extLst>
          </p:cNvPr>
          <p:cNvSpPr txBox="1"/>
          <p:nvPr/>
        </p:nvSpPr>
        <p:spPr>
          <a:xfrm>
            <a:off x="8544064" y="3884736"/>
            <a:ext cx="309563" cy="215444"/>
          </a:xfrm>
          <a:prstGeom prst="rect">
            <a:avLst/>
          </a:prstGeom>
          <a:noFill/>
        </p:spPr>
        <p:txBody>
          <a:bodyPr wrap="square" rtlCol="0">
            <a:spAutoFit/>
          </a:bodyPr>
          <a:lstStyle/>
          <a:p>
            <a:pPr algn="ctr"/>
            <a:r>
              <a:rPr lang="en-US" sz="800" b="1"/>
              <a:t>8.</a:t>
            </a:r>
          </a:p>
        </p:txBody>
      </p:sp>
      <p:sp>
        <p:nvSpPr>
          <p:cNvPr id="40" name="Textfeld 39">
            <a:extLst>
              <a:ext uri="{FF2B5EF4-FFF2-40B4-BE49-F238E27FC236}">
                <a16:creationId xmlns:a16="http://schemas.microsoft.com/office/drawing/2014/main" id="{D2E482EA-E45F-A4A2-E1CB-8692B5ACBA05}"/>
              </a:ext>
            </a:extLst>
          </p:cNvPr>
          <p:cNvSpPr txBox="1"/>
          <p:nvPr/>
        </p:nvSpPr>
        <p:spPr>
          <a:xfrm>
            <a:off x="8523848" y="3516388"/>
            <a:ext cx="309563" cy="215444"/>
          </a:xfrm>
          <a:prstGeom prst="rect">
            <a:avLst/>
          </a:prstGeom>
          <a:noFill/>
        </p:spPr>
        <p:txBody>
          <a:bodyPr wrap="square" rtlCol="0">
            <a:spAutoFit/>
          </a:bodyPr>
          <a:lstStyle/>
          <a:p>
            <a:pPr algn="ctr"/>
            <a:r>
              <a:rPr lang="en-US" sz="800" b="1"/>
              <a:t>6.</a:t>
            </a:r>
          </a:p>
        </p:txBody>
      </p:sp>
      <p:sp>
        <p:nvSpPr>
          <p:cNvPr id="41" name="Textfeld 40">
            <a:extLst>
              <a:ext uri="{FF2B5EF4-FFF2-40B4-BE49-F238E27FC236}">
                <a16:creationId xmlns:a16="http://schemas.microsoft.com/office/drawing/2014/main" id="{A1B46D36-B2EB-C1D1-11D4-2C70E9AE9A47}"/>
              </a:ext>
            </a:extLst>
          </p:cNvPr>
          <p:cNvSpPr txBox="1"/>
          <p:nvPr/>
        </p:nvSpPr>
        <p:spPr>
          <a:xfrm>
            <a:off x="8514688" y="3150821"/>
            <a:ext cx="309563" cy="215444"/>
          </a:xfrm>
          <a:prstGeom prst="rect">
            <a:avLst/>
          </a:prstGeom>
          <a:noFill/>
        </p:spPr>
        <p:txBody>
          <a:bodyPr wrap="square" rtlCol="0">
            <a:spAutoFit/>
          </a:bodyPr>
          <a:lstStyle/>
          <a:p>
            <a:pPr algn="ctr"/>
            <a:r>
              <a:rPr lang="en-US" sz="800" b="1"/>
              <a:t>4.</a:t>
            </a:r>
          </a:p>
        </p:txBody>
      </p:sp>
      <p:sp>
        <p:nvSpPr>
          <p:cNvPr id="42" name="Textfeld 41">
            <a:extLst>
              <a:ext uri="{FF2B5EF4-FFF2-40B4-BE49-F238E27FC236}">
                <a16:creationId xmlns:a16="http://schemas.microsoft.com/office/drawing/2014/main" id="{4ABD6BAC-C801-90A5-D8FB-588DB18AA876}"/>
              </a:ext>
            </a:extLst>
          </p:cNvPr>
          <p:cNvSpPr txBox="1"/>
          <p:nvPr/>
        </p:nvSpPr>
        <p:spPr>
          <a:xfrm>
            <a:off x="8505528" y="2785254"/>
            <a:ext cx="309563" cy="215444"/>
          </a:xfrm>
          <a:prstGeom prst="rect">
            <a:avLst/>
          </a:prstGeom>
          <a:noFill/>
        </p:spPr>
        <p:txBody>
          <a:bodyPr wrap="square" rtlCol="0">
            <a:spAutoFit/>
          </a:bodyPr>
          <a:lstStyle/>
          <a:p>
            <a:pPr algn="ctr"/>
            <a:r>
              <a:rPr lang="en-US" sz="800" b="1"/>
              <a:t>2.</a:t>
            </a:r>
          </a:p>
        </p:txBody>
      </p:sp>
      <p:sp>
        <p:nvSpPr>
          <p:cNvPr id="44" name="Textfeld 43">
            <a:extLst>
              <a:ext uri="{FF2B5EF4-FFF2-40B4-BE49-F238E27FC236}">
                <a16:creationId xmlns:a16="http://schemas.microsoft.com/office/drawing/2014/main" id="{8788D9CC-749F-0FB3-1247-57B5F7765C2F}"/>
              </a:ext>
            </a:extLst>
          </p:cNvPr>
          <p:cNvSpPr txBox="1"/>
          <p:nvPr/>
        </p:nvSpPr>
        <p:spPr>
          <a:xfrm>
            <a:off x="4644048" y="4265285"/>
            <a:ext cx="4432295" cy="276999"/>
          </a:xfrm>
          <a:prstGeom prst="rect">
            <a:avLst/>
          </a:prstGeom>
          <a:noFill/>
        </p:spPr>
        <p:txBody>
          <a:bodyPr wrap="square" rtlCol="0">
            <a:spAutoFit/>
          </a:bodyPr>
          <a:lstStyle/>
          <a:p>
            <a:r>
              <a:rPr lang="en-US" sz="1200" b="1"/>
              <a:t>Future Challenges for Uber</a:t>
            </a:r>
          </a:p>
        </p:txBody>
      </p:sp>
      <p:grpSp>
        <p:nvGrpSpPr>
          <p:cNvPr id="54" name="Growth5" descr="{&quot;Key&quot;:&quot;POWER_USER_SHAPE_ICON&quot;,&quot;Value&quot;:&quot;POWER_USER_SHAPE_ICON_STYLE_1&quot;}">
            <a:extLst>
              <a:ext uri="{FF2B5EF4-FFF2-40B4-BE49-F238E27FC236}">
                <a16:creationId xmlns:a16="http://schemas.microsoft.com/office/drawing/2014/main" id="{51AB9A52-1AA4-B389-1DF8-C5CB57CC9530}"/>
              </a:ext>
            </a:extLst>
          </p:cNvPr>
          <p:cNvGrpSpPr>
            <a:grpSpLocks noChangeAspect="1"/>
          </p:cNvGrpSpPr>
          <p:nvPr/>
        </p:nvGrpSpPr>
        <p:grpSpPr>
          <a:xfrm>
            <a:off x="4741485" y="4638573"/>
            <a:ext cx="363172" cy="365883"/>
            <a:chOff x="11190288" y="5575301"/>
            <a:chExt cx="638175" cy="642938"/>
          </a:xfrm>
          <a:solidFill>
            <a:schemeClr val="tx1"/>
          </a:solidFill>
        </p:grpSpPr>
        <p:sp>
          <p:nvSpPr>
            <p:cNvPr id="55" name="Freeform 280">
              <a:extLst>
                <a:ext uri="{FF2B5EF4-FFF2-40B4-BE49-F238E27FC236}">
                  <a16:creationId xmlns:a16="http://schemas.microsoft.com/office/drawing/2014/main" id="{E1D68DF3-A1D0-EA70-FC45-D137336892D0}"/>
                </a:ext>
              </a:extLst>
            </p:cNvPr>
            <p:cNvSpPr>
              <a:spLocks noEditPoints="1"/>
            </p:cNvSpPr>
            <p:nvPr/>
          </p:nvSpPr>
          <p:spPr bwMode="auto">
            <a:xfrm>
              <a:off x="11190288" y="5861051"/>
              <a:ext cx="638175" cy="357188"/>
            </a:xfrm>
            <a:custGeom>
              <a:avLst/>
              <a:gdLst>
                <a:gd name="T0" fmla="*/ 1021 w 1067"/>
                <a:gd name="T1" fmla="*/ 483 h 596"/>
                <a:gd name="T2" fmla="*/ 678 w 1067"/>
                <a:gd name="T3" fmla="*/ 353 h 596"/>
                <a:gd name="T4" fmla="*/ 901 w 1067"/>
                <a:gd name="T5" fmla="*/ 280 h 596"/>
                <a:gd name="T6" fmla="*/ 1034 w 1067"/>
                <a:gd name="T7" fmla="*/ 470 h 596"/>
                <a:gd name="T8" fmla="*/ 707 w 1067"/>
                <a:gd name="T9" fmla="*/ 563 h 596"/>
                <a:gd name="T10" fmla="*/ 349 w 1067"/>
                <a:gd name="T11" fmla="*/ 551 h 596"/>
                <a:gd name="T12" fmla="*/ 478 w 1067"/>
                <a:gd name="T13" fmla="*/ 360 h 596"/>
                <a:gd name="T14" fmla="*/ 719 w 1067"/>
                <a:gd name="T15" fmla="*/ 490 h 596"/>
                <a:gd name="T16" fmla="*/ 34 w 1067"/>
                <a:gd name="T17" fmla="*/ 470 h 596"/>
                <a:gd name="T18" fmla="*/ 166 w 1067"/>
                <a:gd name="T19" fmla="*/ 280 h 596"/>
                <a:gd name="T20" fmla="*/ 389 w 1067"/>
                <a:gd name="T21" fmla="*/ 353 h 596"/>
                <a:gd name="T22" fmla="*/ 46 w 1067"/>
                <a:gd name="T23" fmla="*/ 483 h 596"/>
                <a:gd name="T24" fmla="*/ 112 w 1067"/>
                <a:gd name="T25" fmla="*/ 140 h 596"/>
                <a:gd name="T26" fmla="*/ 325 w 1067"/>
                <a:gd name="T27" fmla="*/ 140 h 596"/>
                <a:gd name="T28" fmla="*/ 112 w 1067"/>
                <a:gd name="T29" fmla="*/ 140 h 596"/>
                <a:gd name="T30" fmla="*/ 534 w 1067"/>
                <a:gd name="T31" fmla="*/ 113 h 596"/>
                <a:gd name="T32" fmla="*/ 534 w 1067"/>
                <a:gd name="T33" fmla="*/ 327 h 596"/>
                <a:gd name="T34" fmla="*/ 742 w 1067"/>
                <a:gd name="T35" fmla="*/ 140 h 596"/>
                <a:gd name="T36" fmla="*/ 955 w 1067"/>
                <a:gd name="T37" fmla="*/ 140 h 596"/>
                <a:gd name="T38" fmla="*/ 742 w 1067"/>
                <a:gd name="T39" fmla="*/ 140 h 596"/>
                <a:gd name="T40" fmla="*/ 989 w 1067"/>
                <a:gd name="T41" fmla="*/ 140 h 596"/>
                <a:gd name="T42" fmla="*/ 708 w 1067"/>
                <a:gd name="T43" fmla="*/ 140 h 596"/>
                <a:gd name="T44" fmla="*/ 648 w 1067"/>
                <a:gd name="T45" fmla="*/ 338 h 596"/>
                <a:gd name="T46" fmla="*/ 674 w 1067"/>
                <a:gd name="T47" fmla="*/ 220 h 596"/>
                <a:gd name="T48" fmla="*/ 393 w 1067"/>
                <a:gd name="T49" fmla="*/ 220 h 596"/>
                <a:gd name="T50" fmla="*/ 419 w 1067"/>
                <a:gd name="T51" fmla="*/ 338 h 596"/>
                <a:gd name="T52" fmla="*/ 359 w 1067"/>
                <a:gd name="T53" fmla="*/ 140 h 596"/>
                <a:gd name="T54" fmla="*/ 78 w 1067"/>
                <a:gd name="T55" fmla="*/ 140 h 596"/>
                <a:gd name="T56" fmla="*/ 0 w 1067"/>
                <a:gd name="T57" fmla="*/ 412 h 596"/>
                <a:gd name="T58" fmla="*/ 46 w 1067"/>
                <a:gd name="T59" fmla="*/ 516 h 596"/>
                <a:gd name="T60" fmla="*/ 315 w 1067"/>
                <a:gd name="T61" fmla="*/ 551 h 596"/>
                <a:gd name="T62" fmla="*/ 707 w 1067"/>
                <a:gd name="T63" fmla="*/ 596 h 596"/>
                <a:gd name="T64" fmla="*/ 752 w 1067"/>
                <a:gd name="T65" fmla="*/ 516 h 596"/>
                <a:gd name="T66" fmla="*/ 1067 w 1067"/>
                <a:gd name="T67" fmla="*/ 470 h 596"/>
                <a:gd name="T68" fmla="*/ 935 w 1067"/>
                <a:gd name="T69" fmla="*/ 25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7" h="596">
                  <a:moveTo>
                    <a:pt x="1034" y="470"/>
                  </a:moveTo>
                  <a:cubicBezTo>
                    <a:pt x="1034" y="477"/>
                    <a:pt x="1028" y="483"/>
                    <a:pt x="1021" y="483"/>
                  </a:cubicBezTo>
                  <a:lnTo>
                    <a:pt x="752" y="483"/>
                  </a:lnTo>
                  <a:cubicBezTo>
                    <a:pt x="749" y="429"/>
                    <a:pt x="721" y="381"/>
                    <a:pt x="678" y="353"/>
                  </a:cubicBezTo>
                  <a:cubicBezTo>
                    <a:pt x="700" y="308"/>
                    <a:pt x="745" y="280"/>
                    <a:pt x="796" y="280"/>
                  </a:cubicBezTo>
                  <a:lnTo>
                    <a:pt x="901" y="280"/>
                  </a:lnTo>
                  <a:cubicBezTo>
                    <a:pt x="974" y="280"/>
                    <a:pt x="1034" y="339"/>
                    <a:pt x="1034" y="412"/>
                  </a:cubicBezTo>
                  <a:lnTo>
                    <a:pt x="1034" y="470"/>
                  </a:lnTo>
                  <a:close/>
                  <a:moveTo>
                    <a:pt x="719" y="551"/>
                  </a:moveTo>
                  <a:cubicBezTo>
                    <a:pt x="719" y="558"/>
                    <a:pt x="713" y="563"/>
                    <a:pt x="707" y="563"/>
                  </a:cubicBezTo>
                  <a:lnTo>
                    <a:pt x="361" y="563"/>
                  </a:lnTo>
                  <a:cubicBezTo>
                    <a:pt x="354" y="563"/>
                    <a:pt x="349" y="558"/>
                    <a:pt x="349" y="551"/>
                  </a:cubicBezTo>
                  <a:lnTo>
                    <a:pt x="349" y="490"/>
                  </a:lnTo>
                  <a:cubicBezTo>
                    <a:pt x="349" y="418"/>
                    <a:pt x="407" y="360"/>
                    <a:pt x="478" y="360"/>
                  </a:cubicBezTo>
                  <a:lnTo>
                    <a:pt x="589" y="360"/>
                  </a:lnTo>
                  <a:cubicBezTo>
                    <a:pt x="660" y="360"/>
                    <a:pt x="719" y="418"/>
                    <a:pt x="719" y="490"/>
                  </a:cubicBezTo>
                  <a:lnTo>
                    <a:pt x="719" y="551"/>
                  </a:lnTo>
                  <a:close/>
                  <a:moveTo>
                    <a:pt x="34" y="470"/>
                  </a:moveTo>
                  <a:lnTo>
                    <a:pt x="34" y="412"/>
                  </a:lnTo>
                  <a:cubicBezTo>
                    <a:pt x="34" y="339"/>
                    <a:pt x="93" y="280"/>
                    <a:pt x="166" y="280"/>
                  </a:cubicBezTo>
                  <a:lnTo>
                    <a:pt x="271" y="280"/>
                  </a:lnTo>
                  <a:cubicBezTo>
                    <a:pt x="322" y="280"/>
                    <a:pt x="367" y="308"/>
                    <a:pt x="389" y="353"/>
                  </a:cubicBezTo>
                  <a:cubicBezTo>
                    <a:pt x="347" y="381"/>
                    <a:pt x="318" y="429"/>
                    <a:pt x="316" y="483"/>
                  </a:cubicBezTo>
                  <a:lnTo>
                    <a:pt x="46" y="483"/>
                  </a:lnTo>
                  <a:cubicBezTo>
                    <a:pt x="39" y="483"/>
                    <a:pt x="34" y="477"/>
                    <a:pt x="34" y="470"/>
                  </a:cubicBezTo>
                  <a:close/>
                  <a:moveTo>
                    <a:pt x="112" y="140"/>
                  </a:moveTo>
                  <a:cubicBezTo>
                    <a:pt x="112" y="81"/>
                    <a:pt x="160" y="33"/>
                    <a:pt x="219" y="33"/>
                  </a:cubicBezTo>
                  <a:cubicBezTo>
                    <a:pt x="278" y="33"/>
                    <a:pt x="325" y="81"/>
                    <a:pt x="325" y="140"/>
                  </a:cubicBezTo>
                  <a:cubicBezTo>
                    <a:pt x="325" y="199"/>
                    <a:pt x="278" y="247"/>
                    <a:pt x="219" y="247"/>
                  </a:cubicBezTo>
                  <a:cubicBezTo>
                    <a:pt x="160" y="247"/>
                    <a:pt x="112" y="199"/>
                    <a:pt x="112" y="140"/>
                  </a:cubicBezTo>
                  <a:close/>
                  <a:moveTo>
                    <a:pt x="427" y="220"/>
                  </a:moveTo>
                  <a:cubicBezTo>
                    <a:pt x="427" y="161"/>
                    <a:pt x="475" y="113"/>
                    <a:pt x="534" y="113"/>
                  </a:cubicBezTo>
                  <a:cubicBezTo>
                    <a:pt x="592" y="113"/>
                    <a:pt x="640" y="161"/>
                    <a:pt x="640" y="220"/>
                  </a:cubicBezTo>
                  <a:cubicBezTo>
                    <a:pt x="640" y="279"/>
                    <a:pt x="592" y="327"/>
                    <a:pt x="534" y="327"/>
                  </a:cubicBezTo>
                  <a:cubicBezTo>
                    <a:pt x="475" y="327"/>
                    <a:pt x="427" y="279"/>
                    <a:pt x="427" y="220"/>
                  </a:cubicBezTo>
                  <a:close/>
                  <a:moveTo>
                    <a:pt x="742" y="140"/>
                  </a:moveTo>
                  <a:cubicBezTo>
                    <a:pt x="742" y="81"/>
                    <a:pt x="790" y="33"/>
                    <a:pt x="849" y="33"/>
                  </a:cubicBezTo>
                  <a:cubicBezTo>
                    <a:pt x="907" y="33"/>
                    <a:pt x="955" y="81"/>
                    <a:pt x="955" y="140"/>
                  </a:cubicBezTo>
                  <a:cubicBezTo>
                    <a:pt x="955" y="199"/>
                    <a:pt x="907" y="247"/>
                    <a:pt x="849" y="247"/>
                  </a:cubicBezTo>
                  <a:cubicBezTo>
                    <a:pt x="790" y="247"/>
                    <a:pt x="742" y="199"/>
                    <a:pt x="742" y="140"/>
                  </a:cubicBezTo>
                  <a:close/>
                  <a:moveTo>
                    <a:pt x="935" y="250"/>
                  </a:moveTo>
                  <a:cubicBezTo>
                    <a:pt x="968" y="224"/>
                    <a:pt x="989" y="184"/>
                    <a:pt x="989" y="140"/>
                  </a:cubicBezTo>
                  <a:cubicBezTo>
                    <a:pt x="989" y="62"/>
                    <a:pt x="926" y="0"/>
                    <a:pt x="849" y="0"/>
                  </a:cubicBezTo>
                  <a:cubicBezTo>
                    <a:pt x="771" y="0"/>
                    <a:pt x="708" y="62"/>
                    <a:pt x="708" y="140"/>
                  </a:cubicBezTo>
                  <a:cubicBezTo>
                    <a:pt x="708" y="184"/>
                    <a:pt x="730" y="224"/>
                    <a:pt x="762" y="250"/>
                  </a:cubicBezTo>
                  <a:cubicBezTo>
                    <a:pt x="713" y="260"/>
                    <a:pt x="671" y="292"/>
                    <a:pt x="648" y="338"/>
                  </a:cubicBezTo>
                  <a:cubicBezTo>
                    <a:pt x="639" y="334"/>
                    <a:pt x="630" y="332"/>
                    <a:pt x="620" y="330"/>
                  </a:cubicBezTo>
                  <a:cubicBezTo>
                    <a:pt x="653" y="304"/>
                    <a:pt x="674" y="264"/>
                    <a:pt x="674" y="220"/>
                  </a:cubicBezTo>
                  <a:cubicBezTo>
                    <a:pt x="674" y="143"/>
                    <a:pt x="611" y="80"/>
                    <a:pt x="534" y="80"/>
                  </a:cubicBezTo>
                  <a:cubicBezTo>
                    <a:pt x="456" y="80"/>
                    <a:pt x="393" y="143"/>
                    <a:pt x="393" y="220"/>
                  </a:cubicBezTo>
                  <a:cubicBezTo>
                    <a:pt x="393" y="264"/>
                    <a:pt x="414" y="304"/>
                    <a:pt x="447" y="330"/>
                  </a:cubicBezTo>
                  <a:cubicBezTo>
                    <a:pt x="437" y="332"/>
                    <a:pt x="428" y="334"/>
                    <a:pt x="419" y="338"/>
                  </a:cubicBezTo>
                  <a:cubicBezTo>
                    <a:pt x="396" y="292"/>
                    <a:pt x="354" y="260"/>
                    <a:pt x="305" y="250"/>
                  </a:cubicBezTo>
                  <a:cubicBezTo>
                    <a:pt x="338" y="224"/>
                    <a:pt x="359" y="184"/>
                    <a:pt x="359" y="140"/>
                  </a:cubicBezTo>
                  <a:cubicBezTo>
                    <a:pt x="359" y="62"/>
                    <a:pt x="296" y="0"/>
                    <a:pt x="219" y="0"/>
                  </a:cubicBezTo>
                  <a:cubicBezTo>
                    <a:pt x="141" y="0"/>
                    <a:pt x="78" y="62"/>
                    <a:pt x="78" y="140"/>
                  </a:cubicBezTo>
                  <a:cubicBezTo>
                    <a:pt x="78" y="184"/>
                    <a:pt x="100" y="224"/>
                    <a:pt x="132" y="250"/>
                  </a:cubicBezTo>
                  <a:cubicBezTo>
                    <a:pt x="57" y="266"/>
                    <a:pt x="0" y="332"/>
                    <a:pt x="0" y="412"/>
                  </a:cubicBezTo>
                  <a:lnTo>
                    <a:pt x="0" y="470"/>
                  </a:lnTo>
                  <a:cubicBezTo>
                    <a:pt x="0" y="496"/>
                    <a:pt x="21" y="516"/>
                    <a:pt x="46" y="516"/>
                  </a:cubicBezTo>
                  <a:lnTo>
                    <a:pt x="315" y="516"/>
                  </a:lnTo>
                  <a:lnTo>
                    <a:pt x="315" y="551"/>
                  </a:lnTo>
                  <a:cubicBezTo>
                    <a:pt x="315" y="576"/>
                    <a:pt x="336" y="596"/>
                    <a:pt x="361" y="596"/>
                  </a:cubicBezTo>
                  <a:lnTo>
                    <a:pt x="707" y="596"/>
                  </a:lnTo>
                  <a:cubicBezTo>
                    <a:pt x="732" y="596"/>
                    <a:pt x="752" y="576"/>
                    <a:pt x="752" y="551"/>
                  </a:cubicBezTo>
                  <a:lnTo>
                    <a:pt x="752" y="516"/>
                  </a:lnTo>
                  <a:lnTo>
                    <a:pt x="1021" y="516"/>
                  </a:lnTo>
                  <a:cubicBezTo>
                    <a:pt x="1046" y="516"/>
                    <a:pt x="1067" y="496"/>
                    <a:pt x="1067" y="470"/>
                  </a:cubicBezTo>
                  <a:lnTo>
                    <a:pt x="1067" y="412"/>
                  </a:lnTo>
                  <a:cubicBezTo>
                    <a:pt x="1067" y="332"/>
                    <a:pt x="1010" y="266"/>
                    <a:pt x="935" y="250"/>
                  </a:cubicBezTo>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281">
              <a:extLst>
                <a:ext uri="{FF2B5EF4-FFF2-40B4-BE49-F238E27FC236}">
                  <a16:creationId xmlns:a16="http://schemas.microsoft.com/office/drawing/2014/main" id="{51ECEE6B-95D1-4237-8E1A-EFD18AC229B2}"/>
                </a:ext>
              </a:extLst>
            </p:cNvPr>
            <p:cNvSpPr>
              <a:spLocks/>
            </p:cNvSpPr>
            <p:nvPr/>
          </p:nvSpPr>
          <p:spPr bwMode="auto">
            <a:xfrm>
              <a:off x="11239500" y="5575301"/>
              <a:ext cx="538163" cy="282575"/>
            </a:xfrm>
            <a:custGeom>
              <a:avLst/>
              <a:gdLst>
                <a:gd name="T0" fmla="*/ 18 w 902"/>
                <a:gd name="T1" fmla="*/ 473 h 473"/>
                <a:gd name="T2" fmla="*/ 30 w 902"/>
                <a:gd name="T3" fmla="*/ 468 h 473"/>
                <a:gd name="T4" fmla="*/ 331 w 902"/>
                <a:gd name="T5" fmla="*/ 167 h 473"/>
                <a:gd name="T6" fmla="*/ 533 w 902"/>
                <a:gd name="T7" fmla="*/ 368 h 473"/>
                <a:gd name="T8" fmla="*/ 556 w 902"/>
                <a:gd name="T9" fmla="*/ 368 h 473"/>
                <a:gd name="T10" fmla="*/ 865 w 902"/>
                <a:gd name="T11" fmla="*/ 60 h 473"/>
                <a:gd name="T12" fmla="*/ 857 w 902"/>
                <a:gd name="T13" fmla="*/ 190 h 473"/>
                <a:gd name="T14" fmla="*/ 872 w 902"/>
                <a:gd name="T15" fmla="*/ 208 h 473"/>
                <a:gd name="T16" fmla="*/ 873 w 902"/>
                <a:gd name="T17" fmla="*/ 208 h 473"/>
                <a:gd name="T18" fmla="*/ 890 w 902"/>
                <a:gd name="T19" fmla="*/ 192 h 473"/>
                <a:gd name="T20" fmla="*/ 901 w 902"/>
                <a:gd name="T21" fmla="*/ 18 h 473"/>
                <a:gd name="T22" fmla="*/ 896 w 902"/>
                <a:gd name="T23" fmla="*/ 5 h 473"/>
                <a:gd name="T24" fmla="*/ 883 w 902"/>
                <a:gd name="T25" fmla="*/ 0 h 473"/>
                <a:gd name="T26" fmla="*/ 715 w 902"/>
                <a:gd name="T27" fmla="*/ 18 h 473"/>
                <a:gd name="T28" fmla="*/ 700 w 902"/>
                <a:gd name="T29" fmla="*/ 36 h 473"/>
                <a:gd name="T30" fmla="*/ 718 w 902"/>
                <a:gd name="T31" fmla="*/ 51 h 473"/>
                <a:gd name="T32" fmla="*/ 839 w 902"/>
                <a:gd name="T33" fmla="*/ 38 h 473"/>
                <a:gd name="T34" fmla="*/ 544 w 902"/>
                <a:gd name="T35" fmla="*/ 333 h 473"/>
                <a:gd name="T36" fmla="*/ 343 w 902"/>
                <a:gd name="T37" fmla="*/ 132 h 473"/>
                <a:gd name="T38" fmla="*/ 319 w 902"/>
                <a:gd name="T39" fmla="*/ 132 h 473"/>
                <a:gd name="T40" fmla="*/ 7 w 902"/>
                <a:gd name="T41" fmla="*/ 444 h 473"/>
                <a:gd name="T42" fmla="*/ 7 w 902"/>
                <a:gd name="T43" fmla="*/ 468 h 473"/>
                <a:gd name="T44" fmla="*/ 18 w 902"/>
                <a:gd name="T45" fmla="*/ 47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2" h="473">
                  <a:moveTo>
                    <a:pt x="18" y="473"/>
                  </a:moveTo>
                  <a:cubicBezTo>
                    <a:pt x="23" y="473"/>
                    <a:pt x="27" y="471"/>
                    <a:pt x="30" y="468"/>
                  </a:cubicBezTo>
                  <a:lnTo>
                    <a:pt x="331" y="167"/>
                  </a:lnTo>
                  <a:lnTo>
                    <a:pt x="533" y="368"/>
                  </a:lnTo>
                  <a:cubicBezTo>
                    <a:pt x="539" y="375"/>
                    <a:pt x="550" y="375"/>
                    <a:pt x="556" y="368"/>
                  </a:cubicBezTo>
                  <a:lnTo>
                    <a:pt x="865" y="60"/>
                  </a:lnTo>
                  <a:lnTo>
                    <a:pt x="857" y="190"/>
                  </a:lnTo>
                  <a:cubicBezTo>
                    <a:pt x="856" y="199"/>
                    <a:pt x="863" y="207"/>
                    <a:pt x="872" y="208"/>
                  </a:cubicBezTo>
                  <a:cubicBezTo>
                    <a:pt x="873" y="208"/>
                    <a:pt x="873" y="208"/>
                    <a:pt x="873" y="208"/>
                  </a:cubicBezTo>
                  <a:cubicBezTo>
                    <a:pt x="882" y="208"/>
                    <a:pt x="889" y="201"/>
                    <a:pt x="890" y="192"/>
                  </a:cubicBezTo>
                  <a:lnTo>
                    <a:pt x="901" y="18"/>
                  </a:lnTo>
                  <a:cubicBezTo>
                    <a:pt x="902" y="13"/>
                    <a:pt x="900" y="8"/>
                    <a:pt x="896" y="5"/>
                  </a:cubicBezTo>
                  <a:cubicBezTo>
                    <a:pt x="893" y="1"/>
                    <a:pt x="888" y="0"/>
                    <a:pt x="883" y="0"/>
                  </a:cubicBezTo>
                  <a:lnTo>
                    <a:pt x="715" y="18"/>
                  </a:lnTo>
                  <a:cubicBezTo>
                    <a:pt x="706" y="19"/>
                    <a:pt x="699" y="27"/>
                    <a:pt x="700" y="36"/>
                  </a:cubicBezTo>
                  <a:cubicBezTo>
                    <a:pt x="701" y="45"/>
                    <a:pt x="709" y="52"/>
                    <a:pt x="718" y="51"/>
                  </a:cubicBezTo>
                  <a:lnTo>
                    <a:pt x="839" y="38"/>
                  </a:lnTo>
                  <a:lnTo>
                    <a:pt x="544" y="333"/>
                  </a:lnTo>
                  <a:lnTo>
                    <a:pt x="343" y="132"/>
                  </a:lnTo>
                  <a:cubicBezTo>
                    <a:pt x="336" y="125"/>
                    <a:pt x="326" y="125"/>
                    <a:pt x="319" y="132"/>
                  </a:cubicBezTo>
                  <a:lnTo>
                    <a:pt x="7" y="444"/>
                  </a:lnTo>
                  <a:cubicBezTo>
                    <a:pt x="0" y="451"/>
                    <a:pt x="0" y="461"/>
                    <a:pt x="7" y="468"/>
                  </a:cubicBezTo>
                  <a:cubicBezTo>
                    <a:pt x="10" y="471"/>
                    <a:pt x="14" y="473"/>
                    <a:pt x="18" y="473"/>
                  </a:cubicBez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7" name="Bar_chart13" descr="{&quot;Key&quot;:&quot;POWER_USER_SHAPE_ICON&quot;,&quot;Value&quot;:&quot;POWER_USER_SHAPE_ICON_STYLE_1&quot;}">
            <a:extLst>
              <a:ext uri="{FF2B5EF4-FFF2-40B4-BE49-F238E27FC236}">
                <a16:creationId xmlns:a16="http://schemas.microsoft.com/office/drawing/2014/main" id="{BF9D4DBA-AA13-9034-0ACB-4C4ECE2EC391}"/>
              </a:ext>
            </a:extLst>
          </p:cNvPr>
          <p:cNvGrpSpPr>
            <a:grpSpLocks noChangeAspect="1"/>
          </p:cNvGrpSpPr>
          <p:nvPr/>
        </p:nvGrpSpPr>
        <p:grpSpPr>
          <a:xfrm>
            <a:off x="4781351" y="5166224"/>
            <a:ext cx="359372" cy="365882"/>
            <a:chOff x="2992438" y="1035050"/>
            <a:chExt cx="438150" cy="446088"/>
          </a:xfrm>
          <a:solidFill>
            <a:schemeClr val="tx1"/>
          </a:solidFill>
        </p:grpSpPr>
        <p:sp>
          <p:nvSpPr>
            <p:cNvPr id="58" name="Freeform 154">
              <a:extLst>
                <a:ext uri="{FF2B5EF4-FFF2-40B4-BE49-F238E27FC236}">
                  <a16:creationId xmlns:a16="http://schemas.microsoft.com/office/drawing/2014/main" id="{5193D94F-923B-5E9A-7786-EB070D5DD575}"/>
                </a:ext>
              </a:extLst>
            </p:cNvPr>
            <p:cNvSpPr>
              <a:spLocks/>
            </p:cNvSpPr>
            <p:nvPr/>
          </p:nvSpPr>
          <p:spPr bwMode="auto">
            <a:xfrm>
              <a:off x="2994026" y="1089025"/>
              <a:ext cx="12700" cy="392113"/>
            </a:xfrm>
            <a:custGeom>
              <a:avLst/>
              <a:gdLst>
                <a:gd name="T0" fmla="*/ 8 w 15"/>
                <a:gd name="T1" fmla="*/ 429 h 429"/>
                <a:gd name="T2" fmla="*/ 0 w 15"/>
                <a:gd name="T3" fmla="*/ 421 h 429"/>
                <a:gd name="T4" fmla="*/ 0 w 15"/>
                <a:gd name="T5" fmla="*/ 7 h 429"/>
                <a:gd name="T6" fmla="*/ 8 w 15"/>
                <a:gd name="T7" fmla="*/ 0 h 429"/>
                <a:gd name="T8" fmla="*/ 15 w 15"/>
                <a:gd name="T9" fmla="*/ 7 h 429"/>
                <a:gd name="T10" fmla="*/ 15 w 15"/>
                <a:gd name="T11" fmla="*/ 421 h 429"/>
                <a:gd name="T12" fmla="*/ 8 w 15"/>
                <a:gd name="T13" fmla="*/ 429 h 429"/>
              </a:gdLst>
              <a:ahLst/>
              <a:cxnLst>
                <a:cxn ang="0">
                  <a:pos x="T0" y="T1"/>
                </a:cxn>
                <a:cxn ang="0">
                  <a:pos x="T2" y="T3"/>
                </a:cxn>
                <a:cxn ang="0">
                  <a:pos x="T4" y="T5"/>
                </a:cxn>
                <a:cxn ang="0">
                  <a:pos x="T6" y="T7"/>
                </a:cxn>
                <a:cxn ang="0">
                  <a:pos x="T8" y="T9"/>
                </a:cxn>
                <a:cxn ang="0">
                  <a:pos x="T10" y="T11"/>
                </a:cxn>
                <a:cxn ang="0">
                  <a:pos x="T12" y="T13"/>
                </a:cxn>
              </a:cxnLst>
              <a:rect l="0" t="0" r="r" b="b"/>
              <a:pathLst>
                <a:path w="15" h="429">
                  <a:moveTo>
                    <a:pt x="8" y="429"/>
                  </a:moveTo>
                  <a:cubicBezTo>
                    <a:pt x="3" y="429"/>
                    <a:pt x="0" y="425"/>
                    <a:pt x="0" y="421"/>
                  </a:cubicBezTo>
                  <a:lnTo>
                    <a:pt x="0" y="7"/>
                  </a:lnTo>
                  <a:cubicBezTo>
                    <a:pt x="0" y="3"/>
                    <a:pt x="3" y="0"/>
                    <a:pt x="8" y="0"/>
                  </a:cubicBezTo>
                  <a:cubicBezTo>
                    <a:pt x="12" y="0"/>
                    <a:pt x="15" y="3"/>
                    <a:pt x="15" y="7"/>
                  </a:cubicBezTo>
                  <a:lnTo>
                    <a:pt x="15" y="421"/>
                  </a:lnTo>
                  <a:cubicBezTo>
                    <a:pt x="15" y="425"/>
                    <a:pt x="12" y="429"/>
                    <a:pt x="8" y="429"/>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55">
              <a:extLst>
                <a:ext uri="{FF2B5EF4-FFF2-40B4-BE49-F238E27FC236}">
                  <a16:creationId xmlns:a16="http://schemas.microsoft.com/office/drawing/2014/main" id="{EF1011AD-8830-A9B3-2158-A4240FED3543}"/>
                </a:ext>
              </a:extLst>
            </p:cNvPr>
            <p:cNvSpPr>
              <a:spLocks/>
            </p:cNvSpPr>
            <p:nvPr/>
          </p:nvSpPr>
          <p:spPr bwMode="auto">
            <a:xfrm>
              <a:off x="3054351" y="1219200"/>
              <a:ext cx="12700" cy="261938"/>
            </a:xfrm>
            <a:custGeom>
              <a:avLst/>
              <a:gdLst>
                <a:gd name="T0" fmla="*/ 7 w 14"/>
                <a:gd name="T1" fmla="*/ 287 h 287"/>
                <a:gd name="T2" fmla="*/ 0 w 14"/>
                <a:gd name="T3" fmla="*/ 279 h 287"/>
                <a:gd name="T4" fmla="*/ 0 w 14"/>
                <a:gd name="T5" fmla="*/ 7 h 287"/>
                <a:gd name="T6" fmla="*/ 7 w 14"/>
                <a:gd name="T7" fmla="*/ 0 h 287"/>
                <a:gd name="T8" fmla="*/ 14 w 14"/>
                <a:gd name="T9" fmla="*/ 7 h 287"/>
                <a:gd name="T10" fmla="*/ 14 w 14"/>
                <a:gd name="T11" fmla="*/ 279 h 287"/>
                <a:gd name="T12" fmla="*/ 7 w 14"/>
                <a:gd name="T13" fmla="*/ 287 h 287"/>
              </a:gdLst>
              <a:ahLst/>
              <a:cxnLst>
                <a:cxn ang="0">
                  <a:pos x="T0" y="T1"/>
                </a:cxn>
                <a:cxn ang="0">
                  <a:pos x="T2" y="T3"/>
                </a:cxn>
                <a:cxn ang="0">
                  <a:pos x="T4" y="T5"/>
                </a:cxn>
                <a:cxn ang="0">
                  <a:pos x="T6" y="T7"/>
                </a:cxn>
                <a:cxn ang="0">
                  <a:pos x="T8" y="T9"/>
                </a:cxn>
                <a:cxn ang="0">
                  <a:pos x="T10" y="T11"/>
                </a:cxn>
                <a:cxn ang="0">
                  <a:pos x="T12" y="T13"/>
                </a:cxn>
              </a:cxnLst>
              <a:rect l="0" t="0" r="r" b="b"/>
              <a:pathLst>
                <a:path w="14" h="287">
                  <a:moveTo>
                    <a:pt x="7" y="287"/>
                  </a:moveTo>
                  <a:cubicBezTo>
                    <a:pt x="3" y="287"/>
                    <a:pt x="0" y="283"/>
                    <a:pt x="0" y="279"/>
                  </a:cubicBezTo>
                  <a:lnTo>
                    <a:pt x="0" y="7"/>
                  </a:lnTo>
                  <a:cubicBezTo>
                    <a:pt x="0" y="3"/>
                    <a:pt x="3" y="0"/>
                    <a:pt x="7" y="0"/>
                  </a:cubicBezTo>
                  <a:cubicBezTo>
                    <a:pt x="11" y="0"/>
                    <a:pt x="14" y="3"/>
                    <a:pt x="14" y="7"/>
                  </a:cubicBezTo>
                  <a:lnTo>
                    <a:pt x="14" y="279"/>
                  </a:lnTo>
                  <a:cubicBezTo>
                    <a:pt x="14" y="283"/>
                    <a:pt x="11" y="287"/>
                    <a:pt x="7" y="287"/>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56">
              <a:extLst>
                <a:ext uri="{FF2B5EF4-FFF2-40B4-BE49-F238E27FC236}">
                  <a16:creationId xmlns:a16="http://schemas.microsoft.com/office/drawing/2014/main" id="{881FF6B7-900A-C6E5-7489-937EA0A4E81F}"/>
                </a:ext>
              </a:extLst>
            </p:cNvPr>
            <p:cNvSpPr>
              <a:spLocks/>
            </p:cNvSpPr>
            <p:nvPr/>
          </p:nvSpPr>
          <p:spPr bwMode="auto">
            <a:xfrm>
              <a:off x="3084513" y="1193800"/>
              <a:ext cx="12700" cy="287338"/>
            </a:xfrm>
            <a:custGeom>
              <a:avLst/>
              <a:gdLst>
                <a:gd name="T0" fmla="*/ 7 w 14"/>
                <a:gd name="T1" fmla="*/ 314 h 314"/>
                <a:gd name="T2" fmla="*/ 0 w 14"/>
                <a:gd name="T3" fmla="*/ 306 h 314"/>
                <a:gd name="T4" fmla="*/ 0 w 14"/>
                <a:gd name="T5" fmla="*/ 7 h 314"/>
                <a:gd name="T6" fmla="*/ 7 w 14"/>
                <a:gd name="T7" fmla="*/ 0 h 314"/>
                <a:gd name="T8" fmla="*/ 14 w 14"/>
                <a:gd name="T9" fmla="*/ 7 h 314"/>
                <a:gd name="T10" fmla="*/ 14 w 14"/>
                <a:gd name="T11" fmla="*/ 306 h 314"/>
                <a:gd name="T12" fmla="*/ 7 w 14"/>
                <a:gd name="T13" fmla="*/ 314 h 314"/>
              </a:gdLst>
              <a:ahLst/>
              <a:cxnLst>
                <a:cxn ang="0">
                  <a:pos x="T0" y="T1"/>
                </a:cxn>
                <a:cxn ang="0">
                  <a:pos x="T2" y="T3"/>
                </a:cxn>
                <a:cxn ang="0">
                  <a:pos x="T4" y="T5"/>
                </a:cxn>
                <a:cxn ang="0">
                  <a:pos x="T6" y="T7"/>
                </a:cxn>
                <a:cxn ang="0">
                  <a:pos x="T8" y="T9"/>
                </a:cxn>
                <a:cxn ang="0">
                  <a:pos x="T10" y="T11"/>
                </a:cxn>
                <a:cxn ang="0">
                  <a:pos x="T12" y="T13"/>
                </a:cxn>
              </a:cxnLst>
              <a:rect l="0" t="0" r="r" b="b"/>
              <a:pathLst>
                <a:path w="14" h="314">
                  <a:moveTo>
                    <a:pt x="7" y="314"/>
                  </a:moveTo>
                  <a:cubicBezTo>
                    <a:pt x="3" y="314"/>
                    <a:pt x="0" y="310"/>
                    <a:pt x="0" y="306"/>
                  </a:cubicBezTo>
                  <a:lnTo>
                    <a:pt x="0" y="7"/>
                  </a:lnTo>
                  <a:cubicBezTo>
                    <a:pt x="0" y="3"/>
                    <a:pt x="3" y="0"/>
                    <a:pt x="7" y="0"/>
                  </a:cubicBezTo>
                  <a:cubicBezTo>
                    <a:pt x="11" y="0"/>
                    <a:pt x="14" y="3"/>
                    <a:pt x="14" y="7"/>
                  </a:cubicBezTo>
                  <a:lnTo>
                    <a:pt x="14" y="306"/>
                  </a:lnTo>
                  <a:cubicBezTo>
                    <a:pt x="14" y="310"/>
                    <a:pt x="11" y="314"/>
                    <a:pt x="7" y="314"/>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57">
              <a:extLst>
                <a:ext uri="{FF2B5EF4-FFF2-40B4-BE49-F238E27FC236}">
                  <a16:creationId xmlns:a16="http://schemas.microsoft.com/office/drawing/2014/main" id="{B5CBED7E-91C8-9DCB-3E19-9924B1D859CF}"/>
                </a:ext>
              </a:extLst>
            </p:cNvPr>
            <p:cNvSpPr>
              <a:spLocks/>
            </p:cNvSpPr>
            <p:nvPr/>
          </p:nvSpPr>
          <p:spPr bwMode="auto">
            <a:xfrm>
              <a:off x="3144838" y="1174750"/>
              <a:ext cx="12700" cy="306388"/>
            </a:xfrm>
            <a:custGeom>
              <a:avLst/>
              <a:gdLst>
                <a:gd name="T0" fmla="*/ 8 w 15"/>
                <a:gd name="T1" fmla="*/ 335 h 335"/>
                <a:gd name="T2" fmla="*/ 0 w 15"/>
                <a:gd name="T3" fmla="*/ 327 h 335"/>
                <a:gd name="T4" fmla="*/ 0 w 15"/>
                <a:gd name="T5" fmla="*/ 8 h 335"/>
                <a:gd name="T6" fmla="*/ 8 w 15"/>
                <a:gd name="T7" fmla="*/ 0 h 335"/>
                <a:gd name="T8" fmla="*/ 15 w 15"/>
                <a:gd name="T9" fmla="*/ 8 h 335"/>
                <a:gd name="T10" fmla="*/ 15 w 15"/>
                <a:gd name="T11" fmla="*/ 327 h 335"/>
                <a:gd name="T12" fmla="*/ 8 w 15"/>
                <a:gd name="T13" fmla="*/ 335 h 335"/>
              </a:gdLst>
              <a:ahLst/>
              <a:cxnLst>
                <a:cxn ang="0">
                  <a:pos x="T0" y="T1"/>
                </a:cxn>
                <a:cxn ang="0">
                  <a:pos x="T2" y="T3"/>
                </a:cxn>
                <a:cxn ang="0">
                  <a:pos x="T4" y="T5"/>
                </a:cxn>
                <a:cxn ang="0">
                  <a:pos x="T6" y="T7"/>
                </a:cxn>
                <a:cxn ang="0">
                  <a:pos x="T8" y="T9"/>
                </a:cxn>
                <a:cxn ang="0">
                  <a:pos x="T10" y="T11"/>
                </a:cxn>
                <a:cxn ang="0">
                  <a:pos x="T12" y="T13"/>
                </a:cxn>
              </a:cxnLst>
              <a:rect l="0" t="0" r="r" b="b"/>
              <a:pathLst>
                <a:path w="15" h="335">
                  <a:moveTo>
                    <a:pt x="8" y="335"/>
                  </a:moveTo>
                  <a:cubicBezTo>
                    <a:pt x="3" y="335"/>
                    <a:pt x="0" y="331"/>
                    <a:pt x="0" y="327"/>
                  </a:cubicBezTo>
                  <a:lnTo>
                    <a:pt x="0" y="8"/>
                  </a:lnTo>
                  <a:cubicBezTo>
                    <a:pt x="0" y="4"/>
                    <a:pt x="3" y="0"/>
                    <a:pt x="8" y="0"/>
                  </a:cubicBezTo>
                  <a:cubicBezTo>
                    <a:pt x="12" y="0"/>
                    <a:pt x="15" y="4"/>
                    <a:pt x="15" y="8"/>
                  </a:cubicBezTo>
                  <a:lnTo>
                    <a:pt x="15" y="327"/>
                  </a:lnTo>
                  <a:cubicBezTo>
                    <a:pt x="15" y="331"/>
                    <a:pt x="12" y="335"/>
                    <a:pt x="8" y="335"/>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58">
              <a:extLst>
                <a:ext uri="{FF2B5EF4-FFF2-40B4-BE49-F238E27FC236}">
                  <a16:creationId xmlns:a16="http://schemas.microsoft.com/office/drawing/2014/main" id="{C064F3D0-8ADC-14DC-6543-055A36BEF7E0}"/>
                </a:ext>
              </a:extLst>
            </p:cNvPr>
            <p:cNvSpPr>
              <a:spLocks/>
            </p:cNvSpPr>
            <p:nvPr/>
          </p:nvSpPr>
          <p:spPr bwMode="auto">
            <a:xfrm>
              <a:off x="3175001" y="1262063"/>
              <a:ext cx="14288" cy="219075"/>
            </a:xfrm>
            <a:custGeom>
              <a:avLst/>
              <a:gdLst>
                <a:gd name="T0" fmla="*/ 7 w 15"/>
                <a:gd name="T1" fmla="*/ 240 h 240"/>
                <a:gd name="T2" fmla="*/ 0 w 15"/>
                <a:gd name="T3" fmla="*/ 232 h 240"/>
                <a:gd name="T4" fmla="*/ 0 w 15"/>
                <a:gd name="T5" fmla="*/ 7 h 240"/>
                <a:gd name="T6" fmla="*/ 7 w 15"/>
                <a:gd name="T7" fmla="*/ 0 h 240"/>
                <a:gd name="T8" fmla="*/ 15 w 15"/>
                <a:gd name="T9" fmla="*/ 7 h 240"/>
                <a:gd name="T10" fmla="*/ 15 w 15"/>
                <a:gd name="T11" fmla="*/ 232 h 240"/>
                <a:gd name="T12" fmla="*/ 7 w 15"/>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15" h="240">
                  <a:moveTo>
                    <a:pt x="7" y="240"/>
                  </a:moveTo>
                  <a:cubicBezTo>
                    <a:pt x="3" y="240"/>
                    <a:pt x="0" y="236"/>
                    <a:pt x="0" y="232"/>
                  </a:cubicBezTo>
                  <a:lnTo>
                    <a:pt x="0" y="7"/>
                  </a:lnTo>
                  <a:cubicBezTo>
                    <a:pt x="0" y="3"/>
                    <a:pt x="3" y="0"/>
                    <a:pt x="7" y="0"/>
                  </a:cubicBezTo>
                  <a:cubicBezTo>
                    <a:pt x="11" y="0"/>
                    <a:pt x="15" y="3"/>
                    <a:pt x="15" y="7"/>
                  </a:cubicBezTo>
                  <a:lnTo>
                    <a:pt x="15" y="232"/>
                  </a:lnTo>
                  <a:cubicBezTo>
                    <a:pt x="15" y="236"/>
                    <a:pt x="11" y="240"/>
                    <a:pt x="7" y="240"/>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59">
              <a:extLst>
                <a:ext uri="{FF2B5EF4-FFF2-40B4-BE49-F238E27FC236}">
                  <a16:creationId xmlns:a16="http://schemas.microsoft.com/office/drawing/2014/main" id="{CB48B14F-69FF-8535-1B33-091B7819795B}"/>
                </a:ext>
              </a:extLst>
            </p:cNvPr>
            <p:cNvSpPr>
              <a:spLocks/>
            </p:cNvSpPr>
            <p:nvPr/>
          </p:nvSpPr>
          <p:spPr bwMode="auto">
            <a:xfrm>
              <a:off x="3235326" y="1365250"/>
              <a:ext cx="12700" cy="115888"/>
            </a:xfrm>
            <a:custGeom>
              <a:avLst/>
              <a:gdLst>
                <a:gd name="T0" fmla="*/ 7 w 14"/>
                <a:gd name="T1" fmla="*/ 127 h 127"/>
                <a:gd name="T2" fmla="*/ 0 w 14"/>
                <a:gd name="T3" fmla="*/ 119 h 127"/>
                <a:gd name="T4" fmla="*/ 0 w 14"/>
                <a:gd name="T5" fmla="*/ 7 h 127"/>
                <a:gd name="T6" fmla="*/ 7 w 14"/>
                <a:gd name="T7" fmla="*/ 0 h 127"/>
                <a:gd name="T8" fmla="*/ 14 w 14"/>
                <a:gd name="T9" fmla="*/ 7 h 127"/>
                <a:gd name="T10" fmla="*/ 14 w 14"/>
                <a:gd name="T11" fmla="*/ 119 h 127"/>
                <a:gd name="T12" fmla="*/ 7 w 14"/>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14" h="127">
                  <a:moveTo>
                    <a:pt x="7" y="127"/>
                  </a:moveTo>
                  <a:cubicBezTo>
                    <a:pt x="3" y="127"/>
                    <a:pt x="0" y="123"/>
                    <a:pt x="0" y="119"/>
                  </a:cubicBezTo>
                  <a:lnTo>
                    <a:pt x="0" y="7"/>
                  </a:lnTo>
                  <a:cubicBezTo>
                    <a:pt x="0" y="3"/>
                    <a:pt x="3" y="0"/>
                    <a:pt x="7" y="0"/>
                  </a:cubicBezTo>
                  <a:cubicBezTo>
                    <a:pt x="11" y="0"/>
                    <a:pt x="14" y="3"/>
                    <a:pt x="14" y="7"/>
                  </a:cubicBezTo>
                  <a:lnTo>
                    <a:pt x="14" y="119"/>
                  </a:lnTo>
                  <a:cubicBezTo>
                    <a:pt x="14" y="123"/>
                    <a:pt x="11" y="127"/>
                    <a:pt x="7" y="127"/>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60">
              <a:extLst>
                <a:ext uri="{FF2B5EF4-FFF2-40B4-BE49-F238E27FC236}">
                  <a16:creationId xmlns:a16="http://schemas.microsoft.com/office/drawing/2014/main" id="{988AC253-9706-8429-9350-9D27921009A4}"/>
                </a:ext>
              </a:extLst>
            </p:cNvPr>
            <p:cNvSpPr>
              <a:spLocks/>
            </p:cNvSpPr>
            <p:nvPr/>
          </p:nvSpPr>
          <p:spPr bwMode="auto">
            <a:xfrm>
              <a:off x="3265488" y="1347788"/>
              <a:ext cx="14288" cy="133350"/>
            </a:xfrm>
            <a:custGeom>
              <a:avLst/>
              <a:gdLst>
                <a:gd name="T0" fmla="*/ 7 w 14"/>
                <a:gd name="T1" fmla="*/ 146 h 146"/>
                <a:gd name="T2" fmla="*/ 0 w 14"/>
                <a:gd name="T3" fmla="*/ 138 h 146"/>
                <a:gd name="T4" fmla="*/ 0 w 14"/>
                <a:gd name="T5" fmla="*/ 8 h 146"/>
                <a:gd name="T6" fmla="*/ 7 w 14"/>
                <a:gd name="T7" fmla="*/ 0 h 146"/>
                <a:gd name="T8" fmla="*/ 14 w 14"/>
                <a:gd name="T9" fmla="*/ 8 h 146"/>
                <a:gd name="T10" fmla="*/ 14 w 14"/>
                <a:gd name="T11" fmla="*/ 138 h 146"/>
                <a:gd name="T12" fmla="*/ 7 w 14"/>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14" h="146">
                  <a:moveTo>
                    <a:pt x="7" y="146"/>
                  </a:moveTo>
                  <a:cubicBezTo>
                    <a:pt x="3" y="146"/>
                    <a:pt x="0" y="142"/>
                    <a:pt x="0" y="138"/>
                  </a:cubicBezTo>
                  <a:lnTo>
                    <a:pt x="0" y="8"/>
                  </a:lnTo>
                  <a:cubicBezTo>
                    <a:pt x="0" y="4"/>
                    <a:pt x="3" y="0"/>
                    <a:pt x="7" y="0"/>
                  </a:cubicBezTo>
                  <a:cubicBezTo>
                    <a:pt x="11" y="0"/>
                    <a:pt x="14" y="4"/>
                    <a:pt x="14" y="8"/>
                  </a:cubicBezTo>
                  <a:lnTo>
                    <a:pt x="14" y="138"/>
                  </a:lnTo>
                  <a:cubicBezTo>
                    <a:pt x="14" y="142"/>
                    <a:pt x="11" y="146"/>
                    <a:pt x="7" y="146"/>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161">
              <a:extLst>
                <a:ext uri="{FF2B5EF4-FFF2-40B4-BE49-F238E27FC236}">
                  <a16:creationId xmlns:a16="http://schemas.microsoft.com/office/drawing/2014/main" id="{C99FFD82-06EC-DBE8-4B1D-A9EF9482BFA8}"/>
                </a:ext>
              </a:extLst>
            </p:cNvPr>
            <p:cNvSpPr>
              <a:spLocks/>
            </p:cNvSpPr>
            <p:nvPr/>
          </p:nvSpPr>
          <p:spPr bwMode="auto">
            <a:xfrm>
              <a:off x="3325813" y="1325563"/>
              <a:ext cx="12700" cy="155575"/>
            </a:xfrm>
            <a:custGeom>
              <a:avLst/>
              <a:gdLst>
                <a:gd name="T0" fmla="*/ 7 w 15"/>
                <a:gd name="T1" fmla="*/ 171 h 171"/>
                <a:gd name="T2" fmla="*/ 0 w 15"/>
                <a:gd name="T3" fmla="*/ 163 h 171"/>
                <a:gd name="T4" fmla="*/ 0 w 15"/>
                <a:gd name="T5" fmla="*/ 8 h 171"/>
                <a:gd name="T6" fmla="*/ 7 w 15"/>
                <a:gd name="T7" fmla="*/ 0 h 171"/>
                <a:gd name="T8" fmla="*/ 15 w 15"/>
                <a:gd name="T9" fmla="*/ 8 h 171"/>
                <a:gd name="T10" fmla="*/ 15 w 15"/>
                <a:gd name="T11" fmla="*/ 163 h 171"/>
                <a:gd name="T12" fmla="*/ 7 w 15"/>
                <a:gd name="T13" fmla="*/ 171 h 171"/>
              </a:gdLst>
              <a:ahLst/>
              <a:cxnLst>
                <a:cxn ang="0">
                  <a:pos x="T0" y="T1"/>
                </a:cxn>
                <a:cxn ang="0">
                  <a:pos x="T2" y="T3"/>
                </a:cxn>
                <a:cxn ang="0">
                  <a:pos x="T4" y="T5"/>
                </a:cxn>
                <a:cxn ang="0">
                  <a:pos x="T6" y="T7"/>
                </a:cxn>
                <a:cxn ang="0">
                  <a:pos x="T8" y="T9"/>
                </a:cxn>
                <a:cxn ang="0">
                  <a:pos x="T10" y="T11"/>
                </a:cxn>
                <a:cxn ang="0">
                  <a:pos x="T12" y="T13"/>
                </a:cxn>
              </a:cxnLst>
              <a:rect l="0" t="0" r="r" b="b"/>
              <a:pathLst>
                <a:path w="15" h="171">
                  <a:moveTo>
                    <a:pt x="7" y="171"/>
                  </a:moveTo>
                  <a:cubicBezTo>
                    <a:pt x="3" y="171"/>
                    <a:pt x="0" y="167"/>
                    <a:pt x="0" y="163"/>
                  </a:cubicBezTo>
                  <a:lnTo>
                    <a:pt x="0" y="8"/>
                  </a:lnTo>
                  <a:cubicBezTo>
                    <a:pt x="0" y="3"/>
                    <a:pt x="3" y="0"/>
                    <a:pt x="7" y="0"/>
                  </a:cubicBezTo>
                  <a:cubicBezTo>
                    <a:pt x="11" y="0"/>
                    <a:pt x="15" y="3"/>
                    <a:pt x="15" y="8"/>
                  </a:cubicBezTo>
                  <a:lnTo>
                    <a:pt x="15" y="163"/>
                  </a:lnTo>
                  <a:cubicBezTo>
                    <a:pt x="15" y="167"/>
                    <a:pt x="11" y="171"/>
                    <a:pt x="7" y="171"/>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162">
              <a:extLst>
                <a:ext uri="{FF2B5EF4-FFF2-40B4-BE49-F238E27FC236}">
                  <a16:creationId xmlns:a16="http://schemas.microsoft.com/office/drawing/2014/main" id="{70BBC997-0448-FFAE-C882-56DBD93607BF}"/>
                </a:ext>
              </a:extLst>
            </p:cNvPr>
            <p:cNvSpPr>
              <a:spLocks/>
            </p:cNvSpPr>
            <p:nvPr/>
          </p:nvSpPr>
          <p:spPr bwMode="auto">
            <a:xfrm>
              <a:off x="3355976" y="1381125"/>
              <a:ext cx="14288" cy="100013"/>
            </a:xfrm>
            <a:custGeom>
              <a:avLst/>
              <a:gdLst>
                <a:gd name="T0" fmla="*/ 7 w 15"/>
                <a:gd name="T1" fmla="*/ 109 h 109"/>
                <a:gd name="T2" fmla="*/ 0 w 15"/>
                <a:gd name="T3" fmla="*/ 101 h 109"/>
                <a:gd name="T4" fmla="*/ 0 w 15"/>
                <a:gd name="T5" fmla="*/ 7 h 109"/>
                <a:gd name="T6" fmla="*/ 7 w 15"/>
                <a:gd name="T7" fmla="*/ 0 h 109"/>
                <a:gd name="T8" fmla="*/ 15 w 15"/>
                <a:gd name="T9" fmla="*/ 7 h 109"/>
                <a:gd name="T10" fmla="*/ 15 w 15"/>
                <a:gd name="T11" fmla="*/ 101 h 109"/>
                <a:gd name="T12" fmla="*/ 7 w 15"/>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 h="109">
                  <a:moveTo>
                    <a:pt x="7" y="109"/>
                  </a:moveTo>
                  <a:cubicBezTo>
                    <a:pt x="3" y="109"/>
                    <a:pt x="0" y="105"/>
                    <a:pt x="0" y="101"/>
                  </a:cubicBezTo>
                  <a:lnTo>
                    <a:pt x="0" y="7"/>
                  </a:lnTo>
                  <a:cubicBezTo>
                    <a:pt x="0" y="3"/>
                    <a:pt x="3" y="0"/>
                    <a:pt x="7" y="0"/>
                  </a:cubicBezTo>
                  <a:cubicBezTo>
                    <a:pt x="11" y="0"/>
                    <a:pt x="15" y="3"/>
                    <a:pt x="15" y="7"/>
                  </a:cubicBezTo>
                  <a:lnTo>
                    <a:pt x="15" y="101"/>
                  </a:lnTo>
                  <a:cubicBezTo>
                    <a:pt x="15" y="105"/>
                    <a:pt x="11" y="109"/>
                    <a:pt x="7" y="109"/>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163">
              <a:extLst>
                <a:ext uri="{FF2B5EF4-FFF2-40B4-BE49-F238E27FC236}">
                  <a16:creationId xmlns:a16="http://schemas.microsoft.com/office/drawing/2014/main" id="{7855D8AC-DBAC-56E7-52FC-0337C0F3B5DF}"/>
                </a:ext>
              </a:extLst>
            </p:cNvPr>
            <p:cNvSpPr>
              <a:spLocks/>
            </p:cNvSpPr>
            <p:nvPr/>
          </p:nvSpPr>
          <p:spPr bwMode="auto">
            <a:xfrm>
              <a:off x="3416301" y="1401763"/>
              <a:ext cx="12700" cy="79375"/>
            </a:xfrm>
            <a:custGeom>
              <a:avLst/>
              <a:gdLst>
                <a:gd name="T0" fmla="*/ 7 w 14"/>
                <a:gd name="T1" fmla="*/ 86 h 86"/>
                <a:gd name="T2" fmla="*/ 0 w 14"/>
                <a:gd name="T3" fmla="*/ 78 h 86"/>
                <a:gd name="T4" fmla="*/ 0 w 14"/>
                <a:gd name="T5" fmla="*/ 7 h 86"/>
                <a:gd name="T6" fmla="*/ 7 w 14"/>
                <a:gd name="T7" fmla="*/ 0 h 86"/>
                <a:gd name="T8" fmla="*/ 14 w 14"/>
                <a:gd name="T9" fmla="*/ 7 h 86"/>
                <a:gd name="T10" fmla="*/ 14 w 14"/>
                <a:gd name="T11" fmla="*/ 78 h 86"/>
                <a:gd name="T12" fmla="*/ 7 w 14"/>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4" h="86">
                  <a:moveTo>
                    <a:pt x="7" y="86"/>
                  </a:moveTo>
                  <a:cubicBezTo>
                    <a:pt x="3" y="86"/>
                    <a:pt x="0" y="82"/>
                    <a:pt x="0" y="78"/>
                  </a:cubicBezTo>
                  <a:lnTo>
                    <a:pt x="0" y="7"/>
                  </a:lnTo>
                  <a:cubicBezTo>
                    <a:pt x="0" y="3"/>
                    <a:pt x="3" y="0"/>
                    <a:pt x="7" y="0"/>
                  </a:cubicBezTo>
                  <a:cubicBezTo>
                    <a:pt x="11" y="0"/>
                    <a:pt x="14" y="3"/>
                    <a:pt x="14" y="7"/>
                  </a:cubicBezTo>
                  <a:lnTo>
                    <a:pt x="14" y="78"/>
                  </a:lnTo>
                  <a:cubicBezTo>
                    <a:pt x="14" y="82"/>
                    <a:pt x="11" y="86"/>
                    <a:pt x="7" y="86"/>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64">
              <a:extLst>
                <a:ext uri="{FF2B5EF4-FFF2-40B4-BE49-F238E27FC236}">
                  <a16:creationId xmlns:a16="http://schemas.microsoft.com/office/drawing/2014/main" id="{274C2FB2-D7FE-A1F3-D327-D19487581398}"/>
                </a:ext>
              </a:extLst>
            </p:cNvPr>
            <p:cNvSpPr>
              <a:spLocks/>
            </p:cNvSpPr>
            <p:nvPr/>
          </p:nvSpPr>
          <p:spPr bwMode="auto">
            <a:xfrm>
              <a:off x="2992438" y="1035050"/>
              <a:ext cx="438150" cy="358775"/>
            </a:xfrm>
            <a:custGeom>
              <a:avLst/>
              <a:gdLst>
                <a:gd name="T0" fmla="*/ 472 w 480"/>
                <a:gd name="T1" fmla="*/ 393 h 393"/>
                <a:gd name="T2" fmla="*/ 467 w 480"/>
                <a:gd name="T3" fmla="*/ 391 h 393"/>
                <a:gd name="T4" fmla="*/ 371 w 480"/>
                <a:gd name="T5" fmla="*/ 300 h 393"/>
                <a:gd name="T6" fmla="*/ 276 w 480"/>
                <a:gd name="T7" fmla="*/ 345 h 393"/>
                <a:gd name="T8" fmla="*/ 270 w 480"/>
                <a:gd name="T9" fmla="*/ 345 h 393"/>
                <a:gd name="T10" fmla="*/ 266 w 480"/>
                <a:gd name="T11" fmla="*/ 341 h 393"/>
                <a:gd name="T12" fmla="*/ 170 w 480"/>
                <a:gd name="T13" fmla="*/ 114 h 393"/>
                <a:gd name="T14" fmla="*/ 78 w 480"/>
                <a:gd name="T15" fmla="*/ 178 h 393"/>
                <a:gd name="T16" fmla="*/ 72 w 480"/>
                <a:gd name="T17" fmla="*/ 179 h 393"/>
                <a:gd name="T18" fmla="*/ 67 w 480"/>
                <a:gd name="T19" fmla="*/ 174 h 393"/>
                <a:gd name="T20" fmla="*/ 2 w 480"/>
                <a:gd name="T21" fmla="*/ 11 h 393"/>
                <a:gd name="T22" fmla="*/ 6 w 480"/>
                <a:gd name="T23" fmla="*/ 1 h 393"/>
                <a:gd name="T24" fmla="*/ 15 w 480"/>
                <a:gd name="T25" fmla="*/ 5 h 393"/>
                <a:gd name="T26" fmla="*/ 77 w 480"/>
                <a:gd name="T27" fmla="*/ 161 h 393"/>
                <a:gd name="T28" fmla="*/ 169 w 480"/>
                <a:gd name="T29" fmla="*/ 96 h 393"/>
                <a:gd name="T30" fmla="*/ 176 w 480"/>
                <a:gd name="T31" fmla="*/ 95 h 393"/>
                <a:gd name="T32" fmla="*/ 180 w 480"/>
                <a:gd name="T33" fmla="*/ 100 h 393"/>
                <a:gd name="T34" fmla="*/ 277 w 480"/>
                <a:gd name="T35" fmla="*/ 329 h 393"/>
                <a:gd name="T36" fmla="*/ 369 w 480"/>
                <a:gd name="T37" fmla="*/ 285 h 393"/>
                <a:gd name="T38" fmla="*/ 377 w 480"/>
                <a:gd name="T39" fmla="*/ 286 h 393"/>
                <a:gd name="T40" fmla="*/ 477 w 480"/>
                <a:gd name="T41" fmla="*/ 381 h 393"/>
                <a:gd name="T42" fmla="*/ 477 w 480"/>
                <a:gd name="T43" fmla="*/ 391 h 393"/>
                <a:gd name="T44" fmla="*/ 472 w 480"/>
                <a:gd name="T45" fmla="*/ 39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0" h="393">
                  <a:moveTo>
                    <a:pt x="472" y="393"/>
                  </a:moveTo>
                  <a:cubicBezTo>
                    <a:pt x="470" y="393"/>
                    <a:pt x="468" y="393"/>
                    <a:pt x="467" y="391"/>
                  </a:cubicBezTo>
                  <a:lnTo>
                    <a:pt x="371" y="300"/>
                  </a:lnTo>
                  <a:lnTo>
                    <a:pt x="276" y="345"/>
                  </a:lnTo>
                  <a:cubicBezTo>
                    <a:pt x="274" y="346"/>
                    <a:pt x="272" y="346"/>
                    <a:pt x="270" y="345"/>
                  </a:cubicBezTo>
                  <a:cubicBezTo>
                    <a:pt x="268" y="345"/>
                    <a:pt x="267" y="343"/>
                    <a:pt x="266" y="341"/>
                  </a:cubicBezTo>
                  <a:lnTo>
                    <a:pt x="170" y="114"/>
                  </a:lnTo>
                  <a:lnTo>
                    <a:pt x="78" y="178"/>
                  </a:lnTo>
                  <a:cubicBezTo>
                    <a:pt x="76" y="179"/>
                    <a:pt x="74" y="179"/>
                    <a:pt x="72" y="179"/>
                  </a:cubicBezTo>
                  <a:cubicBezTo>
                    <a:pt x="70" y="178"/>
                    <a:pt x="68" y="177"/>
                    <a:pt x="67" y="174"/>
                  </a:cubicBezTo>
                  <a:lnTo>
                    <a:pt x="2" y="11"/>
                  </a:lnTo>
                  <a:cubicBezTo>
                    <a:pt x="0" y="7"/>
                    <a:pt x="2" y="3"/>
                    <a:pt x="6" y="1"/>
                  </a:cubicBezTo>
                  <a:cubicBezTo>
                    <a:pt x="10" y="0"/>
                    <a:pt x="14" y="1"/>
                    <a:pt x="15" y="5"/>
                  </a:cubicBezTo>
                  <a:lnTo>
                    <a:pt x="77" y="161"/>
                  </a:lnTo>
                  <a:lnTo>
                    <a:pt x="169" y="96"/>
                  </a:lnTo>
                  <a:cubicBezTo>
                    <a:pt x="171" y="95"/>
                    <a:pt x="173" y="95"/>
                    <a:pt x="176" y="95"/>
                  </a:cubicBezTo>
                  <a:cubicBezTo>
                    <a:pt x="178" y="96"/>
                    <a:pt x="179" y="98"/>
                    <a:pt x="180" y="100"/>
                  </a:cubicBezTo>
                  <a:lnTo>
                    <a:pt x="277" y="329"/>
                  </a:lnTo>
                  <a:lnTo>
                    <a:pt x="369" y="285"/>
                  </a:lnTo>
                  <a:cubicBezTo>
                    <a:pt x="372" y="284"/>
                    <a:pt x="375" y="284"/>
                    <a:pt x="377" y="286"/>
                  </a:cubicBezTo>
                  <a:lnTo>
                    <a:pt x="477" y="381"/>
                  </a:lnTo>
                  <a:cubicBezTo>
                    <a:pt x="480" y="383"/>
                    <a:pt x="480" y="388"/>
                    <a:pt x="477" y="391"/>
                  </a:cubicBezTo>
                  <a:cubicBezTo>
                    <a:pt x="476" y="392"/>
                    <a:pt x="474" y="393"/>
                    <a:pt x="472" y="393"/>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 name="Valuation" descr="{&quot;Key&quot;:&quot;POWER_USER_SHAPE_ICON&quot;,&quot;Value&quot;:&quot;POWER_USER_SHAPE_ICON_STYLE_1&quot;}">
            <a:extLst>
              <a:ext uri="{FF2B5EF4-FFF2-40B4-BE49-F238E27FC236}">
                <a16:creationId xmlns:a16="http://schemas.microsoft.com/office/drawing/2014/main" id="{ACC2433C-8D53-8149-7079-0E154E197D80}"/>
              </a:ext>
            </a:extLst>
          </p:cNvPr>
          <p:cNvGrpSpPr>
            <a:grpSpLocks noChangeAspect="1"/>
          </p:cNvGrpSpPr>
          <p:nvPr/>
        </p:nvGrpSpPr>
        <p:grpSpPr>
          <a:xfrm>
            <a:off x="4781351" y="5762751"/>
            <a:ext cx="327298" cy="365883"/>
            <a:chOff x="3981451" y="5043488"/>
            <a:chExt cx="390525" cy="436563"/>
          </a:xfrm>
          <a:solidFill>
            <a:schemeClr val="tx1"/>
          </a:solidFill>
        </p:grpSpPr>
        <p:sp>
          <p:nvSpPr>
            <p:cNvPr id="70" name="Freeform 802">
              <a:extLst>
                <a:ext uri="{FF2B5EF4-FFF2-40B4-BE49-F238E27FC236}">
                  <a16:creationId xmlns:a16="http://schemas.microsoft.com/office/drawing/2014/main" id="{E00327D8-8A13-E5EE-B6A0-4B1358E83BE1}"/>
                </a:ext>
              </a:extLst>
            </p:cNvPr>
            <p:cNvSpPr>
              <a:spLocks noEditPoints="1"/>
            </p:cNvSpPr>
            <p:nvPr/>
          </p:nvSpPr>
          <p:spPr bwMode="auto">
            <a:xfrm>
              <a:off x="4037014" y="5122864"/>
              <a:ext cx="279400" cy="279400"/>
            </a:xfrm>
            <a:custGeom>
              <a:avLst/>
              <a:gdLst>
                <a:gd name="T0" fmla="*/ 184 w 367"/>
                <a:gd name="T1" fmla="*/ 16 h 367"/>
                <a:gd name="T2" fmla="*/ 17 w 367"/>
                <a:gd name="T3" fmla="*/ 183 h 367"/>
                <a:gd name="T4" fmla="*/ 184 w 367"/>
                <a:gd name="T5" fmla="*/ 350 h 367"/>
                <a:gd name="T6" fmla="*/ 351 w 367"/>
                <a:gd name="T7" fmla="*/ 183 h 367"/>
                <a:gd name="T8" fmla="*/ 184 w 367"/>
                <a:gd name="T9" fmla="*/ 16 h 367"/>
                <a:gd name="T10" fmla="*/ 184 w 367"/>
                <a:gd name="T11" fmla="*/ 367 h 367"/>
                <a:gd name="T12" fmla="*/ 0 w 367"/>
                <a:gd name="T13" fmla="*/ 183 h 367"/>
                <a:gd name="T14" fmla="*/ 184 w 367"/>
                <a:gd name="T15" fmla="*/ 0 h 367"/>
                <a:gd name="T16" fmla="*/ 367 w 367"/>
                <a:gd name="T17" fmla="*/ 183 h 367"/>
                <a:gd name="T18" fmla="*/ 184 w 367"/>
                <a:gd name="T19"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7" h="367">
                  <a:moveTo>
                    <a:pt x="184" y="16"/>
                  </a:moveTo>
                  <a:cubicBezTo>
                    <a:pt x="92" y="16"/>
                    <a:pt x="17" y="91"/>
                    <a:pt x="17" y="183"/>
                  </a:cubicBezTo>
                  <a:cubicBezTo>
                    <a:pt x="17" y="275"/>
                    <a:pt x="92" y="350"/>
                    <a:pt x="184" y="350"/>
                  </a:cubicBezTo>
                  <a:cubicBezTo>
                    <a:pt x="276" y="350"/>
                    <a:pt x="351" y="275"/>
                    <a:pt x="351" y="183"/>
                  </a:cubicBezTo>
                  <a:cubicBezTo>
                    <a:pt x="351" y="91"/>
                    <a:pt x="276" y="16"/>
                    <a:pt x="184" y="16"/>
                  </a:cubicBezTo>
                  <a:close/>
                  <a:moveTo>
                    <a:pt x="184" y="367"/>
                  </a:moveTo>
                  <a:cubicBezTo>
                    <a:pt x="83" y="367"/>
                    <a:pt x="0" y="284"/>
                    <a:pt x="0" y="183"/>
                  </a:cubicBezTo>
                  <a:cubicBezTo>
                    <a:pt x="0" y="82"/>
                    <a:pt x="83" y="0"/>
                    <a:pt x="184" y="0"/>
                  </a:cubicBezTo>
                  <a:cubicBezTo>
                    <a:pt x="285" y="0"/>
                    <a:pt x="367" y="82"/>
                    <a:pt x="367" y="183"/>
                  </a:cubicBezTo>
                  <a:cubicBezTo>
                    <a:pt x="367" y="284"/>
                    <a:pt x="285" y="367"/>
                    <a:pt x="184" y="367"/>
                  </a:cubicBez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803">
              <a:extLst>
                <a:ext uri="{FF2B5EF4-FFF2-40B4-BE49-F238E27FC236}">
                  <a16:creationId xmlns:a16="http://schemas.microsoft.com/office/drawing/2014/main" id="{E419C101-F5A3-EC37-B865-D1D446FF837C}"/>
                </a:ext>
              </a:extLst>
            </p:cNvPr>
            <p:cNvSpPr>
              <a:spLocks/>
            </p:cNvSpPr>
            <p:nvPr/>
          </p:nvSpPr>
          <p:spPr bwMode="auto">
            <a:xfrm>
              <a:off x="4135439" y="5197476"/>
              <a:ext cx="82550" cy="130175"/>
            </a:xfrm>
            <a:custGeom>
              <a:avLst/>
              <a:gdLst>
                <a:gd name="T0" fmla="*/ 54 w 108"/>
                <a:gd name="T1" fmla="*/ 171 h 171"/>
                <a:gd name="T2" fmla="*/ 0 w 108"/>
                <a:gd name="T3" fmla="*/ 124 h 171"/>
                <a:gd name="T4" fmla="*/ 16 w 108"/>
                <a:gd name="T5" fmla="*/ 124 h 171"/>
                <a:gd name="T6" fmla="*/ 54 w 108"/>
                <a:gd name="T7" fmla="*/ 154 h 171"/>
                <a:gd name="T8" fmla="*/ 92 w 108"/>
                <a:gd name="T9" fmla="*/ 124 h 171"/>
                <a:gd name="T10" fmla="*/ 54 w 108"/>
                <a:gd name="T11" fmla="*/ 94 h 171"/>
                <a:gd name="T12" fmla="*/ 0 w 108"/>
                <a:gd name="T13" fmla="*/ 47 h 171"/>
                <a:gd name="T14" fmla="*/ 54 w 108"/>
                <a:gd name="T15" fmla="*/ 0 h 171"/>
                <a:gd name="T16" fmla="*/ 108 w 108"/>
                <a:gd name="T17" fmla="*/ 47 h 171"/>
                <a:gd name="T18" fmla="*/ 92 w 108"/>
                <a:gd name="T19" fmla="*/ 47 h 171"/>
                <a:gd name="T20" fmla="*/ 54 w 108"/>
                <a:gd name="T21" fmla="*/ 17 h 171"/>
                <a:gd name="T22" fmla="*/ 16 w 108"/>
                <a:gd name="T23" fmla="*/ 47 h 171"/>
                <a:gd name="T24" fmla="*/ 54 w 108"/>
                <a:gd name="T25" fmla="*/ 77 h 171"/>
                <a:gd name="T26" fmla="*/ 108 w 108"/>
                <a:gd name="T27" fmla="*/ 124 h 171"/>
                <a:gd name="T28" fmla="*/ 54 w 108"/>
                <a:gd name="T2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71">
                  <a:moveTo>
                    <a:pt x="54" y="171"/>
                  </a:moveTo>
                  <a:cubicBezTo>
                    <a:pt x="24" y="171"/>
                    <a:pt x="0" y="150"/>
                    <a:pt x="0" y="124"/>
                  </a:cubicBezTo>
                  <a:lnTo>
                    <a:pt x="16" y="124"/>
                  </a:lnTo>
                  <a:cubicBezTo>
                    <a:pt x="16" y="140"/>
                    <a:pt x="33" y="154"/>
                    <a:pt x="54" y="154"/>
                  </a:cubicBezTo>
                  <a:cubicBezTo>
                    <a:pt x="75" y="154"/>
                    <a:pt x="92" y="140"/>
                    <a:pt x="92" y="124"/>
                  </a:cubicBezTo>
                  <a:cubicBezTo>
                    <a:pt x="92" y="105"/>
                    <a:pt x="77" y="94"/>
                    <a:pt x="54" y="94"/>
                  </a:cubicBezTo>
                  <a:cubicBezTo>
                    <a:pt x="16" y="94"/>
                    <a:pt x="0" y="70"/>
                    <a:pt x="0" y="47"/>
                  </a:cubicBezTo>
                  <a:cubicBezTo>
                    <a:pt x="0" y="21"/>
                    <a:pt x="24" y="0"/>
                    <a:pt x="54" y="0"/>
                  </a:cubicBezTo>
                  <a:cubicBezTo>
                    <a:pt x="84" y="0"/>
                    <a:pt x="108" y="21"/>
                    <a:pt x="108" y="47"/>
                  </a:cubicBezTo>
                  <a:lnTo>
                    <a:pt x="92" y="47"/>
                  </a:lnTo>
                  <a:cubicBezTo>
                    <a:pt x="92" y="30"/>
                    <a:pt x="75" y="17"/>
                    <a:pt x="54" y="17"/>
                  </a:cubicBezTo>
                  <a:cubicBezTo>
                    <a:pt x="33" y="17"/>
                    <a:pt x="16" y="30"/>
                    <a:pt x="16" y="47"/>
                  </a:cubicBezTo>
                  <a:cubicBezTo>
                    <a:pt x="16" y="66"/>
                    <a:pt x="30" y="77"/>
                    <a:pt x="54" y="77"/>
                  </a:cubicBezTo>
                  <a:cubicBezTo>
                    <a:pt x="86" y="77"/>
                    <a:pt x="108" y="96"/>
                    <a:pt x="108" y="124"/>
                  </a:cubicBezTo>
                  <a:cubicBezTo>
                    <a:pt x="108" y="150"/>
                    <a:pt x="84" y="171"/>
                    <a:pt x="54" y="171"/>
                  </a:cubicBez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804">
              <a:extLst>
                <a:ext uri="{FF2B5EF4-FFF2-40B4-BE49-F238E27FC236}">
                  <a16:creationId xmlns:a16="http://schemas.microsoft.com/office/drawing/2014/main" id="{E449F380-ACD1-264E-B4A5-01799A7F061D}"/>
                </a:ext>
              </a:extLst>
            </p:cNvPr>
            <p:cNvSpPr>
              <a:spLocks noChangeArrowheads="1"/>
            </p:cNvSpPr>
            <p:nvPr/>
          </p:nvSpPr>
          <p:spPr bwMode="auto">
            <a:xfrm>
              <a:off x="4170364" y="5178426"/>
              <a:ext cx="12700" cy="23813"/>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805">
              <a:extLst>
                <a:ext uri="{FF2B5EF4-FFF2-40B4-BE49-F238E27FC236}">
                  <a16:creationId xmlns:a16="http://schemas.microsoft.com/office/drawing/2014/main" id="{D415EA1A-3F4D-4C5C-2E07-94C699A12EED}"/>
                </a:ext>
              </a:extLst>
            </p:cNvPr>
            <p:cNvSpPr>
              <a:spLocks noChangeArrowheads="1"/>
            </p:cNvSpPr>
            <p:nvPr/>
          </p:nvSpPr>
          <p:spPr bwMode="auto">
            <a:xfrm>
              <a:off x="4170364" y="5319714"/>
              <a:ext cx="12700" cy="26988"/>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Rectangle 806">
              <a:extLst>
                <a:ext uri="{FF2B5EF4-FFF2-40B4-BE49-F238E27FC236}">
                  <a16:creationId xmlns:a16="http://schemas.microsoft.com/office/drawing/2014/main" id="{36626FFC-B230-6F1B-4BCC-F45C07E8F65B}"/>
                </a:ext>
              </a:extLst>
            </p:cNvPr>
            <p:cNvSpPr>
              <a:spLocks noChangeArrowheads="1"/>
            </p:cNvSpPr>
            <p:nvPr/>
          </p:nvSpPr>
          <p:spPr bwMode="auto">
            <a:xfrm>
              <a:off x="4019551" y="5160964"/>
              <a:ext cx="12700" cy="11113"/>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Rectangle 807">
              <a:extLst>
                <a:ext uri="{FF2B5EF4-FFF2-40B4-BE49-F238E27FC236}">
                  <a16:creationId xmlns:a16="http://schemas.microsoft.com/office/drawing/2014/main" id="{F6B7B23F-9CA0-84B9-E6A3-036DD993500D}"/>
                </a:ext>
              </a:extLst>
            </p:cNvPr>
            <p:cNvSpPr>
              <a:spLocks noChangeArrowheads="1"/>
            </p:cNvSpPr>
            <p:nvPr/>
          </p:nvSpPr>
          <p:spPr bwMode="auto">
            <a:xfrm>
              <a:off x="4019551" y="5051426"/>
              <a:ext cx="12700" cy="101600"/>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809">
              <a:extLst>
                <a:ext uri="{FF2B5EF4-FFF2-40B4-BE49-F238E27FC236}">
                  <a16:creationId xmlns:a16="http://schemas.microsoft.com/office/drawing/2014/main" id="{D5A14DDC-4942-2C63-F160-7DED7678C50B}"/>
                </a:ext>
              </a:extLst>
            </p:cNvPr>
            <p:cNvSpPr>
              <a:spLocks/>
            </p:cNvSpPr>
            <p:nvPr/>
          </p:nvSpPr>
          <p:spPr bwMode="auto">
            <a:xfrm>
              <a:off x="3987801" y="5043488"/>
              <a:ext cx="77788" cy="47625"/>
            </a:xfrm>
            <a:custGeom>
              <a:avLst/>
              <a:gdLst>
                <a:gd name="T0" fmla="*/ 43 w 49"/>
                <a:gd name="T1" fmla="*/ 30 h 30"/>
                <a:gd name="T2" fmla="*/ 24 w 49"/>
                <a:gd name="T3" fmla="*/ 11 h 30"/>
                <a:gd name="T4" fmla="*/ 5 w 49"/>
                <a:gd name="T5" fmla="*/ 30 h 30"/>
                <a:gd name="T6" fmla="*/ 0 w 49"/>
                <a:gd name="T7" fmla="*/ 25 h 30"/>
                <a:gd name="T8" fmla="*/ 24 w 49"/>
                <a:gd name="T9" fmla="*/ 0 h 30"/>
                <a:gd name="T10" fmla="*/ 49 w 49"/>
                <a:gd name="T11" fmla="*/ 25 h 30"/>
                <a:gd name="T12" fmla="*/ 43 w 49"/>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49" h="30">
                  <a:moveTo>
                    <a:pt x="43" y="30"/>
                  </a:moveTo>
                  <a:lnTo>
                    <a:pt x="24" y="11"/>
                  </a:lnTo>
                  <a:lnTo>
                    <a:pt x="5" y="30"/>
                  </a:lnTo>
                  <a:lnTo>
                    <a:pt x="0" y="25"/>
                  </a:lnTo>
                  <a:lnTo>
                    <a:pt x="24" y="0"/>
                  </a:lnTo>
                  <a:lnTo>
                    <a:pt x="49" y="25"/>
                  </a:lnTo>
                  <a:lnTo>
                    <a:pt x="43" y="3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Rectangle 810">
              <a:extLst>
                <a:ext uri="{FF2B5EF4-FFF2-40B4-BE49-F238E27FC236}">
                  <a16:creationId xmlns:a16="http://schemas.microsoft.com/office/drawing/2014/main" id="{46868A1E-E667-C5E2-AEB5-7EDB0F646130}"/>
                </a:ext>
              </a:extLst>
            </p:cNvPr>
            <p:cNvSpPr>
              <a:spLocks noChangeArrowheads="1"/>
            </p:cNvSpPr>
            <p:nvPr/>
          </p:nvSpPr>
          <p:spPr bwMode="auto">
            <a:xfrm>
              <a:off x="3981451" y="5314951"/>
              <a:ext cx="12700" cy="12700"/>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Rectangle 811">
              <a:extLst>
                <a:ext uri="{FF2B5EF4-FFF2-40B4-BE49-F238E27FC236}">
                  <a16:creationId xmlns:a16="http://schemas.microsoft.com/office/drawing/2014/main" id="{AFDA9041-D565-3863-984C-9081851AABE3}"/>
                </a:ext>
              </a:extLst>
            </p:cNvPr>
            <p:cNvSpPr>
              <a:spLocks noChangeArrowheads="1"/>
            </p:cNvSpPr>
            <p:nvPr/>
          </p:nvSpPr>
          <p:spPr bwMode="auto">
            <a:xfrm>
              <a:off x="3981451" y="5205413"/>
              <a:ext cx="12700" cy="96838"/>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Rectangle 812">
              <a:extLst>
                <a:ext uri="{FF2B5EF4-FFF2-40B4-BE49-F238E27FC236}">
                  <a16:creationId xmlns:a16="http://schemas.microsoft.com/office/drawing/2014/main" id="{476EC451-0F7D-6057-B05E-900111778073}"/>
                </a:ext>
              </a:extLst>
            </p:cNvPr>
            <p:cNvSpPr>
              <a:spLocks noChangeArrowheads="1"/>
            </p:cNvSpPr>
            <p:nvPr/>
          </p:nvSpPr>
          <p:spPr bwMode="auto">
            <a:xfrm>
              <a:off x="4019551" y="5416551"/>
              <a:ext cx="12700" cy="14288"/>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Rectangle 813">
              <a:extLst>
                <a:ext uri="{FF2B5EF4-FFF2-40B4-BE49-F238E27FC236}">
                  <a16:creationId xmlns:a16="http://schemas.microsoft.com/office/drawing/2014/main" id="{81C3CB84-0853-5461-2000-89493CD41FAA}"/>
                </a:ext>
              </a:extLst>
            </p:cNvPr>
            <p:cNvSpPr>
              <a:spLocks noChangeArrowheads="1"/>
            </p:cNvSpPr>
            <p:nvPr/>
          </p:nvSpPr>
          <p:spPr bwMode="auto">
            <a:xfrm>
              <a:off x="4019551" y="5346701"/>
              <a:ext cx="12700" cy="58738"/>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Rectangle 814">
              <a:extLst>
                <a:ext uri="{FF2B5EF4-FFF2-40B4-BE49-F238E27FC236}">
                  <a16:creationId xmlns:a16="http://schemas.microsoft.com/office/drawing/2014/main" id="{0CB4CC4A-11F8-C8F9-B360-10C13CE233B7}"/>
                </a:ext>
              </a:extLst>
            </p:cNvPr>
            <p:cNvSpPr>
              <a:spLocks noChangeArrowheads="1"/>
            </p:cNvSpPr>
            <p:nvPr/>
          </p:nvSpPr>
          <p:spPr bwMode="auto">
            <a:xfrm>
              <a:off x="4321176" y="5351463"/>
              <a:ext cx="12700" cy="12700"/>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Rectangle 815">
              <a:extLst>
                <a:ext uri="{FF2B5EF4-FFF2-40B4-BE49-F238E27FC236}">
                  <a16:creationId xmlns:a16="http://schemas.microsoft.com/office/drawing/2014/main" id="{18846110-27F0-0B0D-4F20-44E7C0E76671}"/>
                </a:ext>
              </a:extLst>
            </p:cNvPr>
            <p:cNvSpPr>
              <a:spLocks noChangeArrowheads="1"/>
            </p:cNvSpPr>
            <p:nvPr/>
          </p:nvSpPr>
          <p:spPr bwMode="auto">
            <a:xfrm>
              <a:off x="4321176" y="5370513"/>
              <a:ext cx="12700" cy="101600"/>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816">
              <a:extLst>
                <a:ext uri="{FF2B5EF4-FFF2-40B4-BE49-F238E27FC236}">
                  <a16:creationId xmlns:a16="http://schemas.microsoft.com/office/drawing/2014/main" id="{F037748C-5E3D-BCCB-5392-79DF788CB5FC}"/>
                </a:ext>
              </a:extLst>
            </p:cNvPr>
            <p:cNvSpPr>
              <a:spLocks/>
            </p:cNvSpPr>
            <p:nvPr/>
          </p:nvSpPr>
          <p:spPr bwMode="auto">
            <a:xfrm>
              <a:off x="4287838" y="5432426"/>
              <a:ext cx="79375" cy="47625"/>
            </a:xfrm>
            <a:custGeom>
              <a:avLst/>
              <a:gdLst>
                <a:gd name="T0" fmla="*/ 25 w 50"/>
                <a:gd name="T1" fmla="*/ 30 h 30"/>
                <a:gd name="T2" fmla="*/ 0 w 50"/>
                <a:gd name="T3" fmla="*/ 6 h 30"/>
                <a:gd name="T4" fmla="*/ 6 w 50"/>
                <a:gd name="T5" fmla="*/ 0 h 30"/>
                <a:gd name="T6" fmla="*/ 25 w 50"/>
                <a:gd name="T7" fmla="*/ 19 h 30"/>
                <a:gd name="T8" fmla="*/ 44 w 50"/>
                <a:gd name="T9" fmla="*/ 0 h 30"/>
                <a:gd name="T10" fmla="*/ 50 w 50"/>
                <a:gd name="T11" fmla="*/ 6 h 30"/>
                <a:gd name="T12" fmla="*/ 25 w 5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50" h="30">
                  <a:moveTo>
                    <a:pt x="25" y="30"/>
                  </a:moveTo>
                  <a:lnTo>
                    <a:pt x="0" y="6"/>
                  </a:lnTo>
                  <a:lnTo>
                    <a:pt x="6" y="0"/>
                  </a:lnTo>
                  <a:lnTo>
                    <a:pt x="25" y="19"/>
                  </a:lnTo>
                  <a:lnTo>
                    <a:pt x="44" y="0"/>
                  </a:lnTo>
                  <a:lnTo>
                    <a:pt x="50" y="6"/>
                  </a:lnTo>
                  <a:lnTo>
                    <a:pt x="25" y="3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Rectangle 817">
              <a:extLst>
                <a:ext uri="{FF2B5EF4-FFF2-40B4-BE49-F238E27FC236}">
                  <a16:creationId xmlns:a16="http://schemas.microsoft.com/office/drawing/2014/main" id="{EA47C641-0A0B-CE48-805C-8825DC5172F3}"/>
                </a:ext>
              </a:extLst>
            </p:cNvPr>
            <p:cNvSpPr>
              <a:spLocks noChangeArrowheads="1"/>
            </p:cNvSpPr>
            <p:nvPr/>
          </p:nvSpPr>
          <p:spPr bwMode="auto">
            <a:xfrm>
              <a:off x="4359276" y="5195888"/>
              <a:ext cx="12700" cy="12700"/>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Rectangle 818">
              <a:extLst>
                <a:ext uri="{FF2B5EF4-FFF2-40B4-BE49-F238E27FC236}">
                  <a16:creationId xmlns:a16="http://schemas.microsoft.com/office/drawing/2014/main" id="{3EB4656C-E60C-031D-8100-00BB2FDC4819}"/>
                </a:ext>
              </a:extLst>
            </p:cNvPr>
            <p:cNvSpPr>
              <a:spLocks noChangeArrowheads="1"/>
            </p:cNvSpPr>
            <p:nvPr/>
          </p:nvSpPr>
          <p:spPr bwMode="auto">
            <a:xfrm>
              <a:off x="4359276" y="5221288"/>
              <a:ext cx="12700" cy="95250"/>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Rectangle 819">
              <a:extLst>
                <a:ext uri="{FF2B5EF4-FFF2-40B4-BE49-F238E27FC236}">
                  <a16:creationId xmlns:a16="http://schemas.microsoft.com/office/drawing/2014/main" id="{DAB5E72A-6245-2035-B7B4-DC11971BE970}"/>
                </a:ext>
              </a:extLst>
            </p:cNvPr>
            <p:cNvSpPr>
              <a:spLocks noChangeArrowheads="1"/>
            </p:cNvSpPr>
            <p:nvPr/>
          </p:nvSpPr>
          <p:spPr bwMode="auto">
            <a:xfrm>
              <a:off x="4321176" y="5094288"/>
              <a:ext cx="12700" cy="11113"/>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Rectangle 820">
              <a:extLst>
                <a:ext uri="{FF2B5EF4-FFF2-40B4-BE49-F238E27FC236}">
                  <a16:creationId xmlns:a16="http://schemas.microsoft.com/office/drawing/2014/main" id="{91CA1DB9-4697-586B-35A9-31D468178BBF}"/>
                </a:ext>
              </a:extLst>
            </p:cNvPr>
            <p:cNvSpPr>
              <a:spLocks noChangeArrowheads="1"/>
            </p:cNvSpPr>
            <p:nvPr/>
          </p:nvSpPr>
          <p:spPr bwMode="auto">
            <a:xfrm>
              <a:off x="4321176" y="5119688"/>
              <a:ext cx="12700" cy="57150"/>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8" name="Textfeld 87">
            <a:extLst>
              <a:ext uri="{FF2B5EF4-FFF2-40B4-BE49-F238E27FC236}">
                <a16:creationId xmlns:a16="http://schemas.microsoft.com/office/drawing/2014/main" id="{AC0050F7-6A44-B476-8624-438C83279906}"/>
              </a:ext>
            </a:extLst>
          </p:cNvPr>
          <p:cNvSpPr txBox="1"/>
          <p:nvPr/>
        </p:nvSpPr>
        <p:spPr>
          <a:xfrm>
            <a:off x="5211470" y="4591538"/>
            <a:ext cx="3864873" cy="461665"/>
          </a:xfrm>
          <a:prstGeom prst="rect">
            <a:avLst/>
          </a:prstGeom>
          <a:noFill/>
        </p:spPr>
        <p:txBody>
          <a:bodyPr wrap="square">
            <a:spAutoFit/>
          </a:bodyPr>
          <a:lstStyle/>
          <a:p>
            <a:r>
              <a:rPr lang="en-US" sz="1200" b="1"/>
              <a:t>Market Saturation: </a:t>
            </a:r>
            <a:r>
              <a:rPr lang="en-US" sz="1200"/>
              <a:t>Growth challenges in saturated US, Canada markets</a:t>
            </a:r>
          </a:p>
        </p:txBody>
      </p:sp>
      <p:sp>
        <p:nvSpPr>
          <p:cNvPr id="89" name="Textfeld 88">
            <a:extLst>
              <a:ext uri="{FF2B5EF4-FFF2-40B4-BE49-F238E27FC236}">
                <a16:creationId xmlns:a16="http://schemas.microsoft.com/office/drawing/2014/main" id="{66C98C16-F221-AB02-364D-5D16237DD398}"/>
              </a:ext>
            </a:extLst>
          </p:cNvPr>
          <p:cNvSpPr txBox="1"/>
          <p:nvPr/>
        </p:nvSpPr>
        <p:spPr>
          <a:xfrm>
            <a:off x="5211470" y="5170728"/>
            <a:ext cx="3864873" cy="461665"/>
          </a:xfrm>
          <a:prstGeom prst="rect">
            <a:avLst/>
          </a:prstGeom>
          <a:noFill/>
        </p:spPr>
        <p:txBody>
          <a:bodyPr wrap="square">
            <a:spAutoFit/>
          </a:bodyPr>
          <a:lstStyle/>
          <a:p>
            <a:r>
              <a:rPr lang="en-US" sz="1200" b="1"/>
              <a:t>Dependence on Ride-Sharing: </a:t>
            </a:r>
            <a:r>
              <a:rPr lang="en-US" sz="1200"/>
              <a:t>Declining revenue in core business impacts stability</a:t>
            </a:r>
          </a:p>
        </p:txBody>
      </p:sp>
      <p:sp>
        <p:nvSpPr>
          <p:cNvPr id="90" name="Textfeld 89">
            <a:extLst>
              <a:ext uri="{FF2B5EF4-FFF2-40B4-BE49-F238E27FC236}">
                <a16:creationId xmlns:a16="http://schemas.microsoft.com/office/drawing/2014/main" id="{4508F540-5F02-BDD2-B6C2-81D5EF818E60}"/>
              </a:ext>
            </a:extLst>
          </p:cNvPr>
          <p:cNvSpPr txBox="1"/>
          <p:nvPr/>
        </p:nvSpPr>
        <p:spPr>
          <a:xfrm>
            <a:off x="5211470" y="5743568"/>
            <a:ext cx="3864873" cy="461665"/>
          </a:xfrm>
          <a:prstGeom prst="rect">
            <a:avLst/>
          </a:prstGeom>
          <a:noFill/>
        </p:spPr>
        <p:txBody>
          <a:bodyPr wrap="square">
            <a:spAutoFit/>
          </a:bodyPr>
          <a:lstStyle/>
          <a:p>
            <a:r>
              <a:rPr lang="en-US" sz="1200" b="1"/>
              <a:t>High Customer Acquisition Cost: </a:t>
            </a:r>
            <a:r>
              <a:rPr lang="en-US" sz="1200"/>
              <a:t>Sustainability risk with high costs, uncertain customer value</a:t>
            </a:r>
          </a:p>
        </p:txBody>
      </p:sp>
    </p:spTree>
    <p:extLst>
      <p:ext uri="{BB962C8B-B14F-4D97-AF65-F5344CB8AC3E}">
        <p14:creationId xmlns:p14="http://schemas.microsoft.com/office/powerpoint/2010/main" val="40755479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4832B089-077B-1AB9-8257-7F2A35BFFB06}"/>
              </a:ext>
            </a:extLst>
          </p:cNvPr>
          <p:cNvGraphicFramePr>
            <a:graphicFrameLocks noChangeAspect="1"/>
          </p:cNvGraphicFramePr>
          <p:nvPr>
            <p:custDataLst>
              <p:tags r:id="rId2"/>
            </p:custDataLst>
            <p:extLst>
              <p:ext uri="{D42A27DB-BD31-4B8C-83A1-F6EECF244321}">
                <p14:modId xmlns:p14="http://schemas.microsoft.com/office/powerpoint/2010/main" val="2654468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18" name="think-cell data - do not delete" hidden="1">
                        <a:extLst>
                          <a:ext uri="{FF2B5EF4-FFF2-40B4-BE49-F238E27FC236}">
                            <a16:creationId xmlns:a16="http://schemas.microsoft.com/office/drawing/2014/main" id="{4832B089-077B-1AB9-8257-7F2A35BFFB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Autofit/>
          </a:bodyPr>
          <a:lstStyle/>
          <a:p>
            <a:r>
              <a:rPr lang="en-US"/>
              <a:t>Uber </a:t>
            </a:r>
            <a:r>
              <a:rPr lang="en-US" err="1"/>
              <a:t>betreibt</a:t>
            </a:r>
            <a:r>
              <a:rPr lang="en-US"/>
              <a:t> </a:t>
            </a:r>
            <a:r>
              <a:rPr lang="en-US" err="1"/>
              <a:t>ein</a:t>
            </a:r>
            <a:r>
              <a:rPr lang="en-US"/>
              <a:t> </a:t>
            </a:r>
            <a:r>
              <a:rPr lang="en-US" err="1"/>
              <a:t>mehr</a:t>
            </a:r>
            <a:r>
              <a:rPr lang="en-US"/>
              <a:t> </a:t>
            </a:r>
            <a:r>
              <a:rPr lang="en-US" err="1"/>
              <a:t>seitiges</a:t>
            </a:r>
            <a:r>
              <a:rPr lang="en-US"/>
              <a:t> </a:t>
            </a:r>
            <a:r>
              <a:rPr lang="en-US" err="1"/>
              <a:t>Plattform</a:t>
            </a:r>
            <a:r>
              <a:rPr lang="en-US"/>
              <a:t>-Model das </a:t>
            </a:r>
            <a:r>
              <a:rPr lang="en-US" err="1"/>
              <a:t>Fahrer</a:t>
            </a:r>
            <a:r>
              <a:rPr lang="en-US"/>
              <a:t> mit </a:t>
            </a:r>
            <a:r>
              <a:rPr lang="en-US" err="1"/>
              <a:t>Kunden</a:t>
            </a:r>
            <a:r>
              <a:rPr lang="en-US"/>
              <a:t> </a:t>
            </a:r>
            <a:r>
              <a:rPr lang="en-US" err="1"/>
              <a:t>verbindet</a:t>
            </a:r>
            <a:r>
              <a:rPr lang="en-US"/>
              <a:t> </a:t>
            </a:r>
          </a:p>
        </p:txBody>
      </p:sp>
      <p:sp>
        <p:nvSpPr>
          <p:cNvPr id="9" name="Inhaltsplatzhalter 8">
            <a:extLst>
              <a:ext uri="{FF2B5EF4-FFF2-40B4-BE49-F238E27FC236}">
                <a16:creationId xmlns:a16="http://schemas.microsoft.com/office/drawing/2014/main" id="{9B9A3822-FA2E-8859-808A-28671136DD7C}"/>
              </a:ext>
            </a:extLst>
          </p:cNvPr>
          <p:cNvSpPr>
            <a:spLocks noGrp="1"/>
          </p:cNvSpPr>
          <p:nvPr>
            <p:ph idx="10"/>
          </p:nvPr>
        </p:nvSpPr>
        <p:spPr/>
        <p:txBody>
          <a:bodyPr/>
          <a:lstStyle/>
          <a:p>
            <a:r>
              <a:rPr lang="en-US"/>
              <a:t>BMC</a:t>
            </a:r>
          </a:p>
        </p:txBody>
      </p:sp>
      <p:sp>
        <p:nvSpPr>
          <p:cNvPr id="14" name="Inhaltsplatzhalter 13">
            <a:extLst>
              <a:ext uri="{FF2B5EF4-FFF2-40B4-BE49-F238E27FC236}">
                <a16:creationId xmlns:a16="http://schemas.microsoft.com/office/drawing/2014/main" id="{6D534DFE-22D8-3F19-D8C5-4CCA39922E0B}"/>
              </a:ext>
            </a:extLst>
          </p:cNvPr>
          <p:cNvSpPr>
            <a:spLocks noGrp="1"/>
          </p:cNvSpPr>
          <p:nvPr>
            <p:ph idx="11"/>
          </p:nvPr>
        </p:nvSpPr>
        <p:spPr/>
        <p:txBody>
          <a:bodyPr/>
          <a:lstStyle/>
          <a:p>
            <a:endParaRPr lang="en-US"/>
          </a:p>
        </p:txBody>
      </p:sp>
      <p:sp>
        <p:nvSpPr>
          <p:cNvPr id="16" name="Inhaltsplatzhalter 15">
            <a:extLst>
              <a:ext uri="{FF2B5EF4-FFF2-40B4-BE49-F238E27FC236}">
                <a16:creationId xmlns:a16="http://schemas.microsoft.com/office/drawing/2014/main" id="{2E09D480-28F9-D2EA-EDBD-08D64B646032}"/>
              </a:ext>
            </a:extLst>
          </p:cNvPr>
          <p:cNvSpPr>
            <a:spLocks noGrp="1"/>
          </p:cNvSpPr>
          <p:nvPr>
            <p:ph idx="12"/>
          </p:nvPr>
        </p:nvSpPr>
        <p:spPr/>
        <p:txBody>
          <a:bodyPr/>
          <a:lstStyle/>
          <a:p>
            <a:endParaRPr lang="en-US"/>
          </a:p>
        </p:txBody>
      </p:sp>
      <p:grpSp>
        <p:nvGrpSpPr>
          <p:cNvPr id="3" name="Group 2">
            <a:extLst>
              <a:ext uri="{FF2B5EF4-FFF2-40B4-BE49-F238E27FC236}">
                <a16:creationId xmlns:a16="http://schemas.microsoft.com/office/drawing/2014/main" id="{ECFC8BC3-FA96-E8CE-CEBC-EA504043AF9E}"/>
              </a:ext>
            </a:extLst>
          </p:cNvPr>
          <p:cNvGrpSpPr/>
          <p:nvPr/>
        </p:nvGrpSpPr>
        <p:grpSpPr>
          <a:xfrm>
            <a:off x="454500" y="2058153"/>
            <a:ext cx="8235000" cy="3785792"/>
            <a:chOff x="609600" y="1223681"/>
            <a:chExt cx="10980000" cy="5204012"/>
          </a:xfrm>
        </p:grpSpPr>
        <p:sp>
          <p:nvSpPr>
            <p:cNvPr id="4" name="Rectangle 3"/>
            <p:cNvSpPr/>
            <p:nvPr/>
          </p:nvSpPr>
          <p:spPr>
            <a:xfrm>
              <a:off x="609600" y="1223681"/>
              <a:ext cx="2196000" cy="3644153"/>
            </a:xfrm>
            <a:prstGeom prst="rect">
              <a:avLst/>
            </a:prstGeom>
            <a:solidFill>
              <a:schemeClr val="accent2">
                <a:lumMod val="20000"/>
                <a:lumOff val="80000"/>
              </a:schemeClr>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US" sz="1200" b="1" kern="0">
                  <a:solidFill>
                    <a:schemeClr val="tx1"/>
                  </a:solidFill>
                </a:rPr>
                <a:t>Key partners</a:t>
              </a:r>
            </a:p>
            <a:p>
              <a:pPr marL="171450" indent="-171450" defTabSz="685800">
                <a:buFont typeface="Arial" panose="020B0604020202020204" pitchFamily="34" charset="0"/>
                <a:buChar char="•"/>
                <a:defRPr/>
              </a:pPr>
              <a:r>
                <a:rPr lang="en-US" sz="1000" kern="0" err="1">
                  <a:solidFill>
                    <a:schemeClr val="tx1"/>
                  </a:solidFill>
                </a:rPr>
                <a:t>Fahrer</a:t>
              </a:r>
              <a:r>
                <a:rPr lang="en-US" sz="1000" kern="0">
                  <a:solidFill>
                    <a:schemeClr val="tx1"/>
                  </a:solidFill>
                </a:rPr>
                <a:t> und </a:t>
              </a:r>
              <a:r>
                <a:rPr lang="en-US" sz="1000" kern="0" err="1">
                  <a:solidFill>
                    <a:schemeClr val="tx1"/>
                  </a:solidFill>
                </a:rPr>
                <a:t>Fahrgäste</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Partnerunternehmen</a:t>
              </a:r>
              <a:endParaRPr lang="en-US" sz="1000" kern="0">
                <a:solidFill>
                  <a:schemeClr val="tx1"/>
                </a:solidFill>
              </a:endParaRPr>
            </a:p>
            <a:p>
              <a:pPr marL="171450" indent="-171450" defTabSz="685800">
                <a:buFont typeface="Arial" panose="020B0604020202020204" pitchFamily="34" charset="0"/>
                <a:buChar char="•"/>
                <a:defRPr/>
              </a:pPr>
              <a:r>
                <a:rPr lang="en-US" sz="1000" kern="0">
                  <a:solidFill>
                    <a:schemeClr val="tx1"/>
                  </a:solidFill>
                </a:rPr>
                <a:t>Restaurants und </a:t>
              </a:r>
              <a:r>
                <a:rPr lang="en-US" sz="1000" kern="0" err="1">
                  <a:solidFill>
                    <a:schemeClr val="tx1"/>
                  </a:solidFill>
                </a:rPr>
                <a:t>lokale</a:t>
              </a:r>
              <a:r>
                <a:rPr lang="en-US" sz="1000" kern="0">
                  <a:solidFill>
                    <a:schemeClr val="tx1"/>
                  </a:solidFill>
                </a:rPr>
                <a:t> </a:t>
              </a:r>
              <a:r>
                <a:rPr lang="en-US" sz="1000" kern="0" err="1">
                  <a:solidFill>
                    <a:schemeClr val="tx1"/>
                  </a:solidFill>
                </a:rPr>
                <a:t>Unternehmen</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Banken</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Regierungen</a:t>
              </a:r>
              <a:endParaRPr lang="en-US" sz="1000" kern="0">
                <a:solidFill>
                  <a:schemeClr val="tx1"/>
                </a:solidFill>
              </a:endParaRPr>
            </a:p>
            <a:p>
              <a:pPr defTabSz="685800">
                <a:defRPr/>
              </a:pPr>
              <a:endParaRPr lang="en-US" sz="1200" kern="0">
                <a:solidFill>
                  <a:schemeClr val="tx1"/>
                </a:solidFill>
              </a:endParaRPr>
            </a:p>
            <a:p>
              <a:pPr defTabSz="685800">
                <a:defRPr/>
              </a:pPr>
              <a:endParaRPr lang="en-US" sz="1200" b="1" kern="0">
                <a:solidFill>
                  <a:schemeClr val="tx1"/>
                </a:solidFill>
              </a:endParaRPr>
            </a:p>
            <a:p>
              <a:pPr defTabSz="685800">
                <a:defRPr/>
              </a:pPr>
              <a:endParaRPr lang="en-US" sz="1200" b="1" kern="0">
                <a:solidFill>
                  <a:schemeClr val="tx1"/>
                </a:solidFill>
              </a:endParaRPr>
            </a:p>
          </p:txBody>
        </p:sp>
        <p:sp>
          <p:nvSpPr>
            <p:cNvPr id="5" name="Rectangle 4"/>
            <p:cNvSpPr/>
            <p:nvPr/>
          </p:nvSpPr>
          <p:spPr>
            <a:xfrm>
              <a:off x="2805600" y="1223681"/>
              <a:ext cx="2196000" cy="1821600"/>
            </a:xfrm>
            <a:prstGeom prst="rect">
              <a:avLst/>
            </a:prstGeom>
            <a:solidFill>
              <a:schemeClr val="accent2">
                <a:lumMod val="20000"/>
                <a:lumOff val="80000"/>
              </a:schemeClr>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US" sz="1200" b="1" kern="0">
                  <a:solidFill>
                    <a:schemeClr val="tx1"/>
                  </a:solidFill>
                </a:rPr>
                <a:t>Key Activities</a:t>
              </a:r>
            </a:p>
            <a:p>
              <a:pPr marL="171450" indent="-171450" defTabSz="685800">
                <a:buFont typeface="Arial" panose="020B0604020202020204" pitchFamily="34" charset="0"/>
                <a:buChar char="•"/>
                <a:defRPr/>
              </a:pPr>
              <a:r>
                <a:rPr lang="en-US" sz="1000" kern="0" err="1">
                  <a:solidFill>
                    <a:schemeClr val="tx1"/>
                  </a:solidFill>
                </a:rPr>
                <a:t>Netzwerkaktivitäten</a:t>
              </a:r>
              <a:r>
                <a:rPr lang="en-US" sz="1000" kern="0">
                  <a:solidFill>
                    <a:schemeClr val="tx1"/>
                  </a:solidFill>
                </a:rPr>
                <a:t> </a:t>
              </a:r>
              <a:r>
                <a:rPr lang="en-US" sz="1000" kern="0" err="1">
                  <a:solidFill>
                    <a:schemeClr val="tx1"/>
                  </a:solidFill>
                </a:rPr>
                <a:t>zwischen</a:t>
              </a:r>
              <a:r>
                <a:rPr lang="en-US" sz="1000" kern="0">
                  <a:solidFill>
                    <a:schemeClr val="tx1"/>
                  </a:solidFill>
                </a:rPr>
                <a:t> </a:t>
              </a:r>
              <a:r>
                <a:rPr lang="en-US" sz="1000" kern="0" err="1">
                  <a:solidFill>
                    <a:schemeClr val="tx1"/>
                  </a:solidFill>
                </a:rPr>
                <a:t>Schlüsselpartnern</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Plattformentwicklung</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Rekrutierung</a:t>
              </a:r>
              <a:r>
                <a:rPr lang="en-US" sz="1000" kern="0">
                  <a:solidFill>
                    <a:schemeClr val="tx1"/>
                  </a:solidFill>
                </a:rPr>
                <a:t> von </a:t>
              </a:r>
              <a:r>
                <a:rPr lang="en-US" sz="1000" kern="0" err="1">
                  <a:solidFill>
                    <a:schemeClr val="tx1"/>
                  </a:solidFill>
                </a:rPr>
                <a:t>Fahrern</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Schalten</a:t>
              </a:r>
              <a:r>
                <a:rPr lang="en-US" sz="1000" kern="0">
                  <a:solidFill>
                    <a:schemeClr val="tx1"/>
                  </a:solidFill>
                </a:rPr>
                <a:t> von </a:t>
              </a:r>
              <a:r>
                <a:rPr lang="en-US" sz="1000" kern="0" err="1">
                  <a:solidFill>
                    <a:schemeClr val="tx1"/>
                  </a:solidFill>
                </a:rPr>
                <a:t>Werbung</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Bereitstellen</a:t>
              </a:r>
              <a:r>
                <a:rPr lang="en-US" sz="1000" kern="0">
                  <a:solidFill>
                    <a:schemeClr val="tx1"/>
                  </a:solidFill>
                </a:rPr>
                <a:t> von Support</a:t>
              </a:r>
            </a:p>
          </p:txBody>
        </p:sp>
        <p:sp>
          <p:nvSpPr>
            <p:cNvPr id="6" name="Rectangle 5"/>
            <p:cNvSpPr/>
            <p:nvPr/>
          </p:nvSpPr>
          <p:spPr>
            <a:xfrm>
              <a:off x="5001600" y="1223681"/>
              <a:ext cx="2196000" cy="3644153"/>
            </a:xfrm>
            <a:prstGeom prst="rect">
              <a:avLst/>
            </a:prstGeom>
            <a:solidFill>
              <a:schemeClr val="accent2">
                <a:lumMod val="20000"/>
                <a:lumOff val="80000"/>
              </a:schemeClr>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US" sz="1200" b="1" kern="0">
                  <a:solidFill>
                    <a:schemeClr val="tx1"/>
                  </a:solidFill>
                </a:rPr>
                <a:t>Value Propositions</a:t>
              </a:r>
            </a:p>
            <a:p>
              <a:pPr marL="171450" indent="-171450" defTabSz="685800">
                <a:buFont typeface="Arial" panose="020B0604020202020204" pitchFamily="34" charset="0"/>
                <a:buChar char="•"/>
                <a:defRPr/>
              </a:pPr>
              <a:r>
                <a:rPr lang="de-DE" sz="1000" kern="0">
                  <a:solidFill>
                    <a:schemeClr val="tx1"/>
                  </a:solidFill>
                </a:rPr>
                <a:t>Bequemlichkeit, Verfügbarkeit, und Flexibilität für Fahrer und Kunden schaffen</a:t>
              </a:r>
            </a:p>
            <a:p>
              <a:pPr marL="171450" indent="-171450" defTabSz="685800">
                <a:buFont typeface="Arial" panose="020B0604020202020204" pitchFamily="34" charset="0"/>
                <a:buChar char="•"/>
                <a:defRPr/>
              </a:pPr>
              <a:r>
                <a:rPr lang="de-DE" sz="1000" kern="0">
                  <a:solidFill>
                    <a:schemeClr val="tx1"/>
                  </a:solidFill>
                </a:rPr>
                <a:t>flexible Arbeitsmöglichkeiten für die Fahrer und die Möglichkeit, ihr Einkommen zu steigern</a:t>
              </a:r>
            </a:p>
            <a:p>
              <a:pPr marL="171450" indent="-171450" defTabSz="685800">
                <a:buFont typeface="Arial" panose="020B0604020202020204" pitchFamily="34" charset="0"/>
                <a:buChar char="•"/>
                <a:defRPr/>
              </a:pPr>
              <a:r>
                <a:rPr lang="de-DE" sz="1000" kern="0">
                  <a:solidFill>
                    <a:schemeClr val="tx1"/>
                  </a:solidFill>
                </a:rPr>
                <a:t>einfache, schnelle und transparente Transport- und Lieferoptionen für die Kunden</a:t>
              </a:r>
            </a:p>
            <a:p>
              <a:pPr marL="171450" indent="-171450" defTabSz="685800">
                <a:buFont typeface="Arial" panose="020B0604020202020204" pitchFamily="34" charset="0"/>
                <a:buChar char="•"/>
                <a:defRPr/>
              </a:pPr>
              <a:endParaRPr lang="de-DE" sz="1050" kern="0">
                <a:solidFill>
                  <a:schemeClr val="tx1"/>
                </a:solidFill>
              </a:endParaRPr>
            </a:p>
            <a:p>
              <a:pPr marL="171450" indent="-171450" defTabSz="685800">
                <a:buFont typeface="Arial" panose="020B0604020202020204" pitchFamily="34" charset="0"/>
                <a:buChar char="•"/>
                <a:defRPr/>
              </a:pPr>
              <a:endParaRPr lang="en-US" sz="1200" b="1" kern="0">
                <a:solidFill>
                  <a:schemeClr val="tx1"/>
                </a:solidFill>
              </a:endParaRPr>
            </a:p>
          </p:txBody>
        </p:sp>
        <p:sp>
          <p:nvSpPr>
            <p:cNvPr id="8" name="Rectangle 7"/>
            <p:cNvSpPr/>
            <p:nvPr/>
          </p:nvSpPr>
          <p:spPr>
            <a:xfrm>
              <a:off x="9393600" y="1223681"/>
              <a:ext cx="2196000" cy="3644153"/>
            </a:xfrm>
            <a:prstGeom prst="rect">
              <a:avLst/>
            </a:prstGeom>
            <a:solidFill>
              <a:schemeClr val="accent2">
                <a:lumMod val="20000"/>
                <a:lumOff val="80000"/>
              </a:schemeClr>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US" sz="1200" b="1" kern="0">
                  <a:solidFill>
                    <a:schemeClr val="tx1"/>
                  </a:solidFill>
                </a:rPr>
                <a:t>Customer Segments</a:t>
              </a:r>
            </a:p>
            <a:p>
              <a:pPr marL="171450" indent="-171450" defTabSz="685800">
                <a:buFont typeface="Arial" panose="020B0604020202020204" pitchFamily="34" charset="0"/>
                <a:buChar char="•"/>
                <a:defRPr/>
              </a:pPr>
              <a:r>
                <a:rPr lang="en-US" sz="1000" kern="0" err="1">
                  <a:solidFill>
                    <a:schemeClr val="tx1"/>
                  </a:solidFill>
                </a:rPr>
                <a:t>Technisch</a:t>
              </a:r>
              <a:r>
                <a:rPr lang="en-US" sz="1000" kern="0">
                  <a:solidFill>
                    <a:schemeClr val="tx1"/>
                  </a:solidFill>
                </a:rPr>
                <a:t>- und </a:t>
              </a:r>
              <a:r>
                <a:rPr lang="en-US" sz="1000" kern="0" err="1">
                  <a:solidFill>
                    <a:schemeClr val="tx1"/>
                  </a:solidFill>
                </a:rPr>
                <a:t>Sicherheitsaffine</a:t>
              </a:r>
              <a:r>
                <a:rPr lang="en-US" sz="1000" kern="0">
                  <a:solidFill>
                    <a:schemeClr val="tx1"/>
                  </a:solidFill>
                </a:rPr>
                <a:t> </a:t>
              </a:r>
              <a:r>
                <a:rPr lang="en-US" sz="1000" kern="0" err="1">
                  <a:solidFill>
                    <a:schemeClr val="tx1"/>
                  </a:solidFill>
                </a:rPr>
                <a:t>Stadtbewohner</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Pendler</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Touristen</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Unternehmen</a:t>
              </a:r>
              <a:r>
                <a:rPr lang="en-US" sz="1000" kern="0">
                  <a:solidFill>
                    <a:schemeClr val="tx1"/>
                  </a:solidFill>
                </a:rPr>
                <a:t> </a:t>
              </a:r>
              <a:r>
                <a:rPr lang="en-US" sz="1000" kern="0" err="1">
                  <a:solidFill>
                    <a:schemeClr val="tx1"/>
                  </a:solidFill>
                </a:rPr>
                <a:t>ohne</a:t>
              </a:r>
              <a:r>
                <a:rPr lang="en-US" sz="1000" kern="0">
                  <a:solidFill>
                    <a:schemeClr val="tx1"/>
                  </a:solidFill>
                </a:rPr>
                <a:t> </a:t>
              </a:r>
              <a:r>
                <a:rPr lang="en-US" sz="1000" kern="0" err="1">
                  <a:solidFill>
                    <a:schemeClr val="tx1"/>
                  </a:solidFill>
                </a:rPr>
                <a:t>eigenen</a:t>
              </a:r>
              <a:r>
                <a:rPr lang="en-US" sz="1000" kern="0">
                  <a:solidFill>
                    <a:schemeClr val="tx1"/>
                  </a:solidFill>
                </a:rPr>
                <a:t> </a:t>
              </a:r>
              <a:r>
                <a:rPr lang="en-US" sz="1000" kern="0" err="1">
                  <a:solidFill>
                    <a:schemeClr val="tx1"/>
                  </a:solidFill>
                </a:rPr>
                <a:t>Lieferdienst</a:t>
              </a:r>
              <a:endParaRPr lang="en-US" sz="1000" kern="0">
                <a:solidFill>
                  <a:schemeClr val="tx1"/>
                </a:solidFill>
              </a:endParaRPr>
            </a:p>
            <a:p>
              <a:pPr marL="171450" indent="-171450" defTabSz="685800">
                <a:buFont typeface="Arial" panose="020B0604020202020204" pitchFamily="34" charset="0"/>
                <a:buChar char="•"/>
                <a:defRPr/>
              </a:pPr>
              <a:r>
                <a:rPr lang="en-US" sz="1000" kern="0">
                  <a:solidFill>
                    <a:schemeClr val="tx1"/>
                  </a:solidFill>
                </a:rPr>
                <a:t>Menschen </a:t>
              </a:r>
              <a:r>
                <a:rPr lang="en-US" sz="1000" kern="0" err="1">
                  <a:solidFill>
                    <a:schemeClr val="tx1"/>
                  </a:solidFill>
                </a:rPr>
                <a:t>ohne</a:t>
              </a:r>
              <a:r>
                <a:rPr lang="en-US" sz="1000" kern="0">
                  <a:solidFill>
                    <a:schemeClr val="tx1"/>
                  </a:solidFill>
                </a:rPr>
                <a:t> </a:t>
              </a:r>
              <a:r>
                <a:rPr lang="en-US" sz="1000" kern="0" err="1">
                  <a:solidFill>
                    <a:schemeClr val="tx1"/>
                  </a:solidFill>
                </a:rPr>
                <a:t>eigenes</a:t>
              </a:r>
              <a:r>
                <a:rPr lang="en-US" sz="1000" kern="0">
                  <a:solidFill>
                    <a:schemeClr val="tx1"/>
                  </a:solidFill>
                </a:rPr>
                <a:t> Auto</a:t>
              </a:r>
            </a:p>
          </p:txBody>
        </p:sp>
        <p:sp>
          <p:nvSpPr>
            <p:cNvPr id="10" name="Rectangle 9"/>
            <p:cNvSpPr/>
            <p:nvPr/>
          </p:nvSpPr>
          <p:spPr>
            <a:xfrm>
              <a:off x="2805600" y="3045281"/>
              <a:ext cx="2196000" cy="1821600"/>
            </a:xfrm>
            <a:prstGeom prst="rect">
              <a:avLst/>
            </a:prstGeom>
            <a:solidFill>
              <a:schemeClr val="accent2">
                <a:lumMod val="20000"/>
                <a:lumOff val="80000"/>
              </a:schemeClr>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US" sz="1200" b="1" kern="0">
                  <a:solidFill>
                    <a:schemeClr val="tx1"/>
                  </a:solidFill>
                </a:rPr>
                <a:t>Key Resources</a:t>
              </a:r>
            </a:p>
            <a:p>
              <a:pPr marL="171450" indent="-171450" defTabSz="685800">
                <a:buFont typeface="Arial" panose="020B0604020202020204" pitchFamily="34" charset="0"/>
                <a:buChar char="•"/>
                <a:defRPr/>
              </a:pPr>
              <a:r>
                <a:rPr lang="en-US" sz="1000" kern="0" err="1">
                  <a:solidFill>
                    <a:schemeClr val="tx1"/>
                  </a:solidFill>
                </a:rPr>
                <a:t>Infrastruktur</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Strategische</a:t>
              </a:r>
              <a:r>
                <a:rPr lang="en-US" sz="1000" kern="0">
                  <a:solidFill>
                    <a:schemeClr val="tx1"/>
                  </a:solidFill>
                </a:rPr>
                <a:t> </a:t>
              </a:r>
              <a:r>
                <a:rPr lang="en-US" sz="1000" kern="0" err="1">
                  <a:solidFill>
                    <a:schemeClr val="tx1"/>
                  </a:solidFill>
                </a:rPr>
                <a:t>Partnerschaften</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Netzwerk</a:t>
              </a:r>
              <a:r>
                <a:rPr lang="en-US" sz="1000" kern="0">
                  <a:solidFill>
                    <a:schemeClr val="tx1"/>
                  </a:solidFill>
                </a:rPr>
                <a:t> von </a:t>
              </a:r>
              <a:r>
                <a:rPr lang="en-US" sz="1000" kern="0" err="1">
                  <a:solidFill>
                    <a:schemeClr val="tx1"/>
                  </a:solidFill>
                </a:rPr>
                <a:t>Fahrern</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Lokale</a:t>
              </a:r>
              <a:r>
                <a:rPr lang="en-US" sz="1000" kern="0">
                  <a:solidFill>
                    <a:schemeClr val="tx1"/>
                  </a:solidFill>
                </a:rPr>
                <a:t> </a:t>
              </a:r>
              <a:r>
                <a:rPr lang="en-US" sz="1000" kern="0" err="1">
                  <a:solidFill>
                    <a:schemeClr val="tx1"/>
                  </a:solidFill>
                </a:rPr>
                <a:t>Unternehmen</a:t>
              </a:r>
              <a:endParaRPr lang="en-US" sz="1000" kern="0">
                <a:solidFill>
                  <a:schemeClr val="tx1"/>
                </a:solidFill>
              </a:endParaRPr>
            </a:p>
            <a:p>
              <a:pPr marL="171450" indent="-171450" defTabSz="685800">
                <a:buFont typeface="Arial" panose="020B0604020202020204" pitchFamily="34" charset="0"/>
                <a:buChar char="•"/>
                <a:defRPr/>
              </a:pPr>
              <a:endParaRPr lang="en-US" sz="1200" b="1" kern="0">
                <a:solidFill>
                  <a:schemeClr val="tx1"/>
                </a:solidFill>
              </a:endParaRPr>
            </a:p>
          </p:txBody>
        </p:sp>
        <p:sp>
          <p:nvSpPr>
            <p:cNvPr id="11" name="Rectangle 10"/>
            <p:cNvSpPr/>
            <p:nvPr/>
          </p:nvSpPr>
          <p:spPr>
            <a:xfrm>
              <a:off x="7197600" y="1223681"/>
              <a:ext cx="2196000" cy="1821600"/>
            </a:xfrm>
            <a:prstGeom prst="rect">
              <a:avLst/>
            </a:prstGeom>
            <a:solidFill>
              <a:schemeClr val="accent2">
                <a:lumMod val="20000"/>
                <a:lumOff val="80000"/>
              </a:schemeClr>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US" sz="1200" b="1" kern="0">
                  <a:solidFill>
                    <a:schemeClr val="tx1"/>
                  </a:solidFill>
                </a:rPr>
                <a:t>Customer Relationship</a:t>
              </a:r>
            </a:p>
            <a:p>
              <a:pPr marL="171450" indent="-171450" defTabSz="685800">
                <a:buFont typeface="Arial" panose="020B0604020202020204" pitchFamily="34" charset="0"/>
                <a:buChar char="•"/>
                <a:defRPr/>
              </a:pPr>
              <a:r>
                <a:rPr lang="en-US" sz="1000" kern="0" err="1">
                  <a:solidFill>
                    <a:schemeClr val="tx1"/>
                  </a:solidFill>
                </a:rPr>
                <a:t>Personalisierte</a:t>
              </a:r>
              <a:r>
                <a:rPr lang="en-US" sz="1000" kern="0">
                  <a:solidFill>
                    <a:schemeClr val="tx1"/>
                  </a:solidFill>
                </a:rPr>
                <a:t> </a:t>
              </a:r>
              <a:r>
                <a:rPr lang="en-US" sz="1000" kern="0" err="1">
                  <a:solidFill>
                    <a:schemeClr val="tx1"/>
                  </a:solidFill>
                </a:rPr>
                <a:t>Ansprache</a:t>
              </a:r>
              <a:endParaRPr lang="en-US" sz="1000" kern="0">
                <a:solidFill>
                  <a:schemeClr val="tx1"/>
                </a:solidFill>
              </a:endParaRPr>
            </a:p>
            <a:p>
              <a:pPr marL="171450" indent="-171450" defTabSz="685800">
                <a:buFont typeface="Arial" panose="020B0604020202020204" pitchFamily="34" charset="0"/>
                <a:buChar char="•"/>
                <a:defRPr/>
              </a:pPr>
              <a:r>
                <a:rPr lang="en-US" sz="1000" kern="0">
                  <a:solidFill>
                    <a:schemeClr val="tx1"/>
                  </a:solidFill>
                </a:rPr>
                <a:t>App </a:t>
              </a:r>
              <a:r>
                <a:rPr lang="en-US" sz="1000" kern="0" err="1">
                  <a:solidFill>
                    <a:schemeClr val="tx1"/>
                  </a:solidFill>
                </a:rPr>
                <a:t>Anreize</a:t>
              </a:r>
              <a:r>
                <a:rPr lang="en-US" sz="1000" kern="0">
                  <a:solidFill>
                    <a:schemeClr val="tx1"/>
                  </a:solidFill>
                </a:rPr>
                <a:t> (</a:t>
              </a:r>
              <a:r>
                <a:rPr lang="en-US" sz="1000" kern="0" err="1">
                  <a:solidFill>
                    <a:schemeClr val="tx1"/>
                  </a:solidFill>
                </a:rPr>
                <a:t>Angebote</a:t>
              </a:r>
              <a:r>
                <a:rPr lang="en-US" sz="1000" kern="0">
                  <a:solidFill>
                    <a:schemeClr val="tx1"/>
                  </a:solidFill>
                </a:rPr>
                <a:t>) für </a:t>
              </a:r>
              <a:r>
                <a:rPr lang="en-US" sz="1000" kern="0" err="1">
                  <a:solidFill>
                    <a:schemeClr val="tx1"/>
                  </a:solidFill>
                </a:rPr>
                <a:t>Fahrgäste</a:t>
              </a:r>
              <a:r>
                <a:rPr lang="en-US" sz="1000" kern="0">
                  <a:solidFill>
                    <a:schemeClr val="tx1"/>
                  </a:solidFill>
                </a:rPr>
                <a:t> und </a:t>
              </a:r>
              <a:r>
                <a:rPr lang="en-US" sz="1000" kern="0" err="1">
                  <a:solidFill>
                    <a:schemeClr val="tx1"/>
                  </a:solidFill>
                </a:rPr>
                <a:t>Kunden</a:t>
              </a:r>
              <a:endParaRPr lang="en-US" sz="1000" kern="0">
                <a:solidFill>
                  <a:schemeClr val="tx1"/>
                </a:solidFill>
              </a:endParaRPr>
            </a:p>
            <a:p>
              <a:pPr marL="171450" indent="-171450" defTabSz="685800">
                <a:buFont typeface="Arial" panose="020B0604020202020204" pitchFamily="34" charset="0"/>
                <a:buChar char="•"/>
                <a:defRPr/>
              </a:pPr>
              <a:r>
                <a:rPr lang="en-US" sz="1000" kern="0">
                  <a:solidFill>
                    <a:schemeClr val="tx1"/>
                  </a:solidFill>
                </a:rPr>
                <a:t>App </a:t>
              </a:r>
              <a:r>
                <a:rPr lang="en-US" sz="1000" kern="0" err="1">
                  <a:solidFill>
                    <a:schemeClr val="tx1"/>
                  </a:solidFill>
                </a:rPr>
                <a:t>Anreize</a:t>
              </a:r>
              <a:r>
                <a:rPr lang="en-US" sz="1000" kern="0">
                  <a:solidFill>
                    <a:schemeClr val="tx1"/>
                  </a:solidFill>
                </a:rPr>
                <a:t> für </a:t>
              </a:r>
              <a:r>
                <a:rPr lang="en-US" sz="1000" kern="0" err="1">
                  <a:solidFill>
                    <a:schemeClr val="tx1"/>
                  </a:solidFill>
                </a:rPr>
                <a:t>Fahrer</a:t>
              </a:r>
              <a:endParaRPr lang="en-US" sz="1000" kern="0">
                <a:solidFill>
                  <a:schemeClr val="tx1"/>
                </a:solidFill>
              </a:endParaRPr>
            </a:p>
            <a:p>
              <a:pPr marL="171450" indent="-171450" defTabSz="685800">
                <a:buFont typeface="Arial" panose="020B0604020202020204" pitchFamily="34" charset="0"/>
                <a:buChar char="•"/>
                <a:defRPr/>
              </a:pPr>
              <a:endParaRPr lang="en-US" sz="1200" b="1" kern="0">
                <a:solidFill>
                  <a:schemeClr val="tx1"/>
                </a:solidFill>
              </a:endParaRPr>
            </a:p>
          </p:txBody>
        </p:sp>
        <p:sp>
          <p:nvSpPr>
            <p:cNvPr id="12" name="Rectangle 11"/>
            <p:cNvSpPr/>
            <p:nvPr/>
          </p:nvSpPr>
          <p:spPr>
            <a:xfrm>
              <a:off x="7197600" y="3045281"/>
              <a:ext cx="2196000" cy="1821600"/>
            </a:xfrm>
            <a:prstGeom prst="rect">
              <a:avLst/>
            </a:prstGeom>
            <a:solidFill>
              <a:schemeClr val="accent2">
                <a:lumMod val="20000"/>
                <a:lumOff val="80000"/>
              </a:schemeClr>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US" sz="1200" b="1" kern="0">
                  <a:solidFill>
                    <a:schemeClr val="tx1"/>
                  </a:solidFill>
                </a:rPr>
                <a:t>Channels</a:t>
              </a:r>
            </a:p>
            <a:p>
              <a:pPr marL="171450" indent="-171450" defTabSz="685800">
                <a:buFont typeface="Arial" panose="020B0604020202020204" pitchFamily="34" charset="0"/>
                <a:buChar char="•"/>
                <a:defRPr/>
              </a:pPr>
              <a:r>
                <a:rPr lang="en-US" sz="1000" kern="0">
                  <a:solidFill>
                    <a:schemeClr val="tx1"/>
                  </a:solidFill>
                </a:rPr>
                <a:t>Website</a:t>
              </a:r>
            </a:p>
            <a:p>
              <a:pPr marL="171450" indent="-171450" defTabSz="685800">
                <a:buFont typeface="Arial" panose="020B0604020202020204" pitchFamily="34" charset="0"/>
                <a:buChar char="•"/>
                <a:defRPr/>
              </a:pPr>
              <a:r>
                <a:rPr lang="en-US" sz="1000" kern="0">
                  <a:solidFill>
                    <a:schemeClr val="tx1"/>
                  </a:solidFill>
                </a:rPr>
                <a:t>App</a:t>
              </a:r>
            </a:p>
            <a:p>
              <a:pPr marL="171450" indent="-171450" defTabSz="685800">
                <a:buFont typeface="Arial" panose="020B0604020202020204" pitchFamily="34" charset="0"/>
                <a:buChar char="•"/>
                <a:defRPr/>
              </a:pPr>
              <a:r>
                <a:rPr lang="en-US" sz="1000" kern="0">
                  <a:solidFill>
                    <a:schemeClr val="tx1"/>
                  </a:solidFill>
                </a:rPr>
                <a:t>Social Media</a:t>
              </a:r>
            </a:p>
            <a:p>
              <a:pPr marL="171450" indent="-171450" defTabSz="685800">
                <a:buFont typeface="Arial" panose="020B0604020202020204" pitchFamily="34" charset="0"/>
                <a:buChar char="•"/>
                <a:defRPr/>
              </a:pPr>
              <a:r>
                <a:rPr lang="en-US" sz="1000" kern="0">
                  <a:solidFill>
                    <a:schemeClr val="tx1"/>
                  </a:solidFill>
                </a:rPr>
                <a:t>Newsletter</a:t>
              </a:r>
            </a:p>
            <a:p>
              <a:pPr marL="171450" indent="-171450" defTabSz="685800">
                <a:buFont typeface="Arial" panose="020B0604020202020204" pitchFamily="34" charset="0"/>
                <a:buChar char="•"/>
                <a:defRPr/>
              </a:pPr>
              <a:r>
                <a:rPr lang="en-US" sz="1000" kern="0" err="1">
                  <a:solidFill>
                    <a:schemeClr val="tx1"/>
                  </a:solidFill>
                </a:rPr>
                <a:t>Persönliche</a:t>
              </a:r>
              <a:r>
                <a:rPr lang="en-US" sz="1000" kern="0">
                  <a:solidFill>
                    <a:schemeClr val="tx1"/>
                  </a:solidFill>
                </a:rPr>
                <a:t> </a:t>
              </a:r>
              <a:r>
                <a:rPr lang="en-US" sz="1000" kern="0" err="1">
                  <a:solidFill>
                    <a:schemeClr val="tx1"/>
                  </a:solidFill>
                </a:rPr>
                <a:t>Empfehlungen</a:t>
              </a:r>
              <a:endParaRPr lang="en-US" sz="1000" kern="0">
                <a:solidFill>
                  <a:schemeClr val="tx1"/>
                </a:solidFill>
              </a:endParaRPr>
            </a:p>
          </p:txBody>
        </p:sp>
        <p:sp>
          <p:nvSpPr>
            <p:cNvPr id="13" name="Rectangle 12"/>
            <p:cNvSpPr/>
            <p:nvPr/>
          </p:nvSpPr>
          <p:spPr>
            <a:xfrm>
              <a:off x="609600" y="4866881"/>
              <a:ext cx="5490000" cy="1560812"/>
            </a:xfrm>
            <a:prstGeom prst="rect">
              <a:avLst/>
            </a:prstGeom>
            <a:solidFill>
              <a:schemeClr val="accent2">
                <a:lumMod val="20000"/>
                <a:lumOff val="80000"/>
              </a:schemeClr>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US" sz="1200" b="1" kern="0">
                  <a:solidFill>
                    <a:schemeClr val="tx1"/>
                  </a:solidFill>
                </a:rPr>
                <a:t>Cost Structure</a:t>
              </a:r>
            </a:p>
            <a:p>
              <a:pPr marL="171450" indent="-171450" defTabSz="685800">
                <a:buFont typeface="Arial" panose="020B0604020202020204" pitchFamily="34" charset="0"/>
                <a:buChar char="•"/>
                <a:defRPr/>
              </a:pPr>
              <a:r>
                <a:rPr lang="en-US" sz="1000" kern="0" err="1">
                  <a:solidFill>
                    <a:schemeClr val="tx1"/>
                  </a:solidFill>
                </a:rPr>
                <a:t>Versicherungen</a:t>
              </a:r>
              <a:r>
                <a:rPr lang="en-US" sz="1000" kern="0">
                  <a:solidFill>
                    <a:schemeClr val="tx1"/>
                  </a:solidFill>
                </a:rPr>
                <a:t>, </a:t>
              </a:r>
              <a:r>
                <a:rPr lang="en-US" sz="1000" kern="0" err="1">
                  <a:solidFill>
                    <a:schemeClr val="tx1"/>
                  </a:solidFill>
                </a:rPr>
                <a:t>Arbeitgeberkosten</a:t>
              </a:r>
              <a:r>
                <a:rPr lang="en-US" sz="1000" kern="0">
                  <a:solidFill>
                    <a:schemeClr val="tx1"/>
                  </a:solidFill>
                </a:rPr>
                <a:t> für Mitarbeiter und </a:t>
              </a:r>
              <a:r>
                <a:rPr lang="en-US" sz="1000" kern="0" err="1">
                  <a:solidFill>
                    <a:schemeClr val="tx1"/>
                  </a:solidFill>
                </a:rPr>
                <a:t>Fahrer</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Entwicklungs</a:t>
              </a:r>
              <a:r>
                <a:rPr lang="en-US" sz="1000" kern="0">
                  <a:solidFill>
                    <a:schemeClr val="tx1"/>
                  </a:solidFill>
                </a:rPr>
                <a:t>- und </a:t>
              </a:r>
              <a:r>
                <a:rPr lang="en-US" sz="1000" kern="0" err="1">
                  <a:solidFill>
                    <a:schemeClr val="tx1"/>
                  </a:solidFill>
                </a:rPr>
                <a:t>Infrastrukturkosten</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Kosten</a:t>
              </a:r>
              <a:r>
                <a:rPr lang="en-US" sz="1000" kern="0">
                  <a:solidFill>
                    <a:schemeClr val="tx1"/>
                  </a:solidFill>
                </a:rPr>
                <a:t> für die </a:t>
              </a:r>
              <a:r>
                <a:rPr lang="en-US" sz="1000" kern="0" err="1">
                  <a:solidFill>
                    <a:schemeClr val="tx1"/>
                  </a:solidFill>
                </a:rPr>
                <a:t>Bereitstellung</a:t>
              </a:r>
              <a:r>
                <a:rPr lang="en-US" sz="1000" kern="0">
                  <a:solidFill>
                    <a:schemeClr val="tx1"/>
                  </a:solidFill>
                </a:rPr>
                <a:t> des </a:t>
              </a:r>
              <a:r>
                <a:rPr lang="en-US" sz="1000" kern="0" err="1">
                  <a:solidFill>
                    <a:schemeClr val="tx1"/>
                  </a:solidFill>
                </a:rPr>
                <a:t>Dienstes</a:t>
              </a:r>
              <a:r>
                <a:rPr lang="en-US" sz="1000" kern="0">
                  <a:solidFill>
                    <a:schemeClr val="tx1"/>
                  </a:solidFill>
                </a:rPr>
                <a:t> und Support</a:t>
              </a:r>
            </a:p>
            <a:p>
              <a:pPr marL="171450" indent="-171450" defTabSz="685800">
                <a:buFont typeface="Arial" panose="020B0604020202020204" pitchFamily="34" charset="0"/>
                <a:buChar char="•"/>
                <a:defRPr/>
              </a:pPr>
              <a:r>
                <a:rPr lang="en-US" sz="1000" kern="0" err="1">
                  <a:solidFill>
                    <a:schemeClr val="tx1"/>
                  </a:solidFill>
                </a:rPr>
                <a:t>Kosten</a:t>
              </a:r>
              <a:r>
                <a:rPr lang="en-US" sz="1000" kern="0">
                  <a:solidFill>
                    <a:schemeClr val="tx1"/>
                  </a:solidFill>
                </a:rPr>
                <a:t> für </a:t>
              </a:r>
              <a:r>
                <a:rPr lang="en-US" sz="1000" kern="0" err="1">
                  <a:solidFill>
                    <a:schemeClr val="tx1"/>
                  </a:solidFill>
                </a:rPr>
                <a:t>Gerichtverfahren</a:t>
              </a:r>
              <a:r>
                <a:rPr lang="en-US" sz="1000" kern="0">
                  <a:solidFill>
                    <a:schemeClr val="tx1"/>
                  </a:solidFill>
                </a:rPr>
                <a:t> und </a:t>
              </a:r>
              <a:r>
                <a:rPr lang="en-US" sz="1000" kern="0" err="1">
                  <a:solidFill>
                    <a:schemeClr val="tx1"/>
                  </a:solidFill>
                </a:rPr>
                <a:t>regulatorische</a:t>
              </a:r>
              <a:r>
                <a:rPr lang="en-US" sz="1000" kern="0">
                  <a:solidFill>
                    <a:schemeClr val="tx1"/>
                  </a:solidFill>
                </a:rPr>
                <a:t> </a:t>
              </a:r>
              <a:r>
                <a:rPr lang="en-US" sz="1000" kern="0" err="1">
                  <a:solidFill>
                    <a:schemeClr val="tx1"/>
                  </a:solidFill>
                </a:rPr>
                <a:t>Maßnahmen</a:t>
              </a:r>
              <a:endParaRPr lang="en-US" sz="1000" kern="0">
                <a:solidFill>
                  <a:schemeClr val="tx1"/>
                </a:solidFill>
              </a:endParaRPr>
            </a:p>
          </p:txBody>
        </p:sp>
        <p:sp>
          <p:nvSpPr>
            <p:cNvPr id="15" name="Rectangle 14"/>
            <p:cNvSpPr/>
            <p:nvPr/>
          </p:nvSpPr>
          <p:spPr>
            <a:xfrm>
              <a:off x="6099600" y="4866881"/>
              <a:ext cx="5490000" cy="1560812"/>
            </a:xfrm>
            <a:prstGeom prst="rect">
              <a:avLst/>
            </a:prstGeom>
            <a:solidFill>
              <a:schemeClr val="accent2">
                <a:lumMod val="20000"/>
                <a:lumOff val="80000"/>
              </a:schemeClr>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US" sz="1200" b="1" kern="0">
                  <a:solidFill>
                    <a:schemeClr val="tx1"/>
                  </a:solidFill>
                </a:rPr>
                <a:t>Revenue Streams</a:t>
              </a:r>
            </a:p>
            <a:p>
              <a:pPr marL="171450" indent="-171450" defTabSz="685800">
                <a:buFont typeface="Arial" panose="020B0604020202020204" pitchFamily="34" charset="0"/>
                <a:buChar char="•"/>
                <a:defRPr/>
              </a:pPr>
              <a:r>
                <a:rPr lang="en-US" sz="1000" kern="0" err="1">
                  <a:solidFill>
                    <a:schemeClr val="tx1"/>
                  </a:solidFill>
                </a:rPr>
                <a:t>Kommisionen</a:t>
              </a:r>
              <a:r>
                <a:rPr lang="en-US" sz="1000" kern="0">
                  <a:solidFill>
                    <a:schemeClr val="tx1"/>
                  </a:solidFill>
                </a:rPr>
                <a:t> </a:t>
              </a:r>
              <a:r>
                <a:rPr lang="en-US" sz="1000" kern="0" err="1">
                  <a:solidFill>
                    <a:schemeClr val="tx1"/>
                  </a:solidFill>
                </a:rPr>
                <a:t>durch</a:t>
              </a:r>
              <a:r>
                <a:rPr lang="en-US" sz="1000" kern="0">
                  <a:solidFill>
                    <a:schemeClr val="tx1"/>
                  </a:solidFill>
                </a:rPr>
                <a:t> </a:t>
              </a:r>
              <a:r>
                <a:rPr lang="en-US" sz="1000" kern="0" err="1">
                  <a:solidFill>
                    <a:schemeClr val="tx1"/>
                  </a:solidFill>
                </a:rPr>
                <a:t>Fahrten</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Kommisionen</a:t>
              </a:r>
              <a:r>
                <a:rPr lang="en-US" sz="1000" kern="0">
                  <a:solidFill>
                    <a:schemeClr val="tx1"/>
                  </a:solidFill>
                </a:rPr>
                <a:t> </a:t>
              </a:r>
              <a:r>
                <a:rPr lang="en-US" sz="1000" kern="0" err="1">
                  <a:solidFill>
                    <a:schemeClr val="tx1"/>
                  </a:solidFill>
                </a:rPr>
                <a:t>bei</a:t>
              </a:r>
              <a:r>
                <a:rPr lang="en-US" sz="1000" kern="0">
                  <a:solidFill>
                    <a:schemeClr val="tx1"/>
                  </a:solidFill>
                </a:rPr>
                <a:t> </a:t>
              </a:r>
              <a:r>
                <a:rPr lang="en-US" sz="1000" kern="0" err="1">
                  <a:solidFill>
                    <a:schemeClr val="tx1"/>
                  </a:solidFill>
                </a:rPr>
                <a:t>Lieferungen</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Zusammenarbeit</a:t>
              </a:r>
              <a:r>
                <a:rPr lang="en-US" sz="1000" kern="0">
                  <a:solidFill>
                    <a:schemeClr val="tx1"/>
                  </a:solidFill>
                </a:rPr>
                <a:t> mit </a:t>
              </a:r>
              <a:r>
                <a:rPr lang="en-US" sz="1000" kern="0" err="1">
                  <a:solidFill>
                    <a:schemeClr val="tx1"/>
                  </a:solidFill>
                </a:rPr>
                <a:t>Unternehmen</a:t>
              </a:r>
              <a:r>
                <a:rPr lang="en-US" sz="1000" kern="0">
                  <a:solidFill>
                    <a:schemeClr val="tx1"/>
                  </a:solidFill>
                </a:rPr>
                <a:t> </a:t>
              </a:r>
              <a:r>
                <a:rPr lang="en-US" sz="1000" kern="0" err="1">
                  <a:solidFill>
                    <a:schemeClr val="tx1"/>
                  </a:solidFill>
                </a:rPr>
                <a:t>bei</a:t>
              </a:r>
              <a:r>
                <a:rPr lang="en-US" sz="1000" kern="0">
                  <a:solidFill>
                    <a:schemeClr val="tx1"/>
                  </a:solidFill>
                </a:rPr>
                <a:t> </a:t>
              </a:r>
              <a:r>
                <a:rPr lang="en-US" sz="1000" kern="0" err="1">
                  <a:solidFill>
                    <a:schemeClr val="tx1"/>
                  </a:solidFill>
                </a:rPr>
                <a:t>Veranstaltungen</a:t>
              </a:r>
              <a:endParaRPr lang="en-US" sz="1000" kern="0">
                <a:solidFill>
                  <a:schemeClr val="tx1"/>
                </a:solidFill>
              </a:endParaRPr>
            </a:p>
            <a:p>
              <a:pPr marL="171450" indent="-171450" defTabSz="685800">
                <a:buFont typeface="Arial" panose="020B0604020202020204" pitchFamily="34" charset="0"/>
                <a:buChar char="•"/>
                <a:defRPr/>
              </a:pPr>
              <a:r>
                <a:rPr lang="en-US" sz="1000" kern="0" err="1">
                  <a:solidFill>
                    <a:schemeClr val="tx1"/>
                  </a:solidFill>
                </a:rPr>
                <a:t>Werbung</a:t>
              </a:r>
              <a:r>
                <a:rPr lang="en-US" sz="1000" kern="0">
                  <a:solidFill>
                    <a:schemeClr val="tx1"/>
                  </a:solidFill>
                </a:rPr>
                <a:t> auf der </a:t>
              </a:r>
              <a:r>
                <a:rPr lang="en-US" sz="1000" kern="0" err="1">
                  <a:solidFill>
                    <a:schemeClr val="tx1"/>
                  </a:solidFill>
                </a:rPr>
                <a:t>Plattform</a:t>
              </a:r>
              <a:endParaRPr lang="en-US" sz="1000" kern="0">
                <a:solidFill>
                  <a:schemeClr val="tx1"/>
                </a:solidFill>
              </a:endParaRPr>
            </a:p>
          </p:txBody>
        </p:sp>
      </p:grpSp>
    </p:spTree>
    <p:custDataLst>
      <p:tags r:id="rId1"/>
    </p:custDataLst>
    <p:extLst>
      <p:ext uri="{BB962C8B-B14F-4D97-AF65-F5344CB8AC3E}">
        <p14:creationId xmlns:p14="http://schemas.microsoft.com/office/powerpoint/2010/main" val="19595796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1F6C5D-5863-F569-639B-5B2249F8AA19}"/>
              </a:ext>
            </a:extLst>
          </p:cNvPr>
          <p:cNvGraphicFramePr>
            <a:graphicFrameLocks noChangeAspect="1"/>
          </p:cNvGraphicFramePr>
          <p:nvPr>
            <p:custDataLst>
              <p:tags r:id="rId1"/>
            </p:custDataLst>
            <p:extLst>
              <p:ext uri="{D42A27DB-BD31-4B8C-83A1-F6EECF244321}">
                <p14:modId xmlns:p14="http://schemas.microsoft.com/office/powerpoint/2010/main" val="3513434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5" name="think-cell data - do not delete" hidden="1">
                        <a:extLst>
                          <a:ext uri="{FF2B5EF4-FFF2-40B4-BE49-F238E27FC236}">
                            <a16:creationId xmlns:a16="http://schemas.microsoft.com/office/drawing/2014/main" id="{E81F6C5D-5863-F569-639B-5B2249F8AA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9CF71D-69DB-0F38-348E-EDD6B061A5F6}"/>
              </a:ext>
            </a:extLst>
          </p:cNvPr>
          <p:cNvSpPr>
            <a:spLocks noGrp="1"/>
          </p:cNvSpPr>
          <p:nvPr>
            <p:ph type="title"/>
          </p:nvPr>
        </p:nvSpPr>
        <p:spPr>
          <a:xfrm>
            <a:off x="360000" y="1980000"/>
            <a:ext cx="8550000" cy="1384995"/>
          </a:xfrm>
        </p:spPr>
        <p:txBody>
          <a:bodyPr vert="horz"/>
          <a:lstStyle/>
          <a:p>
            <a:r>
              <a:rPr lang="en-US"/>
              <a:t>Frage 2: Corporate Lifecycle - Anhang</a:t>
            </a:r>
          </a:p>
        </p:txBody>
      </p:sp>
      <p:sp>
        <p:nvSpPr>
          <p:cNvPr id="3" name="Textplatzhalter 2">
            <a:extLst>
              <a:ext uri="{FF2B5EF4-FFF2-40B4-BE49-F238E27FC236}">
                <a16:creationId xmlns:a16="http://schemas.microsoft.com/office/drawing/2014/main" id="{4643EE31-1C72-3234-2CAD-AC1EE7C353A8}"/>
              </a:ext>
            </a:extLst>
          </p:cNvPr>
          <p:cNvSpPr>
            <a:spLocks noGrp="1"/>
          </p:cNvSpPr>
          <p:nvPr>
            <p:ph type="body" idx="1"/>
          </p:nvPr>
        </p:nvSpPr>
        <p:spPr/>
        <p:txBody>
          <a:bodyPr/>
          <a:lstStyle/>
          <a:p>
            <a:r>
              <a:rPr lang="en-US"/>
              <a:t>Kevin Clausen</a:t>
            </a:r>
          </a:p>
        </p:txBody>
      </p:sp>
    </p:spTree>
    <p:extLst>
      <p:ext uri="{BB962C8B-B14F-4D97-AF65-F5344CB8AC3E}">
        <p14:creationId xmlns:p14="http://schemas.microsoft.com/office/powerpoint/2010/main" val="18950164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A4676E-7226-7DDF-347A-06014EEBE7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8" imgH="408" progId="TCLayout.ActiveDocument.1">
                  <p:embed/>
                </p:oleObj>
              </mc:Choice>
              <mc:Fallback>
                <p:oleObj name="think-cell Folie" r:id="rId7" imgW="408" imgH="408" progId="TCLayout.ActiveDocument.1">
                  <p:embed/>
                  <p:pic>
                    <p:nvPicPr>
                      <p:cNvPr id="9" name="think-cell data - do not delete" hidden="1">
                        <a:extLst>
                          <a:ext uri="{FF2B5EF4-FFF2-40B4-BE49-F238E27FC236}">
                            <a16:creationId xmlns:a16="http://schemas.microsoft.com/office/drawing/2014/main" id="{FEA4676E-7226-7DDF-347A-06014EEBE7F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10" name="Diagramm 9">
            <a:extLst>
              <a:ext uri="{FF2B5EF4-FFF2-40B4-BE49-F238E27FC236}">
                <a16:creationId xmlns:a16="http://schemas.microsoft.com/office/drawing/2014/main" id="{2C239155-9060-AC9F-D93F-1AFE44A01506}"/>
              </a:ext>
            </a:extLst>
          </p:cNvPr>
          <p:cNvGraphicFramePr>
            <a:graphicFrameLocks/>
          </p:cNvGraphicFramePr>
          <p:nvPr>
            <p:custDataLst>
              <p:tags r:id="rId2"/>
            </p:custDataLst>
          </p:nvPr>
        </p:nvGraphicFramePr>
        <p:xfrm>
          <a:off x="359997" y="1986599"/>
          <a:ext cx="3380481" cy="1888248"/>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a:extLst>
              <a:ext uri="{FF2B5EF4-FFF2-40B4-BE49-F238E27FC236}">
                <a16:creationId xmlns:a16="http://schemas.microsoft.com/office/drawing/2014/main" id="{8CEF301C-70FA-841E-5063-4EFC043890CE}"/>
              </a:ext>
            </a:extLst>
          </p:cNvPr>
          <p:cNvSpPr>
            <a:spLocks noGrp="1"/>
          </p:cNvSpPr>
          <p:nvPr>
            <p:ph type="title"/>
          </p:nvPr>
        </p:nvSpPr>
        <p:spPr/>
        <p:txBody>
          <a:bodyPr vert="horz"/>
          <a:lstStyle/>
          <a:p>
            <a:r>
              <a:rPr lang="en-US"/>
              <a:t>While Ubers competitors had a slow revenue growth, Uber managed to diversify and successfully grow</a:t>
            </a:r>
          </a:p>
        </p:txBody>
      </p:sp>
      <p:sp>
        <p:nvSpPr>
          <p:cNvPr id="4" name="Foliennummernplatzhalter 3">
            <a:extLst>
              <a:ext uri="{FF2B5EF4-FFF2-40B4-BE49-F238E27FC236}">
                <a16:creationId xmlns:a16="http://schemas.microsoft.com/office/drawing/2014/main" id="{5DC69901-D46F-ED8C-10D2-9DA701738AA0}"/>
              </a:ext>
            </a:extLst>
          </p:cNvPr>
          <p:cNvSpPr>
            <a:spLocks noGrp="1"/>
          </p:cNvSpPr>
          <p:nvPr>
            <p:ph type="sldNum" sz="quarter" idx="4"/>
          </p:nvPr>
        </p:nvSpPr>
        <p:spPr/>
        <p:txBody>
          <a:bodyPr/>
          <a:lstStyle/>
          <a:p>
            <a:fld id="{BAF04893-69FB-435D-AB2E-CA259D85B32F}" type="slidenum">
              <a:rPr lang="en-US" smtClean="0"/>
              <a:pPr/>
              <a:t>31</a:t>
            </a:fld>
            <a:endParaRPr lang="en-US"/>
          </a:p>
        </p:txBody>
      </p:sp>
      <p:sp>
        <p:nvSpPr>
          <p:cNvPr id="5" name="Inhaltsplatzhalter 4">
            <a:extLst>
              <a:ext uri="{FF2B5EF4-FFF2-40B4-BE49-F238E27FC236}">
                <a16:creationId xmlns:a16="http://schemas.microsoft.com/office/drawing/2014/main" id="{FCC1C85E-6A95-3E21-E40C-5FF5C80DBB75}"/>
              </a:ext>
            </a:extLst>
          </p:cNvPr>
          <p:cNvSpPr>
            <a:spLocks noGrp="1"/>
          </p:cNvSpPr>
          <p:nvPr>
            <p:ph idx="10"/>
          </p:nvPr>
        </p:nvSpPr>
        <p:spPr/>
        <p:txBody>
          <a:bodyPr/>
          <a:lstStyle/>
          <a:p>
            <a:r>
              <a:rPr lang="en-US"/>
              <a:t>Comparison Uber/Lyft Grab General (People Transportation)</a:t>
            </a:r>
          </a:p>
        </p:txBody>
      </p:sp>
      <p:sp>
        <p:nvSpPr>
          <p:cNvPr id="6" name="Inhaltsplatzhalter 5">
            <a:extLst>
              <a:ext uri="{FF2B5EF4-FFF2-40B4-BE49-F238E27FC236}">
                <a16:creationId xmlns:a16="http://schemas.microsoft.com/office/drawing/2014/main" id="{1710318E-2F2D-172F-1C63-04DB50A3DA92}"/>
              </a:ext>
            </a:extLst>
          </p:cNvPr>
          <p:cNvSpPr>
            <a:spLocks noGrp="1"/>
          </p:cNvSpPr>
          <p:nvPr>
            <p:ph idx="11"/>
          </p:nvPr>
        </p:nvSpPr>
        <p:spPr/>
        <p:txBody>
          <a:bodyPr/>
          <a:lstStyle/>
          <a:p>
            <a:r>
              <a:rPr lang="en-US"/>
              <a:t>Annual Reports, Uber, Lyft, Grab</a:t>
            </a:r>
          </a:p>
        </p:txBody>
      </p:sp>
      <p:sp>
        <p:nvSpPr>
          <p:cNvPr id="7" name="Inhaltsplatzhalter 6">
            <a:extLst>
              <a:ext uri="{FF2B5EF4-FFF2-40B4-BE49-F238E27FC236}">
                <a16:creationId xmlns:a16="http://schemas.microsoft.com/office/drawing/2014/main" id="{B696F7C0-23FD-2C6B-F7E3-632B5DE7779D}"/>
              </a:ext>
            </a:extLst>
          </p:cNvPr>
          <p:cNvSpPr>
            <a:spLocks noGrp="1"/>
          </p:cNvSpPr>
          <p:nvPr>
            <p:ph idx="12"/>
          </p:nvPr>
        </p:nvSpPr>
        <p:spPr/>
        <p:txBody>
          <a:bodyPr/>
          <a:lstStyle/>
          <a:p>
            <a:r>
              <a:rPr lang="en-US"/>
              <a:t>Corporate Lifecycle</a:t>
            </a:r>
          </a:p>
        </p:txBody>
      </p:sp>
      <p:graphicFrame>
        <p:nvGraphicFramePr>
          <p:cNvPr id="12" name="Diagramm 11">
            <a:extLst>
              <a:ext uri="{FF2B5EF4-FFF2-40B4-BE49-F238E27FC236}">
                <a16:creationId xmlns:a16="http://schemas.microsoft.com/office/drawing/2014/main" id="{299AE19F-33D4-1C0E-C500-1764765950C1}"/>
              </a:ext>
            </a:extLst>
          </p:cNvPr>
          <p:cNvGraphicFramePr>
            <a:graphicFrameLocks/>
          </p:cNvGraphicFramePr>
          <p:nvPr>
            <p:custDataLst>
              <p:tags r:id="rId3"/>
            </p:custDataLst>
          </p:nvPr>
        </p:nvGraphicFramePr>
        <p:xfrm>
          <a:off x="359997" y="4252049"/>
          <a:ext cx="3373606" cy="1888248"/>
        </p:xfrm>
        <a:graphic>
          <a:graphicData uri="http://schemas.openxmlformats.org/drawingml/2006/chart">
            <c:chart xmlns:c="http://schemas.openxmlformats.org/drawingml/2006/chart" xmlns:r="http://schemas.openxmlformats.org/officeDocument/2006/relationships" r:id="rId10"/>
          </a:graphicData>
        </a:graphic>
      </p:graphicFrame>
      <p:sp>
        <p:nvSpPr>
          <p:cNvPr id="13" name="Textfeld 12">
            <a:extLst>
              <a:ext uri="{FF2B5EF4-FFF2-40B4-BE49-F238E27FC236}">
                <a16:creationId xmlns:a16="http://schemas.microsoft.com/office/drawing/2014/main" id="{5B553B68-2E22-451A-3121-B2CE3115C6A5}"/>
              </a:ext>
            </a:extLst>
          </p:cNvPr>
          <p:cNvSpPr txBox="1"/>
          <p:nvPr/>
        </p:nvSpPr>
        <p:spPr>
          <a:xfrm>
            <a:off x="4310743" y="2251648"/>
            <a:ext cx="4617357" cy="3785652"/>
          </a:xfrm>
          <a:prstGeom prst="rect">
            <a:avLst/>
          </a:prstGeom>
          <a:noFill/>
        </p:spPr>
        <p:txBody>
          <a:bodyPr wrap="square" rtlCol="0">
            <a:spAutoFit/>
          </a:bodyPr>
          <a:lstStyle/>
          <a:p>
            <a:pPr marL="285750" indent="-285750">
              <a:buFont typeface="Arial" panose="020B0604020202020204" pitchFamily="34" charset="0"/>
              <a:buChar char="•"/>
            </a:pPr>
            <a:r>
              <a:rPr lang="en-US" sz="1200"/>
              <a:t>Uber has managed to continuously increase its revenue since 2016, which indicates a successful expansion and diversification</a:t>
            </a:r>
          </a:p>
          <a:p>
            <a:pPr marL="285750" indent="-285750">
              <a:buFont typeface="Arial" panose="020B0604020202020204" pitchFamily="34" charset="0"/>
              <a:buChar char="•"/>
            </a:pPr>
            <a:r>
              <a:rPr lang="en-US" sz="1200"/>
              <a:t>A significant part of the revenue growth can be attributed to the introduction and expansion of new business areas such as Uber Eats</a:t>
            </a:r>
          </a:p>
          <a:p>
            <a:pPr marL="285750" indent="-285750">
              <a:buFont typeface="Arial" panose="020B0604020202020204" pitchFamily="34" charset="0"/>
              <a:buChar char="•"/>
            </a:pPr>
            <a:r>
              <a:rPr lang="en-US" sz="1200"/>
              <a:t>The chart shows a significant increase in Uber’s revenue figures in 2022, which underlines the positive impact of the business expansion strategy</a:t>
            </a:r>
          </a:p>
          <a:p>
            <a:pPr marL="285750" indent="-285750">
              <a:buFont typeface="Arial" panose="020B0604020202020204" pitchFamily="34" charset="0"/>
              <a:buChar char="•"/>
            </a:pPr>
            <a:r>
              <a:rPr lang="en-US" sz="1200"/>
              <a:t>Despite competition from other ride service providers such as Lyft, Grab, Ola Cab and Didi Chuxing, Uber maintains its market leadership through innovation and diversification</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The Revenue Growth chart indicates a gradual decline in growth across the industry, with Uber demonstrating a more successful recovery compared to its competitors</a:t>
            </a:r>
          </a:p>
          <a:p>
            <a:pPr marL="285750" indent="-285750">
              <a:buFont typeface="Arial" panose="020B0604020202020204" pitchFamily="34" charset="0"/>
              <a:buChar char="•"/>
            </a:pPr>
            <a:r>
              <a:rPr lang="en-US" sz="1200"/>
              <a:t>Uber's ability to rebound is largely attributed to its sustained focus on diversifying into business units beyond passenger transportation</a:t>
            </a:r>
          </a:p>
        </p:txBody>
      </p:sp>
    </p:spTree>
    <p:extLst>
      <p:ext uri="{BB962C8B-B14F-4D97-AF65-F5344CB8AC3E}">
        <p14:creationId xmlns:p14="http://schemas.microsoft.com/office/powerpoint/2010/main" val="816236436"/>
      </p:ext>
    </p:extLst>
  </p:cSld>
  <p:clrMapOvr>
    <a:masterClrMapping/>
  </p:clrMapOvr>
  <p:extLst>
    <p:ext uri="{6950BFC3-D8DA-4A85-94F7-54DA5524770B}">
      <p188:commentRel xmlns:p188="http://schemas.microsoft.com/office/powerpoint/2018/8/main" r:id="rId6"/>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73A24AD-71B3-0242-3312-CFB03A68C2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8" imgH="408" progId="TCLayout.ActiveDocument.1">
                  <p:embed/>
                </p:oleObj>
              </mc:Choice>
              <mc:Fallback>
                <p:oleObj name="think-cell Folie" r:id="rId7" imgW="408" imgH="408" progId="TCLayout.ActiveDocument.1">
                  <p:embed/>
                  <p:pic>
                    <p:nvPicPr>
                      <p:cNvPr id="8" name="think-cell data - do not delete" hidden="1">
                        <a:extLst>
                          <a:ext uri="{FF2B5EF4-FFF2-40B4-BE49-F238E27FC236}">
                            <a16:creationId xmlns:a16="http://schemas.microsoft.com/office/drawing/2014/main" id="{D73A24AD-71B3-0242-3312-CFB03A68C28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66248B1-65FC-2559-0B6B-7824C80D0EA9}"/>
              </a:ext>
            </a:extLst>
          </p:cNvPr>
          <p:cNvSpPr>
            <a:spLocks noGrp="1"/>
          </p:cNvSpPr>
          <p:nvPr>
            <p:ph type="title"/>
          </p:nvPr>
        </p:nvSpPr>
        <p:spPr/>
        <p:txBody>
          <a:bodyPr vert="horz"/>
          <a:lstStyle/>
          <a:p>
            <a:r>
              <a:rPr lang="en-US"/>
              <a:t>Uber managed to achieve a steady growth with a small downward turn during the pandemic</a:t>
            </a:r>
          </a:p>
        </p:txBody>
      </p:sp>
      <p:sp>
        <p:nvSpPr>
          <p:cNvPr id="4" name="Foliennummernplatzhalter 3">
            <a:extLst>
              <a:ext uri="{FF2B5EF4-FFF2-40B4-BE49-F238E27FC236}">
                <a16:creationId xmlns:a16="http://schemas.microsoft.com/office/drawing/2014/main" id="{682002F4-0EF5-5107-BB42-E0C296F3AB22}"/>
              </a:ext>
            </a:extLst>
          </p:cNvPr>
          <p:cNvSpPr>
            <a:spLocks noGrp="1"/>
          </p:cNvSpPr>
          <p:nvPr>
            <p:ph type="sldNum" sz="quarter" idx="4"/>
          </p:nvPr>
        </p:nvSpPr>
        <p:spPr/>
        <p:txBody>
          <a:bodyPr/>
          <a:lstStyle/>
          <a:p>
            <a:fld id="{BAF04893-69FB-435D-AB2E-CA259D85B32F}" type="slidenum">
              <a:rPr lang="en-US" smtClean="0"/>
              <a:pPr/>
              <a:t>32</a:t>
            </a:fld>
            <a:endParaRPr lang="en-US"/>
          </a:p>
        </p:txBody>
      </p:sp>
      <p:sp>
        <p:nvSpPr>
          <p:cNvPr id="5" name="Inhaltsplatzhalter 4">
            <a:extLst>
              <a:ext uri="{FF2B5EF4-FFF2-40B4-BE49-F238E27FC236}">
                <a16:creationId xmlns:a16="http://schemas.microsoft.com/office/drawing/2014/main" id="{C737F724-F85A-08AA-F79A-4F49E167C067}"/>
              </a:ext>
            </a:extLst>
          </p:cNvPr>
          <p:cNvSpPr>
            <a:spLocks noGrp="1"/>
          </p:cNvSpPr>
          <p:nvPr>
            <p:ph idx="10"/>
          </p:nvPr>
        </p:nvSpPr>
        <p:spPr/>
        <p:txBody>
          <a:bodyPr/>
          <a:lstStyle/>
          <a:p>
            <a:r>
              <a:rPr lang="en-US"/>
              <a:t>Nonfinancial KPIs</a:t>
            </a:r>
          </a:p>
        </p:txBody>
      </p:sp>
      <p:sp>
        <p:nvSpPr>
          <p:cNvPr id="7" name="Inhaltsplatzhalter 6">
            <a:extLst>
              <a:ext uri="{FF2B5EF4-FFF2-40B4-BE49-F238E27FC236}">
                <a16:creationId xmlns:a16="http://schemas.microsoft.com/office/drawing/2014/main" id="{840C8DF1-55CC-CE92-462B-EFAF88AD83E6}"/>
              </a:ext>
            </a:extLst>
          </p:cNvPr>
          <p:cNvSpPr>
            <a:spLocks noGrp="1"/>
          </p:cNvSpPr>
          <p:nvPr>
            <p:ph idx="12"/>
          </p:nvPr>
        </p:nvSpPr>
        <p:spPr/>
        <p:txBody>
          <a:bodyPr/>
          <a:lstStyle/>
          <a:p>
            <a:r>
              <a:rPr lang="en-US"/>
              <a:t>Corporate Lifecycle</a:t>
            </a:r>
          </a:p>
        </p:txBody>
      </p:sp>
      <p:graphicFrame>
        <p:nvGraphicFramePr>
          <p:cNvPr id="11" name="Diagramm 10">
            <a:extLst>
              <a:ext uri="{FF2B5EF4-FFF2-40B4-BE49-F238E27FC236}">
                <a16:creationId xmlns:a16="http://schemas.microsoft.com/office/drawing/2014/main" id="{C2227FC4-2A6A-340C-8045-710EFEEDA04A}"/>
              </a:ext>
            </a:extLst>
          </p:cNvPr>
          <p:cNvGraphicFramePr>
            <a:graphicFrameLocks/>
          </p:cNvGraphicFramePr>
          <p:nvPr>
            <p:custDataLst>
              <p:tags r:id="rId2"/>
            </p:custDataLst>
            <p:extLst>
              <p:ext uri="{D42A27DB-BD31-4B8C-83A1-F6EECF244321}">
                <p14:modId xmlns:p14="http://schemas.microsoft.com/office/powerpoint/2010/main" val="768482771"/>
              </p:ext>
            </p:extLst>
          </p:nvPr>
        </p:nvGraphicFramePr>
        <p:xfrm>
          <a:off x="359997" y="1986600"/>
          <a:ext cx="3960542" cy="2047254"/>
        </p:xfrm>
        <a:graphic>
          <a:graphicData uri="http://schemas.openxmlformats.org/drawingml/2006/chart">
            <c:chart xmlns:c="http://schemas.openxmlformats.org/drawingml/2006/chart" xmlns:r="http://schemas.openxmlformats.org/officeDocument/2006/relationships" r:id="rId9"/>
          </a:graphicData>
        </a:graphic>
      </p:graphicFrame>
      <p:cxnSp>
        <p:nvCxnSpPr>
          <p:cNvPr id="13" name="Gerade Verbindung mit Pfeil 12">
            <a:extLst>
              <a:ext uri="{FF2B5EF4-FFF2-40B4-BE49-F238E27FC236}">
                <a16:creationId xmlns:a16="http://schemas.microsoft.com/office/drawing/2014/main" id="{12E2F005-914C-99DC-74B0-1589DCAA18A7}"/>
              </a:ext>
            </a:extLst>
          </p:cNvPr>
          <p:cNvCxnSpPr>
            <a:cxnSpLocks/>
          </p:cNvCxnSpPr>
          <p:nvPr/>
        </p:nvCxnSpPr>
        <p:spPr>
          <a:xfrm flipV="1">
            <a:off x="952615" y="2587625"/>
            <a:ext cx="1365135" cy="63182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3A37BBFB-0167-4C79-0AA2-F2FBB2838248}"/>
              </a:ext>
            </a:extLst>
          </p:cNvPr>
          <p:cNvCxnSpPr>
            <a:cxnSpLocks/>
          </p:cNvCxnSpPr>
          <p:nvPr/>
        </p:nvCxnSpPr>
        <p:spPr>
          <a:xfrm>
            <a:off x="2340268" y="2587625"/>
            <a:ext cx="450557" cy="4349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7" name="Gerade Verbindung mit Pfeil 16">
            <a:extLst>
              <a:ext uri="{FF2B5EF4-FFF2-40B4-BE49-F238E27FC236}">
                <a16:creationId xmlns:a16="http://schemas.microsoft.com/office/drawing/2014/main" id="{C14FEC72-1A00-3386-2C4C-2C7304568BF1}"/>
              </a:ext>
            </a:extLst>
          </p:cNvPr>
          <p:cNvCxnSpPr>
            <a:cxnSpLocks/>
          </p:cNvCxnSpPr>
          <p:nvPr/>
        </p:nvCxnSpPr>
        <p:spPr>
          <a:xfrm flipV="1">
            <a:off x="2813343" y="2498725"/>
            <a:ext cx="1330032" cy="5238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9" name="Textfeld 18">
            <a:extLst>
              <a:ext uri="{FF2B5EF4-FFF2-40B4-BE49-F238E27FC236}">
                <a16:creationId xmlns:a16="http://schemas.microsoft.com/office/drawing/2014/main" id="{46C5C4F0-09C2-58C6-CF04-F4C55D7288B2}"/>
              </a:ext>
            </a:extLst>
          </p:cNvPr>
          <p:cNvSpPr txBox="1"/>
          <p:nvPr/>
        </p:nvSpPr>
        <p:spPr>
          <a:xfrm>
            <a:off x="994129" y="2314901"/>
            <a:ext cx="1000125" cy="261610"/>
          </a:xfrm>
          <a:prstGeom prst="rect">
            <a:avLst/>
          </a:prstGeom>
          <a:noFill/>
        </p:spPr>
        <p:txBody>
          <a:bodyPr wrap="square" rtlCol="0">
            <a:spAutoFit/>
          </a:bodyPr>
          <a:lstStyle/>
          <a:p>
            <a:pPr algn="ctr"/>
            <a:r>
              <a:rPr lang="en-US" sz="1050" b="1">
                <a:solidFill>
                  <a:schemeClr val="accent1"/>
                </a:solidFill>
              </a:rPr>
              <a:t>31.41 %</a:t>
            </a:r>
          </a:p>
        </p:txBody>
      </p:sp>
      <p:sp>
        <p:nvSpPr>
          <p:cNvPr id="20" name="Textfeld 19">
            <a:extLst>
              <a:ext uri="{FF2B5EF4-FFF2-40B4-BE49-F238E27FC236}">
                <a16:creationId xmlns:a16="http://schemas.microsoft.com/office/drawing/2014/main" id="{BEF8F405-057D-C376-5A9E-6D030F17C460}"/>
              </a:ext>
            </a:extLst>
          </p:cNvPr>
          <p:cNvSpPr txBox="1"/>
          <p:nvPr/>
        </p:nvSpPr>
        <p:spPr>
          <a:xfrm>
            <a:off x="2175289" y="2314901"/>
            <a:ext cx="1000125" cy="261610"/>
          </a:xfrm>
          <a:prstGeom prst="rect">
            <a:avLst/>
          </a:prstGeom>
          <a:noFill/>
        </p:spPr>
        <p:txBody>
          <a:bodyPr wrap="square" rtlCol="0">
            <a:spAutoFit/>
          </a:bodyPr>
          <a:lstStyle/>
          <a:p>
            <a:pPr algn="ctr"/>
            <a:r>
              <a:rPr lang="en-US" sz="1050" b="1">
                <a:solidFill>
                  <a:schemeClr val="accent1"/>
                </a:solidFill>
              </a:rPr>
              <a:t>-31.55 %</a:t>
            </a:r>
          </a:p>
        </p:txBody>
      </p:sp>
      <p:sp>
        <p:nvSpPr>
          <p:cNvPr id="21" name="Textfeld 20">
            <a:extLst>
              <a:ext uri="{FF2B5EF4-FFF2-40B4-BE49-F238E27FC236}">
                <a16:creationId xmlns:a16="http://schemas.microsoft.com/office/drawing/2014/main" id="{46D9CCF1-7905-261B-CC31-B848E0FCA188}"/>
              </a:ext>
            </a:extLst>
          </p:cNvPr>
          <p:cNvSpPr txBox="1"/>
          <p:nvPr/>
        </p:nvSpPr>
        <p:spPr>
          <a:xfrm>
            <a:off x="2909301" y="2314901"/>
            <a:ext cx="1000125" cy="261610"/>
          </a:xfrm>
          <a:prstGeom prst="rect">
            <a:avLst/>
          </a:prstGeom>
          <a:noFill/>
        </p:spPr>
        <p:txBody>
          <a:bodyPr wrap="square" rtlCol="0">
            <a:spAutoFit/>
          </a:bodyPr>
          <a:lstStyle/>
          <a:p>
            <a:pPr algn="ctr"/>
            <a:r>
              <a:rPr lang="en-US" sz="1050" b="1">
                <a:solidFill>
                  <a:schemeClr val="accent1"/>
                </a:solidFill>
              </a:rPr>
              <a:t>31.73%</a:t>
            </a:r>
          </a:p>
        </p:txBody>
      </p:sp>
      <p:sp>
        <p:nvSpPr>
          <p:cNvPr id="22" name="Textfeld 21">
            <a:extLst>
              <a:ext uri="{FF2B5EF4-FFF2-40B4-BE49-F238E27FC236}">
                <a16:creationId xmlns:a16="http://schemas.microsoft.com/office/drawing/2014/main" id="{7C6AFB4E-7607-D9FA-3282-E892E963808D}"/>
              </a:ext>
            </a:extLst>
          </p:cNvPr>
          <p:cNvSpPr txBox="1"/>
          <p:nvPr/>
        </p:nvSpPr>
        <p:spPr>
          <a:xfrm>
            <a:off x="994129" y="2503651"/>
            <a:ext cx="1000125" cy="261610"/>
          </a:xfrm>
          <a:prstGeom prst="rect">
            <a:avLst/>
          </a:prstGeom>
          <a:noFill/>
        </p:spPr>
        <p:txBody>
          <a:bodyPr wrap="square" rtlCol="0">
            <a:spAutoFit/>
          </a:bodyPr>
          <a:lstStyle/>
          <a:p>
            <a:pPr algn="ctr"/>
            <a:r>
              <a:rPr lang="en-US" sz="1050" b="1"/>
              <a:t>5.11 %</a:t>
            </a:r>
          </a:p>
        </p:txBody>
      </p:sp>
      <p:sp>
        <p:nvSpPr>
          <p:cNvPr id="23" name="Textfeld 22">
            <a:extLst>
              <a:ext uri="{FF2B5EF4-FFF2-40B4-BE49-F238E27FC236}">
                <a16:creationId xmlns:a16="http://schemas.microsoft.com/office/drawing/2014/main" id="{211F994C-D8BF-BFAC-B927-D7D000DBA7E1}"/>
              </a:ext>
            </a:extLst>
          </p:cNvPr>
          <p:cNvSpPr txBox="1"/>
          <p:nvPr/>
        </p:nvSpPr>
        <p:spPr>
          <a:xfrm>
            <a:off x="2175289" y="2503651"/>
            <a:ext cx="1000125" cy="261610"/>
          </a:xfrm>
          <a:prstGeom prst="rect">
            <a:avLst/>
          </a:prstGeom>
          <a:noFill/>
        </p:spPr>
        <p:txBody>
          <a:bodyPr wrap="square" rtlCol="0">
            <a:spAutoFit/>
          </a:bodyPr>
          <a:lstStyle/>
          <a:p>
            <a:pPr algn="ctr"/>
            <a:r>
              <a:rPr lang="en-US" sz="1050" b="1"/>
              <a:t>6.81 %</a:t>
            </a:r>
          </a:p>
        </p:txBody>
      </p:sp>
      <p:sp>
        <p:nvSpPr>
          <p:cNvPr id="24" name="Textfeld 23">
            <a:extLst>
              <a:ext uri="{FF2B5EF4-FFF2-40B4-BE49-F238E27FC236}">
                <a16:creationId xmlns:a16="http://schemas.microsoft.com/office/drawing/2014/main" id="{2F8817F4-9821-4B94-0467-54E9491498A1}"/>
              </a:ext>
            </a:extLst>
          </p:cNvPr>
          <p:cNvSpPr txBox="1"/>
          <p:nvPr/>
        </p:nvSpPr>
        <p:spPr>
          <a:xfrm>
            <a:off x="2909301" y="2503651"/>
            <a:ext cx="1000125" cy="261610"/>
          </a:xfrm>
          <a:prstGeom prst="rect">
            <a:avLst/>
          </a:prstGeom>
          <a:noFill/>
        </p:spPr>
        <p:txBody>
          <a:bodyPr wrap="square" rtlCol="0">
            <a:spAutoFit/>
          </a:bodyPr>
          <a:lstStyle/>
          <a:p>
            <a:pPr algn="ctr"/>
            <a:r>
              <a:rPr lang="en-US" sz="1050" b="1"/>
              <a:t>5.44 %</a:t>
            </a:r>
          </a:p>
        </p:txBody>
      </p:sp>
      <p:sp>
        <p:nvSpPr>
          <p:cNvPr id="25" name="Textfeld 24">
            <a:extLst>
              <a:ext uri="{FF2B5EF4-FFF2-40B4-BE49-F238E27FC236}">
                <a16:creationId xmlns:a16="http://schemas.microsoft.com/office/drawing/2014/main" id="{C0012D56-0C57-C562-0C1F-EC7236A35210}"/>
              </a:ext>
            </a:extLst>
          </p:cNvPr>
          <p:cNvSpPr txBox="1"/>
          <p:nvPr/>
        </p:nvSpPr>
        <p:spPr>
          <a:xfrm>
            <a:off x="2652872" y="3881901"/>
            <a:ext cx="1387653" cy="253916"/>
          </a:xfrm>
          <a:prstGeom prst="rect">
            <a:avLst/>
          </a:prstGeom>
          <a:noFill/>
        </p:spPr>
        <p:txBody>
          <a:bodyPr wrap="square" rtlCol="0">
            <a:spAutoFit/>
          </a:bodyPr>
          <a:lstStyle/>
          <a:p>
            <a:pPr algn="ctr"/>
            <a:r>
              <a:rPr lang="en-US" sz="1050" b="1">
                <a:solidFill>
                  <a:schemeClr val="accent1"/>
                </a:solidFill>
              </a:rPr>
              <a:t>Year on Year Growth</a:t>
            </a:r>
          </a:p>
        </p:txBody>
      </p:sp>
      <p:sp>
        <p:nvSpPr>
          <p:cNvPr id="26" name="Textfeld 25">
            <a:extLst>
              <a:ext uri="{FF2B5EF4-FFF2-40B4-BE49-F238E27FC236}">
                <a16:creationId xmlns:a16="http://schemas.microsoft.com/office/drawing/2014/main" id="{4E589314-374D-2675-F875-A66933C66CBB}"/>
              </a:ext>
            </a:extLst>
          </p:cNvPr>
          <p:cNvSpPr txBox="1"/>
          <p:nvPr/>
        </p:nvSpPr>
        <p:spPr>
          <a:xfrm>
            <a:off x="994129" y="3881901"/>
            <a:ext cx="1387653" cy="253916"/>
          </a:xfrm>
          <a:prstGeom prst="rect">
            <a:avLst/>
          </a:prstGeom>
          <a:noFill/>
        </p:spPr>
        <p:txBody>
          <a:bodyPr wrap="square" rtlCol="0">
            <a:spAutoFit/>
          </a:bodyPr>
          <a:lstStyle/>
          <a:p>
            <a:pPr algn="ctr"/>
            <a:r>
              <a:rPr lang="en-US" sz="1050" b="1"/>
              <a:t>Growth Rate</a:t>
            </a:r>
          </a:p>
        </p:txBody>
      </p:sp>
      <p:sp>
        <p:nvSpPr>
          <p:cNvPr id="28" name="Rechteck 27">
            <a:extLst>
              <a:ext uri="{FF2B5EF4-FFF2-40B4-BE49-F238E27FC236}">
                <a16:creationId xmlns:a16="http://schemas.microsoft.com/office/drawing/2014/main" id="{78C67AB8-A746-D555-1B61-A77558ED6C89}"/>
              </a:ext>
            </a:extLst>
          </p:cNvPr>
          <p:cNvSpPr/>
          <p:nvPr/>
        </p:nvSpPr>
        <p:spPr>
          <a:xfrm>
            <a:off x="359996" y="2048683"/>
            <a:ext cx="3869103" cy="21423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9" name="Diagramm 28">
            <a:extLst>
              <a:ext uri="{FF2B5EF4-FFF2-40B4-BE49-F238E27FC236}">
                <a16:creationId xmlns:a16="http://schemas.microsoft.com/office/drawing/2014/main" id="{4915985B-F919-6C59-E1AC-425C038DFB11}"/>
              </a:ext>
            </a:extLst>
          </p:cNvPr>
          <p:cNvGraphicFramePr>
            <a:graphicFrameLocks/>
          </p:cNvGraphicFramePr>
          <p:nvPr>
            <p:custDataLst>
              <p:tags r:id="rId3"/>
            </p:custDataLst>
            <p:extLst>
              <p:ext uri="{D42A27DB-BD31-4B8C-83A1-F6EECF244321}">
                <p14:modId xmlns:p14="http://schemas.microsoft.com/office/powerpoint/2010/main" val="1612745620"/>
              </p:ext>
            </p:extLst>
          </p:nvPr>
        </p:nvGraphicFramePr>
        <p:xfrm>
          <a:off x="363829" y="4256257"/>
          <a:ext cx="3865270" cy="2046842"/>
        </p:xfrm>
        <a:graphic>
          <a:graphicData uri="http://schemas.openxmlformats.org/drawingml/2006/chart">
            <c:chart xmlns:c="http://schemas.openxmlformats.org/drawingml/2006/chart" xmlns:r="http://schemas.openxmlformats.org/officeDocument/2006/relationships" r:id="rId10"/>
          </a:graphicData>
        </a:graphic>
      </p:graphicFrame>
      <p:cxnSp>
        <p:nvCxnSpPr>
          <p:cNvPr id="30" name="Gerade Verbindung mit Pfeil 29">
            <a:extLst>
              <a:ext uri="{FF2B5EF4-FFF2-40B4-BE49-F238E27FC236}">
                <a16:creationId xmlns:a16="http://schemas.microsoft.com/office/drawing/2014/main" id="{2B852435-8E12-D72C-7C2B-6FD7332F0AE7}"/>
              </a:ext>
            </a:extLst>
          </p:cNvPr>
          <p:cNvCxnSpPr>
            <a:cxnSpLocks/>
          </p:cNvCxnSpPr>
          <p:nvPr/>
        </p:nvCxnSpPr>
        <p:spPr>
          <a:xfrm flipV="1">
            <a:off x="1035403" y="4995118"/>
            <a:ext cx="704497" cy="17424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AB59D7C7-FDD3-DAA4-8E9E-5D1BCA788E18}"/>
              </a:ext>
            </a:extLst>
          </p:cNvPr>
          <p:cNvCxnSpPr>
            <a:cxnSpLocks/>
          </p:cNvCxnSpPr>
          <p:nvPr/>
        </p:nvCxnSpPr>
        <p:spPr>
          <a:xfrm>
            <a:off x="1784350" y="5016500"/>
            <a:ext cx="438150" cy="2631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6" name="Gerade Verbindung mit Pfeil 35">
            <a:extLst>
              <a:ext uri="{FF2B5EF4-FFF2-40B4-BE49-F238E27FC236}">
                <a16:creationId xmlns:a16="http://schemas.microsoft.com/office/drawing/2014/main" id="{62F147C9-D44F-16B5-FE80-3672CDF5DD07}"/>
              </a:ext>
            </a:extLst>
          </p:cNvPr>
          <p:cNvCxnSpPr>
            <a:cxnSpLocks/>
          </p:cNvCxnSpPr>
          <p:nvPr/>
        </p:nvCxnSpPr>
        <p:spPr>
          <a:xfrm flipV="1">
            <a:off x="2266950" y="4696305"/>
            <a:ext cx="1714500" cy="5833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6" name="Textfeld 45">
            <a:extLst>
              <a:ext uri="{FF2B5EF4-FFF2-40B4-BE49-F238E27FC236}">
                <a16:creationId xmlns:a16="http://schemas.microsoft.com/office/drawing/2014/main" id="{EBCD4002-8B5D-8EE7-5614-6C190B68B558}"/>
              </a:ext>
            </a:extLst>
          </p:cNvPr>
          <p:cNvSpPr txBox="1"/>
          <p:nvPr/>
        </p:nvSpPr>
        <p:spPr>
          <a:xfrm>
            <a:off x="2611358" y="6203806"/>
            <a:ext cx="1387653" cy="253916"/>
          </a:xfrm>
          <a:prstGeom prst="rect">
            <a:avLst/>
          </a:prstGeom>
          <a:noFill/>
        </p:spPr>
        <p:txBody>
          <a:bodyPr wrap="square" rtlCol="0">
            <a:spAutoFit/>
          </a:bodyPr>
          <a:lstStyle/>
          <a:p>
            <a:pPr algn="ctr"/>
            <a:r>
              <a:rPr lang="en-US" sz="1050" b="1">
                <a:solidFill>
                  <a:schemeClr val="accent1"/>
                </a:solidFill>
              </a:rPr>
              <a:t>Year on Year Growth</a:t>
            </a:r>
          </a:p>
        </p:txBody>
      </p:sp>
      <p:sp>
        <p:nvSpPr>
          <p:cNvPr id="47" name="Textfeld 46">
            <a:extLst>
              <a:ext uri="{FF2B5EF4-FFF2-40B4-BE49-F238E27FC236}">
                <a16:creationId xmlns:a16="http://schemas.microsoft.com/office/drawing/2014/main" id="{FAFFD6AA-FF9A-FBE7-C8BB-9B69E916EDA5}"/>
              </a:ext>
            </a:extLst>
          </p:cNvPr>
          <p:cNvSpPr txBox="1"/>
          <p:nvPr/>
        </p:nvSpPr>
        <p:spPr>
          <a:xfrm>
            <a:off x="952615" y="6203806"/>
            <a:ext cx="1387653" cy="253916"/>
          </a:xfrm>
          <a:prstGeom prst="rect">
            <a:avLst/>
          </a:prstGeom>
          <a:noFill/>
        </p:spPr>
        <p:txBody>
          <a:bodyPr wrap="square" rtlCol="0">
            <a:spAutoFit/>
          </a:bodyPr>
          <a:lstStyle/>
          <a:p>
            <a:pPr algn="ctr"/>
            <a:r>
              <a:rPr lang="en-US" sz="1050" b="1"/>
              <a:t>Growth Rate</a:t>
            </a:r>
          </a:p>
        </p:txBody>
      </p:sp>
      <p:sp>
        <p:nvSpPr>
          <p:cNvPr id="48" name="Textfeld 47">
            <a:extLst>
              <a:ext uri="{FF2B5EF4-FFF2-40B4-BE49-F238E27FC236}">
                <a16:creationId xmlns:a16="http://schemas.microsoft.com/office/drawing/2014/main" id="{D63AC78F-783B-FEAA-03EC-8084E9C485F2}"/>
              </a:ext>
            </a:extLst>
          </p:cNvPr>
          <p:cNvSpPr txBox="1"/>
          <p:nvPr/>
        </p:nvSpPr>
        <p:spPr>
          <a:xfrm>
            <a:off x="873479" y="4492707"/>
            <a:ext cx="1000125" cy="261610"/>
          </a:xfrm>
          <a:prstGeom prst="rect">
            <a:avLst/>
          </a:prstGeom>
          <a:noFill/>
        </p:spPr>
        <p:txBody>
          <a:bodyPr wrap="square" rtlCol="0">
            <a:spAutoFit/>
          </a:bodyPr>
          <a:lstStyle/>
          <a:p>
            <a:pPr algn="ctr"/>
            <a:r>
              <a:rPr lang="en-US" sz="1050" b="1">
                <a:solidFill>
                  <a:schemeClr val="accent1"/>
                </a:solidFill>
              </a:rPr>
              <a:t>24.29 %</a:t>
            </a:r>
          </a:p>
        </p:txBody>
      </p:sp>
      <p:sp>
        <p:nvSpPr>
          <p:cNvPr id="49" name="Textfeld 48">
            <a:extLst>
              <a:ext uri="{FF2B5EF4-FFF2-40B4-BE49-F238E27FC236}">
                <a16:creationId xmlns:a16="http://schemas.microsoft.com/office/drawing/2014/main" id="{6DD7FA76-8B93-02AE-EF61-FDC49C74F94D}"/>
              </a:ext>
            </a:extLst>
          </p:cNvPr>
          <p:cNvSpPr txBox="1"/>
          <p:nvPr/>
        </p:nvSpPr>
        <p:spPr>
          <a:xfrm>
            <a:off x="1588000" y="4492707"/>
            <a:ext cx="1000125" cy="261610"/>
          </a:xfrm>
          <a:prstGeom prst="rect">
            <a:avLst/>
          </a:prstGeom>
          <a:noFill/>
        </p:spPr>
        <p:txBody>
          <a:bodyPr wrap="square" rtlCol="0">
            <a:spAutoFit/>
          </a:bodyPr>
          <a:lstStyle/>
          <a:p>
            <a:pPr algn="ctr"/>
            <a:r>
              <a:rPr lang="en-US" sz="1050" b="1">
                <a:solidFill>
                  <a:schemeClr val="accent1"/>
                </a:solidFill>
              </a:rPr>
              <a:t>-25.83 %</a:t>
            </a:r>
          </a:p>
        </p:txBody>
      </p:sp>
      <p:sp>
        <p:nvSpPr>
          <p:cNvPr id="50" name="Textfeld 49">
            <a:extLst>
              <a:ext uri="{FF2B5EF4-FFF2-40B4-BE49-F238E27FC236}">
                <a16:creationId xmlns:a16="http://schemas.microsoft.com/office/drawing/2014/main" id="{4ACBDBF0-FA3C-A742-A0C8-8626EB6C07B1}"/>
              </a:ext>
            </a:extLst>
          </p:cNvPr>
          <p:cNvSpPr txBox="1"/>
          <p:nvPr/>
        </p:nvSpPr>
        <p:spPr>
          <a:xfrm>
            <a:off x="2675243" y="4492707"/>
            <a:ext cx="1000125" cy="261610"/>
          </a:xfrm>
          <a:prstGeom prst="rect">
            <a:avLst/>
          </a:prstGeom>
          <a:noFill/>
        </p:spPr>
        <p:txBody>
          <a:bodyPr wrap="square" rtlCol="0">
            <a:spAutoFit/>
          </a:bodyPr>
          <a:lstStyle/>
          <a:p>
            <a:pPr algn="ctr"/>
            <a:r>
              <a:rPr lang="en-US" sz="1050" b="1">
                <a:solidFill>
                  <a:schemeClr val="accent1"/>
                </a:solidFill>
              </a:rPr>
              <a:t>27.74 %</a:t>
            </a:r>
          </a:p>
        </p:txBody>
      </p:sp>
      <p:sp>
        <p:nvSpPr>
          <p:cNvPr id="51" name="Textfeld 50">
            <a:extLst>
              <a:ext uri="{FF2B5EF4-FFF2-40B4-BE49-F238E27FC236}">
                <a16:creationId xmlns:a16="http://schemas.microsoft.com/office/drawing/2014/main" id="{CE302C20-6061-8358-453E-35C08DC071A7}"/>
              </a:ext>
            </a:extLst>
          </p:cNvPr>
          <p:cNvSpPr txBox="1"/>
          <p:nvPr/>
        </p:nvSpPr>
        <p:spPr>
          <a:xfrm>
            <a:off x="873479" y="4681457"/>
            <a:ext cx="1000125" cy="261610"/>
          </a:xfrm>
          <a:prstGeom prst="rect">
            <a:avLst/>
          </a:prstGeom>
          <a:noFill/>
        </p:spPr>
        <p:txBody>
          <a:bodyPr wrap="square" rtlCol="0">
            <a:spAutoFit/>
          </a:bodyPr>
          <a:lstStyle/>
          <a:p>
            <a:pPr algn="ctr"/>
            <a:r>
              <a:rPr lang="en-US" sz="1050" b="1"/>
              <a:t>5.09 %</a:t>
            </a:r>
          </a:p>
        </p:txBody>
      </p:sp>
      <p:sp>
        <p:nvSpPr>
          <p:cNvPr id="52" name="Textfeld 51">
            <a:extLst>
              <a:ext uri="{FF2B5EF4-FFF2-40B4-BE49-F238E27FC236}">
                <a16:creationId xmlns:a16="http://schemas.microsoft.com/office/drawing/2014/main" id="{2DDBC32F-575F-DDEE-B23E-B8DADA0C34DD}"/>
              </a:ext>
            </a:extLst>
          </p:cNvPr>
          <p:cNvSpPr txBox="1"/>
          <p:nvPr/>
        </p:nvSpPr>
        <p:spPr>
          <a:xfrm>
            <a:off x="1588000" y="4681457"/>
            <a:ext cx="1000125" cy="261610"/>
          </a:xfrm>
          <a:prstGeom prst="rect">
            <a:avLst/>
          </a:prstGeom>
          <a:noFill/>
        </p:spPr>
        <p:txBody>
          <a:bodyPr wrap="square" rtlCol="0">
            <a:spAutoFit/>
          </a:bodyPr>
          <a:lstStyle/>
          <a:p>
            <a:pPr algn="ctr"/>
            <a:r>
              <a:rPr lang="en-US" sz="1050" b="1"/>
              <a:t>5.21 %</a:t>
            </a:r>
          </a:p>
        </p:txBody>
      </p:sp>
      <p:sp>
        <p:nvSpPr>
          <p:cNvPr id="53" name="Textfeld 52">
            <a:extLst>
              <a:ext uri="{FF2B5EF4-FFF2-40B4-BE49-F238E27FC236}">
                <a16:creationId xmlns:a16="http://schemas.microsoft.com/office/drawing/2014/main" id="{EEF1126B-6243-E7CD-0EA0-C53E6DEFC02B}"/>
              </a:ext>
            </a:extLst>
          </p:cNvPr>
          <p:cNvSpPr txBox="1"/>
          <p:nvPr/>
        </p:nvSpPr>
        <p:spPr>
          <a:xfrm>
            <a:off x="2675243" y="4681457"/>
            <a:ext cx="1000125" cy="261610"/>
          </a:xfrm>
          <a:prstGeom prst="rect">
            <a:avLst/>
          </a:prstGeom>
          <a:noFill/>
        </p:spPr>
        <p:txBody>
          <a:bodyPr wrap="square" rtlCol="0">
            <a:spAutoFit/>
          </a:bodyPr>
          <a:lstStyle/>
          <a:p>
            <a:pPr algn="ctr"/>
            <a:r>
              <a:rPr lang="en-US" sz="1050" b="1"/>
              <a:t>3.83 %</a:t>
            </a:r>
          </a:p>
        </p:txBody>
      </p:sp>
      <p:sp>
        <p:nvSpPr>
          <p:cNvPr id="3" name="Rechteck: abgerundete Ecken 2">
            <a:extLst>
              <a:ext uri="{FF2B5EF4-FFF2-40B4-BE49-F238E27FC236}">
                <a16:creationId xmlns:a16="http://schemas.microsoft.com/office/drawing/2014/main" id="{821501B3-43B7-EE02-725C-1AF2FC97E55C}"/>
              </a:ext>
            </a:extLst>
          </p:cNvPr>
          <p:cNvSpPr/>
          <p:nvPr/>
        </p:nvSpPr>
        <p:spPr>
          <a:xfrm>
            <a:off x="4517367" y="2048683"/>
            <a:ext cx="4410733" cy="2087134"/>
          </a:xfrm>
          <a:prstGeom prst="roundRect">
            <a:avLst/>
          </a:prstGeom>
          <a:solidFill>
            <a:schemeClr val="accent2">
              <a:lumMod val="40000"/>
              <a:lumOff val="6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9" name="Textfeld 8">
            <a:extLst>
              <a:ext uri="{FF2B5EF4-FFF2-40B4-BE49-F238E27FC236}">
                <a16:creationId xmlns:a16="http://schemas.microsoft.com/office/drawing/2014/main" id="{699E85FC-CC8B-9111-8F56-43793634A766}"/>
              </a:ext>
            </a:extLst>
          </p:cNvPr>
          <p:cNvSpPr txBox="1"/>
          <p:nvPr/>
        </p:nvSpPr>
        <p:spPr>
          <a:xfrm>
            <a:off x="4643438" y="2086611"/>
            <a:ext cx="1626733" cy="276999"/>
          </a:xfrm>
          <a:prstGeom prst="rect">
            <a:avLst/>
          </a:prstGeom>
          <a:noFill/>
        </p:spPr>
        <p:txBody>
          <a:bodyPr wrap="square" rtlCol="0">
            <a:spAutoFit/>
          </a:bodyPr>
          <a:lstStyle/>
          <a:p>
            <a:r>
              <a:rPr lang="en-US" sz="1200" b="1"/>
              <a:t>Downloads &amp; Reviews</a:t>
            </a:r>
          </a:p>
        </p:txBody>
      </p:sp>
      <p:cxnSp>
        <p:nvCxnSpPr>
          <p:cNvPr id="12" name="Gerader Verbinder 11">
            <a:extLst>
              <a:ext uri="{FF2B5EF4-FFF2-40B4-BE49-F238E27FC236}">
                <a16:creationId xmlns:a16="http://schemas.microsoft.com/office/drawing/2014/main" id="{597D3BB5-195B-DA96-F287-1FACD5D978DB}"/>
              </a:ext>
            </a:extLst>
          </p:cNvPr>
          <p:cNvCxnSpPr/>
          <p:nvPr/>
        </p:nvCxnSpPr>
        <p:spPr>
          <a:xfrm>
            <a:off x="6691745" y="2400210"/>
            <a:ext cx="0" cy="16336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9" name="Inhaltsplatzhalter 34">
            <a:extLst>
              <a:ext uri="{FF2B5EF4-FFF2-40B4-BE49-F238E27FC236}">
                <a16:creationId xmlns:a16="http://schemas.microsoft.com/office/drawing/2014/main" id="{B8455925-0ABD-1C21-89A7-83D4BD50C95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671310" y="2456845"/>
            <a:ext cx="360000" cy="360000"/>
          </a:xfrm>
          <a:prstGeom prst="roundRect">
            <a:avLst/>
          </a:prstGeom>
        </p:spPr>
      </p:pic>
      <p:sp>
        <p:nvSpPr>
          <p:cNvPr id="43" name="Inhaltsplatzhalter 42">
            <a:extLst>
              <a:ext uri="{FF2B5EF4-FFF2-40B4-BE49-F238E27FC236}">
                <a16:creationId xmlns:a16="http://schemas.microsoft.com/office/drawing/2014/main" id="{0F5EC787-974B-EEF8-2999-42C9E8356053}"/>
              </a:ext>
            </a:extLst>
          </p:cNvPr>
          <p:cNvSpPr>
            <a:spLocks noGrp="1"/>
          </p:cNvSpPr>
          <p:nvPr>
            <p:ph idx="11"/>
          </p:nvPr>
        </p:nvSpPr>
        <p:spPr/>
        <p:txBody>
          <a:bodyPr/>
          <a:lstStyle/>
          <a:p>
            <a:r>
              <a:rPr lang="en-US"/>
              <a:t>Annual Reports Uber, Apple App Store</a:t>
            </a:r>
          </a:p>
        </p:txBody>
      </p:sp>
      <p:pic>
        <p:nvPicPr>
          <p:cNvPr id="44" name="Inhaltsplatzhalter 40">
            <a:extLst>
              <a:ext uri="{FF2B5EF4-FFF2-40B4-BE49-F238E27FC236}">
                <a16:creationId xmlns:a16="http://schemas.microsoft.com/office/drawing/2014/main" id="{5CAF2B31-4593-C248-B18C-E97B5646D03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458626" y="2465001"/>
            <a:ext cx="360000" cy="360000"/>
          </a:xfrm>
          <a:prstGeom prst="roundRect">
            <a:avLst/>
          </a:prstGeom>
        </p:spPr>
      </p:pic>
      <p:sp>
        <p:nvSpPr>
          <p:cNvPr id="45" name="Stern: 5 Zacken 44">
            <a:extLst>
              <a:ext uri="{FF2B5EF4-FFF2-40B4-BE49-F238E27FC236}">
                <a16:creationId xmlns:a16="http://schemas.microsoft.com/office/drawing/2014/main" id="{95299228-6CFB-1F3C-315B-DC4E613967EE}"/>
              </a:ext>
            </a:extLst>
          </p:cNvPr>
          <p:cNvSpPr/>
          <p:nvPr/>
        </p:nvSpPr>
        <p:spPr>
          <a:xfrm>
            <a:off x="5276483" y="2914372"/>
            <a:ext cx="144000" cy="144000"/>
          </a:xfrm>
          <a:prstGeom prst="star5">
            <a:avLst/>
          </a:prstGeom>
          <a:ln w="6350">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55" name="Stern: 5 Zacken 54">
            <a:extLst>
              <a:ext uri="{FF2B5EF4-FFF2-40B4-BE49-F238E27FC236}">
                <a16:creationId xmlns:a16="http://schemas.microsoft.com/office/drawing/2014/main" id="{BBB8832A-7BDB-A245-9DFA-0319A343B55F}"/>
              </a:ext>
            </a:extLst>
          </p:cNvPr>
          <p:cNvSpPr/>
          <p:nvPr/>
        </p:nvSpPr>
        <p:spPr>
          <a:xfrm>
            <a:off x="5422332" y="2914372"/>
            <a:ext cx="144000" cy="144000"/>
          </a:xfrm>
          <a:prstGeom prst="star5">
            <a:avLst/>
          </a:prstGeom>
          <a:ln w="6350">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57" name="Stern: 5 Zacken 56">
            <a:extLst>
              <a:ext uri="{FF2B5EF4-FFF2-40B4-BE49-F238E27FC236}">
                <a16:creationId xmlns:a16="http://schemas.microsoft.com/office/drawing/2014/main" id="{D77C15DC-B344-F57A-50A8-D5067791CD29}"/>
              </a:ext>
            </a:extLst>
          </p:cNvPr>
          <p:cNvSpPr/>
          <p:nvPr/>
        </p:nvSpPr>
        <p:spPr>
          <a:xfrm>
            <a:off x="5568181" y="2914372"/>
            <a:ext cx="144000" cy="144000"/>
          </a:xfrm>
          <a:prstGeom prst="star5">
            <a:avLst/>
          </a:prstGeom>
          <a:ln w="6350">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59" name="Stern: 5 Zacken 58">
            <a:extLst>
              <a:ext uri="{FF2B5EF4-FFF2-40B4-BE49-F238E27FC236}">
                <a16:creationId xmlns:a16="http://schemas.microsoft.com/office/drawing/2014/main" id="{0E55C272-0C59-ADA2-063D-8956E230F834}"/>
              </a:ext>
            </a:extLst>
          </p:cNvPr>
          <p:cNvSpPr/>
          <p:nvPr/>
        </p:nvSpPr>
        <p:spPr>
          <a:xfrm>
            <a:off x="5714030" y="2914372"/>
            <a:ext cx="144000" cy="144000"/>
          </a:xfrm>
          <a:prstGeom prst="star5">
            <a:avLst/>
          </a:prstGeom>
          <a:ln w="6350">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0" name="Stern: 5 Zacken 59">
            <a:extLst>
              <a:ext uri="{FF2B5EF4-FFF2-40B4-BE49-F238E27FC236}">
                <a16:creationId xmlns:a16="http://schemas.microsoft.com/office/drawing/2014/main" id="{3C120F2B-3CAB-A6F6-2645-1D8891CF1ED1}"/>
              </a:ext>
            </a:extLst>
          </p:cNvPr>
          <p:cNvSpPr/>
          <p:nvPr/>
        </p:nvSpPr>
        <p:spPr>
          <a:xfrm>
            <a:off x="5859879" y="2914372"/>
            <a:ext cx="144000" cy="144000"/>
          </a:xfrm>
          <a:prstGeom prst="star5">
            <a:avLst/>
          </a:prstGeom>
          <a:ln w="6350">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4" name="Stern: 5 Zacken 63">
            <a:extLst>
              <a:ext uri="{FF2B5EF4-FFF2-40B4-BE49-F238E27FC236}">
                <a16:creationId xmlns:a16="http://schemas.microsoft.com/office/drawing/2014/main" id="{BF973445-31A3-A51C-1D2D-6670A4C9A344}"/>
              </a:ext>
            </a:extLst>
          </p:cNvPr>
          <p:cNvSpPr/>
          <p:nvPr/>
        </p:nvSpPr>
        <p:spPr>
          <a:xfrm>
            <a:off x="7478715" y="2914372"/>
            <a:ext cx="144000" cy="144000"/>
          </a:xfrm>
          <a:prstGeom prst="star5">
            <a:avLst/>
          </a:prstGeom>
          <a:ln w="6350">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5" name="Stern: 5 Zacken 64">
            <a:extLst>
              <a:ext uri="{FF2B5EF4-FFF2-40B4-BE49-F238E27FC236}">
                <a16:creationId xmlns:a16="http://schemas.microsoft.com/office/drawing/2014/main" id="{55FBDA2C-4C00-B961-2903-ADDB054C122A}"/>
              </a:ext>
            </a:extLst>
          </p:cNvPr>
          <p:cNvSpPr/>
          <p:nvPr/>
        </p:nvSpPr>
        <p:spPr>
          <a:xfrm>
            <a:off x="7624564" y="2914372"/>
            <a:ext cx="144000" cy="144000"/>
          </a:xfrm>
          <a:prstGeom prst="star5">
            <a:avLst/>
          </a:prstGeom>
          <a:ln w="6350">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6" name="Stern: 5 Zacken 65">
            <a:extLst>
              <a:ext uri="{FF2B5EF4-FFF2-40B4-BE49-F238E27FC236}">
                <a16:creationId xmlns:a16="http://schemas.microsoft.com/office/drawing/2014/main" id="{8CF4F200-C01B-442B-AE94-B795C8D4AED7}"/>
              </a:ext>
            </a:extLst>
          </p:cNvPr>
          <p:cNvSpPr/>
          <p:nvPr/>
        </p:nvSpPr>
        <p:spPr>
          <a:xfrm>
            <a:off x="7770413" y="2914372"/>
            <a:ext cx="144000" cy="144000"/>
          </a:xfrm>
          <a:prstGeom prst="star5">
            <a:avLst/>
          </a:prstGeom>
          <a:ln w="6350">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7" name="Stern: 5 Zacken 66">
            <a:extLst>
              <a:ext uri="{FF2B5EF4-FFF2-40B4-BE49-F238E27FC236}">
                <a16:creationId xmlns:a16="http://schemas.microsoft.com/office/drawing/2014/main" id="{A159A8A3-FCFA-51B4-9415-3264F822E68F}"/>
              </a:ext>
            </a:extLst>
          </p:cNvPr>
          <p:cNvSpPr/>
          <p:nvPr/>
        </p:nvSpPr>
        <p:spPr>
          <a:xfrm>
            <a:off x="7916262" y="2914372"/>
            <a:ext cx="144000" cy="144000"/>
          </a:xfrm>
          <a:prstGeom prst="star5">
            <a:avLst/>
          </a:prstGeom>
          <a:ln w="6350">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8" name="Stern: 5 Zacken 67">
            <a:extLst>
              <a:ext uri="{FF2B5EF4-FFF2-40B4-BE49-F238E27FC236}">
                <a16:creationId xmlns:a16="http://schemas.microsoft.com/office/drawing/2014/main" id="{D3988A56-E241-FE0A-30DB-98B4B3EDD950}"/>
              </a:ext>
            </a:extLst>
          </p:cNvPr>
          <p:cNvSpPr/>
          <p:nvPr/>
        </p:nvSpPr>
        <p:spPr>
          <a:xfrm>
            <a:off x="8062111" y="2914372"/>
            <a:ext cx="144000" cy="144000"/>
          </a:xfrm>
          <a:prstGeom prst="star5">
            <a:avLst/>
          </a:prstGeom>
          <a:ln w="6350">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9" name="Textfeld 68">
            <a:extLst>
              <a:ext uri="{FF2B5EF4-FFF2-40B4-BE49-F238E27FC236}">
                <a16:creationId xmlns:a16="http://schemas.microsoft.com/office/drawing/2014/main" id="{675DDD7D-559B-1638-5580-DE78CA366E4B}"/>
              </a:ext>
            </a:extLst>
          </p:cNvPr>
          <p:cNvSpPr txBox="1"/>
          <p:nvPr/>
        </p:nvSpPr>
        <p:spPr>
          <a:xfrm>
            <a:off x="5022066" y="3058372"/>
            <a:ext cx="1233119" cy="461665"/>
          </a:xfrm>
          <a:prstGeom prst="rect">
            <a:avLst/>
          </a:prstGeom>
          <a:noFill/>
        </p:spPr>
        <p:txBody>
          <a:bodyPr wrap="square" rtlCol="0">
            <a:spAutoFit/>
          </a:bodyPr>
          <a:lstStyle/>
          <a:p>
            <a:pPr algn="ctr"/>
            <a:r>
              <a:rPr lang="en-US" sz="1200" b="1"/>
              <a:t>4.9</a:t>
            </a:r>
          </a:p>
          <a:p>
            <a:pPr algn="ctr"/>
            <a:r>
              <a:rPr lang="en-US" sz="1200" b="1"/>
              <a:t>7.8M Ratings</a:t>
            </a:r>
          </a:p>
        </p:txBody>
      </p:sp>
      <p:sp>
        <p:nvSpPr>
          <p:cNvPr id="70" name="Textfeld 69">
            <a:extLst>
              <a:ext uri="{FF2B5EF4-FFF2-40B4-BE49-F238E27FC236}">
                <a16:creationId xmlns:a16="http://schemas.microsoft.com/office/drawing/2014/main" id="{E7687683-BDDE-EF9E-1B39-183C4D8F62BF}"/>
              </a:ext>
            </a:extLst>
          </p:cNvPr>
          <p:cNvSpPr txBox="1"/>
          <p:nvPr/>
        </p:nvSpPr>
        <p:spPr>
          <a:xfrm>
            <a:off x="7225853" y="3058371"/>
            <a:ext cx="1233119" cy="461665"/>
          </a:xfrm>
          <a:prstGeom prst="rect">
            <a:avLst/>
          </a:prstGeom>
          <a:noFill/>
        </p:spPr>
        <p:txBody>
          <a:bodyPr wrap="square" rtlCol="0">
            <a:spAutoFit/>
          </a:bodyPr>
          <a:lstStyle/>
          <a:p>
            <a:pPr algn="ctr"/>
            <a:r>
              <a:rPr lang="en-US" sz="1200" b="1"/>
              <a:t>4.9</a:t>
            </a:r>
          </a:p>
          <a:p>
            <a:pPr algn="ctr"/>
            <a:r>
              <a:rPr lang="en-US" sz="1200" b="1"/>
              <a:t>13.5M Ratings</a:t>
            </a:r>
          </a:p>
        </p:txBody>
      </p:sp>
      <p:sp>
        <p:nvSpPr>
          <p:cNvPr id="71" name="Textfeld 70">
            <a:extLst>
              <a:ext uri="{FF2B5EF4-FFF2-40B4-BE49-F238E27FC236}">
                <a16:creationId xmlns:a16="http://schemas.microsoft.com/office/drawing/2014/main" id="{1C2CEDB9-2E34-5956-5C35-7BB38B4E09C6}"/>
              </a:ext>
            </a:extLst>
          </p:cNvPr>
          <p:cNvSpPr txBox="1"/>
          <p:nvPr/>
        </p:nvSpPr>
        <p:spPr>
          <a:xfrm>
            <a:off x="4794607" y="3554176"/>
            <a:ext cx="1669673" cy="461665"/>
          </a:xfrm>
          <a:prstGeom prst="rect">
            <a:avLst/>
          </a:prstGeom>
          <a:noFill/>
        </p:spPr>
        <p:txBody>
          <a:bodyPr wrap="square" rtlCol="0">
            <a:spAutoFit/>
          </a:bodyPr>
          <a:lstStyle/>
          <a:p>
            <a:pPr algn="ctr"/>
            <a:r>
              <a:rPr lang="en-US" sz="1200" b="1"/>
              <a:t>4 Million</a:t>
            </a:r>
          </a:p>
          <a:p>
            <a:pPr algn="ctr"/>
            <a:r>
              <a:rPr lang="en-US" sz="1200" b="1"/>
              <a:t>Downloads last Month</a:t>
            </a:r>
          </a:p>
        </p:txBody>
      </p:sp>
      <p:sp>
        <p:nvSpPr>
          <p:cNvPr id="72" name="Textfeld 71">
            <a:extLst>
              <a:ext uri="{FF2B5EF4-FFF2-40B4-BE49-F238E27FC236}">
                <a16:creationId xmlns:a16="http://schemas.microsoft.com/office/drawing/2014/main" id="{3CDB64C4-AB67-2152-5D2C-668769DC4A31}"/>
              </a:ext>
            </a:extLst>
          </p:cNvPr>
          <p:cNvSpPr txBox="1"/>
          <p:nvPr/>
        </p:nvSpPr>
        <p:spPr>
          <a:xfrm>
            <a:off x="7007575" y="3520036"/>
            <a:ext cx="1669673" cy="461665"/>
          </a:xfrm>
          <a:prstGeom prst="rect">
            <a:avLst/>
          </a:prstGeom>
          <a:noFill/>
        </p:spPr>
        <p:txBody>
          <a:bodyPr wrap="square" rtlCol="0">
            <a:spAutoFit/>
          </a:bodyPr>
          <a:lstStyle/>
          <a:p>
            <a:pPr algn="ctr"/>
            <a:r>
              <a:rPr lang="en-US" sz="1200" b="1"/>
              <a:t>1 Million</a:t>
            </a:r>
          </a:p>
          <a:p>
            <a:pPr algn="ctr"/>
            <a:r>
              <a:rPr lang="en-US" sz="1200" b="1"/>
              <a:t>Downloads last Month</a:t>
            </a:r>
          </a:p>
        </p:txBody>
      </p:sp>
      <p:sp>
        <p:nvSpPr>
          <p:cNvPr id="73" name="Textfeld 72">
            <a:extLst>
              <a:ext uri="{FF2B5EF4-FFF2-40B4-BE49-F238E27FC236}">
                <a16:creationId xmlns:a16="http://schemas.microsoft.com/office/drawing/2014/main" id="{14A5680C-31F3-C47C-B756-CD8890BEA372}"/>
              </a:ext>
            </a:extLst>
          </p:cNvPr>
          <p:cNvSpPr txBox="1"/>
          <p:nvPr/>
        </p:nvSpPr>
        <p:spPr>
          <a:xfrm>
            <a:off x="4310743" y="4239198"/>
            <a:ext cx="4617357" cy="1938992"/>
          </a:xfrm>
          <a:prstGeom prst="rect">
            <a:avLst/>
          </a:prstGeom>
          <a:noFill/>
        </p:spPr>
        <p:txBody>
          <a:bodyPr wrap="square" rtlCol="0">
            <a:spAutoFit/>
          </a:bodyPr>
          <a:lstStyle/>
          <a:p>
            <a:pPr marL="285750" indent="-285750">
              <a:buFont typeface="Arial" panose="020B0604020202020204" pitchFamily="34" charset="0"/>
              <a:buChar char="•"/>
            </a:pPr>
            <a:r>
              <a:rPr lang="en-US" sz="1200" b="1"/>
              <a:t>Number of rides</a:t>
            </a:r>
            <a:r>
              <a:rPr lang="en-US" sz="1200"/>
              <a:t>: Indicates the overall usage of the service, reflecting customer demand and market penetration</a:t>
            </a:r>
          </a:p>
          <a:p>
            <a:pPr marL="285750" indent="-285750">
              <a:buFont typeface="Arial" panose="020B0604020202020204" pitchFamily="34" charset="0"/>
              <a:buChar char="•"/>
            </a:pPr>
            <a:r>
              <a:rPr lang="en-US" sz="1200" b="1"/>
              <a:t>Number of MAPC (Monthly Active Platform Consumers)</a:t>
            </a:r>
            <a:r>
              <a:rPr lang="en-US" sz="1200"/>
              <a:t>:</a:t>
            </a:r>
            <a:r>
              <a:rPr lang="en-US" sz="1200" b="1"/>
              <a:t> </a:t>
            </a:r>
            <a:r>
              <a:rPr lang="en-US" sz="1200"/>
              <a:t>This is a key performance indicator of active consumer base size and engagement level over time</a:t>
            </a:r>
          </a:p>
          <a:p>
            <a:pPr marL="285750" indent="-285750">
              <a:buFont typeface="Arial" panose="020B0604020202020204" pitchFamily="34" charset="0"/>
              <a:buChar char="•"/>
            </a:pPr>
            <a:r>
              <a:rPr lang="en-US" sz="1200" b="1"/>
              <a:t>Downloads &amp; Reviews</a:t>
            </a:r>
            <a:r>
              <a:rPr lang="en-US" sz="1200"/>
              <a:t>: Provide a proxy for brand popularity and user engagement; high ratings can influence new users to download the app</a:t>
            </a:r>
          </a:p>
          <a:p>
            <a:pPr marL="285750" indent="-285750">
              <a:buFont typeface="Arial" panose="020B0604020202020204" pitchFamily="34" charset="0"/>
              <a:buChar char="•"/>
            </a:pPr>
            <a:r>
              <a:rPr lang="en-US" sz="1200" b="1"/>
              <a:t>Monthly Downloads</a:t>
            </a:r>
            <a:r>
              <a:rPr lang="en-US" sz="1200"/>
              <a:t>: Offer insights into recent trends in customer acquisition and app adoption rates</a:t>
            </a:r>
          </a:p>
        </p:txBody>
      </p:sp>
    </p:spTree>
    <p:extLst>
      <p:ext uri="{BB962C8B-B14F-4D97-AF65-F5344CB8AC3E}">
        <p14:creationId xmlns:p14="http://schemas.microsoft.com/office/powerpoint/2010/main" val="3682167214"/>
      </p:ext>
    </p:extLst>
  </p:cSld>
  <p:clrMapOvr>
    <a:masterClrMapping/>
  </p:clrMapOvr>
  <p:extLst>
    <p:ext uri="{6950BFC3-D8DA-4A85-94F7-54DA5524770B}">
      <p188:commentRel xmlns:p188="http://schemas.microsoft.com/office/powerpoint/2018/8/main" r:id="rId6"/>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D47155B-043F-D268-F962-759AE4634D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9" name="think-cell data - do not delete" hidden="1">
                        <a:extLst>
                          <a:ext uri="{FF2B5EF4-FFF2-40B4-BE49-F238E27FC236}">
                            <a16:creationId xmlns:a16="http://schemas.microsoft.com/office/drawing/2014/main" id="{9D47155B-043F-D268-F962-759AE4634D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65031C8A-B73D-A3B1-1237-4589974E064D}"/>
              </a:ext>
            </a:extLst>
          </p:cNvPr>
          <p:cNvSpPr>
            <a:spLocks noGrp="1"/>
          </p:cNvSpPr>
          <p:nvPr>
            <p:ph type="sldNum" sz="quarter" idx="4"/>
          </p:nvPr>
        </p:nvSpPr>
        <p:spPr/>
        <p:txBody>
          <a:bodyPr/>
          <a:lstStyle/>
          <a:p>
            <a:fld id="{BAF04893-69FB-435D-AB2E-CA259D85B32F}" type="slidenum">
              <a:rPr lang="en-US" smtClean="0"/>
              <a:pPr/>
              <a:t>33</a:t>
            </a:fld>
            <a:endParaRPr lang="en-US"/>
          </a:p>
        </p:txBody>
      </p:sp>
      <p:sp>
        <p:nvSpPr>
          <p:cNvPr id="6" name="Inhaltsplatzhalter 5">
            <a:extLst>
              <a:ext uri="{FF2B5EF4-FFF2-40B4-BE49-F238E27FC236}">
                <a16:creationId xmlns:a16="http://schemas.microsoft.com/office/drawing/2014/main" id="{A7C86C26-4362-6963-9B90-7AA23DE2CFFD}"/>
              </a:ext>
            </a:extLst>
          </p:cNvPr>
          <p:cNvSpPr>
            <a:spLocks noGrp="1"/>
          </p:cNvSpPr>
          <p:nvPr>
            <p:ph idx="11"/>
          </p:nvPr>
        </p:nvSpPr>
        <p:spPr/>
        <p:txBody>
          <a:bodyPr/>
          <a:lstStyle/>
          <a:p>
            <a:r>
              <a:rPr lang="en-US"/>
              <a:t>Annual Reports Uber, Lyft</a:t>
            </a:r>
          </a:p>
        </p:txBody>
      </p:sp>
      <p:sp>
        <p:nvSpPr>
          <p:cNvPr id="7" name="Inhaltsplatzhalter 6">
            <a:extLst>
              <a:ext uri="{FF2B5EF4-FFF2-40B4-BE49-F238E27FC236}">
                <a16:creationId xmlns:a16="http://schemas.microsoft.com/office/drawing/2014/main" id="{C3BE0EFA-37A6-1AAE-9238-A75FB08EEB3B}"/>
              </a:ext>
            </a:extLst>
          </p:cNvPr>
          <p:cNvSpPr>
            <a:spLocks noGrp="1"/>
          </p:cNvSpPr>
          <p:nvPr>
            <p:ph idx="12"/>
          </p:nvPr>
        </p:nvSpPr>
        <p:spPr/>
        <p:txBody>
          <a:bodyPr/>
          <a:lstStyle/>
          <a:p>
            <a:r>
              <a:rPr lang="en-US"/>
              <a:t>Corporate Lifecycle</a:t>
            </a:r>
          </a:p>
        </p:txBody>
      </p:sp>
      <p:graphicFrame>
        <p:nvGraphicFramePr>
          <p:cNvPr id="10" name="Diagramm 9">
            <a:extLst>
              <a:ext uri="{FF2B5EF4-FFF2-40B4-BE49-F238E27FC236}">
                <a16:creationId xmlns:a16="http://schemas.microsoft.com/office/drawing/2014/main" id="{DC5DE451-4FAD-8833-C61B-77EAD7E809C4}"/>
              </a:ext>
            </a:extLst>
          </p:cNvPr>
          <p:cNvGraphicFramePr>
            <a:graphicFrameLocks/>
          </p:cNvGraphicFramePr>
          <p:nvPr>
            <p:custDataLst>
              <p:tags r:id="rId2"/>
            </p:custDataLst>
          </p:nvPr>
        </p:nvGraphicFramePr>
        <p:xfrm>
          <a:off x="359997" y="2160270"/>
          <a:ext cx="5403240" cy="3935730"/>
        </p:xfrm>
        <a:graphic>
          <a:graphicData uri="http://schemas.openxmlformats.org/drawingml/2006/chart">
            <c:chart xmlns:c="http://schemas.openxmlformats.org/drawingml/2006/chart" xmlns:r="http://schemas.openxmlformats.org/officeDocument/2006/relationships" r:id="rId7"/>
          </a:graphicData>
        </a:graphic>
      </p:graphicFrame>
      <p:sp>
        <p:nvSpPr>
          <p:cNvPr id="13" name="Titel 1">
            <a:extLst>
              <a:ext uri="{FF2B5EF4-FFF2-40B4-BE49-F238E27FC236}">
                <a16:creationId xmlns:a16="http://schemas.microsoft.com/office/drawing/2014/main" id="{D388B387-A3E7-7EA1-9070-A31F6FA6879C}"/>
              </a:ext>
            </a:extLst>
          </p:cNvPr>
          <p:cNvSpPr>
            <a:spLocks noGrp="1"/>
          </p:cNvSpPr>
          <p:nvPr>
            <p:ph type="title"/>
          </p:nvPr>
        </p:nvSpPr>
        <p:spPr>
          <a:xfrm>
            <a:off x="359998" y="1268413"/>
            <a:ext cx="8568102" cy="646747"/>
          </a:xfrm>
        </p:spPr>
        <p:txBody>
          <a:bodyPr vert="horz"/>
          <a:lstStyle/>
          <a:p>
            <a:r>
              <a:rPr lang="en-US"/>
              <a:t>Uber spends significantly more per customer on advertising and marketing than its direct competitor Lyft</a:t>
            </a:r>
          </a:p>
        </p:txBody>
      </p:sp>
      <p:sp>
        <p:nvSpPr>
          <p:cNvPr id="14" name="Inhaltsplatzhalter 4">
            <a:extLst>
              <a:ext uri="{FF2B5EF4-FFF2-40B4-BE49-F238E27FC236}">
                <a16:creationId xmlns:a16="http://schemas.microsoft.com/office/drawing/2014/main" id="{52AA7DD2-BB60-7533-CCFE-8201A4BCA192}"/>
              </a:ext>
            </a:extLst>
          </p:cNvPr>
          <p:cNvSpPr txBox="1">
            <a:spLocks/>
          </p:cNvSpPr>
          <p:nvPr/>
        </p:nvSpPr>
        <p:spPr>
          <a:xfrm>
            <a:off x="359997" y="912307"/>
            <a:ext cx="8568103" cy="28466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baseline="0">
                <a:solidFill>
                  <a:schemeClr val="tx1"/>
                </a:solidFill>
                <a:latin typeface="+mn-lt"/>
                <a:ea typeface="+mn-ea"/>
                <a:cs typeface="+mn-cs"/>
              </a:defRPr>
            </a:lvl1pPr>
            <a:lvl2pPr marL="179388" marR="0" indent="-179388" algn="l" defTabSz="896938" rtl="0" eaLnBrk="1" fontAlgn="auto" latinLnBrk="0" hangingPunct="1">
              <a:lnSpc>
                <a:spcPct val="90000"/>
              </a:lnSpc>
              <a:spcBef>
                <a:spcPts val="500"/>
              </a:spcBef>
              <a:spcAft>
                <a:spcPts val="0"/>
              </a:spcAft>
              <a:buClrTx/>
              <a:buSzTx/>
              <a:buFont typeface="Arial" panose="020B0604020202020204" pitchFamily="34" charset="0"/>
              <a:buNone/>
              <a:tabLst/>
              <a:defRPr sz="1600" kern="1200" baseline="0">
                <a:solidFill>
                  <a:schemeClr val="tx1"/>
                </a:solidFill>
                <a:latin typeface="+mn-lt"/>
                <a:ea typeface="+mn-ea"/>
                <a:cs typeface="+mn-cs"/>
              </a:defRPr>
            </a:lvl2pPr>
            <a:lvl3pPr marL="358775"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Nonfinancial KPIs</a:t>
            </a:r>
          </a:p>
        </p:txBody>
      </p:sp>
      <p:sp>
        <p:nvSpPr>
          <p:cNvPr id="15" name="Textfeld 14">
            <a:extLst>
              <a:ext uri="{FF2B5EF4-FFF2-40B4-BE49-F238E27FC236}">
                <a16:creationId xmlns:a16="http://schemas.microsoft.com/office/drawing/2014/main" id="{4EC6CD5C-3F06-1053-82C1-D878CD59DEE3}"/>
              </a:ext>
            </a:extLst>
          </p:cNvPr>
          <p:cNvSpPr txBox="1"/>
          <p:nvPr/>
        </p:nvSpPr>
        <p:spPr>
          <a:xfrm>
            <a:off x="5763237" y="2823148"/>
            <a:ext cx="3164863" cy="2492990"/>
          </a:xfrm>
          <a:prstGeom prst="rect">
            <a:avLst/>
          </a:prstGeom>
          <a:noFill/>
        </p:spPr>
        <p:txBody>
          <a:bodyPr wrap="square" rtlCol="0">
            <a:spAutoFit/>
          </a:bodyPr>
          <a:lstStyle/>
          <a:p>
            <a:pPr marL="285750" indent="-285750">
              <a:buFont typeface="Arial" panose="020B0604020202020204" pitchFamily="34" charset="0"/>
              <a:buChar char="•"/>
            </a:pPr>
            <a:r>
              <a:rPr lang="en-US" sz="1200"/>
              <a:t>Uber and Lyft have invested heavily in advertising over the years, which emphasizes the importance of marketing in the passenger transport and food delivery industry</a:t>
            </a:r>
          </a:p>
          <a:p>
            <a:pPr marL="285750" indent="-285750">
              <a:buFont typeface="Arial" panose="020B0604020202020204" pitchFamily="34" charset="0"/>
              <a:buChar char="•"/>
            </a:pPr>
            <a:r>
              <a:rPr lang="en-US" sz="1200"/>
              <a:t>Uber spends nearly 50% more per Customer on Advertisement than Lyft</a:t>
            </a:r>
          </a:p>
          <a:p>
            <a:pPr marL="285750" indent="-285750">
              <a:buFont typeface="Arial" panose="020B0604020202020204" pitchFamily="34" charset="0"/>
              <a:buChar char="•"/>
            </a:pPr>
            <a:r>
              <a:rPr lang="en-US" sz="1200"/>
              <a:t>The steady advertising investments despite the fluctuations indicate that both companies see advertising as a critical factor for growth and market share in a highly competitive market</a:t>
            </a:r>
          </a:p>
          <a:p>
            <a:pPr marL="285750" indent="-285750">
              <a:buFont typeface="Arial" panose="020B0604020202020204" pitchFamily="34" charset="0"/>
              <a:buChar char="•"/>
            </a:pPr>
            <a:endParaRPr lang="en-US" sz="1200"/>
          </a:p>
        </p:txBody>
      </p:sp>
    </p:spTree>
    <p:extLst>
      <p:ext uri="{BB962C8B-B14F-4D97-AF65-F5344CB8AC3E}">
        <p14:creationId xmlns:p14="http://schemas.microsoft.com/office/powerpoint/2010/main" val="3238139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9E38067-268F-FDE5-DCF4-960123441D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10" name="think-cell data - do not delete" hidden="1">
                        <a:extLst>
                          <a:ext uri="{FF2B5EF4-FFF2-40B4-BE49-F238E27FC236}">
                            <a16:creationId xmlns:a16="http://schemas.microsoft.com/office/drawing/2014/main" id="{B9E38067-268F-FDE5-DCF4-960123441D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7AC58F6-482D-1F5B-F425-A94C8B9381D3}"/>
              </a:ext>
            </a:extLst>
          </p:cNvPr>
          <p:cNvSpPr>
            <a:spLocks noGrp="1"/>
          </p:cNvSpPr>
          <p:nvPr>
            <p:ph type="title"/>
          </p:nvPr>
        </p:nvSpPr>
        <p:spPr/>
        <p:txBody>
          <a:bodyPr vert="horz"/>
          <a:lstStyle/>
          <a:p>
            <a:r>
              <a:rPr lang="en-US"/>
              <a:t>Uber is the first company in the industry to reach a positive operational cash-flow highlighting its slow transition into maturity</a:t>
            </a:r>
          </a:p>
        </p:txBody>
      </p:sp>
      <p:sp>
        <p:nvSpPr>
          <p:cNvPr id="4" name="Foliennummernplatzhalter 3">
            <a:extLst>
              <a:ext uri="{FF2B5EF4-FFF2-40B4-BE49-F238E27FC236}">
                <a16:creationId xmlns:a16="http://schemas.microsoft.com/office/drawing/2014/main" id="{1967844B-23F1-38A8-FC1C-34DCE16FC847}"/>
              </a:ext>
            </a:extLst>
          </p:cNvPr>
          <p:cNvSpPr>
            <a:spLocks noGrp="1"/>
          </p:cNvSpPr>
          <p:nvPr>
            <p:ph type="sldNum" sz="quarter" idx="4"/>
          </p:nvPr>
        </p:nvSpPr>
        <p:spPr/>
        <p:txBody>
          <a:bodyPr/>
          <a:lstStyle/>
          <a:p>
            <a:fld id="{BAF04893-69FB-435D-AB2E-CA259D85B32F}" type="slidenum">
              <a:rPr lang="en-US" smtClean="0"/>
              <a:pPr/>
              <a:t>34</a:t>
            </a:fld>
            <a:endParaRPr lang="en-US"/>
          </a:p>
        </p:txBody>
      </p:sp>
      <p:sp>
        <p:nvSpPr>
          <p:cNvPr id="5" name="Inhaltsplatzhalter 4">
            <a:extLst>
              <a:ext uri="{FF2B5EF4-FFF2-40B4-BE49-F238E27FC236}">
                <a16:creationId xmlns:a16="http://schemas.microsoft.com/office/drawing/2014/main" id="{52767825-D0AC-3C6C-9E29-8E3EEB24E48F}"/>
              </a:ext>
            </a:extLst>
          </p:cNvPr>
          <p:cNvSpPr>
            <a:spLocks noGrp="1"/>
          </p:cNvSpPr>
          <p:nvPr>
            <p:ph idx="10"/>
          </p:nvPr>
        </p:nvSpPr>
        <p:spPr/>
        <p:txBody>
          <a:bodyPr/>
          <a:lstStyle/>
          <a:p>
            <a:r>
              <a:rPr lang="en-US"/>
              <a:t>Cashflow</a:t>
            </a:r>
          </a:p>
        </p:txBody>
      </p:sp>
      <p:sp>
        <p:nvSpPr>
          <p:cNvPr id="6" name="Inhaltsplatzhalter 5">
            <a:extLst>
              <a:ext uri="{FF2B5EF4-FFF2-40B4-BE49-F238E27FC236}">
                <a16:creationId xmlns:a16="http://schemas.microsoft.com/office/drawing/2014/main" id="{3435E704-5FB6-D280-72B0-F62D4504859B}"/>
              </a:ext>
            </a:extLst>
          </p:cNvPr>
          <p:cNvSpPr>
            <a:spLocks noGrp="1"/>
          </p:cNvSpPr>
          <p:nvPr>
            <p:ph idx="11"/>
          </p:nvPr>
        </p:nvSpPr>
        <p:spPr/>
        <p:txBody>
          <a:bodyPr/>
          <a:lstStyle/>
          <a:p>
            <a:r>
              <a:rPr lang="en-US">
                <a:hlinkClick r:id="rId7"/>
              </a:rPr>
              <a:t>Reuters (2022)</a:t>
            </a:r>
            <a:r>
              <a:rPr lang="en-US"/>
              <a:t>, Annual Reports Uber, Lyft, Grab</a:t>
            </a:r>
          </a:p>
        </p:txBody>
      </p:sp>
      <p:sp>
        <p:nvSpPr>
          <p:cNvPr id="7" name="Inhaltsplatzhalter 6">
            <a:extLst>
              <a:ext uri="{FF2B5EF4-FFF2-40B4-BE49-F238E27FC236}">
                <a16:creationId xmlns:a16="http://schemas.microsoft.com/office/drawing/2014/main" id="{88F653BC-5732-0F65-02FA-FAD594233B83}"/>
              </a:ext>
            </a:extLst>
          </p:cNvPr>
          <p:cNvSpPr>
            <a:spLocks noGrp="1"/>
          </p:cNvSpPr>
          <p:nvPr>
            <p:ph idx="12"/>
          </p:nvPr>
        </p:nvSpPr>
        <p:spPr/>
        <p:txBody>
          <a:bodyPr/>
          <a:lstStyle/>
          <a:p>
            <a:r>
              <a:rPr lang="en-US"/>
              <a:t>Corporate Lifecycle</a:t>
            </a:r>
          </a:p>
        </p:txBody>
      </p:sp>
      <p:graphicFrame>
        <p:nvGraphicFramePr>
          <p:cNvPr id="8" name="Diagramm 7">
            <a:extLst>
              <a:ext uri="{FF2B5EF4-FFF2-40B4-BE49-F238E27FC236}">
                <a16:creationId xmlns:a16="http://schemas.microsoft.com/office/drawing/2014/main" id="{366FE105-6C97-828F-6DA3-02E1165C41BE}"/>
              </a:ext>
            </a:extLst>
          </p:cNvPr>
          <p:cNvGraphicFramePr>
            <a:graphicFrameLocks/>
          </p:cNvGraphicFramePr>
          <p:nvPr>
            <p:custDataLst>
              <p:tags r:id="rId2"/>
            </p:custDataLst>
          </p:nvPr>
        </p:nvGraphicFramePr>
        <p:xfrm>
          <a:off x="359997" y="2057399"/>
          <a:ext cx="4572000" cy="4124325"/>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feld 8">
            <a:extLst>
              <a:ext uri="{FF2B5EF4-FFF2-40B4-BE49-F238E27FC236}">
                <a16:creationId xmlns:a16="http://schemas.microsoft.com/office/drawing/2014/main" id="{BD66EC98-2340-D749-4EF0-AA98F214DBD9}"/>
              </a:ext>
            </a:extLst>
          </p:cNvPr>
          <p:cNvSpPr txBox="1"/>
          <p:nvPr/>
        </p:nvSpPr>
        <p:spPr>
          <a:xfrm>
            <a:off x="5136078" y="2092671"/>
            <a:ext cx="3792022" cy="3970318"/>
          </a:xfrm>
          <a:prstGeom prst="rect">
            <a:avLst/>
          </a:prstGeom>
          <a:noFill/>
        </p:spPr>
        <p:txBody>
          <a:bodyPr wrap="square" rtlCol="0">
            <a:spAutoFit/>
          </a:bodyPr>
          <a:lstStyle/>
          <a:p>
            <a:pPr marL="285750" indent="-285750">
              <a:buFont typeface="Arial" panose="020B0604020202020204" pitchFamily="34" charset="0"/>
              <a:buChar char="•"/>
            </a:pPr>
            <a:r>
              <a:rPr lang="en-US" sz="1200" b="1"/>
              <a:t>Operational Cash Flow</a:t>
            </a:r>
            <a:r>
              <a:rPr lang="en-US" sz="1200"/>
              <a:t>: Reflects the amount of cash generated or used by the company's core business operations. It is a key indicator of financial health</a:t>
            </a:r>
          </a:p>
          <a:p>
            <a:pPr marL="285750" indent="-285750">
              <a:buFont typeface="Arial" panose="020B0604020202020204" pitchFamily="34" charset="0"/>
              <a:buChar char="•"/>
            </a:pPr>
            <a:r>
              <a:rPr lang="en-US" sz="1200" b="1"/>
              <a:t>Negative Cash Flow</a:t>
            </a:r>
            <a:r>
              <a:rPr lang="en-US" sz="1200"/>
              <a:t>: All three companies, had a negative Cash Flow in the last years, this means that they spend more cash than they are generating in their operations, which indicates the need for additional capital or financing to maintain business activities</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Uber achieved a positive Cashflow for the first time in its history in 2022 this is achieved due to different reasons</a:t>
            </a:r>
          </a:p>
          <a:p>
            <a:pPr marL="285750" indent="-285750">
              <a:buFont typeface="Arial" panose="020B0604020202020204" pitchFamily="34" charset="0"/>
              <a:buChar char="•"/>
            </a:pPr>
            <a:r>
              <a:rPr lang="en-US" sz="1200" b="1"/>
              <a:t>Increased Demand:</a:t>
            </a:r>
            <a:r>
              <a:rPr lang="en-US" sz="1200"/>
              <a:t> There was a surge in demand for both transport and food delivery services as trips exceeded pre-pandemic levels, driven by office reopenings and increased travel demand​</a:t>
            </a:r>
          </a:p>
          <a:p>
            <a:pPr marL="285750" indent="-285750">
              <a:buFont typeface="Arial" panose="020B0604020202020204" pitchFamily="34" charset="0"/>
              <a:buChar char="•"/>
            </a:pPr>
            <a:r>
              <a:rPr lang="en-US" sz="1200" b="1"/>
              <a:t>Expansion of Workforce</a:t>
            </a:r>
            <a:r>
              <a:rPr lang="en-US" sz="1200"/>
              <a:t>: Uber expanded its number of drivers and delivery agents to an all-time high of about 5 million, which helped meet the growing demand</a:t>
            </a:r>
          </a:p>
        </p:txBody>
      </p:sp>
    </p:spTree>
    <p:extLst>
      <p:ext uri="{BB962C8B-B14F-4D97-AF65-F5344CB8AC3E}">
        <p14:creationId xmlns:p14="http://schemas.microsoft.com/office/powerpoint/2010/main" val="31868269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8C95266A-8CA4-1F1B-594E-5045D7697A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4" name="think-cell data - do not delete" hidden="1">
                        <a:extLst>
                          <a:ext uri="{FF2B5EF4-FFF2-40B4-BE49-F238E27FC236}">
                            <a16:creationId xmlns:a16="http://schemas.microsoft.com/office/drawing/2014/main" id="{8C95266A-8CA4-1F1B-594E-5045D7697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72182B-31C1-FF77-9E79-FCB1B8B10761}"/>
              </a:ext>
            </a:extLst>
          </p:cNvPr>
          <p:cNvSpPr>
            <a:spLocks noGrp="1"/>
          </p:cNvSpPr>
          <p:nvPr>
            <p:ph type="title"/>
          </p:nvPr>
        </p:nvSpPr>
        <p:spPr/>
        <p:txBody>
          <a:bodyPr vert="horz"/>
          <a:lstStyle/>
          <a:p>
            <a:r>
              <a:rPr lang="en-US"/>
              <a:t>Uber faces numerous future challenges through its wide diversification and a huge number of different stakeholders</a:t>
            </a:r>
          </a:p>
        </p:txBody>
      </p:sp>
      <p:sp>
        <p:nvSpPr>
          <p:cNvPr id="4" name="Foliennummernplatzhalter 3">
            <a:extLst>
              <a:ext uri="{FF2B5EF4-FFF2-40B4-BE49-F238E27FC236}">
                <a16:creationId xmlns:a16="http://schemas.microsoft.com/office/drawing/2014/main" id="{78C85E50-A6D5-B9C5-4EB2-DC64E52D9E7A}"/>
              </a:ext>
            </a:extLst>
          </p:cNvPr>
          <p:cNvSpPr>
            <a:spLocks noGrp="1"/>
          </p:cNvSpPr>
          <p:nvPr>
            <p:ph type="sldNum" sz="quarter" idx="4"/>
          </p:nvPr>
        </p:nvSpPr>
        <p:spPr/>
        <p:txBody>
          <a:bodyPr/>
          <a:lstStyle/>
          <a:p>
            <a:fld id="{BAF04893-69FB-435D-AB2E-CA259D85B32F}" type="slidenum">
              <a:rPr lang="en-US" smtClean="0"/>
              <a:pPr/>
              <a:t>35</a:t>
            </a:fld>
            <a:endParaRPr lang="en-US"/>
          </a:p>
        </p:txBody>
      </p:sp>
      <p:sp>
        <p:nvSpPr>
          <p:cNvPr id="5" name="Inhaltsplatzhalter 4">
            <a:extLst>
              <a:ext uri="{FF2B5EF4-FFF2-40B4-BE49-F238E27FC236}">
                <a16:creationId xmlns:a16="http://schemas.microsoft.com/office/drawing/2014/main" id="{9486F3EE-2B70-B251-324A-E1D1C27A4CFE}"/>
              </a:ext>
            </a:extLst>
          </p:cNvPr>
          <p:cNvSpPr>
            <a:spLocks noGrp="1"/>
          </p:cNvSpPr>
          <p:nvPr>
            <p:ph idx="10"/>
          </p:nvPr>
        </p:nvSpPr>
        <p:spPr/>
        <p:txBody>
          <a:bodyPr/>
          <a:lstStyle/>
          <a:p>
            <a:r>
              <a:rPr lang="en-US"/>
              <a:t>Future Challenges</a:t>
            </a:r>
          </a:p>
        </p:txBody>
      </p:sp>
      <p:sp>
        <p:nvSpPr>
          <p:cNvPr id="6" name="Inhaltsplatzhalter 5">
            <a:extLst>
              <a:ext uri="{FF2B5EF4-FFF2-40B4-BE49-F238E27FC236}">
                <a16:creationId xmlns:a16="http://schemas.microsoft.com/office/drawing/2014/main" id="{50D3D900-82E1-0DD1-2031-683008E4F1A1}"/>
              </a:ext>
            </a:extLst>
          </p:cNvPr>
          <p:cNvSpPr>
            <a:spLocks noGrp="1"/>
          </p:cNvSpPr>
          <p:nvPr>
            <p:ph idx="11"/>
          </p:nvPr>
        </p:nvSpPr>
        <p:spPr/>
        <p:txBody>
          <a:bodyPr/>
          <a:lstStyle/>
          <a:p>
            <a:r>
              <a:rPr lang="en-US"/>
              <a:t>Own Representation</a:t>
            </a:r>
          </a:p>
        </p:txBody>
      </p:sp>
      <p:sp>
        <p:nvSpPr>
          <p:cNvPr id="7" name="Inhaltsplatzhalter 6">
            <a:extLst>
              <a:ext uri="{FF2B5EF4-FFF2-40B4-BE49-F238E27FC236}">
                <a16:creationId xmlns:a16="http://schemas.microsoft.com/office/drawing/2014/main" id="{AAE17D09-DD17-6E31-4C5C-DD789F8E683D}"/>
              </a:ext>
            </a:extLst>
          </p:cNvPr>
          <p:cNvSpPr>
            <a:spLocks noGrp="1"/>
          </p:cNvSpPr>
          <p:nvPr>
            <p:ph idx="12"/>
          </p:nvPr>
        </p:nvSpPr>
        <p:spPr/>
        <p:txBody>
          <a:bodyPr/>
          <a:lstStyle/>
          <a:p>
            <a:r>
              <a:rPr lang="en-US"/>
              <a:t>Corporate Lifecycle</a:t>
            </a:r>
          </a:p>
          <a:p>
            <a:endParaRPr lang="en-US"/>
          </a:p>
        </p:txBody>
      </p:sp>
      <p:grpSp>
        <p:nvGrpSpPr>
          <p:cNvPr id="8" name="Group 1">
            <a:extLst>
              <a:ext uri="{FF2B5EF4-FFF2-40B4-BE49-F238E27FC236}">
                <a16:creationId xmlns:a16="http://schemas.microsoft.com/office/drawing/2014/main" id="{5E7BCB16-B0B9-35AC-362A-8AFCDAE2C28C}"/>
              </a:ext>
            </a:extLst>
          </p:cNvPr>
          <p:cNvGrpSpPr/>
          <p:nvPr/>
        </p:nvGrpSpPr>
        <p:grpSpPr>
          <a:xfrm>
            <a:off x="628650" y="2060044"/>
            <a:ext cx="7886700" cy="1428315"/>
            <a:chOff x="623392" y="1472067"/>
            <a:chExt cx="11045694" cy="1447594"/>
          </a:xfrm>
        </p:grpSpPr>
        <p:sp>
          <p:nvSpPr>
            <p:cNvPr id="9" name="Rectangle 17">
              <a:extLst>
                <a:ext uri="{FF2B5EF4-FFF2-40B4-BE49-F238E27FC236}">
                  <a16:creationId xmlns:a16="http://schemas.microsoft.com/office/drawing/2014/main" id="{C867EA65-7F34-F611-1E05-B2FA229C8DC3}"/>
                </a:ext>
              </a:extLst>
            </p:cNvPr>
            <p:cNvSpPr/>
            <p:nvPr/>
          </p:nvSpPr>
          <p:spPr>
            <a:xfrm>
              <a:off x="623392" y="1610857"/>
              <a:ext cx="11045694" cy="130880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Market Saturation</a:t>
              </a:r>
              <a:r>
                <a:rPr lang="en-US" sz="1200" kern="0">
                  <a:solidFill>
                    <a:schemeClr val="tx1"/>
                  </a:solidFill>
                </a:rPr>
                <a:t>: With the largest share of revenue coming from the US &amp; Canada, Uber might find it challenging to grow in these markets due to saturation</a:t>
              </a:r>
            </a:p>
            <a:p>
              <a:pPr marL="214313" indent="-214313" defTabSz="685800">
                <a:buFont typeface="Arial" panose="020B0604020202020204" pitchFamily="34" charset="0"/>
                <a:buChar char="•"/>
                <a:defRPr/>
              </a:pPr>
              <a:r>
                <a:rPr lang="en-US" sz="1200" b="1" kern="0">
                  <a:solidFill>
                    <a:schemeClr val="tx1"/>
                  </a:solidFill>
                </a:rPr>
                <a:t>Competition</a:t>
              </a:r>
              <a:r>
                <a:rPr lang="en-US" sz="1200" kern="0">
                  <a:solidFill>
                    <a:schemeClr val="tx1"/>
                  </a:solidFill>
                </a:rPr>
                <a:t>: In regions like Latin America, Uber faces significant competition, which has already led to the cessation of certain operations, such as Uber Eats in Brazil</a:t>
              </a:r>
            </a:p>
            <a:p>
              <a:pPr marL="214313" indent="-214313" defTabSz="685800">
                <a:buFont typeface="Arial" panose="020B0604020202020204" pitchFamily="34" charset="0"/>
                <a:buChar char="•"/>
                <a:defRPr/>
              </a:pPr>
              <a:r>
                <a:rPr lang="en-US" sz="1200" b="1" kern="0">
                  <a:solidFill>
                    <a:schemeClr val="tx1"/>
                  </a:solidFill>
                </a:rPr>
                <a:t>Regulatory Hurdles</a:t>
              </a:r>
              <a:r>
                <a:rPr lang="en-US" sz="1200" kern="0">
                  <a:solidFill>
                    <a:schemeClr val="tx1"/>
                  </a:solidFill>
                </a:rPr>
                <a:t>: Government regulations can be a major barrier, as seen with Uber's exit from Colombia after failing to comply with competition norms</a:t>
              </a:r>
            </a:p>
          </p:txBody>
        </p:sp>
        <p:sp>
          <p:nvSpPr>
            <p:cNvPr id="10" name="Rectangle 18">
              <a:extLst>
                <a:ext uri="{FF2B5EF4-FFF2-40B4-BE49-F238E27FC236}">
                  <a16:creationId xmlns:a16="http://schemas.microsoft.com/office/drawing/2014/main" id="{9CD438C4-9A6D-81A7-AF20-DA4D736D3DCD}"/>
                </a:ext>
              </a:extLst>
            </p:cNvPr>
            <p:cNvSpPr/>
            <p:nvPr/>
          </p:nvSpPr>
          <p:spPr>
            <a:xfrm>
              <a:off x="986498" y="1472067"/>
              <a:ext cx="1731390"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tx1"/>
                  </a:solidFill>
                </a:rPr>
                <a:t>Global Expansion</a:t>
              </a:r>
            </a:p>
          </p:txBody>
        </p:sp>
      </p:grpSp>
      <p:grpSp>
        <p:nvGrpSpPr>
          <p:cNvPr id="11" name="Group 1">
            <a:extLst>
              <a:ext uri="{FF2B5EF4-FFF2-40B4-BE49-F238E27FC236}">
                <a16:creationId xmlns:a16="http://schemas.microsoft.com/office/drawing/2014/main" id="{E6216CC0-9196-426A-86FA-AFA3FB7FF6FF}"/>
              </a:ext>
            </a:extLst>
          </p:cNvPr>
          <p:cNvGrpSpPr/>
          <p:nvPr/>
        </p:nvGrpSpPr>
        <p:grpSpPr>
          <a:xfrm>
            <a:off x="628650" y="3490322"/>
            <a:ext cx="7886700" cy="1507636"/>
            <a:chOff x="623392" y="1472067"/>
            <a:chExt cx="11045694" cy="1447594"/>
          </a:xfrm>
        </p:grpSpPr>
        <p:sp>
          <p:nvSpPr>
            <p:cNvPr id="12" name="Rectangle 17">
              <a:extLst>
                <a:ext uri="{FF2B5EF4-FFF2-40B4-BE49-F238E27FC236}">
                  <a16:creationId xmlns:a16="http://schemas.microsoft.com/office/drawing/2014/main" id="{446EE83E-9EFA-8F56-0DE0-7713D25DB83E}"/>
                </a:ext>
              </a:extLst>
            </p:cNvPr>
            <p:cNvSpPr/>
            <p:nvPr/>
          </p:nvSpPr>
          <p:spPr>
            <a:xfrm>
              <a:off x="623392" y="1610857"/>
              <a:ext cx="11045694" cy="1308804"/>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Dependence on Core Ride-Sharing Business</a:t>
              </a:r>
              <a:r>
                <a:rPr lang="en-US" sz="1200" kern="0">
                  <a:solidFill>
                    <a:schemeClr val="tx1"/>
                  </a:solidFill>
                </a:rPr>
                <a:t>: Despite diversification, Uber still relies significantly on its traditional ride-sharing business, which is showing a declining revenue share. Any further disruptions in this sector pose a risk to overall revenue</a:t>
              </a:r>
            </a:p>
            <a:p>
              <a:pPr marL="214313" indent="-214313" defTabSz="685800">
                <a:buFont typeface="Arial" panose="020B0604020202020204" pitchFamily="34" charset="0"/>
                <a:buChar char="•"/>
                <a:defRPr/>
              </a:pPr>
              <a:r>
                <a:rPr lang="en-US" sz="1200" b="1" kern="0">
                  <a:solidFill>
                    <a:schemeClr val="tx1"/>
                  </a:solidFill>
                </a:rPr>
                <a:t>Logistics and Freight Market Vulnerabilities</a:t>
              </a:r>
              <a:r>
                <a:rPr lang="en-US" sz="1200" kern="0">
                  <a:solidFill>
                    <a:schemeClr val="tx1"/>
                  </a:solidFill>
                </a:rPr>
                <a:t>: Although Uber Freight is growing, the freight and logistics industry is known for its volatility, influenced by economic cycles and fuel prices, which could affect Uber Freight's performance</a:t>
              </a:r>
            </a:p>
          </p:txBody>
        </p:sp>
        <p:sp>
          <p:nvSpPr>
            <p:cNvPr id="13" name="Rectangle 18">
              <a:extLst>
                <a:ext uri="{FF2B5EF4-FFF2-40B4-BE49-F238E27FC236}">
                  <a16:creationId xmlns:a16="http://schemas.microsoft.com/office/drawing/2014/main" id="{960E97D2-FFA1-760D-8C01-CECCCCCFC832}"/>
                </a:ext>
              </a:extLst>
            </p:cNvPr>
            <p:cNvSpPr/>
            <p:nvPr/>
          </p:nvSpPr>
          <p:spPr>
            <a:xfrm>
              <a:off x="986498" y="1472067"/>
              <a:ext cx="1508665"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accent1"/>
                  </a:solidFill>
                </a:rPr>
                <a:t>Business Units</a:t>
              </a:r>
            </a:p>
          </p:txBody>
        </p:sp>
      </p:grpSp>
      <p:grpSp>
        <p:nvGrpSpPr>
          <p:cNvPr id="23" name="Group 1">
            <a:extLst>
              <a:ext uri="{FF2B5EF4-FFF2-40B4-BE49-F238E27FC236}">
                <a16:creationId xmlns:a16="http://schemas.microsoft.com/office/drawing/2014/main" id="{F48B6A3F-9A11-77FE-70A7-305B2C384DC2}"/>
              </a:ext>
            </a:extLst>
          </p:cNvPr>
          <p:cNvGrpSpPr/>
          <p:nvPr/>
        </p:nvGrpSpPr>
        <p:grpSpPr>
          <a:xfrm>
            <a:off x="643177" y="5142104"/>
            <a:ext cx="7886700" cy="1128071"/>
            <a:chOff x="623392" y="1472067"/>
            <a:chExt cx="11045694" cy="1447594"/>
          </a:xfrm>
        </p:grpSpPr>
        <p:sp>
          <p:nvSpPr>
            <p:cNvPr id="24" name="Rectangle 17">
              <a:extLst>
                <a:ext uri="{FF2B5EF4-FFF2-40B4-BE49-F238E27FC236}">
                  <a16:creationId xmlns:a16="http://schemas.microsoft.com/office/drawing/2014/main" id="{BA85A580-1AD9-B290-0631-FB4BEA225026}"/>
                </a:ext>
              </a:extLst>
            </p:cNvPr>
            <p:cNvSpPr/>
            <p:nvPr/>
          </p:nvSpPr>
          <p:spPr>
            <a:xfrm>
              <a:off x="623392" y="1610857"/>
              <a:ext cx="11045694" cy="1308804"/>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Sustainability of Positive Cash Flow</a:t>
              </a:r>
              <a:r>
                <a:rPr lang="en-US" sz="1200" kern="0">
                  <a:solidFill>
                    <a:schemeClr val="tx1"/>
                  </a:solidFill>
                </a:rPr>
                <a:t>: Uber's positive cash flow in 2022 needs to be sustainable. If it's the result of temporary factors, there's a risk it might not be maintained in subsequent years</a:t>
              </a:r>
            </a:p>
            <a:p>
              <a:pPr marL="214313" indent="-214313" defTabSz="685800">
                <a:buFont typeface="Arial" panose="020B0604020202020204" pitchFamily="34" charset="0"/>
                <a:buChar char="•"/>
                <a:defRPr/>
              </a:pPr>
              <a:r>
                <a:rPr lang="en-US" sz="1200" b="1" kern="0">
                  <a:solidFill>
                    <a:schemeClr val="tx1"/>
                  </a:solidFill>
                </a:rPr>
                <a:t>Dependency on Market Conditions</a:t>
              </a:r>
              <a:r>
                <a:rPr lang="en-US" sz="1200" kern="0">
                  <a:solidFill>
                    <a:schemeClr val="tx1"/>
                  </a:solidFill>
                </a:rPr>
                <a:t>: The improvement in cash flow appears to be due to increased demand as the economy reopens post-pandemic. Any economic downturn or pandemic resurgence could negatively impact cash flow</a:t>
              </a:r>
            </a:p>
          </p:txBody>
        </p:sp>
        <p:sp>
          <p:nvSpPr>
            <p:cNvPr id="25" name="Rectangle 18">
              <a:extLst>
                <a:ext uri="{FF2B5EF4-FFF2-40B4-BE49-F238E27FC236}">
                  <a16:creationId xmlns:a16="http://schemas.microsoft.com/office/drawing/2014/main" id="{9F909532-97B1-DF8D-B75C-F2FDE26ADA71}"/>
                </a:ext>
              </a:extLst>
            </p:cNvPr>
            <p:cNvSpPr/>
            <p:nvPr/>
          </p:nvSpPr>
          <p:spPr>
            <a:xfrm>
              <a:off x="986498" y="1472067"/>
              <a:ext cx="1138327"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accent2"/>
                  </a:solidFill>
                </a:rPr>
                <a:t>Cash Flow</a:t>
              </a:r>
            </a:p>
          </p:txBody>
        </p:sp>
      </p:grpSp>
    </p:spTree>
    <p:extLst>
      <p:ext uri="{BB962C8B-B14F-4D97-AF65-F5344CB8AC3E}">
        <p14:creationId xmlns:p14="http://schemas.microsoft.com/office/powerpoint/2010/main" val="41427606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6CF98E9-332C-1081-2DCB-29582EB4F4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1" name="think-cell data - do not delete" hidden="1">
                        <a:extLst>
                          <a:ext uri="{FF2B5EF4-FFF2-40B4-BE49-F238E27FC236}">
                            <a16:creationId xmlns:a16="http://schemas.microsoft.com/office/drawing/2014/main" id="{06CF98E9-332C-1081-2DCB-29582EB4F4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3E63FB-288F-A0E3-A56C-2B7710F6C125}"/>
              </a:ext>
            </a:extLst>
          </p:cNvPr>
          <p:cNvSpPr>
            <a:spLocks noGrp="1"/>
          </p:cNvSpPr>
          <p:nvPr>
            <p:ph type="title"/>
          </p:nvPr>
        </p:nvSpPr>
        <p:spPr/>
        <p:txBody>
          <a:bodyPr vert="horz"/>
          <a:lstStyle/>
          <a:p>
            <a:r>
              <a:rPr lang="en-US"/>
              <a:t>Uber has to find ways to implement itself in already established markets with strong established competitors</a:t>
            </a:r>
          </a:p>
        </p:txBody>
      </p:sp>
      <p:sp>
        <p:nvSpPr>
          <p:cNvPr id="4" name="Foliennummernplatzhalter 3">
            <a:extLst>
              <a:ext uri="{FF2B5EF4-FFF2-40B4-BE49-F238E27FC236}">
                <a16:creationId xmlns:a16="http://schemas.microsoft.com/office/drawing/2014/main" id="{247A0EDA-1CC4-0780-6E5E-B1EEC3BF0ACC}"/>
              </a:ext>
            </a:extLst>
          </p:cNvPr>
          <p:cNvSpPr>
            <a:spLocks noGrp="1"/>
          </p:cNvSpPr>
          <p:nvPr>
            <p:ph type="sldNum" sz="quarter" idx="4"/>
          </p:nvPr>
        </p:nvSpPr>
        <p:spPr/>
        <p:txBody>
          <a:bodyPr/>
          <a:lstStyle/>
          <a:p>
            <a:fld id="{BAF04893-69FB-435D-AB2E-CA259D85B32F}" type="slidenum">
              <a:rPr lang="en-US" smtClean="0"/>
              <a:pPr/>
              <a:t>36</a:t>
            </a:fld>
            <a:endParaRPr lang="en-US"/>
          </a:p>
        </p:txBody>
      </p:sp>
      <p:sp>
        <p:nvSpPr>
          <p:cNvPr id="5" name="Inhaltsplatzhalter 4">
            <a:extLst>
              <a:ext uri="{FF2B5EF4-FFF2-40B4-BE49-F238E27FC236}">
                <a16:creationId xmlns:a16="http://schemas.microsoft.com/office/drawing/2014/main" id="{1C418AE1-7623-878A-CCE1-E41FABC09278}"/>
              </a:ext>
            </a:extLst>
          </p:cNvPr>
          <p:cNvSpPr>
            <a:spLocks noGrp="1"/>
          </p:cNvSpPr>
          <p:nvPr>
            <p:ph idx="10"/>
          </p:nvPr>
        </p:nvSpPr>
        <p:spPr/>
        <p:txBody>
          <a:bodyPr/>
          <a:lstStyle/>
          <a:p>
            <a:r>
              <a:rPr lang="en-US"/>
              <a:t>Future Challenges</a:t>
            </a:r>
          </a:p>
          <a:p>
            <a:endParaRPr lang="en-US"/>
          </a:p>
        </p:txBody>
      </p:sp>
      <p:sp>
        <p:nvSpPr>
          <p:cNvPr id="6" name="Inhaltsplatzhalter 5">
            <a:extLst>
              <a:ext uri="{FF2B5EF4-FFF2-40B4-BE49-F238E27FC236}">
                <a16:creationId xmlns:a16="http://schemas.microsoft.com/office/drawing/2014/main" id="{B7E31F5B-AF71-70A6-601A-627D865C954C}"/>
              </a:ext>
            </a:extLst>
          </p:cNvPr>
          <p:cNvSpPr>
            <a:spLocks noGrp="1"/>
          </p:cNvSpPr>
          <p:nvPr>
            <p:ph idx="11"/>
          </p:nvPr>
        </p:nvSpPr>
        <p:spPr/>
        <p:txBody>
          <a:bodyPr/>
          <a:lstStyle/>
          <a:p>
            <a:r>
              <a:rPr lang="en-US"/>
              <a:t>Own Representation</a:t>
            </a:r>
          </a:p>
        </p:txBody>
      </p:sp>
      <p:sp>
        <p:nvSpPr>
          <p:cNvPr id="7" name="Inhaltsplatzhalter 6">
            <a:extLst>
              <a:ext uri="{FF2B5EF4-FFF2-40B4-BE49-F238E27FC236}">
                <a16:creationId xmlns:a16="http://schemas.microsoft.com/office/drawing/2014/main" id="{E73271B2-7EC2-52A5-FEC1-D5FF0C4D2DA3}"/>
              </a:ext>
            </a:extLst>
          </p:cNvPr>
          <p:cNvSpPr>
            <a:spLocks noGrp="1"/>
          </p:cNvSpPr>
          <p:nvPr>
            <p:ph idx="12"/>
          </p:nvPr>
        </p:nvSpPr>
        <p:spPr/>
        <p:txBody>
          <a:bodyPr/>
          <a:lstStyle/>
          <a:p>
            <a:r>
              <a:rPr lang="en-US"/>
              <a:t>Corporate Lifecycle</a:t>
            </a:r>
          </a:p>
          <a:p>
            <a:endParaRPr lang="en-US"/>
          </a:p>
        </p:txBody>
      </p:sp>
      <p:grpSp>
        <p:nvGrpSpPr>
          <p:cNvPr id="8" name="Group 1">
            <a:extLst>
              <a:ext uri="{FF2B5EF4-FFF2-40B4-BE49-F238E27FC236}">
                <a16:creationId xmlns:a16="http://schemas.microsoft.com/office/drawing/2014/main" id="{6ADED41D-497D-E138-5DBB-7DBBD0E9FC90}"/>
              </a:ext>
            </a:extLst>
          </p:cNvPr>
          <p:cNvGrpSpPr/>
          <p:nvPr/>
        </p:nvGrpSpPr>
        <p:grpSpPr>
          <a:xfrm>
            <a:off x="643177" y="2093154"/>
            <a:ext cx="7886700" cy="1507636"/>
            <a:chOff x="623392" y="1472067"/>
            <a:chExt cx="11045694" cy="1447594"/>
          </a:xfrm>
        </p:grpSpPr>
        <p:sp>
          <p:nvSpPr>
            <p:cNvPr id="9" name="Rectangle 17">
              <a:extLst>
                <a:ext uri="{FF2B5EF4-FFF2-40B4-BE49-F238E27FC236}">
                  <a16:creationId xmlns:a16="http://schemas.microsoft.com/office/drawing/2014/main" id="{1257A2ED-9415-2305-122E-347F7F42B972}"/>
                </a:ext>
              </a:extLst>
            </p:cNvPr>
            <p:cNvSpPr/>
            <p:nvPr/>
          </p:nvSpPr>
          <p:spPr>
            <a:xfrm>
              <a:off x="623392" y="1610857"/>
              <a:ext cx="11045694" cy="130880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Market Competition</a:t>
              </a:r>
              <a:r>
                <a:rPr lang="en-US" sz="1200" kern="0">
                  <a:solidFill>
                    <a:schemeClr val="tx1"/>
                  </a:solidFill>
                </a:rPr>
                <a:t>: With other ride service providers like Lyft, Grab, Ola, and Didi Chuxing in the market, Uber faces significant competition, which could lead to price wars, reduced margins, and a potential loss of market share if these competitors innovate or offer lower prices</a:t>
              </a:r>
            </a:p>
            <a:p>
              <a:pPr marL="214313" indent="-214313" defTabSz="685800">
                <a:buFont typeface="Arial" panose="020B0604020202020204" pitchFamily="34" charset="0"/>
                <a:buChar char="•"/>
                <a:defRPr/>
              </a:pPr>
              <a:r>
                <a:rPr lang="en-US" sz="1200" b="1" kern="0">
                  <a:solidFill>
                    <a:schemeClr val="tx1"/>
                  </a:solidFill>
                </a:rPr>
                <a:t>Global Market Dynamics</a:t>
              </a:r>
              <a:r>
                <a:rPr lang="en-US" sz="1200" kern="0">
                  <a:solidFill>
                    <a:schemeClr val="tx1"/>
                  </a:solidFill>
                </a:rPr>
                <a:t>: Companies like Didi Chuxing have a strong presence and knowledge in large, growing markets like China. If these companies expand globally, Uber could face new challenges in its existing markets. If Uber wants establish it in these Markets the competitors do have a big knowledge advantage.</a:t>
              </a:r>
            </a:p>
          </p:txBody>
        </p:sp>
        <p:sp>
          <p:nvSpPr>
            <p:cNvPr id="10" name="Rectangle 18">
              <a:extLst>
                <a:ext uri="{FF2B5EF4-FFF2-40B4-BE49-F238E27FC236}">
                  <a16:creationId xmlns:a16="http://schemas.microsoft.com/office/drawing/2014/main" id="{C2F0A2EB-FBD6-EE48-8861-4F30AAC5205F}"/>
                </a:ext>
              </a:extLst>
            </p:cNvPr>
            <p:cNvSpPr/>
            <p:nvPr/>
          </p:nvSpPr>
          <p:spPr>
            <a:xfrm>
              <a:off x="986498" y="1472067"/>
              <a:ext cx="1305370"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tx1"/>
                  </a:solidFill>
                </a:rPr>
                <a:t>Competition</a:t>
              </a:r>
            </a:p>
          </p:txBody>
        </p:sp>
      </p:grpSp>
      <p:grpSp>
        <p:nvGrpSpPr>
          <p:cNvPr id="14" name="Group 1">
            <a:extLst>
              <a:ext uri="{FF2B5EF4-FFF2-40B4-BE49-F238E27FC236}">
                <a16:creationId xmlns:a16="http://schemas.microsoft.com/office/drawing/2014/main" id="{887E257C-57CF-B704-4A94-5612DA64D32F}"/>
              </a:ext>
            </a:extLst>
          </p:cNvPr>
          <p:cNvGrpSpPr/>
          <p:nvPr/>
        </p:nvGrpSpPr>
        <p:grpSpPr>
          <a:xfrm>
            <a:off x="643177" y="3676789"/>
            <a:ext cx="7886700" cy="1507636"/>
            <a:chOff x="623392" y="1472067"/>
            <a:chExt cx="11045694" cy="1447594"/>
          </a:xfrm>
        </p:grpSpPr>
        <p:sp>
          <p:nvSpPr>
            <p:cNvPr id="15" name="Rectangle 17">
              <a:extLst>
                <a:ext uri="{FF2B5EF4-FFF2-40B4-BE49-F238E27FC236}">
                  <a16:creationId xmlns:a16="http://schemas.microsoft.com/office/drawing/2014/main" id="{0B5AB911-E222-1E28-DE92-86EB227D0F34}"/>
                </a:ext>
              </a:extLst>
            </p:cNvPr>
            <p:cNvSpPr/>
            <p:nvPr/>
          </p:nvSpPr>
          <p:spPr>
            <a:xfrm>
              <a:off x="623392" y="1610857"/>
              <a:ext cx="11045694" cy="1308804"/>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Competition Impacting Growth</a:t>
              </a:r>
              <a:r>
                <a:rPr lang="en-US" sz="1200" kern="0">
                  <a:solidFill>
                    <a:schemeClr val="tx1"/>
                  </a:solidFill>
                </a:rPr>
                <a:t>: Despite high download numbers, Lyft's ratings indicate strong competition. If Lyft or another competitor offers superior service or innovation, Uber's growth and user acceptance could be threatened</a:t>
              </a:r>
            </a:p>
            <a:p>
              <a:pPr marL="214313" indent="-214313" defTabSz="685800">
                <a:buFont typeface="Arial" panose="020B0604020202020204" pitchFamily="34" charset="0"/>
                <a:buChar char="•"/>
                <a:defRPr/>
              </a:pPr>
              <a:r>
                <a:rPr lang="en-US" sz="1200" b="1" kern="0">
                  <a:solidFill>
                    <a:schemeClr val="tx1"/>
                  </a:solidFill>
                </a:rPr>
                <a:t>Brand Reputation</a:t>
              </a:r>
              <a:r>
                <a:rPr lang="en-US" sz="1200" kern="0">
                  <a:solidFill>
                    <a:schemeClr val="tx1"/>
                  </a:solidFill>
                </a:rPr>
                <a:t>: High App Store ratings contribute to positive brand reputation. Any significant drop in ratings could affect new user acquisition and existing user retention</a:t>
              </a:r>
            </a:p>
            <a:p>
              <a:pPr marL="214313" indent="-214313" defTabSz="685800">
                <a:buFont typeface="Arial" panose="020B0604020202020204" pitchFamily="34" charset="0"/>
                <a:buChar char="•"/>
                <a:defRPr/>
              </a:pPr>
              <a:r>
                <a:rPr lang="en-US" sz="1200" b="1" kern="0">
                  <a:solidFill>
                    <a:schemeClr val="tx1"/>
                  </a:solidFill>
                </a:rPr>
                <a:t>Impact of Negative Events</a:t>
              </a:r>
              <a:r>
                <a:rPr lang="en-US" sz="1200" kern="0">
                  <a:solidFill>
                    <a:schemeClr val="tx1"/>
                  </a:solidFill>
                </a:rPr>
                <a:t>: Any negative publicity or events, such as safety issues, could lead to a quick downturn in user acceptance</a:t>
              </a:r>
            </a:p>
          </p:txBody>
        </p:sp>
        <p:sp>
          <p:nvSpPr>
            <p:cNvPr id="16" name="Rectangle 18">
              <a:extLst>
                <a:ext uri="{FF2B5EF4-FFF2-40B4-BE49-F238E27FC236}">
                  <a16:creationId xmlns:a16="http://schemas.microsoft.com/office/drawing/2014/main" id="{4EECC1E8-172F-64BD-D076-5E86D4CA83A6}"/>
                </a:ext>
              </a:extLst>
            </p:cNvPr>
            <p:cNvSpPr/>
            <p:nvPr/>
          </p:nvSpPr>
          <p:spPr>
            <a:xfrm>
              <a:off x="986498" y="1472067"/>
              <a:ext cx="1655364"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accent1"/>
                  </a:solidFill>
                </a:rPr>
                <a:t>User Acceptance</a:t>
              </a:r>
            </a:p>
          </p:txBody>
        </p:sp>
      </p:grpSp>
      <p:grpSp>
        <p:nvGrpSpPr>
          <p:cNvPr id="17" name="Group 1">
            <a:extLst>
              <a:ext uri="{FF2B5EF4-FFF2-40B4-BE49-F238E27FC236}">
                <a16:creationId xmlns:a16="http://schemas.microsoft.com/office/drawing/2014/main" id="{D2AAD0A0-1629-FD19-7E98-8489C1755AFC}"/>
              </a:ext>
            </a:extLst>
          </p:cNvPr>
          <p:cNvGrpSpPr/>
          <p:nvPr/>
        </p:nvGrpSpPr>
        <p:grpSpPr>
          <a:xfrm>
            <a:off x="643177" y="5199864"/>
            <a:ext cx="7886700" cy="1155080"/>
            <a:chOff x="623392" y="1472067"/>
            <a:chExt cx="11045694" cy="1447594"/>
          </a:xfrm>
        </p:grpSpPr>
        <p:sp>
          <p:nvSpPr>
            <p:cNvPr id="18" name="Rectangle 17">
              <a:extLst>
                <a:ext uri="{FF2B5EF4-FFF2-40B4-BE49-F238E27FC236}">
                  <a16:creationId xmlns:a16="http://schemas.microsoft.com/office/drawing/2014/main" id="{1602D3FD-7230-FDC4-EC40-3F2C84063B73}"/>
                </a:ext>
              </a:extLst>
            </p:cNvPr>
            <p:cNvSpPr/>
            <p:nvPr/>
          </p:nvSpPr>
          <p:spPr>
            <a:xfrm>
              <a:off x="623392" y="1610857"/>
              <a:ext cx="11045694" cy="1308804"/>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Dependence on Advertising</a:t>
              </a:r>
              <a:r>
                <a:rPr lang="en-US" sz="1200" kern="0">
                  <a:solidFill>
                    <a:schemeClr val="tx1"/>
                  </a:solidFill>
                </a:rPr>
                <a:t>: Heavy reliance on advertising for growth suggests that without significant ad spend, customer growth and retention could slow down, particularly if market competition continues to intensify</a:t>
              </a:r>
            </a:p>
            <a:p>
              <a:pPr marL="214313" indent="-214313" defTabSz="685800">
                <a:buFont typeface="Arial" panose="020B0604020202020204" pitchFamily="34" charset="0"/>
                <a:buChar char="•"/>
                <a:defRPr/>
              </a:pPr>
              <a:r>
                <a:rPr lang="en-US" sz="1200" b="1" kern="0">
                  <a:solidFill>
                    <a:schemeClr val="tx1"/>
                  </a:solidFill>
                </a:rPr>
                <a:t>High Customer Acquisition Cost</a:t>
              </a:r>
              <a:r>
                <a:rPr lang="en-US" sz="1200" kern="0">
                  <a:solidFill>
                    <a:schemeClr val="tx1"/>
                  </a:solidFill>
                </a:rPr>
                <a:t>: High cost to acquire a customer suggests that it might become unsustainable, especially if the lifetime value of a customer does not reflect the high acquisition costs</a:t>
              </a:r>
            </a:p>
          </p:txBody>
        </p:sp>
        <p:sp>
          <p:nvSpPr>
            <p:cNvPr id="19" name="Rectangle 18">
              <a:extLst>
                <a:ext uri="{FF2B5EF4-FFF2-40B4-BE49-F238E27FC236}">
                  <a16:creationId xmlns:a16="http://schemas.microsoft.com/office/drawing/2014/main" id="{8BA2DF56-E15A-AC0C-DEAA-500A6097B176}"/>
                </a:ext>
              </a:extLst>
            </p:cNvPr>
            <p:cNvSpPr/>
            <p:nvPr/>
          </p:nvSpPr>
          <p:spPr>
            <a:xfrm>
              <a:off x="986498" y="1472067"/>
              <a:ext cx="1233780"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accent2"/>
                  </a:solidFill>
                </a:rPr>
                <a:t>Advertising</a:t>
              </a:r>
            </a:p>
          </p:txBody>
        </p:sp>
      </p:grpSp>
    </p:spTree>
    <p:extLst>
      <p:ext uri="{BB962C8B-B14F-4D97-AF65-F5344CB8AC3E}">
        <p14:creationId xmlns:p14="http://schemas.microsoft.com/office/powerpoint/2010/main" val="4704829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6F151561-EAE6-16D1-3E6D-88145F5843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72" name="think-cell data - do not delete" hidden="1">
                        <a:extLst>
                          <a:ext uri="{FF2B5EF4-FFF2-40B4-BE49-F238E27FC236}">
                            <a16:creationId xmlns:a16="http://schemas.microsoft.com/office/drawing/2014/main" id="{6F151561-EAE6-16D1-3E6D-88145F5843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E8892C-EA12-099E-7923-906A36135F2D}"/>
              </a:ext>
            </a:extLst>
          </p:cNvPr>
          <p:cNvSpPr>
            <a:spLocks noGrp="1"/>
          </p:cNvSpPr>
          <p:nvPr>
            <p:ph type="title"/>
          </p:nvPr>
        </p:nvSpPr>
        <p:spPr/>
        <p:txBody>
          <a:bodyPr vert="horz"/>
          <a:lstStyle/>
          <a:p>
            <a:r>
              <a:rPr lang="en-US"/>
              <a:t>Ubers main reason for its successful position is its focus on diversification and expansion over the last years</a:t>
            </a:r>
          </a:p>
        </p:txBody>
      </p:sp>
      <p:sp>
        <p:nvSpPr>
          <p:cNvPr id="4" name="Foliennummernplatzhalter 3">
            <a:extLst>
              <a:ext uri="{FF2B5EF4-FFF2-40B4-BE49-F238E27FC236}">
                <a16:creationId xmlns:a16="http://schemas.microsoft.com/office/drawing/2014/main" id="{21464A86-1BA6-3A90-B539-84E933A7C4B6}"/>
              </a:ext>
            </a:extLst>
          </p:cNvPr>
          <p:cNvSpPr>
            <a:spLocks noGrp="1"/>
          </p:cNvSpPr>
          <p:nvPr>
            <p:ph type="sldNum" sz="quarter" idx="4"/>
          </p:nvPr>
        </p:nvSpPr>
        <p:spPr/>
        <p:txBody>
          <a:bodyPr/>
          <a:lstStyle/>
          <a:p>
            <a:fld id="{BAF04893-69FB-435D-AB2E-CA259D85B32F}" type="slidenum">
              <a:rPr lang="en-US" smtClean="0"/>
              <a:pPr/>
              <a:t>37</a:t>
            </a:fld>
            <a:endParaRPr lang="en-US"/>
          </a:p>
        </p:txBody>
      </p:sp>
      <p:sp>
        <p:nvSpPr>
          <p:cNvPr id="5" name="Inhaltsplatzhalter 4">
            <a:extLst>
              <a:ext uri="{FF2B5EF4-FFF2-40B4-BE49-F238E27FC236}">
                <a16:creationId xmlns:a16="http://schemas.microsoft.com/office/drawing/2014/main" id="{B0142AEA-5FA9-1D76-9843-45E94915750D}"/>
              </a:ext>
            </a:extLst>
          </p:cNvPr>
          <p:cNvSpPr>
            <a:spLocks noGrp="1"/>
          </p:cNvSpPr>
          <p:nvPr>
            <p:ph idx="10"/>
          </p:nvPr>
        </p:nvSpPr>
        <p:spPr/>
        <p:txBody>
          <a:bodyPr/>
          <a:lstStyle/>
          <a:p>
            <a:r>
              <a:rPr lang="en-US"/>
              <a:t>Main Reasons for current position</a:t>
            </a:r>
          </a:p>
        </p:txBody>
      </p:sp>
      <p:sp>
        <p:nvSpPr>
          <p:cNvPr id="6" name="Inhaltsplatzhalter 5">
            <a:extLst>
              <a:ext uri="{FF2B5EF4-FFF2-40B4-BE49-F238E27FC236}">
                <a16:creationId xmlns:a16="http://schemas.microsoft.com/office/drawing/2014/main" id="{A3858222-E683-276E-6ADD-D32BE5C6B6FE}"/>
              </a:ext>
            </a:extLst>
          </p:cNvPr>
          <p:cNvSpPr>
            <a:spLocks noGrp="1"/>
          </p:cNvSpPr>
          <p:nvPr>
            <p:ph idx="11"/>
          </p:nvPr>
        </p:nvSpPr>
        <p:spPr/>
        <p:txBody>
          <a:bodyPr/>
          <a:lstStyle/>
          <a:p>
            <a:r>
              <a:rPr lang="en-US"/>
              <a:t>Own Representation</a:t>
            </a:r>
          </a:p>
        </p:txBody>
      </p:sp>
      <p:sp>
        <p:nvSpPr>
          <p:cNvPr id="7" name="Inhaltsplatzhalter 6">
            <a:extLst>
              <a:ext uri="{FF2B5EF4-FFF2-40B4-BE49-F238E27FC236}">
                <a16:creationId xmlns:a16="http://schemas.microsoft.com/office/drawing/2014/main" id="{1B954C6F-7568-34C6-2118-CB5006E4E47C}"/>
              </a:ext>
            </a:extLst>
          </p:cNvPr>
          <p:cNvSpPr>
            <a:spLocks noGrp="1"/>
          </p:cNvSpPr>
          <p:nvPr>
            <p:ph idx="12"/>
          </p:nvPr>
        </p:nvSpPr>
        <p:spPr/>
        <p:txBody>
          <a:bodyPr/>
          <a:lstStyle/>
          <a:p>
            <a:r>
              <a:rPr lang="en-US"/>
              <a:t>Corporate Lifecycle</a:t>
            </a:r>
          </a:p>
          <a:p>
            <a:endParaRPr lang="en-US"/>
          </a:p>
        </p:txBody>
      </p:sp>
      <p:grpSp>
        <p:nvGrpSpPr>
          <p:cNvPr id="8" name="Gruppieren 7">
            <a:extLst>
              <a:ext uri="{FF2B5EF4-FFF2-40B4-BE49-F238E27FC236}">
                <a16:creationId xmlns:a16="http://schemas.microsoft.com/office/drawing/2014/main" id="{15603952-301D-0C72-8A36-A6956F6F080B}"/>
              </a:ext>
            </a:extLst>
          </p:cNvPr>
          <p:cNvGrpSpPr/>
          <p:nvPr/>
        </p:nvGrpSpPr>
        <p:grpSpPr>
          <a:xfrm>
            <a:off x="1488845" y="2701061"/>
            <a:ext cx="6166309" cy="2803334"/>
            <a:chOff x="1640372" y="2170710"/>
            <a:chExt cx="6166309" cy="2803334"/>
          </a:xfrm>
        </p:grpSpPr>
        <p:grpSp>
          <p:nvGrpSpPr>
            <p:cNvPr id="9" name="World3" descr="{&quot;Key&quot;:&quot;POWER_USER_SHAPE_ICON&quot;,&quot;Value&quot;:&quot;POWER_USER_SHAPE_ICON_STYLE_1&quot;}">
              <a:extLst>
                <a:ext uri="{FF2B5EF4-FFF2-40B4-BE49-F238E27FC236}">
                  <a16:creationId xmlns:a16="http://schemas.microsoft.com/office/drawing/2014/main" id="{622DCFE4-8712-8DFD-8A92-AFECB71775FD}"/>
                </a:ext>
              </a:extLst>
            </p:cNvPr>
            <p:cNvGrpSpPr>
              <a:grpSpLocks noChangeAspect="1"/>
            </p:cNvGrpSpPr>
            <p:nvPr/>
          </p:nvGrpSpPr>
          <p:grpSpPr>
            <a:xfrm>
              <a:off x="4373856" y="2170710"/>
              <a:ext cx="762000" cy="762000"/>
              <a:chOff x="6043409" y="2915897"/>
              <a:chExt cx="3129310" cy="3129311"/>
            </a:xfrm>
            <a:solidFill>
              <a:schemeClr val="accent2"/>
            </a:solidFill>
          </p:grpSpPr>
          <p:sp>
            <p:nvSpPr>
              <p:cNvPr id="43" name="Freeform: Shape 2986">
                <a:extLst>
                  <a:ext uri="{FF2B5EF4-FFF2-40B4-BE49-F238E27FC236}">
                    <a16:creationId xmlns:a16="http://schemas.microsoft.com/office/drawing/2014/main" id="{5CED4D8D-92A9-3710-5DBF-0789B196B5D0}"/>
                  </a:ext>
                </a:extLst>
              </p:cNvPr>
              <p:cNvSpPr>
                <a:spLocks/>
              </p:cNvSpPr>
              <p:nvPr/>
            </p:nvSpPr>
            <p:spPr bwMode="auto">
              <a:xfrm>
                <a:off x="6043409" y="2915897"/>
                <a:ext cx="3129310" cy="3129311"/>
              </a:xfrm>
              <a:custGeom>
                <a:avLst/>
                <a:gdLst>
                  <a:gd name="connsiteX0" fmla="*/ 1564655 w 3129310"/>
                  <a:gd name="connsiteY0" fmla="*/ 0 h 3129311"/>
                  <a:gd name="connsiteX1" fmla="*/ 2670876 w 3129310"/>
                  <a:gd name="connsiteY1" fmla="*/ 457068 h 3129311"/>
                  <a:gd name="connsiteX2" fmla="*/ 3129310 w 3129310"/>
                  <a:gd name="connsiteY2" fmla="*/ 1563653 h 3129311"/>
                  <a:gd name="connsiteX3" fmla="*/ 2670876 w 3129310"/>
                  <a:gd name="connsiteY3" fmla="*/ 2670239 h 3129311"/>
                  <a:gd name="connsiteX4" fmla="*/ 1564655 w 3129310"/>
                  <a:gd name="connsiteY4" fmla="*/ 3129311 h 3129311"/>
                  <a:gd name="connsiteX5" fmla="*/ 458434 w 3129310"/>
                  <a:gd name="connsiteY5" fmla="*/ 2670239 h 3129311"/>
                  <a:gd name="connsiteX6" fmla="*/ 0 w 3129310"/>
                  <a:gd name="connsiteY6" fmla="*/ 1563653 h 3129311"/>
                  <a:gd name="connsiteX7" fmla="*/ 356902 w 3129310"/>
                  <a:gd name="connsiteY7" fmla="*/ 568093 h 3129311"/>
                  <a:gd name="connsiteX8" fmla="*/ 412585 w 3129310"/>
                  <a:gd name="connsiteY8" fmla="*/ 507204 h 3129311"/>
                  <a:gd name="connsiteX9" fmla="*/ 450009 w 3129310"/>
                  <a:gd name="connsiteY9" fmla="*/ 564824 h 3129311"/>
                  <a:gd name="connsiteX10" fmla="*/ 407608 w 3129310"/>
                  <a:gd name="connsiteY10" fmla="*/ 611425 h 3129311"/>
                  <a:gd name="connsiteX11" fmla="*/ 65776 w 3129310"/>
                  <a:gd name="connsiteY11" fmla="*/ 1563653 h 3129311"/>
                  <a:gd name="connsiteX12" fmla="*/ 504278 w 3129310"/>
                  <a:gd name="connsiteY12" fmla="*/ 2624131 h 3129311"/>
                  <a:gd name="connsiteX13" fmla="*/ 1564655 w 3129310"/>
                  <a:gd name="connsiteY13" fmla="*/ 3061152 h 3129311"/>
                  <a:gd name="connsiteX14" fmla="*/ 2625033 w 3129310"/>
                  <a:gd name="connsiteY14" fmla="*/ 2624131 h 3129311"/>
                  <a:gd name="connsiteX15" fmla="*/ 3063535 w 3129310"/>
                  <a:gd name="connsiteY15" fmla="*/ 1563653 h 3129311"/>
                  <a:gd name="connsiteX16" fmla="*/ 2625033 w 3129310"/>
                  <a:gd name="connsiteY16" fmla="*/ 505180 h 3129311"/>
                  <a:gd name="connsiteX17" fmla="*/ 1564655 w 3129310"/>
                  <a:gd name="connsiteY17" fmla="*/ 66155 h 3129311"/>
                  <a:gd name="connsiteX18" fmla="*/ 849598 w 3129310"/>
                  <a:gd name="connsiteY18" fmla="*/ 247340 h 3129311"/>
                  <a:gd name="connsiteX19" fmla="*/ 781477 w 3129310"/>
                  <a:gd name="connsiteY19" fmla="*/ 288721 h 3129311"/>
                  <a:gd name="connsiteX20" fmla="*/ 768506 w 3129310"/>
                  <a:gd name="connsiteY20" fmla="*/ 250138 h 3129311"/>
                  <a:gd name="connsiteX21" fmla="*/ 754903 w 3129310"/>
                  <a:gd name="connsiteY21" fmla="*/ 226967 h 3129311"/>
                  <a:gd name="connsiteX22" fmla="*/ 818785 w 3129310"/>
                  <a:gd name="connsiteY22" fmla="*/ 188233 h 3129311"/>
                  <a:gd name="connsiteX23" fmla="*/ 1564655 w 3129310"/>
                  <a:gd name="connsiteY23" fmla="*/ 0 h 31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29310" h="3129311">
                    <a:moveTo>
                      <a:pt x="1564655" y="0"/>
                    </a:moveTo>
                    <a:cubicBezTo>
                      <a:pt x="1997178" y="0"/>
                      <a:pt x="2387843" y="174408"/>
                      <a:pt x="2670876" y="457068"/>
                    </a:cubicBezTo>
                    <a:cubicBezTo>
                      <a:pt x="2953909" y="739728"/>
                      <a:pt x="3129310" y="1132646"/>
                      <a:pt x="3129310" y="1563653"/>
                    </a:cubicBezTo>
                    <a:cubicBezTo>
                      <a:pt x="3129310" y="1996665"/>
                      <a:pt x="2953909" y="2387578"/>
                      <a:pt x="2670876" y="2670239"/>
                    </a:cubicBezTo>
                    <a:cubicBezTo>
                      <a:pt x="2387843" y="2952899"/>
                      <a:pt x="1997178" y="3129311"/>
                      <a:pt x="1564655" y="3129311"/>
                    </a:cubicBezTo>
                    <a:cubicBezTo>
                      <a:pt x="1132133" y="3129311"/>
                      <a:pt x="741467" y="2952899"/>
                      <a:pt x="458434" y="2670239"/>
                    </a:cubicBezTo>
                    <a:cubicBezTo>
                      <a:pt x="173408" y="2387578"/>
                      <a:pt x="0" y="1996665"/>
                      <a:pt x="0" y="1563653"/>
                    </a:cubicBezTo>
                    <a:cubicBezTo>
                      <a:pt x="0" y="1186522"/>
                      <a:pt x="132765" y="838553"/>
                      <a:pt x="356902" y="568093"/>
                    </a:cubicBezTo>
                    <a:lnTo>
                      <a:pt x="412585" y="507204"/>
                    </a:lnTo>
                    <a:lnTo>
                      <a:pt x="450009" y="564824"/>
                    </a:lnTo>
                    <a:lnTo>
                      <a:pt x="407608" y="611425"/>
                    </a:lnTo>
                    <a:cubicBezTo>
                      <a:pt x="193963" y="870127"/>
                      <a:pt x="65776" y="1202309"/>
                      <a:pt x="65776" y="1563653"/>
                    </a:cubicBezTo>
                    <a:cubicBezTo>
                      <a:pt x="65776" y="1978623"/>
                      <a:pt x="233204" y="2351494"/>
                      <a:pt x="504278" y="2624131"/>
                    </a:cubicBezTo>
                    <a:cubicBezTo>
                      <a:pt x="775352" y="2894763"/>
                      <a:pt x="1150071" y="3061152"/>
                      <a:pt x="1564655" y="3061152"/>
                    </a:cubicBezTo>
                    <a:cubicBezTo>
                      <a:pt x="1979239" y="3061152"/>
                      <a:pt x="2353959" y="2894763"/>
                      <a:pt x="2625033" y="2624131"/>
                    </a:cubicBezTo>
                    <a:cubicBezTo>
                      <a:pt x="2896107" y="2351494"/>
                      <a:pt x="3063535" y="1978623"/>
                      <a:pt x="3063535" y="1563653"/>
                    </a:cubicBezTo>
                    <a:cubicBezTo>
                      <a:pt x="3063535" y="1150689"/>
                      <a:pt x="2896107" y="775813"/>
                      <a:pt x="2625033" y="505180"/>
                    </a:cubicBezTo>
                    <a:cubicBezTo>
                      <a:pt x="2353959" y="234548"/>
                      <a:pt x="1979239" y="66155"/>
                      <a:pt x="1564655" y="66155"/>
                    </a:cubicBezTo>
                    <a:cubicBezTo>
                      <a:pt x="1305540" y="66155"/>
                      <a:pt x="1061997" y="131933"/>
                      <a:pt x="849598" y="247340"/>
                    </a:cubicBezTo>
                    <a:lnTo>
                      <a:pt x="781477" y="288721"/>
                    </a:lnTo>
                    <a:lnTo>
                      <a:pt x="768506" y="250138"/>
                    </a:lnTo>
                    <a:lnTo>
                      <a:pt x="754903" y="226967"/>
                    </a:lnTo>
                    <a:lnTo>
                      <a:pt x="818785" y="188233"/>
                    </a:lnTo>
                    <a:cubicBezTo>
                      <a:pt x="1040353" y="68128"/>
                      <a:pt x="1294329" y="0"/>
                      <a:pt x="1564655"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Shape 2987">
                <a:extLst>
                  <a:ext uri="{FF2B5EF4-FFF2-40B4-BE49-F238E27FC236}">
                    <a16:creationId xmlns:a16="http://schemas.microsoft.com/office/drawing/2014/main" id="{ED9AE529-36F0-44FD-C380-72C58A680830}"/>
                  </a:ext>
                </a:extLst>
              </p:cNvPr>
              <p:cNvSpPr>
                <a:spLocks/>
              </p:cNvSpPr>
              <p:nvPr/>
            </p:nvSpPr>
            <p:spPr bwMode="auto">
              <a:xfrm>
                <a:off x="7877824" y="3347525"/>
                <a:ext cx="1171563" cy="1819006"/>
              </a:xfrm>
              <a:custGeom>
                <a:avLst/>
                <a:gdLst>
                  <a:gd name="connsiteX0" fmla="*/ 416162 w 1171563"/>
                  <a:gd name="connsiteY0" fmla="*/ 0 h 1819006"/>
                  <a:gd name="connsiteX1" fmla="*/ 664675 w 1171563"/>
                  <a:gd name="connsiteY1" fmla="*/ 44024 h 1819006"/>
                  <a:gd name="connsiteX2" fmla="*/ 777097 w 1171563"/>
                  <a:gd name="connsiteY2" fmla="*/ 86048 h 1819006"/>
                  <a:gd name="connsiteX3" fmla="*/ 783014 w 1171563"/>
                  <a:gd name="connsiteY3" fmla="*/ 90050 h 1819006"/>
                  <a:gd name="connsiteX4" fmla="*/ 786959 w 1171563"/>
                  <a:gd name="connsiteY4" fmla="*/ 92051 h 1819006"/>
                  <a:gd name="connsiteX5" fmla="*/ 870401 w 1171563"/>
                  <a:gd name="connsiteY5" fmla="*/ 183570 h 1819006"/>
                  <a:gd name="connsiteX6" fmla="*/ 793895 w 1171563"/>
                  <a:gd name="connsiteY6" fmla="*/ 169574 h 1819006"/>
                  <a:gd name="connsiteX7" fmla="*/ 770707 w 1171563"/>
                  <a:gd name="connsiteY7" fmla="*/ 173858 h 1819006"/>
                  <a:gd name="connsiteX8" fmla="*/ 743357 w 1171563"/>
                  <a:gd name="connsiteY8" fmla="*/ 144002 h 1819006"/>
                  <a:gd name="connsiteX9" fmla="*/ 743568 w 1171563"/>
                  <a:gd name="connsiteY9" fmla="*/ 144080 h 1819006"/>
                  <a:gd name="connsiteX10" fmla="*/ 749485 w 1171563"/>
                  <a:gd name="connsiteY10" fmla="*/ 146081 h 1819006"/>
                  <a:gd name="connsiteX11" fmla="*/ 749485 w 1171563"/>
                  <a:gd name="connsiteY11" fmla="*/ 148082 h 1819006"/>
                  <a:gd name="connsiteX12" fmla="*/ 765263 w 1171563"/>
                  <a:gd name="connsiteY12" fmla="*/ 118065 h 1819006"/>
                  <a:gd name="connsiteX13" fmla="*/ 741595 w 1171563"/>
                  <a:gd name="connsiteY13" fmla="*/ 142079 h 1819006"/>
                  <a:gd name="connsiteX14" fmla="*/ 743357 w 1171563"/>
                  <a:gd name="connsiteY14" fmla="*/ 144002 h 1819006"/>
                  <a:gd name="connsiteX15" fmla="*/ 721872 w 1171563"/>
                  <a:gd name="connsiteY15" fmla="*/ 136075 h 1819006"/>
                  <a:gd name="connsiteX16" fmla="*/ 644951 w 1171563"/>
                  <a:gd name="connsiteY16" fmla="*/ 106059 h 1819006"/>
                  <a:gd name="connsiteX17" fmla="*/ 416162 w 1171563"/>
                  <a:gd name="connsiteY17" fmla="*/ 66037 h 1819006"/>
                  <a:gd name="connsiteX18" fmla="*/ 274154 w 1171563"/>
                  <a:gd name="connsiteY18" fmla="*/ 96053 h 1819006"/>
                  <a:gd name="connsiteX19" fmla="*/ 175537 w 1171563"/>
                  <a:gd name="connsiteY19" fmla="*/ 198110 h 1819006"/>
                  <a:gd name="connsiteX20" fmla="*/ 67059 w 1171563"/>
                  <a:gd name="connsiteY20" fmla="*/ 658364 h 1819006"/>
                  <a:gd name="connsiteX21" fmla="*/ 76921 w 1171563"/>
                  <a:gd name="connsiteY21" fmla="*/ 766424 h 1819006"/>
                  <a:gd name="connsiteX22" fmla="*/ 96644 w 1171563"/>
                  <a:gd name="connsiteY22" fmla="*/ 816452 h 1819006"/>
                  <a:gd name="connsiteX23" fmla="*/ 110451 w 1171563"/>
                  <a:gd name="connsiteY23" fmla="*/ 826457 h 1819006"/>
                  <a:gd name="connsiteX24" fmla="*/ 140036 w 1171563"/>
                  <a:gd name="connsiteY24" fmla="*/ 840465 h 1819006"/>
                  <a:gd name="connsiteX25" fmla="*/ 222873 w 1171563"/>
                  <a:gd name="connsiteY25" fmla="*/ 876485 h 1819006"/>
                  <a:gd name="connsiteX26" fmla="*/ 433912 w 1171563"/>
                  <a:gd name="connsiteY26" fmla="*/ 960531 h 1819006"/>
                  <a:gd name="connsiteX27" fmla="*/ 548307 w 1171563"/>
                  <a:gd name="connsiteY27" fmla="*/ 1020565 h 1819006"/>
                  <a:gd name="connsiteX28" fmla="*/ 589726 w 1171563"/>
                  <a:gd name="connsiteY28" fmla="*/ 1062588 h 1819006"/>
                  <a:gd name="connsiteX29" fmla="*/ 599588 w 1171563"/>
                  <a:gd name="connsiteY29" fmla="*/ 1094606 h 1819006"/>
                  <a:gd name="connsiteX30" fmla="*/ 601560 w 1171563"/>
                  <a:gd name="connsiteY30" fmla="*/ 1118619 h 1819006"/>
                  <a:gd name="connsiteX31" fmla="*/ 607477 w 1171563"/>
                  <a:gd name="connsiteY31" fmla="*/ 1158641 h 1819006"/>
                  <a:gd name="connsiteX32" fmla="*/ 629173 w 1171563"/>
                  <a:gd name="connsiteY32" fmla="*/ 1270703 h 1819006"/>
                  <a:gd name="connsiteX33" fmla="*/ 704121 w 1171563"/>
                  <a:gd name="connsiteY33" fmla="*/ 1552859 h 1819006"/>
                  <a:gd name="connsiteX34" fmla="*/ 765263 w 1171563"/>
                  <a:gd name="connsiteY34" fmla="*/ 1702942 h 1819006"/>
                  <a:gd name="connsiteX35" fmla="*/ 796821 w 1171563"/>
                  <a:gd name="connsiteY35" fmla="*/ 1746966 h 1819006"/>
                  <a:gd name="connsiteX36" fmla="*/ 802103 w 1171563"/>
                  <a:gd name="connsiteY36" fmla="*/ 1752325 h 1819006"/>
                  <a:gd name="connsiteX37" fmla="*/ 800765 w 1171563"/>
                  <a:gd name="connsiteY37" fmla="*/ 1752970 h 1819006"/>
                  <a:gd name="connsiteX38" fmla="*/ 808655 w 1171563"/>
                  <a:gd name="connsiteY38" fmla="*/ 1784987 h 1819006"/>
                  <a:gd name="connsiteX39" fmla="*/ 802738 w 1171563"/>
                  <a:gd name="connsiteY39" fmla="*/ 1752970 h 1819006"/>
                  <a:gd name="connsiteX40" fmla="*/ 802103 w 1171563"/>
                  <a:gd name="connsiteY40" fmla="*/ 1752325 h 1819006"/>
                  <a:gd name="connsiteX41" fmla="*/ 810627 w 1171563"/>
                  <a:gd name="connsiteY41" fmla="*/ 1748217 h 1819006"/>
                  <a:gd name="connsiteX42" fmla="*/ 826406 w 1171563"/>
                  <a:gd name="connsiteY42" fmla="*/ 1738962 h 1819006"/>
                  <a:gd name="connsiteX43" fmla="*/ 863880 w 1171563"/>
                  <a:gd name="connsiteY43" fmla="*/ 1702942 h 1819006"/>
                  <a:gd name="connsiteX44" fmla="*/ 952635 w 1171563"/>
                  <a:gd name="connsiteY44" fmla="*/ 1584877 h 1819006"/>
                  <a:gd name="connsiteX45" fmla="*/ 1084780 w 1171563"/>
                  <a:gd name="connsiteY45" fmla="*/ 1328735 h 1819006"/>
                  <a:gd name="connsiteX46" fmla="*/ 1092670 w 1171563"/>
                  <a:gd name="connsiteY46" fmla="*/ 1294716 h 1819006"/>
                  <a:gd name="connsiteX47" fmla="*/ 1094642 w 1171563"/>
                  <a:gd name="connsiteY47" fmla="*/ 1262699 h 1819006"/>
                  <a:gd name="connsiteX48" fmla="*/ 1098587 w 1171563"/>
                  <a:gd name="connsiteY48" fmla="*/ 1210670 h 1819006"/>
                  <a:gd name="connsiteX49" fmla="*/ 1104504 w 1171563"/>
                  <a:gd name="connsiteY49" fmla="*/ 1062588 h 1819006"/>
                  <a:gd name="connsiteX50" fmla="*/ 1041389 w 1171563"/>
                  <a:gd name="connsiteY50" fmla="*/ 622344 h 1819006"/>
                  <a:gd name="connsiteX51" fmla="*/ 993991 w 1171563"/>
                  <a:gd name="connsiteY51" fmla="*/ 499745 h 1819006"/>
                  <a:gd name="connsiteX52" fmla="*/ 983308 w 1171563"/>
                  <a:gd name="connsiteY52" fmla="*/ 479260 h 1819006"/>
                  <a:gd name="connsiteX53" fmla="*/ 983446 w 1171563"/>
                  <a:gd name="connsiteY53" fmla="*/ 479008 h 1819006"/>
                  <a:gd name="connsiteX54" fmla="*/ 1008076 w 1171563"/>
                  <a:gd name="connsiteY54" fmla="*/ 420315 h 1819006"/>
                  <a:gd name="connsiteX55" fmla="*/ 1013066 w 1171563"/>
                  <a:gd name="connsiteY55" fmla="*/ 394207 h 1819006"/>
                  <a:gd name="connsiteX56" fmla="*/ 1053223 w 1171563"/>
                  <a:gd name="connsiteY56" fmla="*/ 472230 h 1819006"/>
                  <a:gd name="connsiteX57" fmla="*/ 1102532 w 1171563"/>
                  <a:gd name="connsiteY57" fmla="*/ 602333 h 1819006"/>
                  <a:gd name="connsiteX58" fmla="*/ 1171563 w 1171563"/>
                  <a:gd name="connsiteY58" fmla="*/ 1062588 h 1819006"/>
                  <a:gd name="connsiteX59" fmla="*/ 1159729 w 1171563"/>
                  <a:gd name="connsiteY59" fmla="*/ 1266701 h 1819006"/>
                  <a:gd name="connsiteX60" fmla="*/ 1159729 w 1171563"/>
                  <a:gd name="connsiteY60" fmla="*/ 1294716 h 1819006"/>
                  <a:gd name="connsiteX61" fmla="*/ 1153812 w 1171563"/>
                  <a:gd name="connsiteY61" fmla="*/ 1330736 h 1819006"/>
                  <a:gd name="connsiteX62" fmla="*/ 1140006 w 1171563"/>
                  <a:gd name="connsiteY62" fmla="*/ 1370758 h 1819006"/>
                  <a:gd name="connsiteX63" fmla="*/ 1098587 w 1171563"/>
                  <a:gd name="connsiteY63" fmla="*/ 1466811 h 1819006"/>
                  <a:gd name="connsiteX64" fmla="*/ 968413 w 1171563"/>
                  <a:gd name="connsiteY64" fmla="*/ 1680930 h 1819006"/>
                  <a:gd name="connsiteX65" fmla="*/ 871769 w 1171563"/>
                  <a:gd name="connsiteY65" fmla="*/ 1786988 h 1819006"/>
                  <a:gd name="connsiteX66" fmla="*/ 814572 w 1171563"/>
                  <a:gd name="connsiteY66" fmla="*/ 1817005 h 1819006"/>
                  <a:gd name="connsiteX67" fmla="*/ 802738 w 1171563"/>
                  <a:gd name="connsiteY67" fmla="*/ 1819006 h 1819006"/>
                  <a:gd name="connsiteX68" fmla="*/ 769208 w 1171563"/>
                  <a:gd name="connsiteY68" fmla="*/ 1809001 h 1819006"/>
                  <a:gd name="connsiteX69" fmla="*/ 743568 w 1171563"/>
                  <a:gd name="connsiteY69" fmla="*/ 1786988 h 1819006"/>
                  <a:gd name="connsiteX70" fmla="*/ 702149 w 1171563"/>
                  <a:gd name="connsiteY70" fmla="*/ 1724954 h 1819006"/>
                  <a:gd name="connsiteX71" fmla="*/ 633117 w 1171563"/>
                  <a:gd name="connsiteY71" fmla="*/ 1540852 h 1819006"/>
                  <a:gd name="connsiteX72" fmla="*/ 540418 w 1171563"/>
                  <a:gd name="connsiteY72" fmla="*/ 1154639 h 1819006"/>
                  <a:gd name="connsiteX73" fmla="*/ 535980 w 1171563"/>
                  <a:gd name="connsiteY73" fmla="*/ 1120870 h 1819006"/>
                  <a:gd name="connsiteX74" fmla="*/ 534714 w 1171563"/>
                  <a:gd name="connsiteY74" fmla="*/ 1098391 h 1819006"/>
                  <a:gd name="connsiteX75" fmla="*/ 534614 w 1171563"/>
                  <a:gd name="connsiteY75" fmla="*/ 1096607 h 1819006"/>
                  <a:gd name="connsiteX76" fmla="*/ 534612 w 1171563"/>
                  <a:gd name="connsiteY76" fmla="*/ 1096579 h 1819006"/>
                  <a:gd name="connsiteX77" fmla="*/ 534501 w 1171563"/>
                  <a:gd name="connsiteY77" fmla="*/ 1094606 h 1819006"/>
                  <a:gd name="connsiteX78" fmla="*/ 534501 w 1171563"/>
                  <a:gd name="connsiteY78" fmla="*/ 1096607 h 1819006"/>
                  <a:gd name="connsiteX79" fmla="*/ 534501 w 1171563"/>
                  <a:gd name="connsiteY79" fmla="*/ 1098608 h 1819006"/>
                  <a:gd name="connsiteX80" fmla="*/ 532529 w 1171563"/>
                  <a:gd name="connsiteY80" fmla="*/ 1094606 h 1819006"/>
                  <a:gd name="connsiteX81" fmla="*/ 516750 w 1171563"/>
                  <a:gd name="connsiteY81" fmla="*/ 1078597 h 1819006"/>
                  <a:gd name="connsiteX82" fmla="*/ 441802 w 1171563"/>
                  <a:gd name="connsiteY82" fmla="*/ 1036573 h 1819006"/>
                  <a:gd name="connsiteX83" fmla="*/ 222873 w 1171563"/>
                  <a:gd name="connsiteY83" fmla="*/ 948525 h 1819006"/>
                  <a:gd name="connsiteX84" fmla="*/ 98617 w 1171563"/>
                  <a:gd name="connsiteY84" fmla="*/ 894495 h 1819006"/>
                  <a:gd name="connsiteX85" fmla="*/ 51281 w 1171563"/>
                  <a:gd name="connsiteY85" fmla="*/ 862477 h 1819006"/>
                  <a:gd name="connsiteX86" fmla="*/ 11834 w 1171563"/>
                  <a:gd name="connsiteY86" fmla="*/ 780432 h 1819006"/>
                  <a:gd name="connsiteX87" fmla="*/ 0 w 1171563"/>
                  <a:gd name="connsiteY87" fmla="*/ 658364 h 1819006"/>
                  <a:gd name="connsiteX88" fmla="*/ 116368 w 1171563"/>
                  <a:gd name="connsiteY88" fmla="*/ 170094 h 1819006"/>
                  <a:gd name="connsiteX89" fmla="*/ 244569 w 1171563"/>
                  <a:gd name="connsiteY89" fmla="*/ 36020 h 1819006"/>
                  <a:gd name="connsiteX90" fmla="*/ 416162 w 1171563"/>
                  <a:gd name="connsiteY90" fmla="*/ 0 h 1819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171563" h="1819006">
                    <a:moveTo>
                      <a:pt x="416162" y="0"/>
                    </a:moveTo>
                    <a:cubicBezTo>
                      <a:pt x="506889" y="0"/>
                      <a:pt x="595643" y="22012"/>
                      <a:pt x="664675" y="44024"/>
                    </a:cubicBezTo>
                    <a:cubicBezTo>
                      <a:pt x="731734" y="66037"/>
                      <a:pt x="777097" y="86048"/>
                      <a:pt x="777097" y="86048"/>
                    </a:cubicBezTo>
                    <a:lnTo>
                      <a:pt x="783014" y="90050"/>
                    </a:lnTo>
                    <a:lnTo>
                      <a:pt x="786959" y="92051"/>
                    </a:lnTo>
                    <a:lnTo>
                      <a:pt x="870401" y="183570"/>
                    </a:lnTo>
                    <a:lnTo>
                      <a:pt x="793895" y="169574"/>
                    </a:lnTo>
                    <a:lnTo>
                      <a:pt x="770707" y="173858"/>
                    </a:lnTo>
                    <a:lnTo>
                      <a:pt x="743357" y="144002"/>
                    </a:lnTo>
                    <a:lnTo>
                      <a:pt x="743568" y="144080"/>
                    </a:lnTo>
                    <a:lnTo>
                      <a:pt x="749485" y="146081"/>
                    </a:lnTo>
                    <a:lnTo>
                      <a:pt x="749485" y="148082"/>
                    </a:lnTo>
                    <a:lnTo>
                      <a:pt x="765263" y="118065"/>
                    </a:lnTo>
                    <a:lnTo>
                      <a:pt x="741595" y="142079"/>
                    </a:lnTo>
                    <a:lnTo>
                      <a:pt x="743357" y="144002"/>
                    </a:lnTo>
                    <a:lnTo>
                      <a:pt x="721872" y="136075"/>
                    </a:lnTo>
                    <a:cubicBezTo>
                      <a:pt x="702149" y="128071"/>
                      <a:pt x="676509" y="118065"/>
                      <a:pt x="644951" y="106059"/>
                    </a:cubicBezTo>
                    <a:cubicBezTo>
                      <a:pt x="579864" y="86048"/>
                      <a:pt x="495055" y="66037"/>
                      <a:pt x="416162" y="66037"/>
                    </a:cubicBezTo>
                    <a:cubicBezTo>
                      <a:pt x="364881" y="66037"/>
                      <a:pt x="315573" y="74041"/>
                      <a:pt x="274154" y="96053"/>
                    </a:cubicBezTo>
                    <a:cubicBezTo>
                      <a:pt x="232735" y="116064"/>
                      <a:pt x="199205" y="146081"/>
                      <a:pt x="175537" y="198110"/>
                    </a:cubicBezTo>
                    <a:cubicBezTo>
                      <a:pt x="96644" y="366203"/>
                      <a:pt x="67059" y="536297"/>
                      <a:pt x="67059" y="658364"/>
                    </a:cubicBezTo>
                    <a:cubicBezTo>
                      <a:pt x="67059" y="702389"/>
                      <a:pt x="71004" y="738409"/>
                      <a:pt x="76921" y="766424"/>
                    </a:cubicBezTo>
                    <a:cubicBezTo>
                      <a:pt x="82838" y="794440"/>
                      <a:pt x="92700" y="812449"/>
                      <a:pt x="96644" y="816452"/>
                    </a:cubicBezTo>
                    <a:cubicBezTo>
                      <a:pt x="98617" y="818453"/>
                      <a:pt x="104534" y="822455"/>
                      <a:pt x="110451" y="826457"/>
                    </a:cubicBezTo>
                    <a:cubicBezTo>
                      <a:pt x="118340" y="830459"/>
                      <a:pt x="128202" y="836463"/>
                      <a:pt x="140036" y="840465"/>
                    </a:cubicBezTo>
                    <a:cubicBezTo>
                      <a:pt x="161731" y="852472"/>
                      <a:pt x="191316" y="864478"/>
                      <a:pt x="222873" y="876485"/>
                    </a:cubicBezTo>
                    <a:cubicBezTo>
                      <a:pt x="287960" y="902499"/>
                      <a:pt x="366853" y="930515"/>
                      <a:pt x="433912" y="960531"/>
                    </a:cubicBezTo>
                    <a:cubicBezTo>
                      <a:pt x="479276" y="980543"/>
                      <a:pt x="518722" y="1000554"/>
                      <a:pt x="548307" y="1020565"/>
                    </a:cubicBezTo>
                    <a:cubicBezTo>
                      <a:pt x="566058" y="1032571"/>
                      <a:pt x="579864" y="1044578"/>
                      <a:pt x="589726" y="1062588"/>
                    </a:cubicBezTo>
                    <a:cubicBezTo>
                      <a:pt x="595643" y="1070592"/>
                      <a:pt x="599588" y="1082599"/>
                      <a:pt x="599588" y="1094606"/>
                    </a:cubicBezTo>
                    <a:cubicBezTo>
                      <a:pt x="599588" y="1098608"/>
                      <a:pt x="599588" y="1106612"/>
                      <a:pt x="601560" y="1118619"/>
                    </a:cubicBezTo>
                    <a:cubicBezTo>
                      <a:pt x="603532" y="1128624"/>
                      <a:pt x="605505" y="1142632"/>
                      <a:pt x="607477" y="1158641"/>
                    </a:cubicBezTo>
                    <a:cubicBezTo>
                      <a:pt x="613394" y="1188658"/>
                      <a:pt x="621283" y="1228680"/>
                      <a:pt x="629173" y="1270703"/>
                    </a:cubicBezTo>
                    <a:cubicBezTo>
                      <a:pt x="648896" y="1358752"/>
                      <a:pt x="676509" y="1462809"/>
                      <a:pt x="704121" y="1552859"/>
                    </a:cubicBezTo>
                    <a:cubicBezTo>
                      <a:pt x="723844" y="1612892"/>
                      <a:pt x="745540" y="1664921"/>
                      <a:pt x="765263" y="1702942"/>
                    </a:cubicBezTo>
                    <a:cubicBezTo>
                      <a:pt x="777097" y="1722953"/>
                      <a:pt x="788931" y="1738962"/>
                      <a:pt x="796821" y="1746966"/>
                    </a:cubicBezTo>
                    <a:lnTo>
                      <a:pt x="802103" y="1752325"/>
                    </a:lnTo>
                    <a:lnTo>
                      <a:pt x="800765" y="1752970"/>
                    </a:lnTo>
                    <a:lnTo>
                      <a:pt x="808655" y="1784987"/>
                    </a:lnTo>
                    <a:lnTo>
                      <a:pt x="802738" y="1752970"/>
                    </a:lnTo>
                    <a:lnTo>
                      <a:pt x="802103" y="1752325"/>
                    </a:lnTo>
                    <a:lnTo>
                      <a:pt x="810627" y="1748217"/>
                    </a:lnTo>
                    <a:cubicBezTo>
                      <a:pt x="815065" y="1745966"/>
                      <a:pt x="820489" y="1742964"/>
                      <a:pt x="826406" y="1738962"/>
                    </a:cubicBezTo>
                    <a:cubicBezTo>
                      <a:pt x="838240" y="1730957"/>
                      <a:pt x="850074" y="1716950"/>
                      <a:pt x="863880" y="1702942"/>
                    </a:cubicBezTo>
                    <a:cubicBezTo>
                      <a:pt x="893465" y="1672925"/>
                      <a:pt x="923050" y="1630902"/>
                      <a:pt x="952635" y="1584877"/>
                    </a:cubicBezTo>
                    <a:cubicBezTo>
                      <a:pt x="1011804" y="1494827"/>
                      <a:pt x="1067030" y="1388768"/>
                      <a:pt x="1084780" y="1328735"/>
                    </a:cubicBezTo>
                    <a:cubicBezTo>
                      <a:pt x="1090698" y="1312726"/>
                      <a:pt x="1092670" y="1298718"/>
                      <a:pt x="1092670" y="1294716"/>
                    </a:cubicBezTo>
                    <a:cubicBezTo>
                      <a:pt x="1092670" y="1286712"/>
                      <a:pt x="1094642" y="1276706"/>
                      <a:pt x="1094642" y="1262699"/>
                    </a:cubicBezTo>
                    <a:cubicBezTo>
                      <a:pt x="1096614" y="1248691"/>
                      <a:pt x="1098587" y="1230681"/>
                      <a:pt x="1098587" y="1210670"/>
                    </a:cubicBezTo>
                    <a:cubicBezTo>
                      <a:pt x="1102532" y="1172649"/>
                      <a:pt x="1104504" y="1122621"/>
                      <a:pt x="1104504" y="1062588"/>
                    </a:cubicBezTo>
                    <a:cubicBezTo>
                      <a:pt x="1104504" y="942521"/>
                      <a:pt x="1092670" y="784434"/>
                      <a:pt x="1041389" y="622344"/>
                    </a:cubicBezTo>
                    <a:cubicBezTo>
                      <a:pt x="1028076" y="581822"/>
                      <a:pt x="1012420" y="540799"/>
                      <a:pt x="993991" y="499745"/>
                    </a:cubicBezTo>
                    <a:lnTo>
                      <a:pt x="983308" y="479260"/>
                    </a:lnTo>
                    <a:lnTo>
                      <a:pt x="983446" y="479008"/>
                    </a:lnTo>
                    <a:cubicBezTo>
                      <a:pt x="993638" y="458368"/>
                      <a:pt x="1002131" y="438524"/>
                      <a:pt x="1008076" y="420315"/>
                    </a:cubicBezTo>
                    <a:lnTo>
                      <a:pt x="1013066" y="394207"/>
                    </a:lnTo>
                    <a:lnTo>
                      <a:pt x="1053223" y="472230"/>
                    </a:lnTo>
                    <a:cubicBezTo>
                      <a:pt x="1072454" y="515785"/>
                      <a:pt x="1088726" y="559309"/>
                      <a:pt x="1102532" y="602333"/>
                    </a:cubicBezTo>
                    <a:cubicBezTo>
                      <a:pt x="1157757" y="774428"/>
                      <a:pt x="1171563" y="936518"/>
                      <a:pt x="1171563" y="1062588"/>
                    </a:cubicBezTo>
                    <a:cubicBezTo>
                      <a:pt x="1171563" y="1154639"/>
                      <a:pt x="1163674" y="1226679"/>
                      <a:pt x="1159729" y="1266701"/>
                    </a:cubicBezTo>
                    <a:cubicBezTo>
                      <a:pt x="1159729" y="1280708"/>
                      <a:pt x="1159729" y="1290714"/>
                      <a:pt x="1159729" y="1294716"/>
                    </a:cubicBezTo>
                    <a:cubicBezTo>
                      <a:pt x="1159729" y="1306723"/>
                      <a:pt x="1155784" y="1318730"/>
                      <a:pt x="1153812" y="1330736"/>
                    </a:cubicBezTo>
                    <a:cubicBezTo>
                      <a:pt x="1149867" y="1342743"/>
                      <a:pt x="1145923" y="1354749"/>
                      <a:pt x="1140006" y="1370758"/>
                    </a:cubicBezTo>
                    <a:cubicBezTo>
                      <a:pt x="1130144" y="1398774"/>
                      <a:pt x="1114366" y="1430791"/>
                      <a:pt x="1098587" y="1466811"/>
                    </a:cubicBezTo>
                    <a:cubicBezTo>
                      <a:pt x="1063085" y="1536850"/>
                      <a:pt x="1015749" y="1614893"/>
                      <a:pt x="968413" y="1680930"/>
                    </a:cubicBezTo>
                    <a:cubicBezTo>
                      <a:pt x="934884" y="1724954"/>
                      <a:pt x="903326" y="1760974"/>
                      <a:pt x="871769" y="1786988"/>
                    </a:cubicBezTo>
                    <a:cubicBezTo>
                      <a:pt x="854018" y="1800996"/>
                      <a:pt x="836267" y="1813003"/>
                      <a:pt x="814572" y="1817005"/>
                    </a:cubicBezTo>
                    <a:cubicBezTo>
                      <a:pt x="810627" y="1819006"/>
                      <a:pt x="806682" y="1819006"/>
                      <a:pt x="802738" y="1819006"/>
                    </a:cubicBezTo>
                    <a:cubicBezTo>
                      <a:pt x="790904" y="1819006"/>
                      <a:pt x="779070" y="1815004"/>
                      <a:pt x="769208" y="1809001"/>
                    </a:cubicBezTo>
                    <a:cubicBezTo>
                      <a:pt x="759346" y="1802997"/>
                      <a:pt x="751457" y="1794993"/>
                      <a:pt x="743568" y="1786988"/>
                    </a:cubicBezTo>
                    <a:cubicBezTo>
                      <a:pt x="729761" y="1770980"/>
                      <a:pt x="715955" y="1750969"/>
                      <a:pt x="702149" y="1724954"/>
                    </a:cubicBezTo>
                    <a:cubicBezTo>
                      <a:pt x="678481" y="1676928"/>
                      <a:pt x="654813" y="1610891"/>
                      <a:pt x="633117" y="1540852"/>
                    </a:cubicBezTo>
                    <a:cubicBezTo>
                      <a:pt x="589726" y="1400775"/>
                      <a:pt x="554224" y="1242687"/>
                      <a:pt x="540418" y="1154639"/>
                    </a:cubicBezTo>
                    <a:cubicBezTo>
                      <a:pt x="538446" y="1141631"/>
                      <a:pt x="536966" y="1130625"/>
                      <a:pt x="535980" y="1120870"/>
                    </a:cubicBezTo>
                    <a:lnTo>
                      <a:pt x="534714" y="1098391"/>
                    </a:lnTo>
                    <a:lnTo>
                      <a:pt x="534614" y="1096607"/>
                    </a:lnTo>
                    <a:lnTo>
                      <a:pt x="534612" y="1096579"/>
                    </a:lnTo>
                    <a:lnTo>
                      <a:pt x="534501" y="1094606"/>
                    </a:lnTo>
                    <a:lnTo>
                      <a:pt x="534501" y="1096607"/>
                    </a:lnTo>
                    <a:lnTo>
                      <a:pt x="534501" y="1098608"/>
                    </a:lnTo>
                    <a:lnTo>
                      <a:pt x="532529" y="1094606"/>
                    </a:lnTo>
                    <a:cubicBezTo>
                      <a:pt x="530556" y="1090603"/>
                      <a:pt x="524639" y="1084600"/>
                      <a:pt x="516750" y="1078597"/>
                    </a:cubicBezTo>
                    <a:cubicBezTo>
                      <a:pt x="498999" y="1066590"/>
                      <a:pt x="473359" y="1052582"/>
                      <a:pt x="441802" y="1036573"/>
                    </a:cubicBezTo>
                    <a:cubicBezTo>
                      <a:pt x="378687" y="1008558"/>
                      <a:pt x="295849" y="976540"/>
                      <a:pt x="222873" y="948525"/>
                    </a:cubicBezTo>
                    <a:cubicBezTo>
                      <a:pt x="175537" y="928514"/>
                      <a:pt x="130174" y="912505"/>
                      <a:pt x="98617" y="894495"/>
                    </a:cubicBezTo>
                    <a:cubicBezTo>
                      <a:pt x="78893" y="884489"/>
                      <a:pt x="63115" y="876485"/>
                      <a:pt x="51281" y="862477"/>
                    </a:cubicBezTo>
                    <a:cubicBezTo>
                      <a:pt x="31558" y="842466"/>
                      <a:pt x="19724" y="814451"/>
                      <a:pt x="11834" y="780432"/>
                    </a:cubicBezTo>
                    <a:cubicBezTo>
                      <a:pt x="3945" y="746413"/>
                      <a:pt x="0" y="704390"/>
                      <a:pt x="0" y="658364"/>
                    </a:cubicBezTo>
                    <a:cubicBezTo>
                      <a:pt x="0" y="526291"/>
                      <a:pt x="33530" y="348193"/>
                      <a:pt x="116368" y="170094"/>
                    </a:cubicBezTo>
                    <a:cubicBezTo>
                      <a:pt x="145953" y="106059"/>
                      <a:pt x="191316" y="62034"/>
                      <a:pt x="244569" y="36020"/>
                    </a:cubicBezTo>
                    <a:cubicBezTo>
                      <a:pt x="297822" y="8005"/>
                      <a:pt x="356992" y="0"/>
                      <a:pt x="416162"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Shape 2988">
                <a:extLst>
                  <a:ext uri="{FF2B5EF4-FFF2-40B4-BE49-F238E27FC236}">
                    <a16:creationId xmlns:a16="http://schemas.microsoft.com/office/drawing/2014/main" id="{B8DD9D73-FC47-EB3F-17F7-290DA8EF54F3}"/>
                  </a:ext>
                </a:extLst>
              </p:cNvPr>
              <p:cNvSpPr>
                <a:spLocks/>
              </p:cNvSpPr>
              <p:nvPr/>
            </p:nvSpPr>
            <p:spPr bwMode="auto">
              <a:xfrm>
                <a:off x="6120481" y="3131711"/>
                <a:ext cx="1156152" cy="1449038"/>
              </a:xfrm>
              <a:custGeom>
                <a:avLst/>
                <a:gdLst>
                  <a:gd name="connsiteX0" fmla="*/ 754794 w 1156152"/>
                  <a:gd name="connsiteY0" fmla="*/ 0 h 1449038"/>
                  <a:gd name="connsiteX1" fmla="*/ 786743 w 1156152"/>
                  <a:gd name="connsiteY1" fmla="*/ 7973 h 1449038"/>
                  <a:gd name="connsiteX2" fmla="*/ 808708 w 1156152"/>
                  <a:gd name="connsiteY2" fmla="*/ 19932 h 1449038"/>
                  <a:gd name="connsiteX3" fmla="*/ 804714 w 1156152"/>
                  <a:gd name="connsiteY3" fmla="*/ 45843 h 1449038"/>
                  <a:gd name="connsiteX4" fmla="*/ 802717 w 1156152"/>
                  <a:gd name="connsiteY4" fmla="*/ 49829 h 1449038"/>
                  <a:gd name="connsiteX5" fmla="*/ 800720 w 1156152"/>
                  <a:gd name="connsiteY5" fmla="*/ 61789 h 1449038"/>
                  <a:gd name="connsiteX6" fmla="*/ 792733 w 1156152"/>
                  <a:gd name="connsiteY6" fmla="*/ 101652 h 1449038"/>
                  <a:gd name="connsiteX7" fmla="*/ 782749 w 1156152"/>
                  <a:gd name="connsiteY7" fmla="*/ 209283 h 1449038"/>
                  <a:gd name="connsiteX8" fmla="*/ 783997 w 1156152"/>
                  <a:gd name="connsiteY8" fmla="*/ 235444 h 1449038"/>
                  <a:gd name="connsiteX9" fmla="*/ 786672 w 1156152"/>
                  <a:gd name="connsiteY9" fmla="*/ 250738 h 1449038"/>
                  <a:gd name="connsiteX10" fmla="*/ 782749 w 1156152"/>
                  <a:gd name="connsiteY10" fmla="*/ 251140 h 1449038"/>
                  <a:gd name="connsiteX11" fmla="*/ 784746 w 1156152"/>
                  <a:gd name="connsiteY11" fmla="*/ 253133 h 1449038"/>
                  <a:gd name="connsiteX12" fmla="*/ 788739 w 1156152"/>
                  <a:gd name="connsiteY12" fmla="*/ 255126 h 1449038"/>
                  <a:gd name="connsiteX13" fmla="*/ 786743 w 1156152"/>
                  <a:gd name="connsiteY13" fmla="*/ 251140 h 1449038"/>
                  <a:gd name="connsiteX14" fmla="*/ 786672 w 1156152"/>
                  <a:gd name="connsiteY14" fmla="*/ 250738 h 1449038"/>
                  <a:gd name="connsiteX15" fmla="*/ 792484 w 1156152"/>
                  <a:gd name="connsiteY15" fmla="*/ 250144 h 1449038"/>
                  <a:gd name="connsiteX16" fmla="*/ 812701 w 1156152"/>
                  <a:gd name="connsiteY16" fmla="*/ 243167 h 1449038"/>
                  <a:gd name="connsiteX17" fmla="*/ 866615 w 1156152"/>
                  <a:gd name="connsiteY17" fmla="*/ 221243 h 1449038"/>
                  <a:gd name="connsiteX18" fmla="*/ 1004395 w 1156152"/>
                  <a:gd name="connsiteY18" fmla="*/ 183372 h 1449038"/>
                  <a:gd name="connsiteX19" fmla="*/ 1082270 w 1156152"/>
                  <a:gd name="connsiteY19" fmla="*/ 207290 h 1449038"/>
                  <a:gd name="connsiteX20" fmla="*/ 1138181 w 1156152"/>
                  <a:gd name="connsiteY20" fmla="*/ 283031 h 1449038"/>
                  <a:gd name="connsiteX21" fmla="*/ 1156152 w 1156152"/>
                  <a:gd name="connsiteY21" fmla="*/ 382690 h 1449038"/>
                  <a:gd name="connsiteX22" fmla="*/ 1130194 w 1156152"/>
                  <a:gd name="connsiteY22" fmla="*/ 500287 h 1449038"/>
                  <a:gd name="connsiteX23" fmla="*/ 1062302 w 1156152"/>
                  <a:gd name="connsiteY23" fmla="*/ 613898 h 1449038"/>
                  <a:gd name="connsiteX24" fmla="*/ 830672 w 1156152"/>
                  <a:gd name="connsiteY24" fmla="*/ 857065 h 1449038"/>
                  <a:gd name="connsiteX25" fmla="*/ 650960 w 1156152"/>
                  <a:gd name="connsiteY25" fmla="*/ 1022499 h 1449038"/>
                  <a:gd name="connsiteX26" fmla="*/ 495209 w 1156152"/>
                  <a:gd name="connsiteY26" fmla="*/ 1130130 h 1449038"/>
                  <a:gd name="connsiteX27" fmla="*/ 395368 w 1156152"/>
                  <a:gd name="connsiteY27" fmla="*/ 1156042 h 1449038"/>
                  <a:gd name="connsiteX28" fmla="*/ 344699 w 1156152"/>
                  <a:gd name="connsiteY28" fmla="*/ 1148567 h 1449038"/>
                  <a:gd name="connsiteX29" fmla="*/ 302765 w 1156152"/>
                  <a:gd name="connsiteY29" fmla="*/ 1129445 h 1449038"/>
                  <a:gd name="connsiteX30" fmla="*/ 301518 w 1156152"/>
                  <a:gd name="connsiteY30" fmla="*/ 1118171 h 1449038"/>
                  <a:gd name="connsiteX31" fmla="*/ 301518 w 1156152"/>
                  <a:gd name="connsiteY31" fmla="*/ 1112192 h 1449038"/>
                  <a:gd name="connsiteX32" fmla="*/ 301518 w 1156152"/>
                  <a:gd name="connsiteY32" fmla="*/ 1110198 h 1449038"/>
                  <a:gd name="connsiteX33" fmla="*/ 295528 w 1156152"/>
                  <a:gd name="connsiteY33" fmla="*/ 1116178 h 1449038"/>
                  <a:gd name="connsiteX34" fmla="*/ 285544 w 1156152"/>
                  <a:gd name="connsiteY34" fmla="*/ 1120164 h 1449038"/>
                  <a:gd name="connsiteX35" fmla="*/ 295528 w 1156152"/>
                  <a:gd name="connsiteY35" fmla="*/ 1126144 h 1449038"/>
                  <a:gd name="connsiteX36" fmla="*/ 302765 w 1156152"/>
                  <a:gd name="connsiteY36" fmla="*/ 1129445 h 1449038"/>
                  <a:gd name="connsiteX37" fmla="*/ 305762 w 1156152"/>
                  <a:gd name="connsiteY37" fmla="*/ 1156540 h 1449038"/>
                  <a:gd name="connsiteX38" fmla="*/ 317493 w 1156152"/>
                  <a:gd name="connsiteY38" fmla="*/ 1209857 h 1449038"/>
                  <a:gd name="connsiteX39" fmla="*/ 347445 w 1156152"/>
                  <a:gd name="connsiteY39" fmla="*/ 1325461 h 1449038"/>
                  <a:gd name="connsiteX40" fmla="*/ 357429 w 1156152"/>
                  <a:gd name="connsiteY40" fmla="*/ 1389243 h 1449038"/>
                  <a:gd name="connsiteX41" fmla="*/ 353435 w 1156152"/>
                  <a:gd name="connsiteY41" fmla="*/ 1415154 h 1449038"/>
                  <a:gd name="connsiteX42" fmla="*/ 333467 w 1156152"/>
                  <a:gd name="connsiteY42" fmla="*/ 1441065 h 1449038"/>
                  <a:gd name="connsiteX43" fmla="*/ 309506 w 1156152"/>
                  <a:gd name="connsiteY43" fmla="*/ 1449038 h 1449038"/>
                  <a:gd name="connsiteX44" fmla="*/ 291534 w 1156152"/>
                  <a:gd name="connsiteY44" fmla="*/ 1445052 h 1449038"/>
                  <a:gd name="connsiteX45" fmla="*/ 251598 w 1156152"/>
                  <a:gd name="connsiteY45" fmla="*/ 1421134 h 1449038"/>
                  <a:gd name="connsiteX46" fmla="*/ 207668 w 1156152"/>
                  <a:gd name="connsiteY46" fmla="*/ 1383263 h 1449038"/>
                  <a:gd name="connsiteX47" fmla="*/ 113818 w 1156152"/>
                  <a:gd name="connsiteY47" fmla="*/ 1265666 h 1449038"/>
                  <a:gd name="connsiteX48" fmla="*/ 0 w 1156152"/>
                  <a:gd name="connsiteY48" fmla="*/ 930813 h 1449038"/>
                  <a:gd name="connsiteX49" fmla="*/ 21965 w 1156152"/>
                  <a:gd name="connsiteY49" fmla="*/ 805243 h 1449038"/>
                  <a:gd name="connsiteX50" fmla="*/ 231630 w 1156152"/>
                  <a:gd name="connsiteY50" fmla="*/ 448464 h 1449038"/>
                  <a:gd name="connsiteX51" fmla="*/ 347939 w 1156152"/>
                  <a:gd name="connsiteY51" fmla="*/ 310521 h 1449038"/>
                  <a:gd name="connsiteX52" fmla="*/ 376795 w 1156152"/>
                  <a:gd name="connsiteY52" fmla="*/ 354949 h 1449038"/>
                  <a:gd name="connsiteX53" fmla="*/ 385910 w 1156152"/>
                  <a:gd name="connsiteY53" fmla="*/ 367820 h 1449038"/>
                  <a:gd name="connsiteX54" fmla="*/ 321143 w 1156152"/>
                  <a:gd name="connsiteY54" fmla="*/ 441208 h 1449038"/>
                  <a:gd name="connsiteX55" fmla="*/ 83866 w 1156152"/>
                  <a:gd name="connsiteY55" fmla="*/ 827168 h 1449038"/>
                  <a:gd name="connsiteX56" fmla="*/ 67892 w 1156152"/>
                  <a:gd name="connsiteY56" fmla="*/ 930813 h 1449038"/>
                  <a:gd name="connsiteX57" fmla="*/ 117812 w 1156152"/>
                  <a:gd name="connsiteY57" fmla="*/ 1134117 h 1449038"/>
                  <a:gd name="connsiteX58" fmla="*/ 223643 w 1156152"/>
                  <a:gd name="connsiteY58" fmla="*/ 1301543 h 1449038"/>
                  <a:gd name="connsiteX59" fmla="*/ 259086 w 1156152"/>
                  <a:gd name="connsiteY59" fmla="*/ 1341407 h 1449038"/>
                  <a:gd name="connsiteX60" fmla="*/ 286698 w 1156152"/>
                  <a:gd name="connsiteY60" fmla="*/ 1365152 h 1449038"/>
                  <a:gd name="connsiteX61" fmla="*/ 289537 w 1156152"/>
                  <a:gd name="connsiteY61" fmla="*/ 1389243 h 1449038"/>
                  <a:gd name="connsiteX62" fmla="*/ 289537 w 1156152"/>
                  <a:gd name="connsiteY62" fmla="*/ 1395222 h 1449038"/>
                  <a:gd name="connsiteX63" fmla="*/ 295528 w 1156152"/>
                  <a:gd name="connsiteY63" fmla="*/ 1387250 h 1449038"/>
                  <a:gd name="connsiteX64" fmla="*/ 309506 w 1156152"/>
                  <a:gd name="connsiteY64" fmla="*/ 1381270 h 1449038"/>
                  <a:gd name="connsiteX65" fmla="*/ 313499 w 1156152"/>
                  <a:gd name="connsiteY65" fmla="*/ 1381270 h 1449038"/>
                  <a:gd name="connsiteX66" fmla="*/ 291534 w 1156152"/>
                  <a:gd name="connsiteY66" fmla="*/ 1369311 h 1449038"/>
                  <a:gd name="connsiteX67" fmla="*/ 286698 w 1156152"/>
                  <a:gd name="connsiteY67" fmla="*/ 1365152 h 1449038"/>
                  <a:gd name="connsiteX68" fmla="*/ 285544 w 1156152"/>
                  <a:gd name="connsiteY68" fmla="*/ 1355359 h 1449038"/>
                  <a:gd name="connsiteX69" fmla="*/ 273563 w 1156152"/>
                  <a:gd name="connsiteY69" fmla="*/ 1303536 h 1449038"/>
                  <a:gd name="connsiteX70" fmla="*/ 243611 w 1156152"/>
                  <a:gd name="connsiteY70" fmla="*/ 1187932 h 1449038"/>
                  <a:gd name="connsiteX71" fmla="*/ 233627 w 1156152"/>
                  <a:gd name="connsiteY71" fmla="*/ 1118171 h 1449038"/>
                  <a:gd name="connsiteX72" fmla="*/ 237620 w 1156152"/>
                  <a:gd name="connsiteY72" fmla="*/ 1090267 h 1449038"/>
                  <a:gd name="connsiteX73" fmla="*/ 259585 w 1156152"/>
                  <a:gd name="connsiteY73" fmla="*/ 1060369 h 1449038"/>
                  <a:gd name="connsiteX74" fmla="*/ 285544 w 1156152"/>
                  <a:gd name="connsiteY74" fmla="*/ 1054390 h 1449038"/>
                  <a:gd name="connsiteX75" fmla="*/ 331470 w 1156152"/>
                  <a:gd name="connsiteY75" fmla="*/ 1070335 h 1449038"/>
                  <a:gd name="connsiteX76" fmla="*/ 395368 w 1156152"/>
                  <a:gd name="connsiteY76" fmla="*/ 1088274 h 1449038"/>
                  <a:gd name="connsiteX77" fmla="*/ 467253 w 1156152"/>
                  <a:gd name="connsiteY77" fmla="*/ 1070335 h 1449038"/>
                  <a:gd name="connsiteX78" fmla="*/ 557110 w 1156152"/>
                  <a:gd name="connsiteY78" fmla="*/ 1014526 h 1449038"/>
                  <a:gd name="connsiteX79" fmla="*/ 784746 w 1156152"/>
                  <a:gd name="connsiteY79" fmla="*/ 807236 h 1449038"/>
                  <a:gd name="connsiteX80" fmla="*/ 964459 w 1156152"/>
                  <a:gd name="connsiteY80" fmla="*/ 627850 h 1449038"/>
                  <a:gd name="connsiteX81" fmla="*/ 1070289 w 1156152"/>
                  <a:gd name="connsiteY81" fmla="*/ 474376 h 1449038"/>
                  <a:gd name="connsiteX82" fmla="*/ 1090258 w 1156152"/>
                  <a:gd name="connsiteY82" fmla="*/ 382690 h 1449038"/>
                  <a:gd name="connsiteX83" fmla="*/ 1076280 w 1156152"/>
                  <a:gd name="connsiteY83" fmla="*/ 306949 h 1449038"/>
                  <a:gd name="connsiteX84" fmla="*/ 1044331 w 1156152"/>
                  <a:gd name="connsiteY84" fmla="*/ 261106 h 1449038"/>
                  <a:gd name="connsiteX85" fmla="*/ 1004395 w 1156152"/>
                  <a:gd name="connsiteY85" fmla="*/ 251140 h 1449038"/>
                  <a:gd name="connsiteX86" fmla="*/ 922526 w 1156152"/>
                  <a:gd name="connsiteY86" fmla="*/ 269079 h 1449038"/>
                  <a:gd name="connsiteX87" fmla="*/ 836663 w 1156152"/>
                  <a:gd name="connsiteY87" fmla="*/ 304956 h 1449038"/>
                  <a:gd name="connsiteX88" fmla="*/ 782749 w 1156152"/>
                  <a:gd name="connsiteY88" fmla="*/ 318908 h 1449038"/>
                  <a:gd name="connsiteX89" fmla="*/ 764778 w 1156152"/>
                  <a:gd name="connsiteY89" fmla="*/ 316915 h 1449038"/>
                  <a:gd name="connsiteX90" fmla="*/ 736822 w 1156152"/>
                  <a:gd name="connsiteY90" fmla="*/ 294990 h 1449038"/>
                  <a:gd name="connsiteX91" fmla="*/ 722845 w 1156152"/>
                  <a:gd name="connsiteY91" fmla="*/ 269079 h 1449038"/>
                  <a:gd name="connsiteX92" fmla="*/ 714858 w 1156152"/>
                  <a:gd name="connsiteY92" fmla="*/ 209283 h 1449038"/>
                  <a:gd name="connsiteX93" fmla="*/ 726838 w 1156152"/>
                  <a:gd name="connsiteY93" fmla="*/ 89693 h 1449038"/>
                  <a:gd name="connsiteX94" fmla="*/ 729730 w 1156152"/>
                  <a:gd name="connsiteY94" fmla="*/ 74737 h 1449038"/>
                  <a:gd name="connsiteX95" fmla="*/ 737821 w 1156152"/>
                  <a:gd name="connsiteY95" fmla="*/ 71256 h 1449038"/>
                  <a:gd name="connsiteX96" fmla="*/ 754794 w 1156152"/>
                  <a:gd name="connsiteY96" fmla="*/ 67768 h 1449038"/>
                  <a:gd name="connsiteX97" fmla="*/ 756791 w 1156152"/>
                  <a:gd name="connsiteY97" fmla="*/ 67768 h 1449038"/>
                  <a:gd name="connsiteX98" fmla="*/ 770768 w 1156152"/>
                  <a:gd name="connsiteY98" fmla="*/ 37870 h 1449038"/>
                  <a:gd name="connsiteX99" fmla="*/ 738819 w 1156152"/>
                  <a:gd name="connsiteY99" fmla="*/ 29898 h 1449038"/>
                  <a:gd name="connsiteX100" fmla="*/ 735075 w 1156152"/>
                  <a:gd name="connsiteY100" fmla="*/ 47089 h 1449038"/>
                  <a:gd name="connsiteX101" fmla="*/ 729730 w 1156152"/>
                  <a:gd name="connsiteY101" fmla="*/ 74737 h 1449038"/>
                  <a:gd name="connsiteX102" fmla="*/ 708867 w 1156152"/>
                  <a:gd name="connsiteY102" fmla="*/ 83713 h 1449038"/>
                  <a:gd name="connsiteX103" fmla="*/ 705867 w 1156152"/>
                  <a:gd name="connsiteY103" fmla="*/ 85454 h 1449038"/>
                  <a:gd name="connsiteX104" fmla="*/ 704539 w 1156152"/>
                  <a:gd name="connsiteY104" fmla="*/ 73305 h 1449038"/>
                  <a:gd name="connsiteX105" fmla="*/ 691434 w 1156152"/>
                  <a:gd name="connsiteY105" fmla="*/ 34324 h 1449038"/>
                  <a:gd name="connsiteX106" fmla="*/ 684324 w 1156152"/>
                  <a:gd name="connsiteY106" fmla="*/ 22213 h 144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56152" h="1449038">
                    <a:moveTo>
                      <a:pt x="754794" y="0"/>
                    </a:moveTo>
                    <a:cubicBezTo>
                      <a:pt x="764778" y="0"/>
                      <a:pt x="776759" y="1993"/>
                      <a:pt x="786743" y="7973"/>
                    </a:cubicBezTo>
                    <a:lnTo>
                      <a:pt x="808708" y="19932"/>
                    </a:lnTo>
                    <a:lnTo>
                      <a:pt x="804714" y="45843"/>
                    </a:lnTo>
                    <a:lnTo>
                      <a:pt x="802717" y="49829"/>
                    </a:lnTo>
                    <a:cubicBezTo>
                      <a:pt x="802717" y="51823"/>
                      <a:pt x="800720" y="55809"/>
                      <a:pt x="800720" y="61789"/>
                    </a:cubicBezTo>
                    <a:cubicBezTo>
                      <a:pt x="798724" y="71754"/>
                      <a:pt x="796727" y="85707"/>
                      <a:pt x="792733" y="101652"/>
                    </a:cubicBezTo>
                    <a:cubicBezTo>
                      <a:pt x="786743" y="133543"/>
                      <a:pt x="782749" y="175400"/>
                      <a:pt x="782749" y="209283"/>
                    </a:cubicBezTo>
                    <a:cubicBezTo>
                      <a:pt x="782749" y="219249"/>
                      <a:pt x="783248" y="228219"/>
                      <a:pt x="783997" y="235444"/>
                    </a:cubicBezTo>
                    <a:lnTo>
                      <a:pt x="786672" y="250738"/>
                    </a:lnTo>
                    <a:lnTo>
                      <a:pt x="782749" y="251140"/>
                    </a:lnTo>
                    <a:lnTo>
                      <a:pt x="784746" y="253133"/>
                    </a:lnTo>
                    <a:lnTo>
                      <a:pt x="788739" y="255126"/>
                    </a:lnTo>
                    <a:lnTo>
                      <a:pt x="786743" y="251140"/>
                    </a:lnTo>
                    <a:lnTo>
                      <a:pt x="786672" y="250738"/>
                    </a:lnTo>
                    <a:lnTo>
                      <a:pt x="792484" y="250144"/>
                    </a:lnTo>
                    <a:cubicBezTo>
                      <a:pt x="797725" y="248649"/>
                      <a:pt x="804714" y="246157"/>
                      <a:pt x="812701" y="243167"/>
                    </a:cubicBezTo>
                    <a:cubicBezTo>
                      <a:pt x="826679" y="237188"/>
                      <a:pt x="846647" y="229215"/>
                      <a:pt x="866615" y="221243"/>
                    </a:cubicBezTo>
                    <a:cubicBezTo>
                      <a:pt x="906551" y="203304"/>
                      <a:pt x="954475" y="183372"/>
                      <a:pt x="1004395" y="183372"/>
                    </a:cubicBezTo>
                    <a:cubicBezTo>
                      <a:pt x="1030353" y="183372"/>
                      <a:pt x="1058309" y="189352"/>
                      <a:pt x="1082270" y="207290"/>
                    </a:cubicBezTo>
                    <a:cubicBezTo>
                      <a:pt x="1106232" y="223236"/>
                      <a:pt x="1126200" y="249147"/>
                      <a:pt x="1138181" y="283031"/>
                    </a:cubicBezTo>
                    <a:cubicBezTo>
                      <a:pt x="1150162" y="316915"/>
                      <a:pt x="1156152" y="348806"/>
                      <a:pt x="1156152" y="382690"/>
                    </a:cubicBezTo>
                    <a:cubicBezTo>
                      <a:pt x="1156152" y="422553"/>
                      <a:pt x="1148165" y="462417"/>
                      <a:pt x="1130194" y="500287"/>
                    </a:cubicBezTo>
                    <a:cubicBezTo>
                      <a:pt x="1114219" y="538157"/>
                      <a:pt x="1090258" y="576028"/>
                      <a:pt x="1062302" y="613898"/>
                    </a:cubicBezTo>
                    <a:cubicBezTo>
                      <a:pt x="1002398" y="689639"/>
                      <a:pt x="922526" y="769366"/>
                      <a:pt x="830672" y="857065"/>
                    </a:cubicBezTo>
                    <a:cubicBezTo>
                      <a:pt x="764778" y="918854"/>
                      <a:pt x="704874" y="976656"/>
                      <a:pt x="650960" y="1022499"/>
                    </a:cubicBezTo>
                    <a:cubicBezTo>
                      <a:pt x="595049" y="1070335"/>
                      <a:pt x="545129" y="1108205"/>
                      <a:pt x="495209" y="1130130"/>
                    </a:cubicBezTo>
                    <a:cubicBezTo>
                      <a:pt x="463260" y="1146076"/>
                      <a:pt x="429314" y="1156042"/>
                      <a:pt x="395368" y="1156042"/>
                    </a:cubicBezTo>
                    <a:cubicBezTo>
                      <a:pt x="378396" y="1156042"/>
                      <a:pt x="361423" y="1153550"/>
                      <a:pt x="344699" y="1148567"/>
                    </a:cubicBezTo>
                    <a:lnTo>
                      <a:pt x="302765" y="1129445"/>
                    </a:lnTo>
                    <a:lnTo>
                      <a:pt x="301518" y="1118171"/>
                    </a:lnTo>
                    <a:cubicBezTo>
                      <a:pt x="301518" y="1116178"/>
                      <a:pt x="301518" y="1112192"/>
                      <a:pt x="301518" y="1112192"/>
                    </a:cubicBezTo>
                    <a:lnTo>
                      <a:pt x="301518" y="1110198"/>
                    </a:lnTo>
                    <a:cubicBezTo>
                      <a:pt x="301518" y="1110198"/>
                      <a:pt x="299521" y="1114185"/>
                      <a:pt x="295528" y="1116178"/>
                    </a:cubicBezTo>
                    <a:cubicBezTo>
                      <a:pt x="293531" y="1120164"/>
                      <a:pt x="287541" y="1120164"/>
                      <a:pt x="285544" y="1120164"/>
                    </a:cubicBezTo>
                    <a:cubicBezTo>
                      <a:pt x="285544" y="1120164"/>
                      <a:pt x="289537" y="1122158"/>
                      <a:pt x="295528" y="1126144"/>
                    </a:cubicBezTo>
                    <a:lnTo>
                      <a:pt x="302765" y="1129445"/>
                    </a:lnTo>
                    <a:lnTo>
                      <a:pt x="305762" y="1156540"/>
                    </a:lnTo>
                    <a:cubicBezTo>
                      <a:pt x="308507" y="1172485"/>
                      <a:pt x="312501" y="1190922"/>
                      <a:pt x="317493" y="1209857"/>
                    </a:cubicBezTo>
                    <a:cubicBezTo>
                      <a:pt x="327477" y="1247728"/>
                      <a:pt x="339458" y="1289584"/>
                      <a:pt x="347445" y="1325461"/>
                    </a:cubicBezTo>
                    <a:cubicBezTo>
                      <a:pt x="353435" y="1349379"/>
                      <a:pt x="357429" y="1371304"/>
                      <a:pt x="357429" y="1389243"/>
                    </a:cubicBezTo>
                    <a:cubicBezTo>
                      <a:pt x="357429" y="1397216"/>
                      <a:pt x="355432" y="1405188"/>
                      <a:pt x="353435" y="1415154"/>
                    </a:cubicBezTo>
                    <a:cubicBezTo>
                      <a:pt x="351438" y="1423127"/>
                      <a:pt x="345448" y="1433093"/>
                      <a:pt x="333467" y="1441065"/>
                    </a:cubicBezTo>
                    <a:cubicBezTo>
                      <a:pt x="327477" y="1445052"/>
                      <a:pt x="317493" y="1449038"/>
                      <a:pt x="309506" y="1449038"/>
                    </a:cubicBezTo>
                    <a:cubicBezTo>
                      <a:pt x="303515" y="1449038"/>
                      <a:pt x="297525" y="1447045"/>
                      <a:pt x="291534" y="1445052"/>
                    </a:cubicBezTo>
                    <a:cubicBezTo>
                      <a:pt x="277557" y="1439072"/>
                      <a:pt x="265576" y="1433093"/>
                      <a:pt x="251598" y="1421134"/>
                    </a:cubicBezTo>
                    <a:cubicBezTo>
                      <a:pt x="237620" y="1411168"/>
                      <a:pt x="221646" y="1399209"/>
                      <a:pt x="207668" y="1383263"/>
                    </a:cubicBezTo>
                    <a:cubicBezTo>
                      <a:pt x="177716" y="1353366"/>
                      <a:pt x="143770" y="1313502"/>
                      <a:pt x="113818" y="1265666"/>
                    </a:cubicBezTo>
                    <a:cubicBezTo>
                      <a:pt x="53914" y="1171987"/>
                      <a:pt x="0" y="1052396"/>
                      <a:pt x="0" y="930813"/>
                    </a:cubicBezTo>
                    <a:cubicBezTo>
                      <a:pt x="0" y="888956"/>
                      <a:pt x="5991" y="845106"/>
                      <a:pt x="21965" y="805243"/>
                    </a:cubicBezTo>
                    <a:cubicBezTo>
                      <a:pt x="63898" y="689639"/>
                      <a:pt x="141774" y="564069"/>
                      <a:pt x="231630" y="448464"/>
                    </a:cubicBezTo>
                    <a:lnTo>
                      <a:pt x="347939" y="310521"/>
                    </a:lnTo>
                    <a:lnTo>
                      <a:pt x="376795" y="354949"/>
                    </a:lnTo>
                    <a:lnTo>
                      <a:pt x="385910" y="367820"/>
                    </a:lnTo>
                    <a:lnTo>
                      <a:pt x="321143" y="441208"/>
                    </a:lnTo>
                    <a:cubicBezTo>
                      <a:pt x="217902" y="567058"/>
                      <a:pt x="127297" y="706082"/>
                      <a:pt x="83866" y="827168"/>
                    </a:cubicBezTo>
                    <a:cubicBezTo>
                      <a:pt x="71885" y="861052"/>
                      <a:pt x="67892" y="894936"/>
                      <a:pt x="67892" y="930813"/>
                    </a:cubicBezTo>
                    <a:cubicBezTo>
                      <a:pt x="67892" y="998581"/>
                      <a:pt x="85863" y="1068342"/>
                      <a:pt x="117812" y="1134117"/>
                    </a:cubicBezTo>
                    <a:cubicBezTo>
                      <a:pt x="145767" y="1197898"/>
                      <a:pt x="185703" y="1257693"/>
                      <a:pt x="223643" y="1301543"/>
                    </a:cubicBezTo>
                    <a:cubicBezTo>
                      <a:pt x="235624" y="1316492"/>
                      <a:pt x="247604" y="1329946"/>
                      <a:pt x="259086" y="1341407"/>
                    </a:cubicBezTo>
                    <a:lnTo>
                      <a:pt x="286698" y="1365152"/>
                    </a:lnTo>
                    <a:lnTo>
                      <a:pt x="289537" y="1389243"/>
                    </a:lnTo>
                    <a:lnTo>
                      <a:pt x="289537" y="1395222"/>
                    </a:lnTo>
                    <a:cubicBezTo>
                      <a:pt x="289537" y="1395222"/>
                      <a:pt x="291534" y="1391236"/>
                      <a:pt x="295528" y="1387250"/>
                    </a:cubicBezTo>
                    <a:cubicBezTo>
                      <a:pt x="299521" y="1383263"/>
                      <a:pt x="305512" y="1381270"/>
                      <a:pt x="309506" y="1381270"/>
                    </a:cubicBezTo>
                    <a:lnTo>
                      <a:pt x="313499" y="1381270"/>
                    </a:lnTo>
                    <a:cubicBezTo>
                      <a:pt x="309506" y="1381270"/>
                      <a:pt x="301518" y="1377284"/>
                      <a:pt x="291534" y="1369311"/>
                    </a:cubicBezTo>
                    <a:lnTo>
                      <a:pt x="286698" y="1365152"/>
                    </a:lnTo>
                    <a:lnTo>
                      <a:pt x="285544" y="1355359"/>
                    </a:lnTo>
                    <a:cubicBezTo>
                      <a:pt x="283547" y="1341407"/>
                      <a:pt x="279553" y="1323468"/>
                      <a:pt x="273563" y="1303536"/>
                    </a:cubicBezTo>
                    <a:cubicBezTo>
                      <a:pt x="263579" y="1267659"/>
                      <a:pt x="251598" y="1225803"/>
                      <a:pt x="243611" y="1187932"/>
                    </a:cubicBezTo>
                    <a:cubicBezTo>
                      <a:pt x="237620" y="1162021"/>
                      <a:pt x="233627" y="1140096"/>
                      <a:pt x="233627" y="1118171"/>
                    </a:cubicBezTo>
                    <a:cubicBezTo>
                      <a:pt x="233627" y="1110198"/>
                      <a:pt x="235624" y="1100233"/>
                      <a:pt x="237620" y="1090267"/>
                    </a:cubicBezTo>
                    <a:cubicBezTo>
                      <a:pt x="241614" y="1080301"/>
                      <a:pt x="247604" y="1068342"/>
                      <a:pt x="259585" y="1060369"/>
                    </a:cubicBezTo>
                    <a:cubicBezTo>
                      <a:pt x="267573" y="1056383"/>
                      <a:pt x="277557" y="1054390"/>
                      <a:pt x="285544" y="1054390"/>
                    </a:cubicBezTo>
                    <a:cubicBezTo>
                      <a:pt x="303515" y="1054390"/>
                      <a:pt x="317493" y="1060369"/>
                      <a:pt x="331470" y="1070335"/>
                    </a:cubicBezTo>
                    <a:cubicBezTo>
                      <a:pt x="353435" y="1084287"/>
                      <a:pt x="373403" y="1088274"/>
                      <a:pt x="395368" y="1088274"/>
                    </a:cubicBezTo>
                    <a:cubicBezTo>
                      <a:pt x="417333" y="1088274"/>
                      <a:pt x="441295" y="1082294"/>
                      <a:pt x="467253" y="1070335"/>
                    </a:cubicBezTo>
                    <a:cubicBezTo>
                      <a:pt x="495209" y="1058376"/>
                      <a:pt x="525161" y="1038444"/>
                      <a:pt x="557110" y="1014526"/>
                    </a:cubicBezTo>
                    <a:cubicBezTo>
                      <a:pt x="621008" y="964697"/>
                      <a:pt x="696886" y="892942"/>
                      <a:pt x="784746" y="807236"/>
                    </a:cubicBezTo>
                    <a:cubicBezTo>
                      <a:pt x="854634" y="741461"/>
                      <a:pt x="914538" y="683659"/>
                      <a:pt x="964459" y="627850"/>
                    </a:cubicBezTo>
                    <a:cubicBezTo>
                      <a:pt x="1012382" y="574034"/>
                      <a:pt x="1048325" y="522212"/>
                      <a:pt x="1070289" y="474376"/>
                    </a:cubicBezTo>
                    <a:cubicBezTo>
                      <a:pt x="1084267" y="442485"/>
                      <a:pt x="1090258" y="412587"/>
                      <a:pt x="1090258" y="382690"/>
                    </a:cubicBezTo>
                    <a:cubicBezTo>
                      <a:pt x="1090258" y="356778"/>
                      <a:pt x="1086264" y="332860"/>
                      <a:pt x="1076280" y="306949"/>
                    </a:cubicBezTo>
                    <a:cubicBezTo>
                      <a:pt x="1066296" y="283031"/>
                      <a:pt x="1056312" y="269079"/>
                      <a:pt x="1044331" y="261106"/>
                    </a:cubicBezTo>
                    <a:cubicBezTo>
                      <a:pt x="1034347" y="253133"/>
                      <a:pt x="1020369" y="251140"/>
                      <a:pt x="1004395" y="251140"/>
                    </a:cubicBezTo>
                    <a:cubicBezTo>
                      <a:pt x="980433" y="249147"/>
                      <a:pt x="950481" y="259113"/>
                      <a:pt x="922526" y="269079"/>
                    </a:cubicBezTo>
                    <a:cubicBezTo>
                      <a:pt x="892574" y="281038"/>
                      <a:pt x="862621" y="294990"/>
                      <a:pt x="836663" y="304956"/>
                    </a:cubicBezTo>
                    <a:cubicBezTo>
                      <a:pt x="818692" y="312929"/>
                      <a:pt x="802717" y="316915"/>
                      <a:pt x="782749" y="318908"/>
                    </a:cubicBezTo>
                    <a:cubicBezTo>
                      <a:pt x="776759" y="318908"/>
                      <a:pt x="770768" y="316915"/>
                      <a:pt x="764778" y="316915"/>
                    </a:cubicBezTo>
                    <a:cubicBezTo>
                      <a:pt x="752797" y="312929"/>
                      <a:pt x="742813" y="304956"/>
                      <a:pt x="736822" y="294990"/>
                    </a:cubicBezTo>
                    <a:cubicBezTo>
                      <a:pt x="728835" y="287017"/>
                      <a:pt x="724842" y="277051"/>
                      <a:pt x="722845" y="269079"/>
                    </a:cubicBezTo>
                    <a:cubicBezTo>
                      <a:pt x="716854" y="249147"/>
                      <a:pt x="714858" y="229215"/>
                      <a:pt x="714858" y="209283"/>
                    </a:cubicBezTo>
                    <a:cubicBezTo>
                      <a:pt x="714858" y="169420"/>
                      <a:pt x="722845" y="125570"/>
                      <a:pt x="726838" y="89693"/>
                    </a:cubicBezTo>
                    <a:lnTo>
                      <a:pt x="729730" y="74737"/>
                    </a:lnTo>
                    <a:lnTo>
                      <a:pt x="737821" y="71256"/>
                    </a:lnTo>
                    <a:cubicBezTo>
                      <a:pt x="745808" y="68765"/>
                      <a:pt x="751799" y="67768"/>
                      <a:pt x="754794" y="67768"/>
                    </a:cubicBezTo>
                    <a:lnTo>
                      <a:pt x="756791" y="67768"/>
                    </a:lnTo>
                    <a:lnTo>
                      <a:pt x="770768" y="37870"/>
                    </a:lnTo>
                    <a:lnTo>
                      <a:pt x="738819" y="29898"/>
                    </a:lnTo>
                    <a:cubicBezTo>
                      <a:pt x="738819" y="29898"/>
                      <a:pt x="737322" y="36376"/>
                      <a:pt x="735075" y="47089"/>
                    </a:cubicBezTo>
                    <a:lnTo>
                      <a:pt x="729730" y="74737"/>
                    </a:lnTo>
                    <a:lnTo>
                      <a:pt x="708867" y="83713"/>
                    </a:lnTo>
                    <a:lnTo>
                      <a:pt x="705867" y="85454"/>
                    </a:lnTo>
                    <a:lnTo>
                      <a:pt x="704539" y="73305"/>
                    </a:lnTo>
                    <a:cubicBezTo>
                      <a:pt x="701541" y="59786"/>
                      <a:pt x="697121" y="46746"/>
                      <a:pt x="691434" y="34324"/>
                    </a:cubicBezTo>
                    <a:lnTo>
                      <a:pt x="684324" y="22213"/>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Shape 2989">
                <a:extLst>
                  <a:ext uri="{FF2B5EF4-FFF2-40B4-BE49-F238E27FC236}">
                    <a16:creationId xmlns:a16="http://schemas.microsoft.com/office/drawing/2014/main" id="{3FA0CF64-9A5B-5540-AC35-1E79CF7A993F}"/>
                  </a:ext>
                </a:extLst>
              </p:cNvPr>
              <p:cNvSpPr>
                <a:spLocks/>
              </p:cNvSpPr>
              <p:nvPr/>
            </p:nvSpPr>
            <p:spPr bwMode="auto">
              <a:xfrm>
                <a:off x="6382546" y="4627001"/>
                <a:ext cx="1171563" cy="1294885"/>
              </a:xfrm>
              <a:custGeom>
                <a:avLst/>
                <a:gdLst>
                  <a:gd name="connsiteX0" fmla="*/ 253042 w 1171563"/>
                  <a:gd name="connsiteY0" fmla="*/ 0 h 1294885"/>
                  <a:gd name="connsiteX1" fmla="*/ 500106 w 1171563"/>
                  <a:gd name="connsiteY1" fmla="*/ 21780 h 1294885"/>
                  <a:gd name="connsiteX2" fmla="*/ 611684 w 1171563"/>
                  <a:gd name="connsiteY2" fmla="*/ 57419 h 1294885"/>
                  <a:gd name="connsiteX3" fmla="*/ 709314 w 1171563"/>
                  <a:gd name="connsiteY3" fmla="*/ 142556 h 1294885"/>
                  <a:gd name="connsiteX4" fmla="*/ 730117 w 1171563"/>
                  <a:gd name="connsiteY4" fmla="*/ 170025 h 1294885"/>
                  <a:gd name="connsiteX5" fmla="*/ 713016 w 1171563"/>
                  <a:gd name="connsiteY5" fmla="*/ 198649 h 1294885"/>
                  <a:gd name="connsiteX6" fmla="*/ 700100 w 1171563"/>
                  <a:gd name="connsiteY6" fmla="*/ 236386 h 1294885"/>
                  <a:gd name="connsiteX7" fmla="*/ 650537 w 1171563"/>
                  <a:gd name="connsiteY7" fmla="*/ 174483 h 1294885"/>
                  <a:gd name="connsiteX8" fmla="*/ 577812 w 1171563"/>
                  <a:gd name="connsiteY8" fmla="*/ 114837 h 1294885"/>
                  <a:gd name="connsiteX9" fmla="*/ 498114 w 1171563"/>
                  <a:gd name="connsiteY9" fmla="*/ 89098 h 1294885"/>
                  <a:gd name="connsiteX10" fmla="*/ 253042 w 1171563"/>
                  <a:gd name="connsiteY10" fmla="*/ 65338 h 1294885"/>
                  <a:gd name="connsiteX11" fmla="*/ 201238 w 1171563"/>
                  <a:gd name="connsiteY11" fmla="*/ 73258 h 1294885"/>
                  <a:gd name="connsiteX12" fmla="*/ 159397 w 1171563"/>
                  <a:gd name="connsiteY12" fmla="*/ 95038 h 1294885"/>
                  <a:gd name="connsiteX13" fmla="*/ 89910 w 1171563"/>
                  <a:gd name="connsiteY13" fmla="*/ 187755 h 1294885"/>
                  <a:gd name="connsiteX14" fmla="*/ 70263 w 1171563"/>
                  <a:gd name="connsiteY14" fmla="*/ 226686 h 1294885"/>
                  <a:gd name="connsiteX15" fmla="*/ 69736 w 1171563"/>
                  <a:gd name="connsiteY15" fmla="*/ 225714 h 1294885"/>
                  <a:gd name="connsiteX16" fmla="*/ 65751 w 1171563"/>
                  <a:gd name="connsiteY16" fmla="*/ 217794 h 1294885"/>
                  <a:gd name="connsiteX17" fmla="*/ 67744 w 1171563"/>
                  <a:gd name="connsiteY17" fmla="*/ 225714 h 1294885"/>
                  <a:gd name="connsiteX18" fmla="*/ 43834 w 1171563"/>
                  <a:gd name="connsiteY18" fmla="*/ 225714 h 1294885"/>
                  <a:gd name="connsiteX19" fmla="*/ 33872 w 1171563"/>
                  <a:gd name="connsiteY19" fmla="*/ 225714 h 1294885"/>
                  <a:gd name="connsiteX20" fmla="*/ 63759 w 1171563"/>
                  <a:gd name="connsiteY20" fmla="*/ 239574 h 1294885"/>
                  <a:gd name="connsiteX21" fmla="*/ 70263 w 1171563"/>
                  <a:gd name="connsiteY21" fmla="*/ 226686 h 1294885"/>
                  <a:gd name="connsiteX22" fmla="*/ 83683 w 1171563"/>
                  <a:gd name="connsiteY22" fmla="*/ 251453 h 1294885"/>
                  <a:gd name="connsiteX23" fmla="*/ 135487 w 1171563"/>
                  <a:gd name="connsiteY23" fmla="*/ 336591 h 1294885"/>
                  <a:gd name="connsiteX24" fmla="*/ 259019 w 1171563"/>
                  <a:gd name="connsiteY24" fmla="*/ 586064 h 1294885"/>
                  <a:gd name="connsiteX25" fmla="*/ 296876 w 1171563"/>
                  <a:gd name="connsiteY25" fmla="*/ 758320 h 1294885"/>
                  <a:gd name="connsiteX26" fmla="*/ 292891 w 1171563"/>
                  <a:gd name="connsiteY26" fmla="*/ 797919 h 1294885"/>
                  <a:gd name="connsiteX27" fmla="*/ 280936 w 1171563"/>
                  <a:gd name="connsiteY27" fmla="*/ 881076 h 1294885"/>
                  <a:gd name="connsiteX28" fmla="*/ 282929 w 1171563"/>
                  <a:gd name="connsiteY28" fmla="*/ 888996 h 1294885"/>
                  <a:gd name="connsiteX29" fmla="*/ 282929 w 1171563"/>
                  <a:gd name="connsiteY29" fmla="*/ 890976 h 1294885"/>
                  <a:gd name="connsiteX30" fmla="*/ 314808 w 1171563"/>
                  <a:gd name="connsiteY30" fmla="*/ 904836 h 1294885"/>
                  <a:gd name="connsiteX31" fmla="*/ 528001 w 1171563"/>
                  <a:gd name="connsiteY31" fmla="*/ 1005813 h 1294885"/>
                  <a:gd name="connsiteX32" fmla="*/ 938446 w 1171563"/>
                  <a:gd name="connsiteY32" fmla="*/ 1209747 h 1294885"/>
                  <a:gd name="connsiteX33" fmla="*/ 1044046 w 1171563"/>
                  <a:gd name="connsiteY33" fmla="*/ 1229547 h 1294885"/>
                  <a:gd name="connsiteX34" fmla="*/ 1083895 w 1171563"/>
                  <a:gd name="connsiteY34" fmla="*/ 1221627 h 1294885"/>
                  <a:gd name="connsiteX35" fmla="*/ 1099835 w 1171563"/>
                  <a:gd name="connsiteY35" fmla="*/ 1203808 h 1294885"/>
                  <a:gd name="connsiteX36" fmla="*/ 1103820 w 1171563"/>
                  <a:gd name="connsiteY36" fmla="*/ 1174108 h 1294885"/>
                  <a:gd name="connsiteX37" fmla="*/ 1081903 w 1171563"/>
                  <a:gd name="connsiteY37" fmla="*/ 1073131 h 1294885"/>
                  <a:gd name="connsiteX38" fmla="*/ 1007435 w 1171563"/>
                  <a:gd name="connsiteY38" fmla="*/ 871672 h 1294885"/>
                  <a:gd name="connsiteX39" fmla="*/ 941059 w 1171563"/>
                  <a:gd name="connsiteY39" fmla="*/ 702615 h 1294885"/>
                  <a:gd name="connsiteX40" fmla="*/ 946443 w 1171563"/>
                  <a:gd name="connsiteY40" fmla="*/ 709104 h 1294885"/>
                  <a:gd name="connsiteX41" fmla="*/ 984025 w 1171563"/>
                  <a:gd name="connsiteY41" fmla="*/ 660441 h 1294885"/>
                  <a:gd name="connsiteX42" fmla="*/ 991422 w 1171563"/>
                  <a:gd name="connsiteY42" fmla="*/ 650358 h 1294885"/>
                  <a:gd name="connsiteX43" fmla="*/ 1026363 w 1171563"/>
                  <a:gd name="connsiteY43" fmla="*/ 734561 h 1294885"/>
                  <a:gd name="connsiteX44" fmla="*/ 1143669 w 1171563"/>
                  <a:gd name="connsiteY44" fmla="*/ 1051352 h 1294885"/>
                  <a:gd name="connsiteX45" fmla="*/ 1171563 w 1171563"/>
                  <a:gd name="connsiteY45" fmla="*/ 1174108 h 1294885"/>
                  <a:gd name="connsiteX46" fmla="*/ 1161601 w 1171563"/>
                  <a:gd name="connsiteY46" fmla="*/ 1227567 h 1294885"/>
                  <a:gd name="connsiteX47" fmla="*/ 1135699 w 1171563"/>
                  <a:gd name="connsiteY47" fmla="*/ 1267166 h 1294885"/>
                  <a:gd name="connsiteX48" fmla="*/ 1044046 w 1171563"/>
                  <a:gd name="connsiteY48" fmla="*/ 1294885 h 1294885"/>
                  <a:gd name="connsiteX49" fmla="*/ 918522 w 1171563"/>
                  <a:gd name="connsiteY49" fmla="*/ 1271126 h 1294885"/>
                  <a:gd name="connsiteX50" fmla="*/ 775065 w 1171563"/>
                  <a:gd name="connsiteY50" fmla="*/ 1215687 h 1294885"/>
                  <a:gd name="connsiteX51" fmla="*/ 492136 w 1171563"/>
                  <a:gd name="connsiteY51" fmla="*/ 1063231 h 1294885"/>
                  <a:gd name="connsiteX52" fmla="*/ 354657 w 1171563"/>
                  <a:gd name="connsiteY52" fmla="*/ 991953 h 1294885"/>
                  <a:gd name="connsiteX53" fmla="*/ 272966 w 1171563"/>
                  <a:gd name="connsiteY53" fmla="*/ 960274 h 1294885"/>
                  <a:gd name="connsiteX54" fmla="*/ 235110 w 1171563"/>
                  <a:gd name="connsiteY54" fmla="*/ 936515 h 1294885"/>
                  <a:gd name="connsiteX55" fmla="*/ 219170 w 1171563"/>
                  <a:gd name="connsiteY55" fmla="*/ 912756 h 1294885"/>
                  <a:gd name="connsiteX56" fmla="*/ 215185 w 1171563"/>
                  <a:gd name="connsiteY56" fmla="*/ 881076 h 1294885"/>
                  <a:gd name="connsiteX57" fmla="*/ 229132 w 1171563"/>
                  <a:gd name="connsiteY57" fmla="*/ 786039 h 1294885"/>
                  <a:gd name="connsiteX58" fmla="*/ 231125 w 1171563"/>
                  <a:gd name="connsiteY58" fmla="*/ 758320 h 1294885"/>
                  <a:gd name="connsiteX59" fmla="*/ 171351 w 1171563"/>
                  <a:gd name="connsiteY59" fmla="*/ 548445 h 1294885"/>
                  <a:gd name="connsiteX60" fmla="*/ 61766 w 1171563"/>
                  <a:gd name="connsiteY60" fmla="*/ 340551 h 1294885"/>
                  <a:gd name="connsiteX61" fmla="*/ 9963 w 1171563"/>
                  <a:gd name="connsiteY61" fmla="*/ 255413 h 1294885"/>
                  <a:gd name="connsiteX62" fmla="*/ 3985 w 1171563"/>
                  <a:gd name="connsiteY62" fmla="*/ 239574 h 1294885"/>
                  <a:gd name="connsiteX63" fmla="*/ 0 w 1171563"/>
                  <a:gd name="connsiteY63" fmla="*/ 225714 h 1294885"/>
                  <a:gd name="connsiteX64" fmla="*/ 0 w 1171563"/>
                  <a:gd name="connsiteY64" fmla="*/ 217794 h 1294885"/>
                  <a:gd name="connsiteX65" fmla="*/ 3985 w 1171563"/>
                  <a:gd name="connsiteY65" fmla="*/ 211855 h 1294885"/>
                  <a:gd name="connsiteX66" fmla="*/ 87668 w 1171563"/>
                  <a:gd name="connsiteY66" fmla="*/ 75238 h 1294885"/>
                  <a:gd name="connsiteX67" fmla="*/ 181314 w 1171563"/>
                  <a:gd name="connsiteY67" fmla="*/ 9900 h 1294885"/>
                  <a:gd name="connsiteX68" fmla="*/ 253042 w 1171563"/>
                  <a:gd name="connsiteY68" fmla="*/ 0 h 129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71563" h="1294885">
                    <a:moveTo>
                      <a:pt x="253042" y="0"/>
                    </a:moveTo>
                    <a:cubicBezTo>
                      <a:pt x="320785" y="0"/>
                      <a:pt x="396499" y="17820"/>
                      <a:pt x="500106" y="21780"/>
                    </a:cubicBezTo>
                    <a:cubicBezTo>
                      <a:pt x="539955" y="23760"/>
                      <a:pt x="577812" y="37619"/>
                      <a:pt x="611684" y="57419"/>
                    </a:cubicBezTo>
                    <a:cubicBezTo>
                      <a:pt x="645555" y="79198"/>
                      <a:pt x="679427" y="106917"/>
                      <a:pt x="709314" y="142556"/>
                    </a:cubicBezTo>
                    <a:lnTo>
                      <a:pt x="730117" y="170025"/>
                    </a:lnTo>
                    <a:lnTo>
                      <a:pt x="713016" y="198649"/>
                    </a:lnTo>
                    <a:lnTo>
                      <a:pt x="700100" y="236386"/>
                    </a:lnTo>
                    <a:lnTo>
                      <a:pt x="650537" y="174483"/>
                    </a:lnTo>
                    <a:cubicBezTo>
                      <a:pt x="626129" y="148991"/>
                      <a:pt x="601721" y="128697"/>
                      <a:pt x="577812" y="114837"/>
                    </a:cubicBezTo>
                    <a:cubicBezTo>
                      <a:pt x="549918" y="98998"/>
                      <a:pt x="524016" y="89098"/>
                      <a:pt x="498114" y="89098"/>
                    </a:cubicBezTo>
                    <a:cubicBezTo>
                      <a:pt x="386536" y="83158"/>
                      <a:pt x="308831" y="65338"/>
                      <a:pt x="253042" y="65338"/>
                    </a:cubicBezTo>
                    <a:cubicBezTo>
                      <a:pt x="233117" y="65338"/>
                      <a:pt x="217178" y="67318"/>
                      <a:pt x="201238" y="73258"/>
                    </a:cubicBezTo>
                    <a:cubicBezTo>
                      <a:pt x="187291" y="77218"/>
                      <a:pt x="173344" y="85138"/>
                      <a:pt x="159397" y="95038"/>
                    </a:cubicBezTo>
                    <a:cubicBezTo>
                      <a:pt x="138476" y="112857"/>
                      <a:pt x="115313" y="141814"/>
                      <a:pt x="89910" y="187755"/>
                    </a:cubicBezTo>
                    <a:lnTo>
                      <a:pt x="70263" y="226686"/>
                    </a:lnTo>
                    <a:lnTo>
                      <a:pt x="69736" y="225714"/>
                    </a:lnTo>
                    <a:lnTo>
                      <a:pt x="65751" y="217794"/>
                    </a:lnTo>
                    <a:cubicBezTo>
                      <a:pt x="65751" y="219774"/>
                      <a:pt x="67744" y="219774"/>
                      <a:pt x="67744" y="225714"/>
                    </a:cubicBezTo>
                    <a:lnTo>
                      <a:pt x="43834" y="225714"/>
                    </a:lnTo>
                    <a:lnTo>
                      <a:pt x="33872" y="225714"/>
                    </a:lnTo>
                    <a:lnTo>
                      <a:pt x="63759" y="239574"/>
                    </a:lnTo>
                    <a:lnTo>
                      <a:pt x="70263" y="226686"/>
                    </a:lnTo>
                    <a:lnTo>
                      <a:pt x="83683" y="251453"/>
                    </a:lnTo>
                    <a:cubicBezTo>
                      <a:pt x="97630" y="273233"/>
                      <a:pt x="115563" y="302932"/>
                      <a:pt x="135487" y="336591"/>
                    </a:cubicBezTo>
                    <a:cubicBezTo>
                      <a:pt x="175336" y="407869"/>
                      <a:pt x="225148" y="496967"/>
                      <a:pt x="259019" y="586064"/>
                    </a:cubicBezTo>
                    <a:cubicBezTo>
                      <a:pt x="280936" y="645463"/>
                      <a:pt x="296876" y="702881"/>
                      <a:pt x="296876" y="758320"/>
                    </a:cubicBezTo>
                    <a:cubicBezTo>
                      <a:pt x="296876" y="772179"/>
                      <a:pt x="296876" y="786039"/>
                      <a:pt x="292891" y="797919"/>
                    </a:cubicBezTo>
                    <a:cubicBezTo>
                      <a:pt x="286914" y="841477"/>
                      <a:pt x="280936" y="869197"/>
                      <a:pt x="280936" y="881076"/>
                    </a:cubicBezTo>
                    <a:cubicBezTo>
                      <a:pt x="280936" y="885036"/>
                      <a:pt x="280936" y="887016"/>
                      <a:pt x="282929" y="888996"/>
                    </a:cubicBezTo>
                    <a:lnTo>
                      <a:pt x="282929" y="890976"/>
                    </a:lnTo>
                    <a:cubicBezTo>
                      <a:pt x="282929" y="892956"/>
                      <a:pt x="294883" y="898896"/>
                      <a:pt x="314808" y="904836"/>
                    </a:cubicBezTo>
                    <a:cubicBezTo>
                      <a:pt x="352665" y="918695"/>
                      <a:pt x="422400" y="944435"/>
                      <a:pt x="528001" y="1005813"/>
                    </a:cubicBezTo>
                    <a:cubicBezTo>
                      <a:pt x="647548" y="1079071"/>
                      <a:pt x="812921" y="1170149"/>
                      <a:pt x="938446" y="1209747"/>
                    </a:cubicBezTo>
                    <a:cubicBezTo>
                      <a:pt x="980288" y="1221627"/>
                      <a:pt x="1018144" y="1229547"/>
                      <a:pt x="1044046" y="1229547"/>
                    </a:cubicBezTo>
                    <a:cubicBezTo>
                      <a:pt x="1061978" y="1229547"/>
                      <a:pt x="1075925" y="1225587"/>
                      <a:pt x="1083895" y="1221627"/>
                    </a:cubicBezTo>
                    <a:cubicBezTo>
                      <a:pt x="1091865" y="1217667"/>
                      <a:pt x="1095850" y="1213707"/>
                      <a:pt x="1099835" y="1203808"/>
                    </a:cubicBezTo>
                    <a:cubicBezTo>
                      <a:pt x="1103820" y="1195888"/>
                      <a:pt x="1103820" y="1187968"/>
                      <a:pt x="1103820" y="1174108"/>
                    </a:cubicBezTo>
                    <a:cubicBezTo>
                      <a:pt x="1105812" y="1152329"/>
                      <a:pt x="1097842" y="1118670"/>
                      <a:pt x="1081903" y="1073131"/>
                    </a:cubicBezTo>
                    <a:cubicBezTo>
                      <a:pt x="1058989" y="1010763"/>
                      <a:pt x="1034084" y="942455"/>
                      <a:pt x="1007435" y="871672"/>
                    </a:cubicBezTo>
                    <a:lnTo>
                      <a:pt x="941059" y="702615"/>
                    </a:lnTo>
                    <a:lnTo>
                      <a:pt x="946443" y="709104"/>
                    </a:lnTo>
                    <a:cubicBezTo>
                      <a:pt x="946443" y="709104"/>
                      <a:pt x="961476" y="690418"/>
                      <a:pt x="984025" y="660441"/>
                    </a:cubicBezTo>
                    <a:lnTo>
                      <a:pt x="991422" y="650358"/>
                    </a:lnTo>
                    <a:lnTo>
                      <a:pt x="1026363" y="734561"/>
                    </a:lnTo>
                    <a:cubicBezTo>
                      <a:pt x="1070446" y="846428"/>
                      <a:pt x="1109797" y="956314"/>
                      <a:pt x="1143669" y="1051352"/>
                    </a:cubicBezTo>
                    <a:cubicBezTo>
                      <a:pt x="1161601" y="1098870"/>
                      <a:pt x="1171563" y="1140449"/>
                      <a:pt x="1171563" y="1174108"/>
                    </a:cubicBezTo>
                    <a:cubicBezTo>
                      <a:pt x="1171563" y="1193908"/>
                      <a:pt x="1167578" y="1211727"/>
                      <a:pt x="1161601" y="1227567"/>
                    </a:cubicBezTo>
                    <a:cubicBezTo>
                      <a:pt x="1155624" y="1241427"/>
                      <a:pt x="1147654" y="1257266"/>
                      <a:pt x="1135699" y="1267166"/>
                    </a:cubicBezTo>
                    <a:cubicBezTo>
                      <a:pt x="1109797" y="1288945"/>
                      <a:pt x="1077918" y="1294885"/>
                      <a:pt x="1044046" y="1294885"/>
                    </a:cubicBezTo>
                    <a:cubicBezTo>
                      <a:pt x="1006190" y="1294885"/>
                      <a:pt x="964348" y="1286965"/>
                      <a:pt x="918522" y="1271126"/>
                    </a:cubicBezTo>
                    <a:cubicBezTo>
                      <a:pt x="872695" y="1257266"/>
                      <a:pt x="824876" y="1237467"/>
                      <a:pt x="775065" y="1215687"/>
                    </a:cubicBezTo>
                    <a:cubicBezTo>
                      <a:pt x="675442" y="1170149"/>
                      <a:pt x="573827" y="1112730"/>
                      <a:pt x="492136" y="1063231"/>
                    </a:cubicBezTo>
                    <a:cubicBezTo>
                      <a:pt x="436348" y="1027592"/>
                      <a:pt x="390521" y="1005813"/>
                      <a:pt x="354657" y="991953"/>
                    </a:cubicBezTo>
                    <a:cubicBezTo>
                      <a:pt x="318793" y="976114"/>
                      <a:pt x="294883" y="968194"/>
                      <a:pt x="272966" y="960274"/>
                    </a:cubicBezTo>
                    <a:cubicBezTo>
                      <a:pt x="259019" y="954334"/>
                      <a:pt x="247065" y="948395"/>
                      <a:pt x="235110" y="936515"/>
                    </a:cubicBezTo>
                    <a:cubicBezTo>
                      <a:pt x="229132" y="930575"/>
                      <a:pt x="223155" y="920675"/>
                      <a:pt x="219170" y="912756"/>
                    </a:cubicBezTo>
                    <a:cubicBezTo>
                      <a:pt x="217178" y="902856"/>
                      <a:pt x="215185" y="892956"/>
                      <a:pt x="215185" y="881076"/>
                    </a:cubicBezTo>
                    <a:cubicBezTo>
                      <a:pt x="215185" y="857317"/>
                      <a:pt x="221163" y="829598"/>
                      <a:pt x="229132" y="786039"/>
                    </a:cubicBezTo>
                    <a:cubicBezTo>
                      <a:pt x="229132" y="778119"/>
                      <a:pt x="231125" y="768219"/>
                      <a:pt x="231125" y="758320"/>
                    </a:cubicBezTo>
                    <a:cubicBezTo>
                      <a:pt x="231125" y="700901"/>
                      <a:pt x="205223" y="623683"/>
                      <a:pt x="171351" y="548445"/>
                    </a:cubicBezTo>
                    <a:cubicBezTo>
                      <a:pt x="137480" y="473207"/>
                      <a:pt x="93646" y="397969"/>
                      <a:pt x="61766" y="340551"/>
                    </a:cubicBezTo>
                    <a:cubicBezTo>
                      <a:pt x="37857" y="302932"/>
                      <a:pt x="19925" y="273233"/>
                      <a:pt x="9963" y="255413"/>
                    </a:cubicBezTo>
                    <a:cubicBezTo>
                      <a:pt x="7970" y="249473"/>
                      <a:pt x="5978" y="245514"/>
                      <a:pt x="3985" y="239574"/>
                    </a:cubicBezTo>
                    <a:cubicBezTo>
                      <a:pt x="1993" y="237594"/>
                      <a:pt x="1993" y="233634"/>
                      <a:pt x="0" y="225714"/>
                    </a:cubicBezTo>
                    <a:lnTo>
                      <a:pt x="0" y="217794"/>
                    </a:lnTo>
                    <a:lnTo>
                      <a:pt x="3985" y="211855"/>
                    </a:lnTo>
                    <a:cubicBezTo>
                      <a:pt x="31880" y="150476"/>
                      <a:pt x="59774" y="106917"/>
                      <a:pt x="87668" y="75238"/>
                    </a:cubicBezTo>
                    <a:cubicBezTo>
                      <a:pt x="115563" y="41579"/>
                      <a:pt x="147442" y="19800"/>
                      <a:pt x="181314" y="9900"/>
                    </a:cubicBezTo>
                    <a:cubicBezTo>
                      <a:pt x="205223" y="1980"/>
                      <a:pt x="229132" y="0"/>
                      <a:pt x="253042"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2539">
                <a:extLst>
                  <a:ext uri="{FF2B5EF4-FFF2-40B4-BE49-F238E27FC236}">
                    <a16:creationId xmlns:a16="http://schemas.microsoft.com/office/drawing/2014/main" id="{A76B5EFE-B6D5-B316-FE94-1948214528D4}"/>
                  </a:ext>
                </a:extLst>
              </p:cNvPr>
              <p:cNvSpPr>
                <a:spLocks/>
              </p:cNvSpPr>
              <p:nvPr/>
            </p:nvSpPr>
            <p:spPr bwMode="auto">
              <a:xfrm>
                <a:off x="7338294" y="2946728"/>
                <a:ext cx="986579" cy="308306"/>
              </a:xfrm>
              <a:custGeom>
                <a:avLst/>
                <a:gdLst>
                  <a:gd name="T0" fmla="*/ 34 w 491"/>
                  <a:gd name="T1" fmla="*/ 17 h 152"/>
                  <a:gd name="T2" fmla="*/ 6 w 491"/>
                  <a:gd name="T3" fmla="*/ 76 h 152"/>
                  <a:gd name="T4" fmla="*/ 2 w 491"/>
                  <a:gd name="T5" fmla="*/ 124 h 152"/>
                  <a:gd name="T6" fmla="*/ 48 w 491"/>
                  <a:gd name="T7" fmla="*/ 152 h 152"/>
                  <a:gd name="T8" fmla="*/ 61 w 491"/>
                  <a:gd name="T9" fmla="*/ 151 h 152"/>
                  <a:gd name="T10" fmla="*/ 304 w 491"/>
                  <a:gd name="T11" fmla="*/ 152 h 152"/>
                  <a:gd name="T12" fmla="*/ 449 w 491"/>
                  <a:gd name="T13" fmla="*/ 128 h 152"/>
                  <a:gd name="T14" fmla="*/ 486 w 491"/>
                  <a:gd name="T15" fmla="*/ 103 h 152"/>
                  <a:gd name="T16" fmla="*/ 485 w 491"/>
                  <a:gd name="T17" fmla="*/ 71 h 152"/>
                  <a:gd name="T18" fmla="*/ 380 w 491"/>
                  <a:gd name="T19" fmla="*/ 25 h 152"/>
                  <a:gd name="T20" fmla="*/ 46 w 491"/>
                  <a:gd name="T21" fmla="*/ 10 h 152"/>
                  <a:gd name="T22" fmla="*/ 34 w 491"/>
                  <a:gd name="T23" fmla="*/ 17 h 152"/>
                  <a:gd name="T24" fmla="*/ 50 w 491"/>
                  <a:gd name="T25" fmla="*/ 43 h 152"/>
                  <a:gd name="T26" fmla="*/ 370 w 491"/>
                  <a:gd name="T27" fmla="*/ 57 h 152"/>
                  <a:gd name="T28" fmla="*/ 459 w 491"/>
                  <a:gd name="T29" fmla="*/ 93 h 152"/>
                  <a:gd name="T30" fmla="*/ 459 w 491"/>
                  <a:gd name="T31" fmla="*/ 93 h 152"/>
                  <a:gd name="T32" fmla="*/ 458 w 491"/>
                  <a:gd name="T33" fmla="*/ 87 h 152"/>
                  <a:gd name="T34" fmla="*/ 465 w 491"/>
                  <a:gd name="T35" fmla="*/ 87 h 152"/>
                  <a:gd name="T36" fmla="*/ 465 w 491"/>
                  <a:gd name="T37" fmla="*/ 87 h 152"/>
                  <a:gd name="T38" fmla="*/ 458 w 491"/>
                  <a:gd name="T39" fmla="*/ 87 h 152"/>
                  <a:gd name="T40" fmla="*/ 458 w 491"/>
                  <a:gd name="T41" fmla="*/ 85 h 152"/>
                  <a:gd name="T42" fmla="*/ 458 w 491"/>
                  <a:gd name="T43" fmla="*/ 84 h 152"/>
                  <a:gd name="T44" fmla="*/ 461 w 491"/>
                  <a:gd name="T45" fmla="*/ 86 h 152"/>
                  <a:gd name="T46" fmla="*/ 450 w 491"/>
                  <a:gd name="T47" fmla="*/ 90 h 152"/>
                  <a:gd name="T48" fmla="*/ 365 w 491"/>
                  <a:gd name="T49" fmla="*/ 116 h 152"/>
                  <a:gd name="T50" fmla="*/ 131 w 491"/>
                  <a:gd name="T51" fmla="*/ 115 h 152"/>
                  <a:gd name="T52" fmla="*/ 57 w 491"/>
                  <a:gd name="T53" fmla="*/ 118 h 152"/>
                  <a:gd name="T54" fmla="*/ 38 w 491"/>
                  <a:gd name="T55" fmla="*/ 118 h 152"/>
                  <a:gd name="T56" fmla="*/ 33 w 491"/>
                  <a:gd name="T57" fmla="*/ 107 h 152"/>
                  <a:gd name="T58" fmla="*/ 53 w 491"/>
                  <a:gd name="T59" fmla="*/ 51 h 152"/>
                  <a:gd name="T60" fmla="*/ 61 w 491"/>
                  <a:gd name="T61" fmla="*/ 37 h 152"/>
                  <a:gd name="T62" fmla="*/ 62 w 491"/>
                  <a:gd name="T63" fmla="*/ 36 h 152"/>
                  <a:gd name="T64" fmla="*/ 50 w 491"/>
                  <a:gd name="T65"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1" h="152">
                    <a:moveTo>
                      <a:pt x="48" y="26"/>
                    </a:moveTo>
                    <a:lnTo>
                      <a:pt x="34" y="17"/>
                    </a:lnTo>
                    <a:cubicBezTo>
                      <a:pt x="34" y="18"/>
                      <a:pt x="26" y="30"/>
                      <a:pt x="17" y="47"/>
                    </a:cubicBezTo>
                    <a:cubicBezTo>
                      <a:pt x="13" y="56"/>
                      <a:pt x="9" y="66"/>
                      <a:pt x="6" y="76"/>
                    </a:cubicBezTo>
                    <a:cubicBezTo>
                      <a:pt x="2" y="86"/>
                      <a:pt x="0" y="96"/>
                      <a:pt x="0" y="107"/>
                    </a:cubicBezTo>
                    <a:cubicBezTo>
                      <a:pt x="0" y="113"/>
                      <a:pt x="0" y="118"/>
                      <a:pt x="2" y="124"/>
                    </a:cubicBezTo>
                    <a:cubicBezTo>
                      <a:pt x="5" y="132"/>
                      <a:pt x="11" y="140"/>
                      <a:pt x="19" y="145"/>
                    </a:cubicBezTo>
                    <a:cubicBezTo>
                      <a:pt x="27" y="150"/>
                      <a:pt x="37" y="152"/>
                      <a:pt x="48" y="152"/>
                    </a:cubicBezTo>
                    <a:cubicBezTo>
                      <a:pt x="52" y="152"/>
                      <a:pt x="57" y="152"/>
                      <a:pt x="61" y="151"/>
                    </a:cubicBezTo>
                    <a:lnTo>
                      <a:pt x="61" y="151"/>
                    </a:lnTo>
                    <a:cubicBezTo>
                      <a:pt x="81" y="149"/>
                      <a:pt x="105" y="148"/>
                      <a:pt x="131" y="148"/>
                    </a:cubicBezTo>
                    <a:cubicBezTo>
                      <a:pt x="187" y="148"/>
                      <a:pt x="251" y="152"/>
                      <a:pt x="304" y="152"/>
                    </a:cubicBezTo>
                    <a:cubicBezTo>
                      <a:pt x="329" y="152"/>
                      <a:pt x="351" y="151"/>
                      <a:pt x="370" y="148"/>
                    </a:cubicBezTo>
                    <a:cubicBezTo>
                      <a:pt x="400" y="144"/>
                      <a:pt x="428" y="137"/>
                      <a:pt x="449" y="128"/>
                    </a:cubicBezTo>
                    <a:cubicBezTo>
                      <a:pt x="460" y="123"/>
                      <a:pt x="469" y="119"/>
                      <a:pt x="476" y="113"/>
                    </a:cubicBezTo>
                    <a:cubicBezTo>
                      <a:pt x="479" y="110"/>
                      <a:pt x="483" y="107"/>
                      <a:pt x="486" y="103"/>
                    </a:cubicBezTo>
                    <a:cubicBezTo>
                      <a:pt x="489" y="99"/>
                      <a:pt x="491" y="94"/>
                      <a:pt x="491" y="87"/>
                    </a:cubicBezTo>
                    <a:cubicBezTo>
                      <a:pt x="491" y="81"/>
                      <a:pt x="488" y="75"/>
                      <a:pt x="485" y="71"/>
                    </a:cubicBezTo>
                    <a:cubicBezTo>
                      <a:pt x="481" y="67"/>
                      <a:pt x="477" y="64"/>
                      <a:pt x="472" y="61"/>
                    </a:cubicBezTo>
                    <a:cubicBezTo>
                      <a:pt x="459" y="55"/>
                      <a:pt x="428" y="39"/>
                      <a:pt x="380" y="25"/>
                    </a:cubicBezTo>
                    <a:cubicBezTo>
                      <a:pt x="332" y="12"/>
                      <a:pt x="267" y="0"/>
                      <a:pt x="184" y="0"/>
                    </a:cubicBezTo>
                    <a:cubicBezTo>
                      <a:pt x="142" y="0"/>
                      <a:pt x="96" y="3"/>
                      <a:pt x="46" y="10"/>
                    </a:cubicBezTo>
                    <a:lnTo>
                      <a:pt x="38" y="11"/>
                    </a:lnTo>
                    <a:lnTo>
                      <a:pt x="34" y="17"/>
                    </a:lnTo>
                    <a:lnTo>
                      <a:pt x="48" y="26"/>
                    </a:lnTo>
                    <a:lnTo>
                      <a:pt x="50" y="43"/>
                    </a:lnTo>
                    <a:cubicBezTo>
                      <a:pt x="99" y="36"/>
                      <a:pt x="144" y="33"/>
                      <a:pt x="184" y="33"/>
                    </a:cubicBezTo>
                    <a:cubicBezTo>
                      <a:pt x="263" y="33"/>
                      <a:pt x="325" y="44"/>
                      <a:pt x="370" y="57"/>
                    </a:cubicBezTo>
                    <a:cubicBezTo>
                      <a:pt x="416" y="70"/>
                      <a:pt x="444" y="85"/>
                      <a:pt x="457" y="91"/>
                    </a:cubicBezTo>
                    <a:lnTo>
                      <a:pt x="459" y="93"/>
                    </a:lnTo>
                    <a:lnTo>
                      <a:pt x="459" y="93"/>
                    </a:lnTo>
                    <a:lnTo>
                      <a:pt x="459" y="93"/>
                    </a:lnTo>
                    <a:lnTo>
                      <a:pt x="465" y="87"/>
                    </a:lnTo>
                    <a:lnTo>
                      <a:pt x="458" y="87"/>
                    </a:lnTo>
                    <a:cubicBezTo>
                      <a:pt x="458" y="90"/>
                      <a:pt x="459" y="93"/>
                      <a:pt x="459" y="93"/>
                    </a:cubicBezTo>
                    <a:lnTo>
                      <a:pt x="465" y="87"/>
                    </a:lnTo>
                    <a:lnTo>
                      <a:pt x="458" y="87"/>
                    </a:lnTo>
                    <a:lnTo>
                      <a:pt x="465" y="87"/>
                    </a:lnTo>
                    <a:lnTo>
                      <a:pt x="458" y="85"/>
                    </a:lnTo>
                    <a:lnTo>
                      <a:pt x="458" y="87"/>
                    </a:lnTo>
                    <a:lnTo>
                      <a:pt x="465" y="87"/>
                    </a:lnTo>
                    <a:lnTo>
                      <a:pt x="458" y="85"/>
                    </a:lnTo>
                    <a:lnTo>
                      <a:pt x="461" y="86"/>
                    </a:lnTo>
                    <a:lnTo>
                      <a:pt x="458" y="84"/>
                    </a:lnTo>
                    <a:lnTo>
                      <a:pt x="458" y="85"/>
                    </a:lnTo>
                    <a:lnTo>
                      <a:pt x="461" y="86"/>
                    </a:lnTo>
                    <a:lnTo>
                      <a:pt x="458" y="84"/>
                    </a:lnTo>
                    <a:cubicBezTo>
                      <a:pt x="458" y="84"/>
                      <a:pt x="455" y="87"/>
                      <a:pt x="450" y="90"/>
                    </a:cubicBezTo>
                    <a:cubicBezTo>
                      <a:pt x="443" y="95"/>
                      <a:pt x="430" y="100"/>
                      <a:pt x="415" y="104"/>
                    </a:cubicBezTo>
                    <a:cubicBezTo>
                      <a:pt x="401" y="109"/>
                      <a:pt x="383" y="113"/>
                      <a:pt x="365" y="116"/>
                    </a:cubicBezTo>
                    <a:cubicBezTo>
                      <a:pt x="349" y="118"/>
                      <a:pt x="328" y="119"/>
                      <a:pt x="304" y="119"/>
                    </a:cubicBezTo>
                    <a:cubicBezTo>
                      <a:pt x="253" y="119"/>
                      <a:pt x="189" y="115"/>
                      <a:pt x="131" y="115"/>
                    </a:cubicBezTo>
                    <a:cubicBezTo>
                      <a:pt x="104" y="115"/>
                      <a:pt x="79" y="115"/>
                      <a:pt x="57" y="118"/>
                    </a:cubicBezTo>
                    <a:lnTo>
                      <a:pt x="57" y="118"/>
                    </a:lnTo>
                    <a:cubicBezTo>
                      <a:pt x="54" y="119"/>
                      <a:pt x="51" y="119"/>
                      <a:pt x="48" y="119"/>
                    </a:cubicBezTo>
                    <a:cubicBezTo>
                      <a:pt x="44" y="119"/>
                      <a:pt x="41" y="118"/>
                      <a:pt x="38" y="118"/>
                    </a:cubicBezTo>
                    <a:cubicBezTo>
                      <a:pt x="36" y="117"/>
                      <a:pt x="35" y="116"/>
                      <a:pt x="35" y="115"/>
                    </a:cubicBezTo>
                    <a:cubicBezTo>
                      <a:pt x="34" y="114"/>
                      <a:pt x="33" y="111"/>
                      <a:pt x="33" y="107"/>
                    </a:cubicBezTo>
                    <a:cubicBezTo>
                      <a:pt x="33" y="102"/>
                      <a:pt x="35" y="94"/>
                      <a:pt x="37" y="86"/>
                    </a:cubicBezTo>
                    <a:cubicBezTo>
                      <a:pt x="41" y="74"/>
                      <a:pt x="47" y="61"/>
                      <a:pt x="53" y="51"/>
                    </a:cubicBezTo>
                    <a:cubicBezTo>
                      <a:pt x="55" y="47"/>
                      <a:pt x="58" y="43"/>
                      <a:pt x="59" y="40"/>
                    </a:cubicBezTo>
                    <a:lnTo>
                      <a:pt x="61" y="37"/>
                    </a:lnTo>
                    <a:lnTo>
                      <a:pt x="62" y="36"/>
                    </a:lnTo>
                    <a:lnTo>
                      <a:pt x="62" y="36"/>
                    </a:lnTo>
                    <a:lnTo>
                      <a:pt x="48" y="26"/>
                    </a:lnTo>
                    <a:lnTo>
                      <a:pt x="50" y="43"/>
                    </a:lnTo>
                    <a:lnTo>
                      <a:pt x="48" y="2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Shape 2991">
                <a:extLst>
                  <a:ext uri="{FF2B5EF4-FFF2-40B4-BE49-F238E27FC236}">
                    <a16:creationId xmlns:a16="http://schemas.microsoft.com/office/drawing/2014/main" id="{F145BA62-68C3-A74A-DFFE-8AA2002193FC}"/>
                  </a:ext>
                </a:extLst>
              </p:cNvPr>
              <p:cNvSpPr>
                <a:spLocks/>
              </p:cNvSpPr>
              <p:nvPr/>
            </p:nvSpPr>
            <p:spPr bwMode="auto">
              <a:xfrm>
                <a:off x="8047398" y="4164541"/>
                <a:ext cx="571542" cy="616612"/>
              </a:xfrm>
              <a:custGeom>
                <a:avLst/>
                <a:gdLst>
                  <a:gd name="connsiteX0" fmla="*/ 509625 w 571542"/>
                  <a:gd name="connsiteY0" fmla="*/ 250293 h 616612"/>
                  <a:gd name="connsiteX1" fmla="*/ 513990 w 571542"/>
                  <a:gd name="connsiteY1" fmla="*/ 256767 h 616612"/>
                  <a:gd name="connsiteX2" fmla="*/ 553189 w 571542"/>
                  <a:gd name="connsiteY2" fmla="*/ 283196 h 616612"/>
                  <a:gd name="connsiteX3" fmla="*/ 571542 w 571542"/>
                  <a:gd name="connsiteY3" fmla="*/ 286901 h 616612"/>
                  <a:gd name="connsiteX4" fmla="*/ 184984 w 571542"/>
                  <a:gd name="connsiteY4" fmla="*/ 616612 h 616612"/>
                  <a:gd name="connsiteX5" fmla="*/ 138738 w 571542"/>
                  <a:gd name="connsiteY5" fmla="*/ 554951 h 616612"/>
                  <a:gd name="connsiteX6" fmla="*/ 15416 w 571542"/>
                  <a:gd name="connsiteY6" fmla="*/ 0 h 616612"/>
                  <a:gd name="connsiteX7" fmla="*/ 491119 w 571542"/>
                  <a:gd name="connsiteY7" fmla="*/ 116283 h 616612"/>
                  <a:gd name="connsiteX8" fmla="*/ 487560 w 571542"/>
                  <a:gd name="connsiteY8" fmla="*/ 121562 h 616612"/>
                  <a:gd name="connsiteX9" fmla="*/ 477869 w 571542"/>
                  <a:gd name="connsiteY9" fmla="*/ 169564 h 616612"/>
                  <a:gd name="connsiteX10" fmla="*/ 479639 w 571542"/>
                  <a:gd name="connsiteY10" fmla="*/ 178330 h 616612"/>
                  <a:gd name="connsiteX11" fmla="*/ 0 w 571542"/>
                  <a:gd name="connsiteY11" fmla="*/ 61661 h 61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42" h="616612">
                    <a:moveTo>
                      <a:pt x="509625" y="250293"/>
                    </a:moveTo>
                    <a:lnTo>
                      <a:pt x="513990" y="256767"/>
                    </a:lnTo>
                    <a:cubicBezTo>
                      <a:pt x="525148" y="267925"/>
                      <a:pt x="538435" y="276955"/>
                      <a:pt x="553189" y="283196"/>
                    </a:cubicBezTo>
                    <a:lnTo>
                      <a:pt x="571542" y="286901"/>
                    </a:lnTo>
                    <a:lnTo>
                      <a:pt x="184984" y="616612"/>
                    </a:lnTo>
                    <a:lnTo>
                      <a:pt x="138738" y="554951"/>
                    </a:lnTo>
                    <a:close/>
                    <a:moveTo>
                      <a:pt x="15416" y="0"/>
                    </a:moveTo>
                    <a:lnTo>
                      <a:pt x="491119" y="116283"/>
                    </a:lnTo>
                    <a:lnTo>
                      <a:pt x="487560" y="121562"/>
                    </a:lnTo>
                    <a:cubicBezTo>
                      <a:pt x="481320" y="136316"/>
                      <a:pt x="477869" y="152537"/>
                      <a:pt x="477869" y="169564"/>
                    </a:cubicBezTo>
                    <a:lnTo>
                      <a:pt x="479639" y="178330"/>
                    </a:lnTo>
                    <a:lnTo>
                      <a:pt x="0" y="61661"/>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Line 2541">
                <a:extLst>
                  <a:ext uri="{FF2B5EF4-FFF2-40B4-BE49-F238E27FC236}">
                    <a16:creationId xmlns:a16="http://schemas.microsoft.com/office/drawing/2014/main" id="{D2F8AD90-E88C-2567-4327-42DF572C2E83}"/>
                  </a:ext>
                </a:extLst>
              </p:cNvPr>
              <p:cNvSpPr>
                <a:spLocks noChangeShapeType="1"/>
              </p:cNvSpPr>
              <p:nvPr/>
            </p:nvSpPr>
            <p:spPr bwMode="auto">
              <a:xfrm>
                <a:off x="7168721" y="3979558"/>
                <a:ext cx="786185" cy="200404"/>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542">
                <a:extLst>
                  <a:ext uri="{FF2B5EF4-FFF2-40B4-BE49-F238E27FC236}">
                    <a16:creationId xmlns:a16="http://schemas.microsoft.com/office/drawing/2014/main" id="{C20D6AFC-818D-87EB-6179-0CAC29E062A6}"/>
                  </a:ext>
                </a:extLst>
              </p:cNvPr>
              <p:cNvSpPr>
                <a:spLocks/>
              </p:cNvSpPr>
              <p:nvPr/>
            </p:nvSpPr>
            <p:spPr bwMode="auto">
              <a:xfrm>
                <a:off x="7153310" y="3948727"/>
                <a:ext cx="801595" cy="262065"/>
              </a:xfrm>
              <a:custGeom>
                <a:avLst/>
                <a:gdLst>
                  <a:gd name="T0" fmla="*/ 0 w 403"/>
                  <a:gd name="T1" fmla="*/ 33 h 128"/>
                  <a:gd name="T2" fmla="*/ 395 w 403"/>
                  <a:gd name="T3" fmla="*/ 128 h 128"/>
                  <a:gd name="T4" fmla="*/ 403 w 403"/>
                  <a:gd name="T5" fmla="*/ 95 h 128"/>
                  <a:gd name="T6" fmla="*/ 7 w 403"/>
                  <a:gd name="T7" fmla="*/ 0 h 128"/>
                </a:gdLst>
                <a:ahLst/>
                <a:cxnLst>
                  <a:cxn ang="0">
                    <a:pos x="T0" y="T1"/>
                  </a:cxn>
                  <a:cxn ang="0">
                    <a:pos x="T2" y="T3"/>
                  </a:cxn>
                  <a:cxn ang="0">
                    <a:pos x="T4" y="T5"/>
                  </a:cxn>
                  <a:cxn ang="0">
                    <a:pos x="T6" y="T7"/>
                  </a:cxn>
                </a:cxnLst>
                <a:rect l="0" t="0" r="r" b="b"/>
                <a:pathLst>
                  <a:path w="403" h="128">
                    <a:moveTo>
                      <a:pt x="0" y="33"/>
                    </a:moveTo>
                    <a:lnTo>
                      <a:pt x="395" y="128"/>
                    </a:lnTo>
                    <a:lnTo>
                      <a:pt x="403" y="95"/>
                    </a:lnTo>
                    <a:lnTo>
                      <a:pt x="7"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Line 2543">
                <a:extLst>
                  <a:ext uri="{FF2B5EF4-FFF2-40B4-BE49-F238E27FC236}">
                    <a16:creationId xmlns:a16="http://schemas.microsoft.com/office/drawing/2014/main" id="{5E4DA386-686B-B2DD-9487-DDCCC2497B7A}"/>
                  </a:ext>
                </a:extLst>
              </p:cNvPr>
              <p:cNvSpPr>
                <a:spLocks noChangeShapeType="1"/>
              </p:cNvSpPr>
              <p:nvPr/>
            </p:nvSpPr>
            <p:spPr bwMode="auto">
              <a:xfrm>
                <a:off x="6983737" y="3948727"/>
                <a:ext cx="92492" cy="1542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544">
                <a:extLst>
                  <a:ext uri="{FF2B5EF4-FFF2-40B4-BE49-F238E27FC236}">
                    <a16:creationId xmlns:a16="http://schemas.microsoft.com/office/drawing/2014/main" id="{7F575E85-A511-F2FB-8082-97B5E5923E17}"/>
                  </a:ext>
                </a:extLst>
              </p:cNvPr>
              <p:cNvSpPr>
                <a:spLocks/>
              </p:cNvSpPr>
              <p:nvPr/>
            </p:nvSpPr>
            <p:spPr bwMode="auto">
              <a:xfrm>
                <a:off x="6968327" y="3902476"/>
                <a:ext cx="123322" cy="92492"/>
              </a:xfrm>
              <a:custGeom>
                <a:avLst/>
                <a:gdLst>
                  <a:gd name="T0" fmla="*/ 0 w 59"/>
                  <a:gd name="T1" fmla="*/ 32 h 44"/>
                  <a:gd name="T2" fmla="*/ 51 w 59"/>
                  <a:gd name="T3" fmla="*/ 44 h 44"/>
                  <a:gd name="T4" fmla="*/ 59 w 59"/>
                  <a:gd name="T5" fmla="*/ 12 h 44"/>
                  <a:gd name="T6" fmla="*/ 8 w 59"/>
                  <a:gd name="T7" fmla="*/ 0 h 44"/>
                </a:gdLst>
                <a:ahLst/>
                <a:cxnLst>
                  <a:cxn ang="0">
                    <a:pos x="T0" y="T1"/>
                  </a:cxn>
                  <a:cxn ang="0">
                    <a:pos x="T2" y="T3"/>
                  </a:cxn>
                  <a:cxn ang="0">
                    <a:pos x="T4" y="T5"/>
                  </a:cxn>
                  <a:cxn ang="0">
                    <a:pos x="T6" y="T7"/>
                  </a:cxn>
                </a:cxnLst>
                <a:rect l="0" t="0" r="r" b="b"/>
                <a:pathLst>
                  <a:path w="59" h="44">
                    <a:moveTo>
                      <a:pt x="0" y="32"/>
                    </a:moveTo>
                    <a:lnTo>
                      <a:pt x="51" y="44"/>
                    </a:lnTo>
                    <a:lnTo>
                      <a:pt x="59" y="12"/>
                    </a:lnTo>
                    <a:lnTo>
                      <a:pt x="8"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Line 2545">
                <a:extLst>
                  <a:ext uri="{FF2B5EF4-FFF2-40B4-BE49-F238E27FC236}">
                    <a16:creationId xmlns:a16="http://schemas.microsoft.com/office/drawing/2014/main" id="{3C97AB05-2945-ECD4-091B-CEF1D39B3E11}"/>
                  </a:ext>
                </a:extLst>
              </p:cNvPr>
              <p:cNvSpPr>
                <a:spLocks noChangeShapeType="1"/>
              </p:cNvSpPr>
              <p:nvPr/>
            </p:nvSpPr>
            <p:spPr bwMode="auto">
              <a:xfrm flipV="1">
                <a:off x="7584939" y="4796564"/>
                <a:ext cx="570371" cy="462459"/>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2546">
                <a:extLst>
                  <a:ext uri="{FF2B5EF4-FFF2-40B4-BE49-F238E27FC236}">
                    <a16:creationId xmlns:a16="http://schemas.microsoft.com/office/drawing/2014/main" id="{324D0949-032B-89F9-D257-0884A2A65810}"/>
                  </a:ext>
                </a:extLst>
              </p:cNvPr>
              <p:cNvSpPr>
                <a:spLocks/>
              </p:cNvSpPr>
              <p:nvPr/>
            </p:nvSpPr>
            <p:spPr bwMode="auto">
              <a:xfrm>
                <a:off x="7569518" y="4781154"/>
                <a:ext cx="601201" cy="508710"/>
              </a:xfrm>
              <a:custGeom>
                <a:avLst/>
                <a:gdLst>
                  <a:gd name="T0" fmla="*/ 22 w 303"/>
                  <a:gd name="T1" fmla="*/ 258 h 258"/>
                  <a:gd name="T2" fmla="*/ 303 w 303"/>
                  <a:gd name="T3" fmla="*/ 26 h 258"/>
                  <a:gd name="T4" fmla="*/ 282 w 303"/>
                  <a:gd name="T5" fmla="*/ 0 h 258"/>
                  <a:gd name="T6" fmla="*/ 0 w 303"/>
                  <a:gd name="T7" fmla="*/ 233 h 258"/>
                </a:gdLst>
                <a:ahLst/>
                <a:cxnLst>
                  <a:cxn ang="0">
                    <a:pos x="T0" y="T1"/>
                  </a:cxn>
                  <a:cxn ang="0">
                    <a:pos x="T2" y="T3"/>
                  </a:cxn>
                  <a:cxn ang="0">
                    <a:pos x="T4" y="T5"/>
                  </a:cxn>
                  <a:cxn ang="0">
                    <a:pos x="T6" y="T7"/>
                  </a:cxn>
                </a:cxnLst>
                <a:rect l="0" t="0" r="r" b="b"/>
                <a:pathLst>
                  <a:path w="303" h="258">
                    <a:moveTo>
                      <a:pt x="22" y="258"/>
                    </a:moveTo>
                    <a:lnTo>
                      <a:pt x="303" y="26"/>
                    </a:lnTo>
                    <a:lnTo>
                      <a:pt x="282" y="0"/>
                    </a:lnTo>
                    <a:lnTo>
                      <a:pt x="0" y="233"/>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Line 2547">
                <a:extLst>
                  <a:ext uri="{FF2B5EF4-FFF2-40B4-BE49-F238E27FC236}">
                    <a16:creationId xmlns:a16="http://schemas.microsoft.com/office/drawing/2014/main" id="{CA5710A3-A85F-3A60-D27F-6D534C371D2E}"/>
                  </a:ext>
                </a:extLst>
              </p:cNvPr>
              <p:cNvSpPr>
                <a:spLocks noChangeShapeType="1"/>
              </p:cNvSpPr>
              <p:nvPr/>
            </p:nvSpPr>
            <p:spPr bwMode="auto">
              <a:xfrm flipV="1">
                <a:off x="7461616" y="5305274"/>
                <a:ext cx="61661" cy="61661"/>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2548">
                <a:extLst>
                  <a:ext uri="{FF2B5EF4-FFF2-40B4-BE49-F238E27FC236}">
                    <a16:creationId xmlns:a16="http://schemas.microsoft.com/office/drawing/2014/main" id="{0319F74D-97DF-420F-0C3A-085797AA91C5}"/>
                  </a:ext>
                </a:extLst>
              </p:cNvPr>
              <p:cNvSpPr>
                <a:spLocks/>
              </p:cNvSpPr>
              <p:nvPr/>
            </p:nvSpPr>
            <p:spPr bwMode="auto">
              <a:xfrm>
                <a:off x="7430786" y="5289854"/>
                <a:ext cx="123322" cy="107912"/>
              </a:xfrm>
              <a:custGeom>
                <a:avLst/>
                <a:gdLst>
                  <a:gd name="T0" fmla="*/ 21 w 58"/>
                  <a:gd name="T1" fmla="*/ 56 h 56"/>
                  <a:gd name="T2" fmla="*/ 58 w 58"/>
                  <a:gd name="T3" fmla="*/ 26 h 56"/>
                  <a:gd name="T4" fmla="*/ 37 w 58"/>
                  <a:gd name="T5" fmla="*/ 0 h 56"/>
                  <a:gd name="T6" fmla="*/ 0 w 58"/>
                  <a:gd name="T7" fmla="*/ 31 h 56"/>
                </a:gdLst>
                <a:ahLst/>
                <a:cxnLst>
                  <a:cxn ang="0">
                    <a:pos x="T0" y="T1"/>
                  </a:cxn>
                  <a:cxn ang="0">
                    <a:pos x="T2" y="T3"/>
                  </a:cxn>
                  <a:cxn ang="0">
                    <a:pos x="T4" y="T5"/>
                  </a:cxn>
                  <a:cxn ang="0">
                    <a:pos x="T6" y="T7"/>
                  </a:cxn>
                </a:cxnLst>
                <a:rect l="0" t="0" r="r" b="b"/>
                <a:pathLst>
                  <a:path w="58" h="56">
                    <a:moveTo>
                      <a:pt x="21" y="56"/>
                    </a:moveTo>
                    <a:lnTo>
                      <a:pt x="58" y="26"/>
                    </a:lnTo>
                    <a:lnTo>
                      <a:pt x="37" y="0"/>
                    </a:lnTo>
                    <a:lnTo>
                      <a:pt x="0" y="31"/>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Shape 3000">
                <a:extLst>
                  <a:ext uri="{FF2B5EF4-FFF2-40B4-BE49-F238E27FC236}">
                    <a16:creationId xmlns:a16="http://schemas.microsoft.com/office/drawing/2014/main" id="{9133A1D4-0857-1F2C-8A2B-68EF40B8710A}"/>
                  </a:ext>
                </a:extLst>
              </p:cNvPr>
              <p:cNvSpPr>
                <a:spLocks/>
              </p:cNvSpPr>
              <p:nvPr/>
            </p:nvSpPr>
            <p:spPr bwMode="auto">
              <a:xfrm>
                <a:off x="6652288" y="3855394"/>
                <a:ext cx="269799" cy="540382"/>
              </a:xfrm>
              <a:custGeom>
                <a:avLst/>
                <a:gdLst>
                  <a:gd name="connsiteX0" fmla="*/ 0 w 269799"/>
                  <a:gd name="connsiteY0" fmla="*/ 100959 h 540382"/>
                  <a:gd name="connsiteX1" fmla="*/ 38565 w 269799"/>
                  <a:gd name="connsiteY1" fmla="*/ 108745 h 540382"/>
                  <a:gd name="connsiteX2" fmla="*/ 71712 w 269799"/>
                  <a:gd name="connsiteY2" fmla="*/ 102053 h 540382"/>
                  <a:gd name="connsiteX3" fmla="*/ 208137 w 269799"/>
                  <a:gd name="connsiteY3" fmla="*/ 524967 h 540382"/>
                  <a:gd name="connsiteX4" fmla="*/ 146475 w 269799"/>
                  <a:gd name="connsiteY4" fmla="*/ 540382 h 540382"/>
                  <a:gd name="connsiteX5" fmla="*/ 158945 w 269799"/>
                  <a:gd name="connsiteY5" fmla="*/ 0 h 540382"/>
                  <a:gd name="connsiteX6" fmla="*/ 269799 w 269799"/>
                  <a:gd name="connsiteY6" fmla="*/ 31673 h 540382"/>
                  <a:gd name="connsiteX7" fmla="*/ 254384 w 269799"/>
                  <a:gd name="connsiteY7" fmla="*/ 93334 h 540382"/>
                  <a:gd name="connsiteX8" fmla="*/ 131001 w 269799"/>
                  <a:gd name="connsiteY8" fmla="*/ 64862 h 540382"/>
                  <a:gd name="connsiteX9" fmla="*/ 152197 w 269799"/>
                  <a:gd name="connsiteY9" fmla="*/ 33425 h 54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799" h="540382">
                    <a:moveTo>
                      <a:pt x="0" y="100959"/>
                    </a:moveTo>
                    <a:lnTo>
                      <a:pt x="38565" y="108745"/>
                    </a:lnTo>
                    <a:lnTo>
                      <a:pt x="71712" y="102053"/>
                    </a:lnTo>
                    <a:lnTo>
                      <a:pt x="208137" y="524967"/>
                    </a:lnTo>
                    <a:lnTo>
                      <a:pt x="146475" y="540382"/>
                    </a:lnTo>
                    <a:close/>
                    <a:moveTo>
                      <a:pt x="158945" y="0"/>
                    </a:moveTo>
                    <a:lnTo>
                      <a:pt x="269799" y="31673"/>
                    </a:lnTo>
                    <a:lnTo>
                      <a:pt x="254384" y="93334"/>
                    </a:lnTo>
                    <a:lnTo>
                      <a:pt x="131001" y="64862"/>
                    </a:lnTo>
                    <a:lnTo>
                      <a:pt x="152197" y="33425"/>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Line 2550">
                <a:extLst>
                  <a:ext uri="{FF2B5EF4-FFF2-40B4-BE49-F238E27FC236}">
                    <a16:creationId xmlns:a16="http://schemas.microsoft.com/office/drawing/2014/main" id="{60223A58-56D5-C6B9-848B-C75D3BE419AF}"/>
                  </a:ext>
                </a:extLst>
              </p:cNvPr>
              <p:cNvSpPr>
                <a:spLocks noChangeShapeType="1"/>
              </p:cNvSpPr>
              <p:nvPr/>
            </p:nvSpPr>
            <p:spPr bwMode="auto">
              <a:xfrm flipH="1" flipV="1">
                <a:off x="6860415" y="4472847"/>
                <a:ext cx="215814" cy="647443"/>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2551">
                <a:extLst>
                  <a:ext uri="{FF2B5EF4-FFF2-40B4-BE49-F238E27FC236}">
                    <a16:creationId xmlns:a16="http://schemas.microsoft.com/office/drawing/2014/main" id="{A89C46BA-30CF-B1D6-3260-058CCA42EFE8}"/>
                  </a:ext>
                </a:extLst>
              </p:cNvPr>
              <p:cNvSpPr>
                <a:spLocks/>
              </p:cNvSpPr>
              <p:nvPr/>
            </p:nvSpPr>
            <p:spPr bwMode="auto">
              <a:xfrm>
                <a:off x="6829584" y="4457427"/>
                <a:ext cx="292895" cy="678273"/>
              </a:xfrm>
              <a:custGeom>
                <a:avLst/>
                <a:gdLst>
                  <a:gd name="T0" fmla="*/ 143 w 143"/>
                  <a:gd name="T1" fmla="*/ 328 h 339"/>
                  <a:gd name="T2" fmla="*/ 32 w 143"/>
                  <a:gd name="T3" fmla="*/ 0 h 339"/>
                  <a:gd name="T4" fmla="*/ 0 w 143"/>
                  <a:gd name="T5" fmla="*/ 11 h 339"/>
                  <a:gd name="T6" fmla="*/ 111 w 143"/>
                  <a:gd name="T7" fmla="*/ 339 h 339"/>
                </a:gdLst>
                <a:ahLst/>
                <a:cxnLst>
                  <a:cxn ang="0">
                    <a:pos x="T0" y="T1"/>
                  </a:cxn>
                  <a:cxn ang="0">
                    <a:pos x="T2" y="T3"/>
                  </a:cxn>
                  <a:cxn ang="0">
                    <a:pos x="T4" y="T5"/>
                  </a:cxn>
                  <a:cxn ang="0">
                    <a:pos x="T6" y="T7"/>
                  </a:cxn>
                </a:cxnLst>
                <a:rect l="0" t="0" r="r" b="b"/>
                <a:pathLst>
                  <a:path w="143" h="339">
                    <a:moveTo>
                      <a:pt x="143" y="328"/>
                    </a:moveTo>
                    <a:lnTo>
                      <a:pt x="32" y="0"/>
                    </a:lnTo>
                    <a:lnTo>
                      <a:pt x="0" y="11"/>
                    </a:lnTo>
                    <a:lnTo>
                      <a:pt x="111" y="339"/>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Line 2552">
                <a:extLst>
                  <a:ext uri="{FF2B5EF4-FFF2-40B4-BE49-F238E27FC236}">
                    <a16:creationId xmlns:a16="http://schemas.microsoft.com/office/drawing/2014/main" id="{C44A8C3F-A1A2-6C4D-41AD-F880307CAA81}"/>
                  </a:ext>
                </a:extLst>
              </p:cNvPr>
              <p:cNvSpPr>
                <a:spLocks noChangeShapeType="1"/>
              </p:cNvSpPr>
              <p:nvPr/>
            </p:nvSpPr>
            <p:spPr bwMode="auto">
              <a:xfrm flipH="1" flipV="1">
                <a:off x="7107060" y="5181951"/>
                <a:ext cx="30831" cy="92492"/>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2553">
                <a:extLst>
                  <a:ext uri="{FF2B5EF4-FFF2-40B4-BE49-F238E27FC236}">
                    <a16:creationId xmlns:a16="http://schemas.microsoft.com/office/drawing/2014/main" id="{34CBAA24-E316-37EB-1266-91CB5ABAEECF}"/>
                  </a:ext>
                </a:extLst>
              </p:cNvPr>
              <p:cNvSpPr>
                <a:spLocks/>
              </p:cNvSpPr>
              <p:nvPr/>
            </p:nvSpPr>
            <p:spPr bwMode="auto">
              <a:xfrm>
                <a:off x="7076229" y="5181951"/>
                <a:ext cx="92492" cy="107912"/>
              </a:xfrm>
              <a:custGeom>
                <a:avLst/>
                <a:gdLst>
                  <a:gd name="T0" fmla="*/ 46 w 46"/>
                  <a:gd name="T1" fmla="*/ 42 h 53"/>
                  <a:gd name="T2" fmla="*/ 32 w 46"/>
                  <a:gd name="T3" fmla="*/ 0 h 53"/>
                  <a:gd name="T4" fmla="*/ 0 w 46"/>
                  <a:gd name="T5" fmla="*/ 11 h 53"/>
                  <a:gd name="T6" fmla="*/ 15 w 46"/>
                  <a:gd name="T7" fmla="*/ 53 h 53"/>
                </a:gdLst>
                <a:ahLst/>
                <a:cxnLst>
                  <a:cxn ang="0">
                    <a:pos x="T0" y="T1"/>
                  </a:cxn>
                  <a:cxn ang="0">
                    <a:pos x="T2" y="T3"/>
                  </a:cxn>
                  <a:cxn ang="0">
                    <a:pos x="T4" y="T5"/>
                  </a:cxn>
                  <a:cxn ang="0">
                    <a:pos x="T6" y="T7"/>
                  </a:cxn>
                </a:cxnLst>
                <a:rect l="0" t="0" r="r" b="b"/>
                <a:pathLst>
                  <a:path w="46" h="53">
                    <a:moveTo>
                      <a:pt x="46" y="42"/>
                    </a:moveTo>
                    <a:lnTo>
                      <a:pt x="32" y="0"/>
                    </a:lnTo>
                    <a:lnTo>
                      <a:pt x="0" y="11"/>
                    </a:lnTo>
                    <a:lnTo>
                      <a:pt x="15" y="53"/>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Shape 3005">
                <a:extLst>
                  <a:ext uri="{FF2B5EF4-FFF2-40B4-BE49-F238E27FC236}">
                    <a16:creationId xmlns:a16="http://schemas.microsoft.com/office/drawing/2014/main" id="{5F3C8C68-7196-967E-A90E-C5A67CA42D95}"/>
                  </a:ext>
                </a:extLst>
              </p:cNvPr>
              <p:cNvSpPr>
                <a:spLocks/>
              </p:cNvSpPr>
              <p:nvPr/>
            </p:nvSpPr>
            <p:spPr bwMode="auto">
              <a:xfrm>
                <a:off x="7122480" y="5336104"/>
                <a:ext cx="308306" cy="177305"/>
              </a:xfrm>
              <a:custGeom>
                <a:avLst/>
                <a:gdLst>
                  <a:gd name="connsiteX0" fmla="*/ 262060 w 308306"/>
                  <a:gd name="connsiteY0" fmla="*/ 46247 h 177305"/>
                  <a:gd name="connsiteX1" fmla="*/ 308306 w 308306"/>
                  <a:gd name="connsiteY1" fmla="*/ 107909 h 177305"/>
                  <a:gd name="connsiteX2" fmla="*/ 211154 w 308306"/>
                  <a:gd name="connsiteY2" fmla="*/ 177305 h 177305"/>
                  <a:gd name="connsiteX3" fmla="*/ 206124 w 308306"/>
                  <a:gd name="connsiteY3" fmla="*/ 152393 h 177305"/>
                  <a:gd name="connsiteX4" fmla="*/ 179695 w 308306"/>
                  <a:gd name="connsiteY4" fmla="*/ 113193 h 177305"/>
                  <a:gd name="connsiteX5" fmla="*/ 177710 w 308306"/>
                  <a:gd name="connsiteY5" fmla="*/ 111855 h 177305"/>
                  <a:gd name="connsiteX6" fmla="*/ 61661 w 308306"/>
                  <a:gd name="connsiteY6" fmla="*/ 0 h 177305"/>
                  <a:gd name="connsiteX7" fmla="*/ 92490 w 308306"/>
                  <a:gd name="connsiteY7" fmla="*/ 77073 h 177305"/>
                  <a:gd name="connsiteX8" fmla="*/ 44490 w 308306"/>
                  <a:gd name="connsiteY8" fmla="*/ 86764 h 177305"/>
                  <a:gd name="connsiteX9" fmla="*/ 30334 w 308306"/>
                  <a:gd name="connsiteY9" fmla="*/ 96308 h 177305"/>
                  <a:gd name="connsiteX10" fmla="*/ 0 w 308306"/>
                  <a:gd name="connsiteY10" fmla="*/ 15416 h 17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8306" h="177305">
                    <a:moveTo>
                      <a:pt x="262060" y="46247"/>
                    </a:moveTo>
                    <a:lnTo>
                      <a:pt x="308306" y="107909"/>
                    </a:lnTo>
                    <a:lnTo>
                      <a:pt x="211154" y="177305"/>
                    </a:lnTo>
                    <a:lnTo>
                      <a:pt x="206124" y="152393"/>
                    </a:lnTo>
                    <a:cubicBezTo>
                      <a:pt x="199883" y="137638"/>
                      <a:pt x="190853" y="124351"/>
                      <a:pt x="179695" y="113193"/>
                    </a:cubicBezTo>
                    <a:lnTo>
                      <a:pt x="177710" y="111855"/>
                    </a:lnTo>
                    <a:close/>
                    <a:moveTo>
                      <a:pt x="61661" y="0"/>
                    </a:moveTo>
                    <a:lnTo>
                      <a:pt x="92490" y="77073"/>
                    </a:lnTo>
                    <a:lnTo>
                      <a:pt x="44490" y="86764"/>
                    </a:lnTo>
                    <a:lnTo>
                      <a:pt x="30334" y="96308"/>
                    </a:lnTo>
                    <a:lnTo>
                      <a:pt x="0" y="15416"/>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2556">
                <a:extLst>
                  <a:ext uri="{FF2B5EF4-FFF2-40B4-BE49-F238E27FC236}">
                    <a16:creationId xmlns:a16="http://schemas.microsoft.com/office/drawing/2014/main" id="{4B7DF0D3-8CB5-2442-450B-8ADDA5060AA9}"/>
                  </a:ext>
                </a:extLst>
              </p:cNvPr>
              <p:cNvSpPr>
                <a:spLocks/>
              </p:cNvSpPr>
              <p:nvPr/>
            </p:nvSpPr>
            <p:spPr bwMode="auto">
              <a:xfrm>
                <a:off x="6536698" y="3686662"/>
                <a:ext cx="308306" cy="308306"/>
              </a:xfrm>
              <a:custGeom>
                <a:avLst/>
                <a:gdLst>
                  <a:gd name="T0" fmla="*/ 140 w 157"/>
                  <a:gd name="T1" fmla="*/ 79 h 157"/>
                  <a:gd name="T2" fmla="*/ 123 w 157"/>
                  <a:gd name="T3" fmla="*/ 79 h 157"/>
                  <a:gd name="T4" fmla="*/ 78 w 157"/>
                  <a:gd name="T5" fmla="*/ 124 h 157"/>
                  <a:gd name="T6" fmla="*/ 33 w 157"/>
                  <a:gd name="T7" fmla="*/ 79 h 157"/>
                  <a:gd name="T8" fmla="*/ 78 w 157"/>
                  <a:gd name="T9" fmla="*/ 34 h 157"/>
                  <a:gd name="T10" fmla="*/ 123 w 157"/>
                  <a:gd name="T11" fmla="*/ 79 h 157"/>
                  <a:gd name="T12" fmla="*/ 140 w 157"/>
                  <a:gd name="T13" fmla="*/ 79 h 157"/>
                  <a:gd name="T14" fmla="*/ 157 w 157"/>
                  <a:gd name="T15" fmla="*/ 79 h 157"/>
                  <a:gd name="T16" fmla="*/ 78 w 157"/>
                  <a:gd name="T17" fmla="*/ 0 h 157"/>
                  <a:gd name="T18" fmla="*/ 0 w 157"/>
                  <a:gd name="T19" fmla="*/ 79 h 157"/>
                  <a:gd name="T20" fmla="*/ 78 w 157"/>
                  <a:gd name="T21" fmla="*/ 157 h 157"/>
                  <a:gd name="T22" fmla="*/ 157 w 157"/>
                  <a:gd name="T23" fmla="*/ 79 h 157"/>
                  <a:gd name="T24" fmla="*/ 140 w 157"/>
                  <a:gd name="T25"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7">
                    <a:moveTo>
                      <a:pt x="140" y="79"/>
                    </a:moveTo>
                    <a:lnTo>
                      <a:pt x="123" y="79"/>
                    </a:lnTo>
                    <a:cubicBezTo>
                      <a:pt x="123" y="104"/>
                      <a:pt x="103" y="124"/>
                      <a:pt x="78" y="124"/>
                    </a:cubicBezTo>
                    <a:cubicBezTo>
                      <a:pt x="53" y="124"/>
                      <a:pt x="33" y="104"/>
                      <a:pt x="33" y="79"/>
                    </a:cubicBezTo>
                    <a:cubicBezTo>
                      <a:pt x="33" y="54"/>
                      <a:pt x="53" y="34"/>
                      <a:pt x="78" y="34"/>
                    </a:cubicBezTo>
                    <a:cubicBezTo>
                      <a:pt x="103" y="34"/>
                      <a:pt x="123" y="54"/>
                      <a:pt x="123" y="79"/>
                    </a:cubicBezTo>
                    <a:lnTo>
                      <a:pt x="140" y="79"/>
                    </a:lnTo>
                    <a:lnTo>
                      <a:pt x="157" y="79"/>
                    </a:lnTo>
                    <a:cubicBezTo>
                      <a:pt x="157" y="35"/>
                      <a:pt x="121" y="0"/>
                      <a:pt x="78" y="0"/>
                    </a:cubicBezTo>
                    <a:cubicBezTo>
                      <a:pt x="35" y="0"/>
                      <a:pt x="0" y="35"/>
                      <a:pt x="0" y="79"/>
                    </a:cubicBezTo>
                    <a:cubicBezTo>
                      <a:pt x="0" y="122"/>
                      <a:pt x="35" y="157"/>
                      <a:pt x="78" y="157"/>
                    </a:cubicBezTo>
                    <a:cubicBezTo>
                      <a:pt x="121" y="157"/>
                      <a:pt x="157" y="122"/>
                      <a:pt x="157" y="79"/>
                    </a:cubicBezTo>
                    <a:lnTo>
                      <a:pt x="140" y="7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2558">
                <a:extLst>
                  <a:ext uri="{FF2B5EF4-FFF2-40B4-BE49-F238E27FC236}">
                    <a16:creationId xmlns:a16="http://schemas.microsoft.com/office/drawing/2014/main" id="{E36EA7C9-83C7-EA57-E4D1-684967C3D598}"/>
                  </a:ext>
                </a:extLst>
              </p:cNvPr>
              <p:cNvSpPr>
                <a:spLocks/>
              </p:cNvSpPr>
              <p:nvPr/>
            </p:nvSpPr>
            <p:spPr bwMode="auto">
              <a:xfrm>
                <a:off x="8494436" y="4179952"/>
                <a:ext cx="308306" cy="308306"/>
              </a:xfrm>
              <a:custGeom>
                <a:avLst/>
                <a:gdLst>
                  <a:gd name="T0" fmla="*/ 140 w 157"/>
                  <a:gd name="T1" fmla="*/ 78 h 157"/>
                  <a:gd name="T2" fmla="*/ 124 w 157"/>
                  <a:gd name="T3" fmla="*/ 78 h 157"/>
                  <a:gd name="T4" fmla="*/ 78 w 157"/>
                  <a:gd name="T5" fmla="*/ 123 h 157"/>
                  <a:gd name="T6" fmla="*/ 33 w 157"/>
                  <a:gd name="T7" fmla="*/ 78 h 157"/>
                  <a:gd name="T8" fmla="*/ 78 w 157"/>
                  <a:gd name="T9" fmla="*/ 33 h 157"/>
                  <a:gd name="T10" fmla="*/ 124 w 157"/>
                  <a:gd name="T11" fmla="*/ 78 h 157"/>
                  <a:gd name="T12" fmla="*/ 140 w 157"/>
                  <a:gd name="T13" fmla="*/ 78 h 157"/>
                  <a:gd name="T14" fmla="*/ 157 w 157"/>
                  <a:gd name="T15" fmla="*/ 78 h 157"/>
                  <a:gd name="T16" fmla="*/ 78 w 157"/>
                  <a:gd name="T17" fmla="*/ 0 h 157"/>
                  <a:gd name="T18" fmla="*/ 0 w 157"/>
                  <a:gd name="T19" fmla="*/ 78 h 157"/>
                  <a:gd name="T20" fmla="*/ 78 w 157"/>
                  <a:gd name="T21" fmla="*/ 157 h 157"/>
                  <a:gd name="T22" fmla="*/ 157 w 157"/>
                  <a:gd name="T23" fmla="*/ 78 h 157"/>
                  <a:gd name="T24" fmla="*/ 140 w 157"/>
                  <a:gd name="T25"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7">
                    <a:moveTo>
                      <a:pt x="140" y="78"/>
                    </a:moveTo>
                    <a:lnTo>
                      <a:pt x="124" y="78"/>
                    </a:lnTo>
                    <a:cubicBezTo>
                      <a:pt x="124" y="103"/>
                      <a:pt x="103" y="123"/>
                      <a:pt x="78" y="123"/>
                    </a:cubicBezTo>
                    <a:cubicBezTo>
                      <a:pt x="54" y="123"/>
                      <a:pt x="33" y="103"/>
                      <a:pt x="33" y="78"/>
                    </a:cubicBezTo>
                    <a:cubicBezTo>
                      <a:pt x="33" y="53"/>
                      <a:pt x="54" y="33"/>
                      <a:pt x="78" y="33"/>
                    </a:cubicBezTo>
                    <a:cubicBezTo>
                      <a:pt x="103" y="33"/>
                      <a:pt x="124" y="53"/>
                      <a:pt x="124" y="78"/>
                    </a:cubicBezTo>
                    <a:lnTo>
                      <a:pt x="140" y="78"/>
                    </a:lnTo>
                    <a:lnTo>
                      <a:pt x="157" y="78"/>
                    </a:lnTo>
                    <a:cubicBezTo>
                      <a:pt x="157" y="35"/>
                      <a:pt x="122" y="0"/>
                      <a:pt x="78" y="0"/>
                    </a:cubicBezTo>
                    <a:cubicBezTo>
                      <a:pt x="35" y="0"/>
                      <a:pt x="0" y="35"/>
                      <a:pt x="0" y="78"/>
                    </a:cubicBezTo>
                    <a:cubicBezTo>
                      <a:pt x="0" y="122"/>
                      <a:pt x="35" y="157"/>
                      <a:pt x="78" y="157"/>
                    </a:cubicBezTo>
                    <a:cubicBezTo>
                      <a:pt x="122" y="157"/>
                      <a:pt x="157" y="122"/>
                      <a:pt x="157" y="78"/>
                    </a:cubicBezTo>
                    <a:lnTo>
                      <a:pt x="140" y="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2560">
                <a:extLst>
                  <a:ext uri="{FF2B5EF4-FFF2-40B4-BE49-F238E27FC236}">
                    <a16:creationId xmlns:a16="http://schemas.microsoft.com/office/drawing/2014/main" id="{0D75E69A-7DD4-4D65-EDF0-494857FEE490}"/>
                  </a:ext>
                </a:extLst>
              </p:cNvPr>
              <p:cNvSpPr>
                <a:spLocks/>
              </p:cNvSpPr>
              <p:nvPr/>
            </p:nvSpPr>
            <p:spPr bwMode="auto">
              <a:xfrm>
                <a:off x="7060819" y="5382346"/>
                <a:ext cx="308306" cy="308306"/>
              </a:xfrm>
              <a:custGeom>
                <a:avLst/>
                <a:gdLst>
                  <a:gd name="T0" fmla="*/ 141 w 157"/>
                  <a:gd name="T1" fmla="*/ 78 h 156"/>
                  <a:gd name="T2" fmla="*/ 124 w 157"/>
                  <a:gd name="T3" fmla="*/ 78 h 156"/>
                  <a:gd name="T4" fmla="*/ 79 w 157"/>
                  <a:gd name="T5" fmla="*/ 123 h 156"/>
                  <a:gd name="T6" fmla="*/ 34 w 157"/>
                  <a:gd name="T7" fmla="*/ 78 h 156"/>
                  <a:gd name="T8" fmla="*/ 79 w 157"/>
                  <a:gd name="T9" fmla="*/ 33 h 156"/>
                  <a:gd name="T10" fmla="*/ 124 w 157"/>
                  <a:gd name="T11" fmla="*/ 78 h 156"/>
                  <a:gd name="T12" fmla="*/ 141 w 157"/>
                  <a:gd name="T13" fmla="*/ 78 h 156"/>
                  <a:gd name="T14" fmla="*/ 157 w 157"/>
                  <a:gd name="T15" fmla="*/ 78 h 156"/>
                  <a:gd name="T16" fmla="*/ 79 w 157"/>
                  <a:gd name="T17" fmla="*/ 0 h 156"/>
                  <a:gd name="T18" fmla="*/ 0 w 157"/>
                  <a:gd name="T19" fmla="*/ 78 h 156"/>
                  <a:gd name="T20" fmla="*/ 79 w 157"/>
                  <a:gd name="T21" fmla="*/ 156 h 156"/>
                  <a:gd name="T22" fmla="*/ 157 w 157"/>
                  <a:gd name="T23" fmla="*/ 78 h 156"/>
                  <a:gd name="T24" fmla="*/ 141 w 157"/>
                  <a:gd name="T2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6">
                    <a:moveTo>
                      <a:pt x="141" y="78"/>
                    </a:moveTo>
                    <a:lnTo>
                      <a:pt x="124" y="78"/>
                    </a:lnTo>
                    <a:cubicBezTo>
                      <a:pt x="124" y="103"/>
                      <a:pt x="104" y="123"/>
                      <a:pt x="79" y="123"/>
                    </a:cubicBezTo>
                    <a:cubicBezTo>
                      <a:pt x="54" y="123"/>
                      <a:pt x="34" y="103"/>
                      <a:pt x="34" y="78"/>
                    </a:cubicBezTo>
                    <a:cubicBezTo>
                      <a:pt x="34" y="53"/>
                      <a:pt x="54" y="33"/>
                      <a:pt x="79" y="33"/>
                    </a:cubicBezTo>
                    <a:cubicBezTo>
                      <a:pt x="104" y="33"/>
                      <a:pt x="124" y="53"/>
                      <a:pt x="124" y="78"/>
                    </a:cubicBezTo>
                    <a:lnTo>
                      <a:pt x="141" y="78"/>
                    </a:lnTo>
                    <a:lnTo>
                      <a:pt x="157" y="78"/>
                    </a:lnTo>
                    <a:cubicBezTo>
                      <a:pt x="157" y="35"/>
                      <a:pt x="122" y="0"/>
                      <a:pt x="79" y="0"/>
                    </a:cubicBezTo>
                    <a:cubicBezTo>
                      <a:pt x="35" y="0"/>
                      <a:pt x="0" y="35"/>
                      <a:pt x="0" y="78"/>
                    </a:cubicBezTo>
                    <a:cubicBezTo>
                      <a:pt x="0" y="121"/>
                      <a:pt x="35" y="156"/>
                      <a:pt x="79" y="156"/>
                    </a:cubicBezTo>
                    <a:cubicBezTo>
                      <a:pt x="122" y="156"/>
                      <a:pt x="157" y="121"/>
                      <a:pt x="157" y="78"/>
                    </a:cubicBezTo>
                    <a:lnTo>
                      <a:pt x="141" y="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2562">
                <a:extLst>
                  <a:ext uri="{FF2B5EF4-FFF2-40B4-BE49-F238E27FC236}">
                    <a16:creationId xmlns:a16="http://schemas.microsoft.com/office/drawing/2014/main" id="{5ABA7F4F-8567-F3C4-DF0D-026989E9BA5A}"/>
                  </a:ext>
                </a:extLst>
              </p:cNvPr>
              <p:cNvSpPr>
                <a:spLocks/>
              </p:cNvSpPr>
              <p:nvPr/>
            </p:nvSpPr>
            <p:spPr bwMode="auto">
              <a:xfrm>
                <a:off x="7045398" y="4657831"/>
                <a:ext cx="554951" cy="739935"/>
              </a:xfrm>
              <a:custGeom>
                <a:avLst/>
                <a:gdLst>
                  <a:gd name="T0" fmla="*/ 259 w 276"/>
                  <a:gd name="T1" fmla="*/ 129 h 370"/>
                  <a:gd name="T2" fmla="*/ 243 w 276"/>
                  <a:gd name="T3" fmla="*/ 129 h 370"/>
                  <a:gd name="T4" fmla="*/ 238 w 276"/>
                  <a:gd name="T5" fmla="*/ 151 h 370"/>
                  <a:gd name="T6" fmla="*/ 175 w 276"/>
                  <a:gd name="T7" fmla="*/ 267 h 370"/>
                  <a:gd name="T8" fmla="*/ 142 w 276"/>
                  <a:gd name="T9" fmla="*/ 314 h 370"/>
                  <a:gd name="T10" fmla="*/ 132 w 276"/>
                  <a:gd name="T11" fmla="*/ 328 h 370"/>
                  <a:gd name="T12" fmla="*/ 128 w 276"/>
                  <a:gd name="T13" fmla="*/ 333 h 370"/>
                  <a:gd name="T14" fmla="*/ 141 w 276"/>
                  <a:gd name="T15" fmla="*/ 343 h 370"/>
                  <a:gd name="T16" fmla="*/ 154 w 276"/>
                  <a:gd name="T17" fmla="*/ 333 h 370"/>
                  <a:gd name="T18" fmla="*/ 153 w 276"/>
                  <a:gd name="T19" fmla="*/ 331 h 370"/>
                  <a:gd name="T20" fmla="*/ 87 w 276"/>
                  <a:gd name="T21" fmla="*/ 242 h 370"/>
                  <a:gd name="T22" fmla="*/ 49 w 276"/>
                  <a:gd name="T23" fmla="*/ 177 h 370"/>
                  <a:gd name="T24" fmla="*/ 37 w 276"/>
                  <a:gd name="T25" fmla="*/ 149 h 370"/>
                  <a:gd name="T26" fmla="*/ 33 w 276"/>
                  <a:gd name="T27" fmla="*/ 129 h 370"/>
                  <a:gd name="T28" fmla="*/ 63 w 276"/>
                  <a:gd name="T29" fmla="*/ 62 h 370"/>
                  <a:gd name="T30" fmla="*/ 138 w 276"/>
                  <a:gd name="T31" fmla="*/ 33 h 370"/>
                  <a:gd name="T32" fmla="*/ 212 w 276"/>
                  <a:gd name="T33" fmla="*/ 62 h 370"/>
                  <a:gd name="T34" fmla="*/ 243 w 276"/>
                  <a:gd name="T35" fmla="*/ 129 h 370"/>
                  <a:gd name="T36" fmla="*/ 259 w 276"/>
                  <a:gd name="T37" fmla="*/ 129 h 370"/>
                  <a:gd name="T38" fmla="*/ 276 w 276"/>
                  <a:gd name="T39" fmla="*/ 129 h 370"/>
                  <a:gd name="T40" fmla="*/ 235 w 276"/>
                  <a:gd name="T41" fmla="*/ 37 h 370"/>
                  <a:gd name="T42" fmla="*/ 138 w 276"/>
                  <a:gd name="T43" fmla="*/ 0 h 370"/>
                  <a:gd name="T44" fmla="*/ 41 w 276"/>
                  <a:gd name="T45" fmla="*/ 37 h 370"/>
                  <a:gd name="T46" fmla="*/ 0 w 276"/>
                  <a:gd name="T47" fmla="*/ 129 h 370"/>
                  <a:gd name="T48" fmla="*/ 6 w 276"/>
                  <a:gd name="T49" fmla="*/ 162 h 370"/>
                  <a:gd name="T50" fmla="*/ 77 w 276"/>
                  <a:gd name="T51" fmla="*/ 286 h 370"/>
                  <a:gd name="T52" fmla="*/ 128 w 276"/>
                  <a:gd name="T53" fmla="*/ 354 h 370"/>
                  <a:gd name="T54" fmla="*/ 142 w 276"/>
                  <a:gd name="T55" fmla="*/ 370 h 370"/>
                  <a:gd name="T56" fmla="*/ 154 w 276"/>
                  <a:gd name="T57" fmla="*/ 354 h 370"/>
                  <a:gd name="T58" fmla="*/ 214 w 276"/>
                  <a:gd name="T59" fmla="*/ 269 h 370"/>
                  <a:gd name="T60" fmla="*/ 256 w 276"/>
                  <a:gd name="T61" fmla="*/ 196 h 370"/>
                  <a:gd name="T62" fmla="*/ 270 w 276"/>
                  <a:gd name="T63" fmla="*/ 162 h 370"/>
                  <a:gd name="T64" fmla="*/ 276 w 276"/>
                  <a:gd name="T65" fmla="*/ 129 h 370"/>
                  <a:gd name="T66" fmla="*/ 259 w 276"/>
                  <a:gd name="T67" fmla="*/ 129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370">
                    <a:moveTo>
                      <a:pt x="259" y="129"/>
                    </a:moveTo>
                    <a:lnTo>
                      <a:pt x="243" y="129"/>
                    </a:lnTo>
                    <a:cubicBezTo>
                      <a:pt x="243" y="134"/>
                      <a:pt x="241" y="142"/>
                      <a:pt x="238" y="151"/>
                    </a:cubicBezTo>
                    <a:cubicBezTo>
                      <a:pt x="228" y="183"/>
                      <a:pt x="201" y="230"/>
                      <a:pt x="175" y="267"/>
                    </a:cubicBezTo>
                    <a:cubicBezTo>
                      <a:pt x="163" y="286"/>
                      <a:pt x="151" y="302"/>
                      <a:pt x="142" y="314"/>
                    </a:cubicBezTo>
                    <a:cubicBezTo>
                      <a:pt x="138" y="320"/>
                      <a:pt x="134" y="325"/>
                      <a:pt x="132" y="328"/>
                    </a:cubicBezTo>
                    <a:cubicBezTo>
                      <a:pt x="129" y="332"/>
                      <a:pt x="128" y="333"/>
                      <a:pt x="128" y="333"/>
                    </a:cubicBezTo>
                    <a:lnTo>
                      <a:pt x="141" y="343"/>
                    </a:lnTo>
                    <a:lnTo>
                      <a:pt x="154" y="333"/>
                    </a:lnTo>
                    <a:lnTo>
                      <a:pt x="153" y="331"/>
                    </a:lnTo>
                    <a:cubicBezTo>
                      <a:pt x="146" y="323"/>
                      <a:pt x="116" y="285"/>
                      <a:pt x="87" y="242"/>
                    </a:cubicBezTo>
                    <a:cubicBezTo>
                      <a:pt x="73" y="220"/>
                      <a:pt x="59" y="198"/>
                      <a:pt x="49" y="177"/>
                    </a:cubicBezTo>
                    <a:cubicBezTo>
                      <a:pt x="44" y="167"/>
                      <a:pt x="40" y="158"/>
                      <a:pt x="37" y="149"/>
                    </a:cubicBezTo>
                    <a:cubicBezTo>
                      <a:pt x="35" y="141"/>
                      <a:pt x="33" y="134"/>
                      <a:pt x="33" y="129"/>
                    </a:cubicBezTo>
                    <a:cubicBezTo>
                      <a:pt x="33" y="103"/>
                      <a:pt x="45" y="79"/>
                      <a:pt x="63" y="62"/>
                    </a:cubicBezTo>
                    <a:cubicBezTo>
                      <a:pt x="82" y="44"/>
                      <a:pt x="109" y="33"/>
                      <a:pt x="138" y="33"/>
                    </a:cubicBezTo>
                    <a:cubicBezTo>
                      <a:pt x="167" y="33"/>
                      <a:pt x="194" y="44"/>
                      <a:pt x="212" y="62"/>
                    </a:cubicBezTo>
                    <a:cubicBezTo>
                      <a:pt x="231" y="79"/>
                      <a:pt x="243" y="103"/>
                      <a:pt x="243" y="129"/>
                    </a:cubicBezTo>
                    <a:lnTo>
                      <a:pt x="259" y="129"/>
                    </a:lnTo>
                    <a:lnTo>
                      <a:pt x="276" y="129"/>
                    </a:lnTo>
                    <a:cubicBezTo>
                      <a:pt x="276" y="93"/>
                      <a:pt x="260" y="61"/>
                      <a:pt x="235" y="37"/>
                    </a:cubicBezTo>
                    <a:cubicBezTo>
                      <a:pt x="210" y="14"/>
                      <a:pt x="176" y="0"/>
                      <a:pt x="138" y="0"/>
                    </a:cubicBezTo>
                    <a:cubicBezTo>
                      <a:pt x="100" y="0"/>
                      <a:pt x="66" y="14"/>
                      <a:pt x="41" y="37"/>
                    </a:cubicBezTo>
                    <a:cubicBezTo>
                      <a:pt x="16" y="61"/>
                      <a:pt x="0" y="93"/>
                      <a:pt x="0" y="129"/>
                    </a:cubicBezTo>
                    <a:cubicBezTo>
                      <a:pt x="0" y="140"/>
                      <a:pt x="2" y="151"/>
                      <a:pt x="6" y="162"/>
                    </a:cubicBezTo>
                    <a:cubicBezTo>
                      <a:pt x="19" y="201"/>
                      <a:pt x="50" y="248"/>
                      <a:pt x="77" y="286"/>
                    </a:cubicBezTo>
                    <a:cubicBezTo>
                      <a:pt x="104" y="325"/>
                      <a:pt x="128" y="354"/>
                      <a:pt x="128" y="354"/>
                    </a:cubicBezTo>
                    <a:lnTo>
                      <a:pt x="142" y="370"/>
                    </a:lnTo>
                    <a:lnTo>
                      <a:pt x="154" y="354"/>
                    </a:lnTo>
                    <a:cubicBezTo>
                      <a:pt x="155" y="354"/>
                      <a:pt x="184" y="315"/>
                      <a:pt x="214" y="269"/>
                    </a:cubicBezTo>
                    <a:cubicBezTo>
                      <a:pt x="229" y="246"/>
                      <a:pt x="244" y="220"/>
                      <a:pt x="256" y="196"/>
                    </a:cubicBezTo>
                    <a:cubicBezTo>
                      <a:pt x="262" y="184"/>
                      <a:pt x="267" y="173"/>
                      <a:pt x="270" y="162"/>
                    </a:cubicBezTo>
                    <a:cubicBezTo>
                      <a:pt x="274" y="150"/>
                      <a:pt x="276" y="140"/>
                      <a:pt x="276" y="129"/>
                    </a:cubicBezTo>
                    <a:lnTo>
                      <a:pt x="259" y="129"/>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2564">
                <a:extLst>
                  <a:ext uri="{FF2B5EF4-FFF2-40B4-BE49-F238E27FC236}">
                    <a16:creationId xmlns:a16="http://schemas.microsoft.com/office/drawing/2014/main" id="{49907DD0-466B-6F83-0437-E77E7890A9B4}"/>
                  </a:ext>
                </a:extLst>
              </p:cNvPr>
              <p:cNvSpPr>
                <a:spLocks/>
              </p:cNvSpPr>
              <p:nvPr/>
            </p:nvSpPr>
            <p:spPr bwMode="auto">
              <a:xfrm>
                <a:off x="7153310" y="4750323"/>
                <a:ext cx="354557" cy="354557"/>
              </a:xfrm>
              <a:custGeom>
                <a:avLst/>
                <a:gdLst>
                  <a:gd name="T0" fmla="*/ 155 w 172"/>
                  <a:gd name="T1" fmla="*/ 88 h 175"/>
                  <a:gd name="T2" fmla="*/ 138 w 172"/>
                  <a:gd name="T3" fmla="*/ 88 h 175"/>
                  <a:gd name="T4" fmla="*/ 123 w 172"/>
                  <a:gd name="T5" fmla="*/ 126 h 175"/>
                  <a:gd name="T6" fmla="*/ 86 w 172"/>
                  <a:gd name="T7" fmla="*/ 142 h 175"/>
                  <a:gd name="T8" fmla="*/ 49 w 172"/>
                  <a:gd name="T9" fmla="*/ 126 h 175"/>
                  <a:gd name="T10" fmla="*/ 33 w 172"/>
                  <a:gd name="T11" fmla="*/ 88 h 175"/>
                  <a:gd name="T12" fmla="*/ 49 w 172"/>
                  <a:gd name="T13" fmla="*/ 49 h 175"/>
                  <a:gd name="T14" fmla="*/ 86 w 172"/>
                  <a:gd name="T15" fmla="*/ 34 h 175"/>
                  <a:gd name="T16" fmla="*/ 123 w 172"/>
                  <a:gd name="T17" fmla="*/ 49 h 175"/>
                  <a:gd name="T18" fmla="*/ 138 w 172"/>
                  <a:gd name="T19" fmla="*/ 88 h 175"/>
                  <a:gd name="T20" fmla="*/ 155 w 172"/>
                  <a:gd name="T21" fmla="*/ 88 h 175"/>
                  <a:gd name="T22" fmla="*/ 172 w 172"/>
                  <a:gd name="T23" fmla="*/ 88 h 175"/>
                  <a:gd name="T24" fmla="*/ 147 w 172"/>
                  <a:gd name="T25" fmla="*/ 26 h 175"/>
                  <a:gd name="T26" fmla="*/ 86 w 172"/>
                  <a:gd name="T27" fmla="*/ 0 h 175"/>
                  <a:gd name="T28" fmla="*/ 25 w 172"/>
                  <a:gd name="T29" fmla="*/ 26 h 175"/>
                  <a:gd name="T30" fmla="*/ 0 w 172"/>
                  <a:gd name="T31" fmla="*/ 88 h 175"/>
                  <a:gd name="T32" fmla="*/ 25 w 172"/>
                  <a:gd name="T33" fmla="*/ 150 h 175"/>
                  <a:gd name="T34" fmla="*/ 86 w 172"/>
                  <a:gd name="T35" fmla="*/ 175 h 175"/>
                  <a:gd name="T36" fmla="*/ 147 w 172"/>
                  <a:gd name="T37" fmla="*/ 150 h 175"/>
                  <a:gd name="T38" fmla="*/ 172 w 172"/>
                  <a:gd name="T39" fmla="*/ 88 h 175"/>
                  <a:gd name="T40" fmla="*/ 155 w 172"/>
                  <a:gd name="T41" fmla="*/ 8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2" h="175">
                    <a:moveTo>
                      <a:pt x="155" y="88"/>
                    </a:moveTo>
                    <a:lnTo>
                      <a:pt x="138" y="88"/>
                    </a:lnTo>
                    <a:cubicBezTo>
                      <a:pt x="138" y="103"/>
                      <a:pt x="132" y="116"/>
                      <a:pt x="123" y="126"/>
                    </a:cubicBezTo>
                    <a:cubicBezTo>
                      <a:pt x="113" y="136"/>
                      <a:pt x="100" y="142"/>
                      <a:pt x="86" y="142"/>
                    </a:cubicBezTo>
                    <a:cubicBezTo>
                      <a:pt x="71" y="142"/>
                      <a:pt x="58" y="136"/>
                      <a:pt x="49" y="126"/>
                    </a:cubicBezTo>
                    <a:cubicBezTo>
                      <a:pt x="39" y="116"/>
                      <a:pt x="33" y="103"/>
                      <a:pt x="33" y="88"/>
                    </a:cubicBezTo>
                    <a:cubicBezTo>
                      <a:pt x="33" y="73"/>
                      <a:pt x="39" y="59"/>
                      <a:pt x="49" y="49"/>
                    </a:cubicBezTo>
                    <a:cubicBezTo>
                      <a:pt x="58" y="40"/>
                      <a:pt x="71" y="34"/>
                      <a:pt x="86" y="34"/>
                    </a:cubicBezTo>
                    <a:cubicBezTo>
                      <a:pt x="100" y="34"/>
                      <a:pt x="113" y="40"/>
                      <a:pt x="123" y="49"/>
                    </a:cubicBezTo>
                    <a:cubicBezTo>
                      <a:pt x="132" y="59"/>
                      <a:pt x="138" y="73"/>
                      <a:pt x="138" y="88"/>
                    </a:cubicBezTo>
                    <a:lnTo>
                      <a:pt x="155" y="88"/>
                    </a:lnTo>
                    <a:lnTo>
                      <a:pt x="172" y="88"/>
                    </a:lnTo>
                    <a:cubicBezTo>
                      <a:pt x="172" y="64"/>
                      <a:pt x="162" y="42"/>
                      <a:pt x="147" y="26"/>
                    </a:cubicBezTo>
                    <a:cubicBezTo>
                      <a:pt x="131" y="10"/>
                      <a:pt x="110" y="0"/>
                      <a:pt x="86" y="0"/>
                    </a:cubicBezTo>
                    <a:cubicBezTo>
                      <a:pt x="62" y="0"/>
                      <a:pt x="40" y="10"/>
                      <a:pt x="25" y="26"/>
                    </a:cubicBezTo>
                    <a:cubicBezTo>
                      <a:pt x="10" y="42"/>
                      <a:pt x="0" y="64"/>
                      <a:pt x="0" y="88"/>
                    </a:cubicBezTo>
                    <a:cubicBezTo>
                      <a:pt x="0" y="112"/>
                      <a:pt x="10" y="134"/>
                      <a:pt x="25" y="150"/>
                    </a:cubicBezTo>
                    <a:cubicBezTo>
                      <a:pt x="40" y="165"/>
                      <a:pt x="62" y="175"/>
                      <a:pt x="86" y="175"/>
                    </a:cubicBezTo>
                    <a:cubicBezTo>
                      <a:pt x="110" y="175"/>
                      <a:pt x="131" y="165"/>
                      <a:pt x="147" y="150"/>
                    </a:cubicBezTo>
                    <a:cubicBezTo>
                      <a:pt x="162" y="134"/>
                      <a:pt x="172" y="112"/>
                      <a:pt x="172" y="88"/>
                    </a:cubicBezTo>
                    <a:lnTo>
                      <a:pt x="155" y="8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2566">
                <a:extLst>
                  <a:ext uri="{FF2B5EF4-FFF2-40B4-BE49-F238E27FC236}">
                    <a16:creationId xmlns:a16="http://schemas.microsoft.com/office/drawing/2014/main" id="{96267CDC-1C86-E2F9-972C-CBD13A104470}"/>
                  </a:ext>
                </a:extLst>
              </p:cNvPr>
              <p:cNvSpPr>
                <a:spLocks/>
              </p:cNvSpPr>
              <p:nvPr/>
            </p:nvSpPr>
            <p:spPr bwMode="auto">
              <a:xfrm>
                <a:off x="8417365" y="3486268"/>
                <a:ext cx="508710" cy="678273"/>
              </a:xfrm>
              <a:custGeom>
                <a:avLst/>
                <a:gdLst>
                  <a:gd name="T0" fmla="*/ 236 w 253"/>
                  <a:gd name="T1" fmla="*/ 119 h 340"/>
                  <a:gd name="T2" fmla="*/ 219 w 253"/>
                  <a:gd name="T3" fmla="*/ 119 h 340"/>
                  <a:gd name="T4" fmla="*/ 215 w 253"/>
                  <a:gd name="T5" fmla="*/ 139 h 340"/>
                  <a:gd name="T6" fmla="*/ 159 w 253"/>
                  <a:gd name="T7" fmla="*/ 243 h 340"/>
                  <a:gd name="T8" fmla="*/ 129 w 253"/>
                  <a:gd name="T9" fmla="*/ 286 h 340"/>
                  <a:gd name="T10" fmla="*/ 119 w 253"/>
                  <a:gd name="T11" fmla="*/ 298 h 340"/>
                  <a:gd name="T12" fmla="*/ 116 w 253"/>
                  <a:gd name="T13" fmla="*/ 303 h 340"/>
                  <a:gd name="T14" fmla="*/ 129 w 253"/>
                  <a:gd name="T15" fmla="*/ 313 h 340"/>
                  <a:gd name="T16" fmla="*/ 142 w 253"/>
                  <a:gd name="T17" fmla="*/ 302 h 340"/>
                  <a:gd name="T18" fmla="*/ 141 w 253"/>
                  <a:gd name="T19" fmla="*/ 301 h 340"/>
                  <a:gd name="T20" fmla="*/ 81 w 253"/>
                  <a:gd name="T21" fmla="*/ 220 h 340"/>
                  <a:gd name="T22" fmla="*/ 47 w 253"/>
                  <a:gd name="T23" fmla="*/ 162 h 340"/>
                  <a:gd name="T24" fmla="*/ 37 w 253"/>
                  <a:gd name="T25" fmla="*/ 137 h 340"/>
                  <a:gd name="T26" fmla="*/ 33 w 253"/>
                  <a:gd name="T27" fmla="*/ 119 h 340"/>
                  <a:gd name="T28" fmla="*/ 60 w 253"/>
                  <a:gd name="T29" fmla="*/ 59 h 340"/>
                  <a:gd name="T30" fmla="*/ 126 w 253"/>
                  <a:gd name="T31" fmla="*/ 34 h 340"/>
                  <a:gd name="T32" fmla="*/ 192 w 253"/>
                  <a:gd name="T33" fmla="*/ 59 h 340"/>
                  <a:gd name="T34" fmla="*/ 219 w 253"/>
                  <a:gd name="T35" fmla="*/ 119 h 340"/>
                  <a:gd name="T36" fmla="*/ 236 w 253"/>
                  <a:gd name="T37" fmla="*/ 119 h 340"/>
                  <a:gd name="T38" fmla="*/ 253 w 253"/>
                  <a:gd name="T39" fmla="*/ 119 h 340"/>
                  <a:gd name="T40" fmla="*/ 215 w 253"/>
                  <a:gd name="T41" fmla="*/ 35 h 340"/>
                  <a:gd name="T42" fmla="*/ 126 w 253"/>
                  <a:gd name="T43" fmla="*/ 0 h 340"/>
                  <a:gd name="T44" fmla="*/ 37 w 253"/>
                  <a:gd name="T45" fmla="*/ 35 h 340"/>
                  <a:gd name="T46" fmla="*/ 0 w 253"/>
                  <a:gd name="T47" fmla="*/ 119 h 340"/>
                  <a:gd name="T48" fmla="*/ 5 w 253"/>
                  <a:gd name="T49" fmla="*/ 149 h 340"/>
                  <a:gd name="T50" fmla="*/ 70 w 253"/>
                  <a:gd name="T51" fmla="*/ 262 h 340"/>
                  <a:gd name="T52" fmla="*/ 116 w 253"/>
                  <a:gd name="T53" fmla="*/ 324 h 340"/>
                  <a:gd name="T54" fmla="*/ 129 w 253"/>
                  <a:gd name="T55" fmla="*/ 340 h 340"/>
                  <a:gd name="T56" fmla="*/ 142 w 253"/>
                  <a:gd name="T57" fmla="*/ 323 h 340"/>
                  <a:gd name="T58" fmla="*/ 197 w 253"/>
                  <a:gd name="T59" fmla="*/ 246 h 340"/>
                  <a:gd name="T60" fmla="*/ 234 w 253"/>
                  <a:gd name="T61" fmla="*/ 181 h 340"/>
                  <a:gd name="T62" fmla="*/ 247 w 253"/>
                  <a:gd name="T63" fmla="*/ 149 h 340"/>
                  <a:gd name="T64" fmla="*/ 253 w 253"/>
                  <a:gd name="T65" fmla="*/ 119 h 340"/>
                  <a:gd name="T66" fmla="*/ 236 w 253"/>
                  <a:gd name="T67" fmla="*/ 11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3" h="340">
                    <a:moveTo>
                      <a:pt x="236" y="119"/>
                    </a:moveTo>
                    <a:lnTo>
                      <a:pt x="219" y="119"/>
                    </a:lnTo>
                    <a:cubicBezTo>
                      <a:pt x="219" y="124"/>
                      <a:pt x="218" y="131"/>
                      <a:pt x="215" y="139"/>
                    </a:cubicBezTo>
                    <a:cubicBezTo>
                      <a:pt x="206" y="168"/>
                      <a:pt x="181" y="210"/>
                      <a:pt x="159" y="243"/>
                    </a:cubicBezTo>
                    <a:cubicBezTo>
                      <a:pt x="147" y="260"/>
                      <a:pt x="137" y="275"/>
                      <a:pt x="129" y="286"/>
                    </a:cubicBezTo>
                    <a:cubicBezTo>
                      <a:pt x="125" y="291"/>
                      <a:pt x="122" y="295"/>
                      <a:pt x="119" y="298"/>
                    </a:cubicBezTo>
                    <a:cubicBezTo>
                      <a:pt x="117" y="301"/>
                      <a:pt x="116" y="303"/>
                      <a:pt x="116" y="303"/>
                    </a:cubicBezTo>
                    <a:lnTo>
                      <a:pt x="129" y="313"/>
                    </a:lnTo>
                    <a:lnTo>
                      <a:pt x="142" y="302"/>
                    </a:lnTo>
                    <a:lnTo>
                      <a:pt x="141" y="301"/>
                    </a:lnTo>
                    <a:cubicBezTo>
                      <a:pt x="135" y="294"/>
                      <a:pt x="107" y="259"/>
                      <a:pt x="81" y="220"/>
                    </a:cubicBezTo>
                    <a:cubicBezTo>
                      <a:pt x="68" y="201"/>
                      <a:pt x="56" y="180"/>
                      <a:pt x="47" y="162"/>
                    </a:cubicBezTo>
                    <a:cubicBezTo>
                      <a:pt x="43" y="153"/>
                      <a:pt x="39" y="144"/>
                      <a:pt x="37" y="137"/>
                    </a:cubicBezTo>
                    <a:cubicBezTo>
                      <a:pt x="34" y="130"/>
                      <a:pt x="33" y="123"/>
                      <a:pt x="33" y="119"/>
                    </a:cubicBezTo>
                    <a:cubicBezTo>
                      <a:pt x="33" y="96"/>
                      <a:pt x="43" y="75"/>
                      <a:pt x="60" y="59"/>
                    </a:cubicBezTo>
                    <a:cubicBezTo>
                      <a:pt x="76" y="44"/>
                      <a:pt x="100" y="34"/>
                      <a:pt x="126" y="34"/>
                    </a:cubicBezTo>
                    <a:cubicBezTo>
                      <a:pt x="152" y="34"/>
                      <a:pt x="176" y="44"/>
                      <a:pt x="192" y="59"/>
                    </a:cubicBezTo>
                    <a:cubicBezTo>
                      <a:pt x="209" y="75"/>
                      <a:pt x="219" y="96"/>
                      <a:pt x="219" y="119"/>
                    </a:cubicBezTo>
                    <a:lnTo>
                      <a:pt x="236" y="119"/>
                    </a:lnTo>
                    <a:lnTo>
                      <a:pt x="253" y="119"/>
                    </a:lnTo>
                    <a:cubicBezTo>
                      <a:pt x="253" y="86"/>
                      <a:pt x="238" y="56"/>
                      <a:pt x="215" y="35"/>
                    </a:cubicBezTo>
                    <a:cubicBezTo>
                      <a:pt x="192" y="14"/>
                      <a:pt x="161" y="0"/>
                      <a:pt x="126" y="0"/>
                    </a:cubicBezTo>
                    <a:cubicBezTo>
                      <a:pt x="92" y="0"/>
                      <a:pt x="60" y="14"/>
                      <a:pt x="37" y="35"/>
                    </a:cubicBezTo>
                    <a:cubicBezTo>
                      <a:pt x="14" y="56"/>
                      <a:pt x="0" y="86"/>
                      <a:pt x="0" y="119"/>
                    </a:cubicBezTo>
                    <a:cubicBezTo>
                      <a:pt x="0" y="129"/>
                      <a:pt x="2" y="139"/>
                      <a:pt x="5" y="149"/>
                    </a:cubicBezTo>
                    <a:cubicBezTo>
                      <a:pt x="18" y="185"/>
                      <a:pt x="45" y="227"/>
                      <a:pt x="70" y="262"/>
                    </a:cubicBezTo>
                    <a:cubicBezTo>
                      <a:pt x="94" y="297"/>
                      <a:pt x="116" y="323"/>
                      <a:pt x="116" y="324"/>
                    </a:cubicBezTo>
                    <a:lnTo>
                      <a:pt x="129" y="340"/>
                    </a:lnTo>
                    <a:lnTo>
                      <a:pt x="142" y="323"/>
                    </a:lnTo>
                    <a:cubicBezTo>
                      <a:pt x="143" y="323"/>
                      <a:pt x="169" y="288"/>
                      <a:pt x="197" y="246"/>
                    </a:cubicBezTo>
                    <a:cubicBezTo>
                      <a:pt x="210" y="225"/>
                      <a:pt x="224" y="202"/>
                      <a:pt x="234" y="181"/>
                    </a:cubicBezTo>
                    <a:cubicBezTo>
                      <a:pt x="239" y="170"/>
                      <a:pt x="244" y="159"/>
                      <a:pt x="247" y="149"/>
                    </a:cubicBezTo>
                    <a:cubicBezTo>
                      <a:pt x="250" y="139"/>
                      <a:pt x="253" y="129"/>
                      <a:pt x="253" y="119"/>
                    </a:cubicBezTo>
                    <a:lnTo>
                      <a:pt x="236" y="119"/>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2568">
                <a:extLst>
                  <a:ext uri="{FF2B5EF4-FFF2-40B4-BE49-F238E27FC236}">
                    <a16:creationId xmlns:a16="http://schemas.microsoft.com/office/drawing/2014/main" id="{AB037E24-BF33-8218-DC17-693FC8B25CA1}"/>
                  </a:ext>
                </a:extLst>
              </p:cNvPr>
              <p:cNvSpPr>
                <a:spLocks/>
              </p:cNvSpPr>
              <p:nvPr/>
            </p:nvSpPr>
            <p:spPr bwMode="auto">
              <a:xfrm>
                <a:off x="8525267" y="3578760"/>
                <a:ext cx="308306" cy="323726"/>
              </a:xfrm>
              <a:custGeom>
                <a:avLst/>
                <a:gdLst>
                  <a:gd name="T0" fmla="*/ 142 w 159"/>
                  <a:gd name="T1" fmla="*/ 81 h 162"/>
                  <a:gd name="T2" fmla="*/ 125 w 159"/>
                  <a:gd name="T3" fmla="*/ 81 h 162"/>
                  <a:gd name="T4" fmla="*/ 112 w 159"/>
                  <a:gd name="T5" fmla="*/ 115 h 162"/>
                  <a:gd name="T6" fmla="*/ 80 w 159"/>
                  <a:gd name="T7" fmla="*/ 129 h 162"/>
                  <a:gd name="T8" fmla="*/ 47 w 159"/>
                  <a:gd name="T9" fmla="*/ 115 h 162"/>
                  <a:gd name="T10" fmla="*/ 34 w 159"/>
                  <a:gd name="T11" fmla="*/ 81 h 162"/>
                  <a:gd name="T12" fmla="*/ 47 w 159"/>
                  <a:gd name="T13" fmla="*/ 47 h 162"/>
                  <a:gd name="T14" fmla="*/ 80 w 159"/>
                  <a:gd name="T15" fmla="*/ 34 h 162"/>
                  <a:gd name="T16" fmla="*/ 112 w 159"/>
                  <a:gd name="T17" fmla="*/ 47 h 162"/>
                  <a:gd name="T18" fmla="*/ 125 w 159"/>
                  <a:gd name="T19" fmla="*/ 81 h 162"/>
                  <a:gd name="T20" fmla="*/ 142 w 159"/>
                  <a:gd name="T21" fmla="*/ 81 h 162"/>
                  <a:gd name="T22" fmla="*/ 159 w 159"/>
                  <a:gd name="T23" fmla="*/ 81 h 162"/>
                  <a:gd name="T24" fmla="*/ 136 w 159"/>
                  <a:gd name="T25" fmla="*/ 24 h 162"/>
                  <a:gd name="T26" fmla="*/ 80 w 159"/>
                  <a:gd name="T27" fmla="*/ 0 h 162"/>
                  <a:gd name="T28" fmla="*/ 23 w 159"/>
                  <a:gd name="T29" fmla="*/ 24 h 162"/>
                  <a:gd name="T30" fmla="*/ 0 w 159"/>
                  <a:gd name="T31" fmla="*/ 81 h 162"/>
                  <a:gd name="T32" fmla="*/ 23 w 159"/>
                  <a:gd name="T33" fmla="*/ 138 h 162"/>
                  <a:gd name="T34" fmla="*/ 80 w 159"/>
                  <a:gd name="T35" fmla="*/ 162 h 162"/>
                  <a:gd name="T36" fmla="*/ 136 w 159"/>
                  <a:gd name="T37" fmla="*/ 138 h 162"/>
                  <a:gd name="T38" fmla="*/ 159 w 159"/>
                  <a:gd name="T39" fmla="*/ 81 h 162"/>
                  <a:gd name="T40" fmla="*/ 142 w 159"/>
                  <a:gd name="T41"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162">
                    <a:moveTo>
                      <a:pt x="142" y="81"/>
                    </a:moveTo>
                    <a:lnTo>
                      <a:pt x="125" y="81"/>
                    </a:lnTo>
                    <a:cubicBezTo>
                      <a:pt x="125" y="94"/>
                      <a:pt x="120" y="106"/>
                      <a:pt x="112" y="115"/>
                    </a:cubicBezTo>
                    <a:cubicBezTo>
                      <a:pt x="103" y="123"/>
                      <a:pt x="92" y="129"/>
                      <a:pt x="80" y="129"/>
                    </a:cubicBezTo>
                    <a:cubicBezTo>
                      <a:pt x="67" y="129"/>
                      <a:pt x="56" y="123"/>
                      <a:pt x="47" y="115"/>
                    </a:cubicBezTo>
                    <a:cubicBezTo>
                      <a:pt x="39" y="106"/>
                      <a:pt x="34" y="94"/>
                      <a:pt x="34" y="81"/>
                    </a:cubicBezTo>
                    <a:cubicBezTo>
                      <a:pt x="34" y="68"/>
                      <a:pt x="39" y="56"/>
                      <a:pt x="47" y="47"/>
                    </a:cubicBezTo>
                    <a:cubicBezTo>
                      <a:pt x="56" y="39"/>
                      <a:pt x="67" y="34"/>
                      <a:pt x="80" y="34"/>
                    </a:cubicBezTo>
                    <a:cubicBezTo>
                      <a:pt x="92" y="34"/>
                      <a:pt x="103" y="39"/>
                      <a:pt x="112" y="47"/>
                    </a:cubicBezTo>
                    <a:cubicBezTo>
                      <a:pt x="120" y="56"/>
                      <a:pt x="125" y="68"/>
                      <a:pt x="125" y="81"/>
                    </a:cubicBezTo>
                    <a:lnTo>
                      <a:pt x="142" y="81"/>
                    </a:lnTo>
                    <a:lnTo>
                      <a:pt x="159" y="81"/>
                    </a:lnTo>
                    <a:cubicBezTo>
                      <a:pt x="159" y="59"/>
                      <a:pt x="150" y="39"/>
                      <a:pt x="136" y="24"/>
                    </a:cubicBezTo>
                    <a:cubicBezTo>
                      <a:pt x="122" y="10"/>
                      <a:pt x="102" y="0"/>
                      <a:pt x="80" y="0"/>
                    </a:cubicBezTo>
                    <a:cubicBezTo>
                      <a:pt x="58" y="0"/>
                      <a:pt x="38" y="10"/>
                      <a:pt x="23" y="24"/>
                    </a:cubicBezTo>
                    <a:cubicBezTo>
                      <a:pt x="9" y="39"/>
                      <a:pt x="0" y="59"/>
                      <a:pt x="0" y="81"/>
                    </a:cubicBezTo>
                    <a:cubicBezTo>
                      <a:pt x="0" y="103"/>
                      <a:pt x="9" y="124"/>
                      <a:pt x="23" y="138"/>
                    </a:cubicBezTo>
                    <a:cubicBezTo>
                      <a:pt x="38" y="153"/>
                      <a:pt x="58" y="162"/>
                      <a:pt x="80" y="162"/>
                    </a:cubicBezTo>
                    <a:cubicBezTo>
                      <a:pt x="102" y="162"/>
                      <a:pt x="122" y="153"/>
                      <a:pt x="136" y="138"/>
                    </a:cubicBezTo>
                    <a:cubicBezTo>
                      <a:pt x="150" y="124"/>
                      <a:pt x="159" y="103"/>
                      <a:pt x="159" y="81"/>
                    </a:cubicBezTo>
                    <a:lnTo>
                      <a:pt x="142" y="8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2570">
                <a:extLst>
                  <a:ext uri="{FF2B5EF4-FFF2-40B4-BE49-F238E27FC236}">
                    <a16:creationId xmlns:a16="http://schemas.microsoft.com/office/drawing/2014/main" id="{28538E60-3C52-F0A5-ACA6-895DE6834DB0}"/>
                  </a:ext>
                </a:extLst>
              </p:cNvPr>
              <p:cNvSpPr>
                <a:spLocks/>
              </p:cNvSpPr>
              <p:nvPr/>
            </p:nvSpPr>
            <p:spPr bwMode="auto">
              <a:xfrm>
                <a:off x="6351715" y="3008389"/>
                <a:ext cx="524120" cy="693693"/>
              </a:xfrm>
              <a:custGeom>
                <a:avLst/>
                <a:gdLst>
                  <a:gd name="T0" fmla="*/ 242 w 259"/>
                  <a:gd name="T1" fmla="*/ 121 h 347"/>
                  <a:gd name="T2" fmla="*/ 225 w 259"/>
                  <a:gd name="T3" fmla="*/ 121 h 347"/>
                  <a:gd name="T4" fmla="*/ 221 w 259"/>
                  <a:gd name="T5" fmla="*/ 141 h 347"/>
                  <a:gd name="T6" fmla="*/ 163 w 259"/>
                  <a:gd name="T7" fmla="*/ 249 h 347"/>
                  <a:gd name="T8" fmla="*/ 132 w 259"/>
                  <a:gd name="T9" fmla="*/ 293 h 347"/>
                  <a:gd name="T10" fmla="*/ 123 w 259"/>
                  <a:gd name="T11" fmla="*/ 306 h 347"/>
                  <a:gd name="T12" fmla="*/ 119 w 259"/>
                  <a:gd name="T13" fmla="*/ 310 h 347"/>
                  <a:gd name="T14" fmla="*/ 132 w 259"/>
                  <a:gd name="T15" fmla="*/ 320 h 347"/>
                  <a:gd name="T16" fmla="*/ 145 w 259"/>
                  <a:gd name="T17" fmla="*/ 310 h 347"/>
                  <a:gd name="T18" fmla="*/ 144 w 259"/>
                  <a:gd name="T19" fmla="*/ 308 h 347"/>
                  <a:gd name="T20" fmla="*/ 83 w 259"/>
                  <a:gd name="T21" fmla="*/ 225 h 347"/>
                  <a:gd name="T22" fmla="*/ 47 w 259"/>
                  <a:gd name="T23" fmla="*/ 166 h 347"/>
                  <a:gd name="T24" fmla="*/ 36 w 259"/>
                  <a:gd name="T25" fmla="*/ 140 h 347"/>
                  <a:gd name="T26" fmla="*/ 33 w 259"/>
                  <a:gd name="T27" fmla="*/ 121 h 347"/>
                  <a:gd name="T28" fmla="*/ 61 w 259"/>
                  <a:gd name="T29" fmla="*/ 59 h 347"/>
                  <a:gd name="T30" fmla="*/ 129 w 259"/>
                  <a:gd name="T31" fmla="*/ 33 h 347"/>
                  <a:gd name="T32" fmla="*/ 198 w 259"/>
                  <a:gd name="T33" fmla="*/ 59 h 347"/>
                  <a:gd name="T34" fmla="*/ 225 w 259"/>
                  <a:gd name="T35" fmla="*/ 121 h 347"/>
                  <a:gd name="T36" fmla="*/ 242 w 259"/>
                  <a:gd name="T37" fmla="*/ 121 h 347"/>
                  <a:gd name="T38" fmla="*/ 259 w 259"/>
                  <a:gd name="T39" fmla="*/ 121 h 347"/>
                  <a:gd name="T40" fmla="*/ 220 w 259"/>
                  <a:gd name="T41" fmla="*/ 35 h 347"/>
                  <a:gd name="T42" fmla="*/ 129 w 259"/>
                  <a:gd name="T43" fmla="*/ 0 h 347"/>
                  <a:gd name="T44" fmla="*/ 38 w 259"/>
                  <a:gd name="T45" fmla="*/ 35 h 347"/>
                  <a:gd name="T46" fmla="*/ 0 w 259"/>
                  <a:gd name="T47" fmla="*/ 121 h 347"/>
                  <a:gd name="T48" fmla="*/ 5 w 259"/>
                  <a:gd name="T49" fmla="*/ 152 h 347"/>
                  <a:gd name="T50" fmla="*/ 71 w 259"/>
                  <a:gd name="T51" fmla="*/ 268 h 347"/>
                  <a:gd name="T52" fmla="*/ 119 w 259"/>
                  <a:gd name="T53" fmla="*/ 331 h 347"/>
                  <a:gd name="T54" fmla="*/ 133 w 259"/>
                  <a:gd name="T55" fmla="*/ 347 h 347"/>
                  <a:gd name="T56" fmla="*/ 145 w 259"/>
                  <a:gd name="T57" fmla="*/ 331 h 347"/>
                  <a:gd name="T58" fmla="*/ 201 w 259"/>
                  <a:gd name="T59" fmla="*/ 252 h 347"/>
                  <a:gd name="T60" fmla="*/ 240 w 259"/>
                  <a:gd name="T61" fmla="*/ 184 h 347"/>
                  <a:gd name="T62" fmla="*/ 253 w 259"/>
                  <a:gd name="T63" fmla="*/ 152 h 347"/>
                  <a:gd name="T64" fmla="*/ 259 w 259"/>
                  <a:gd name="T65" fmla="*/ 121 h 347"/>
                  <a:gd name="T66" fmla="*/ 242 w 259"/>
                  <a:gd name="T67" fmla="*/ 12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9" h="347">
                    <a:moveTo>
                      <a:pt x="242" y="121"/>
                    </a:moveTo>
                    <a:lnTo>
                      <a:pt x="225" y="121"/>
                    </a:lnTo>
                    <a:cubicBezTo>
                      <a:pt x="225" y="126"/>
                      <a:pt x="224" y="133"/>
                      <a:pt x="221" y="141"/>
                    </a:cubicBezTo>
                    <a:cubicBezTo>
                      <a:pt x="212" y="171"/>
                      <a:pt x="186" y="214"/>
                      <a:pt x="163" y="249"/>
                    </a:cubicBezTo>
                    <a:cubicBezTo>
                      <a:pt x="151" y="266"/>
                      <a:pt x="140" y="282"/>
                      <a:pt x="132" y="293"/>
                    </a:cubicBezTo>
                    <a:cubicBezTo>
                      <a:pt x="128" y="298"/>
                      <a:pt x="125" y="303"/>
                      <a:pt x="123" y="306"/>
                    </a:cubicBezTo>
                    <a:cubicBezTo>
                      <a:pt x="120" y="309"/>
                      <a:pt x="119" y="310"/>
                      <a:pt x="119" y="310"/>
                    </a:cubicBezTo>
                    <a:lnTo>
                      <a:pt x="132" y="320"/>
                    </a:lnTo>
                    <a:lnTo>
                      <a:pt x="145" y="310"/>
                    </a:lnTo>
                    <a:lnTo>
                      <a:pt x="144" y="308"/>
                    </a:lnTo>
                    <a:cubicBezTo>
                      <a:pt x="138" y="301"/>
                      <a:pt x="109" y="265"/>
                      <a:pt x="83" y="225"/>
                    </a:cubicBezTo>
                    <a:cubicBezTo>
                      <a:pt x="69" y="205"/>
                      <a:pt x="57" y="184"/>
                      <a:pt x="47" y="166"/>
                    </a:cubicBezTo>
                    <a:cubicBezTo>
                      <a:pt x="43" y="156"/>
                      <a:pt x="39" y="147"/>
                      <a:pt x="36" y="140"/>
                    </a:cubicBezTo>
                    <a:cubicBezTo>
                      <a:pt x="34" y="132"/>
                      <a:pt x="33" y="125"/>
                      <a:pt x="33" y="121"/>
                    </a:cubicBezTo>
                    <a:cubicBezTo>
                      <a:pt x="33" y="97"/>
                      <a:pt x="43" y="75"/>
                      <a:pt x="61" y="59"/>
                    </a:cubicBezTo>
                    <a:cubicBezTo>
                      <a:pt x="78" y="43"/>
                      <a:pt x="102" y="33"/>
                      <a:pt x="129" y="33"/>
                    </a:cubicBezTo>
                    <a:cubicBezTo>
                      <a:pt x="156" y="33"/>
                      <a:pt x="180" y="43"/>
                      <a:pt x="198" y="59"/>
                    </a:cubicBezTo>
                    <a:cubicBezTo>
                      <a:pt x="215" y="75"/>
                      <a:pt x="225" y="97"/>
                      <a:pt x="225" y="121"/>
                    </a:cubicBezTo>
                    <a:lnTo>
                      <a:pt x="242" y="121"/>
                    </a:lnTo>
                    <a:lnTo>
                      <a:pt x="259" y="121"/>
                    </a:lnTo>
                    <a:cubicBezTo>
                      <a:pt x="259" y="87"/>
                      <a:pt x="244" y="57"/>
                      <a:pt x="220" y="35"/>
                    </a:cubicBezTo>
                    <a:cubicBezTo>
                      <a:pt x="197" y="13"/>
                      <a:pt x="164" y="0"/>
                      <a:pt x="129" y="0"/>
                    </a:cubicBezTo>
                    <a:cubicBezTo>
                      <a:pt x="94" y="0"/>
                      <a:pt x="61" y="13"/>
                      <a:pt x="38" y="35"/>
                    </a:cubicBezTo>
                    <a:cubicBezTo>
                      <a:pt x="14" y="57"/>
                      <a:pt x="0" y="87"/>
                      <a:pt x="0" y="121"/>
                    </a:cubicBezTo>
                    <a:cubicBezTo>
                      <a:pt x="0" y="131"/>
                      <a:pt x="2" y="141"/>
                      <a:pt x="5" y="152"/>
                    </a:cubicBezTo>
                    <a:cubicBezTo>
                      <a:pt x="18" y="188"/>
                      <a:pt x="46" y="232"/>
                      <a:pt x="71" y="268"/>
                    </a:cubicBezTo>
                    <a:cubicBezTo>
                      <a:pt x="97" y="304"/>
                      <a:pt x="119" y="331"/>
                      <a:pt x="119" y="331"/>
                    </a:cubicBezTo>
                    <a:lnTo>
                      <a:pt x="133" y="347"/>
                    </a:lnTo>
                    <a:lnTo>
                      <a:pt x="145" y="331"/>
                    </a:lnTo>
                    <a:cubicBezTo>
                      <a:pt x="146" y="330"/>
                      <a:pt x="173" y="295"/>
                      <a:pt x="201" y="252"/>
                    </a:cubicBezTo>
                    <a:cubicBezTo>
                      <a:pt x="215" y="230"/>
                      <a:pt x="229" y="207"/>
                      <a:pt x="240" y="184"/>
                    </a:cubicBezTo>
                    <a:cubicBezTo>
                      <a:pt x="245" y="173"/>
                      <a:pt x="250" y="162"/>
                      <a:pt x="253" y="152"/>
                    </a:cubicBezTo>
                    <a:cubicBezTo>
                      <a:pt x="256" y="141"/>
                      <a:pt x="259" y="131"/>
                      <a:pt x="259" y="121"/>
                    </a:cubicBezTo>
                    <a:lnTo>
                      <a:pt x="242" y="121"/>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2572">
                <a:extLst>
                  <a:ext uri="{FF2B5EF4-FFF2-40B4-BE49-F238E27FC236}">
                    <a16:creationId xmlns:a16="http://schemas.microsoft.com/office/drawing/2014/main" id="{A4DEC421-DC05-590C-6172-F6DF5F59082D}"/>
                  </a:ext>
                </a:extLst>
              </p:cNvPr>
              <p:cNvSpPr>
                <a:spLocks/>
              </p:cNvSpPr>
              <p:nvPr/>
            </p:nvSpPr>
            <p:spPr bwMode="auto">
              <a:xfrm>
                <a:off x="6459617" y="3100881"/>
                <a:ext cx="323726" cy="323726"/>
              </a:xfrm>
              <a:custGeom>
                <a:avLst/>
                <a:gdLst>
                  <a:gd name="T0" fmla="*/ 145 w 161"/>
                  <a:gd name="T1" fmla="*/ 83 h 165"/>
                  <a:gd name="T2" fmla="*/ 128 w 161"/>
                  <a:gd name="T3" fmla="*/ 83 h 165"/>
                  <a:gd name="T4" fmla="*/ 114 w 161"/>
                  <a:gd name="T5" fmla="*/ 118 h 165"/>
                  <a:gd name="T6" fmla="*/ 80 w 161"/>
                  <a:gd name="T7" fmla="*/ 132 h 165"/>
                  <a:gd name="T8" fmla="*/ 47 w 161"/>
                  <a:gd name="T9" fmla="*/ 118 h 165"/>
                  <a:gd name="T10" fmla="*/ 33 w 161"/>
                  <a:gd name="T11" fmla="*/ 83 h 165"/>
                  <a:gd name="T12" fmla="*/ 47 w 161"/>
                  <a:gd name="T13" fmla="*/ 48 h 165"/>
                  <a:gd name="T14" fmla="*/ 80 w 161"/>
                  <a:gd name="T15" fmla="*/ 33 h 165"/>
                  <a:gd name="T16" fmla="*/ 114 w 161"/>
                  <a:gd name="T17" fmla="*/ 48 h 165"/>
                  <a:gd name="T18" fmla="*/ 128 w 161"/>
                  <a:gd name="T19" fmla="*/ 83 h 165"/>
                  <a:gd name="T20" fmla="*/ 145 w 161"/>
                  <a:gd name="T21" fmla="*/ 83 h 165"/>
                  <a:gd name="T22" fmla="*/ 161 w 161"/>
                  <a:gd name="T23" fmla="*/ 83 h 165"/>
                  <a:gd name="T24" fmla="*/ 138 w 161"/>
                  <a:gd name="T25" fmla="*/ 24 h 165"/>
                  <a:gd name="T26" fmla="*/ 80 w 161"/>
                  <a:gd name="T27" fmla="*/ 0 h 165"/>
                  <a:gd name="T28" fmla="*/ 23 w 161"/>
                  <a:gd name="T29" fmla="*/ 24 h 165"/>
                  <a:gd name="T30" fmla="*/ 0 w 161"/>
                  <a:gd name="T31" fmla="*/ 83 h 165"/>
                  <a:gd name="T32" fmla="*/ 23 w 161"/>
                  <a:gd name="T33" fmla="*/ 141 h 165"/>
                  <a:gd name="T34" fmla="*/ 80 w 161"/>
                  <a:gd name="T35" fmla="*/ 165 h 165"/>
                  <a:gd name="T36" fmla="*/ 138 w 161"/>
                  <a:gd name="T37" fmla="*/ 141 h 165"/>
                  <a:gd name="T38" fmla="*/ 161 w 161"/>
                  <a:gd name="T39" fmla="*/ 83 h 165"/>
                  <a:gd name="T40" fmla="*/ 145 w 161"/>
                  <a:gd name="T41" fmla="*/ 8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 h="165">
                    <a:moveTo>
                      <a:pt x="145" y="83"/>
                    </a:moveTo>
                    <a:lnTo>
                      <a:pt x="128" y="83"/>
                    </a:lnTo>
                    <a:cubicBezTo>
                      <a:pt x="128" y="96"/>
                      <a:pt x="123" y="109"/>
                      <a:pt x="114" y="118"/>
                    </a:cubicBezTo>
                    <a:cubicBezTo>
                      <a:pt x="105" y="126"/>
                      <a:pt x="93" y="132"/>
                      <a:pt x="80" y="132"/>
                    </a:cubicBezTo>
                    <a:cubicBezTo>
                      <a:pt x="67" y="132"/>
                      <a:pt x="55" y="126"/>
                      <a:pt x="47" y="118"/>
                    </a:cubicBezTo>
                    <a:cubicBezTo>
                      <a:pt x="38" y="109"/>
                      <a:pt x="33" y="96"/>
                      <a:pt x="33" y="83"/>
                    </a:cubicBezTo>
                    <a:cubicBezTo>
                      <a:pt x="33" y="69"/>
                      <a:pt x="38" y="57"/>
                      <a:pt x="47" y="48"/>
                    </a:cubicBezTo>
                    <a:cubicBezTo>
                      <a:pt x="55" y="39"/>
                      <a:pt x="67" y="33"/>
                      <a:pt x="80" y="33"/>
                    </a:cubicBezTo>
                    <a:cubicBezTo>
                      <a:pt x="93" y="33"/>
                      <a:pt x="105" y="39"/>
                      <a:pt x="114" y="48"/>
                    </a:cubicBezTo>
                    <a:cubicBezTo>
                      <a:pt x="123" y="57"/>
                      <a:pt x="128" y="69"/>
                      <a:pt x="128" y="83"/>
                    </a:cubicBezTo>
                    <a:lnTo>
                      <a:pt x="145" y="83"/>
                    </a:lnTo>
                    <a:lnTo>
                      <a:pt x="161" y="83"/>
                    </a:lnTo>
                    <a:cubicBezTo>
                      <a:pt x="161" y="60"/>
                      <a:pt x="152" y="39"/>
                      <a:pt x="138" y="24"/>
                    </a:cubicBezTo>
                    <a:cubicBezTo>
                      <a:pt x="123" y="9"/>
                      <a:pt x="103" y="0"/>
                      <a:pt x="80" y="0"/>
                    </a:cubicBezTo>
                    <a:cubicBezTo>
                      <a:pt x="58" y="0"/>
                      <a:pt x="38" y="9"/>
                      <a:pt x="23" y="24"/>
                    </a:cubicBezTo>
                    <a:cubicBezTo>
                      <a:pt x="8" y="39"/>
                      <a:pt x="0" y="60"/>
                      <a:pt x="0" y="83"/>
                    </a:cubicBezTo>
                    <a:cubicBezTo>
                      <a:pt x="0" y="105"/>
                      <a:pt x="8" y="126"/>
                      <a:pt x="23" y="141"/>
                    </a:cubicBezTo>
                    <a:cubicBezTo>
                      <a:pt x="38" y="156"/>
                      <a:pt x="58" y="165"/>
                      <a:pt x="80" y="165"/>
                    </a:cubicBezTo>
                    <a:cubicBezTo>
                      <a:pt x="103" y="165"/>
                      <a:pt x="123" y="156"/>
                      <a:pt x="138" y="141"/>
                    </a:cubicBezTo>
                    <a:cubicBezTo>
                      <a:pt x="152" y="126"/>
                      <a:pt x="161" y="105"/>
                      <a:pt x="161" y="83"/>
                    </a:cubicBezTo>
                    <a:lnTo>
                      <a:pt x="145" y="8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 name="Analytics29" descr="{&quot;Key&quot;:&quot;POWER_USER_SHAPE_ICON&quot;,&quot;Value&quot;:&quot;POWER_USER_SHAPE_ICON_STYLE_1&quot;}">
              <a:extLst>
                <a:ext uri="{FF2B5EF4-FFF2-40B4-BE49-F238E27FC236}">
                  <a16:creationId xmlns:a16="http://schemas.microsoft.com/office/drawing/2014/main" id="{3E260A63-80F1-F6BE-B235-EDE978098329}"/>
                </a:ext>
              </a:extLst>
            </p:cNvPr>
            <p:cNvGrpSpPr>
              <a:grpSpLocks noChangeAspect="1"/>
            </p:cNvGrpSpPr>
            <p:nvPr/>
          </p:nvGrpSpPr>
          <p:grpSpPr>
            <a:xfrm>
              <a:off x="6417474" y="2171265"/>
              <a:ext cx="753214" cy="762000"/>
              <a:chOff x="8213726" y="1898651"/>
              <a:chExt cx="544512" cy="550863"/>
            </a:xfrm>
          </p:grpSpPr>
          <p:sp>
            <p:nvSpPr>
              <p:cNvPr id="29" name="Freeform 349">
                <a:extLst>
                  <a:ext uri="{FF2B5EF4-FFF2-40B4-BE49-F238E27FC236}">
                    <a16:creationId xmlns:a16="http://schemas.microsoft.com/office/drawing/2014/main" id="{B0AF5F92-DE5E-06F0-6B2D-9F5143A4013C}"/>
                  </a:ext>
                </a:extLst>
              </p:cNvPr>
              <p:cNvSpPr>
                <a:spLocks/>
              </p:cNvSpPr>
              <p:nvPr/>
            </p:nvSpPr>
            <p:spPr bwMode="auto">
              <a:xfrm>
                <a:off x="8558213" y="2244726"/>
                <a:ext cx="200025" cy="204788"/>
              </a:xfrm>
              <a:custGeom>
                <a:avLst/>
                <a:gdLst>
                  <a:gd name="T0" fmla="*/ 123 w 393"/>
                  <a:gd name="T1" fmla="*/ 0 h 406"/>
                  <a:gd name="T2" fmla="*/ 359 w 393"/>
                  <a:gd name="T3" fmla="*/ 241 h 406"/>
                  <a:gd name="T4" fmla="*/ 359 w 393"/>
                  <a:gd name="T5" fmla="*/ 370 h 406"/>
                  <a:gd name="T6" fmla="*/ 232 w 393"/>
                  <a:gd name="T7" fmla="*/ 370 h 406"/>
                  <a:gd name="T8" fmla="*/ 0 w 393"/>
                  <a:gd name="T9" fmla="*/ 132 h 406"/>
                </a:gdLst>
                <a:ahLst/>
                <a:cxnLst>
                  <a:cxn ang="0">
                    <a:pos x="T0" y="T1"/>
                  </a:cxn>
                  <a:cxn ang="0">
                    <a:pos x="T2" y="T3"/>
                  </a:cxn>
                  <a:cxn ang="0">
                    <a:pos x="T4" y="T5"/>
                  </a:cxn>
                  <a:cxn ang="0">
                    <a:pos x="T6" y="T7"/>
                  </a:cxn>
                  <a:cxn ang="0">
                    <a:pos x="T8" y="T9"/>
                  </a:cxn>
                </a:cxnLst>
                <a:rect l="0" t="0" r="r" b="b"/>
                <a:pathLst>
                  <a:path w="393" h="406">
                    <a:moveTo>
                      <a:pt x="123" y="0"/>
                    </a:moveTo>
                    <a:lnTo>
                      <a:pt x="359" y="241"/>
                    </a:lnTo>
                    <a:cubicBezTo>
                      <a:pt x="393" y="276"/>
                      <a:pt x="393" y="334"/>
                      <a:pt x="359" y="370"/>
                    </a:cubicBezTo>
                    <a:cubicBezTo>
                      <a:pt x="324" y="406"/>
                      <a:pt x="267" y="406"/>
                      <a:pt x="232" y="370"/>
                    </a:cubicBezTo>
                    <a:lnTo>
                      <a:pt x="0" y="132"/>
                    </a:lnTo>
                  </a:path>
                </a:pathLst>
              </a:custGeom>
              <a:solidFill>
                <a:srgbClr val="FFFFFF"/>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350">
                <a:extLst>
                  <a:ext uri="{FF2B5EF4-FFF2-40B4-BE49-F238E27FC236}">
                    <a16:creationId xmlns:a16="http://schemas.microsoft.com/office/drawing/2014/main" id="{9590E1E2-B3A3-C8B6-19E4-0BF668773244}"/>
                  </a:ext>
                </a:extLst>
              </p:cNvPr>
              <p:cNvSpPr>
                <a:spLocks/>
              </p:cNvSpPr>
              <p:nvPr/>
            </p:nvSpPr>
            <p:spPr bwMode="auto">
              <a:xfrm>
                <a:off x="8558213" y="2244726"/>
                <a:ext cx="200025" cy="204788"/>
              </a:xfrm>
              <a:custGeom>
                <a:avLst/>
                <a:gdLst>
                  <a:gd name="T0" fmla="*/ 123 w 393"/>
                  <a:gd name="T1" fmla="*/ 0 h 406"/>
                  <a:gd name="T2" fmla="*/ 359 w 393"/>
                  <a:gd name="T3" fmla="*/ 241 h 406"/>
                  <a:gd name="T4" fmla="*/ 359 w 393"/>
                  <a:gd name="T5" fmla="*/ 370 h 406"/>
                  <a:gd name="T6" fmla="*/ 232 w 393"/>
                  <a:gd name="T7" fmla="*/ 370 h 406"/>
                  <a:gd name="T8" fmla="*/ 0 w 393"/>
                  <a:gd name="T9" fmla="*/ 132 h 406"/>
                </a:gdLst>
                <a:ahLst/>
                <a:cxnLst>
                  <a:cxn ang="0">
                    <a:pos x="T0" y="T1"/>
                  </a:cxn>
                  <a:cxn ang="0">
                    <a:pos x="T2" y="T3"/>
                  </a:cxn>
                  <a:cxn ang="0">
                    <a:pos x="T4" y="T5"/>
                  </a:cxn>
                  <a:cxn ang="0">
                    <a:pos x="T6" y="T7"/>
                  </a:cxn>
                  <a:cxn ang="0">
                    <a:pos x="T8" y="T9"/>
                  </a:cxn>
                </a:cxnLst>
                <a:rect l="0" t="0" r="r" b="b"/>
                <a:pathLst>
                  <a:path w="393" h="406">
                    <a:moveTo>
                      <a:pt x="123" y="0"/>
                    </a:moveTo>
                    <a:lnTo>
                      <a:pt x="359" y="241"/>
                    </a:lnTo>
                    <a:cubicBezTo>
                      <a:pt x="393" y="276"/>
                      <a:pt x="393" y="334"/>
                      <a:pt x="359" y="370"/>
                    </a:cubicBezTo>
                    <a:cubicBezTo>
                      <a:pt x="324" y="406"/>
                      <a:pt x="267" y="406"/>
                      <a:pt x="232" y="370"/>
                    </a:cubicBezTo>
                    <a:lnTo>
                      <a:pt x="0" y="132"/>
                    </a:lnTo>
                  </a:path>
                </a:pathLst>
              </a:custGeom>
              <a:noFill/>
              <a:ln w="14288"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Oval 351">
                <a:extLst>
                  <a:ext uri="{FF2B5EF4-FFF2-40B4-BE49-F238E27FC236}">
                    <a16:creationId xmlns:a16="http://schemas.microsoft.com/office/drawing/2014/main" id="{1D563DD0-07D2-E84F-84F6-13D93430F83E}"/>
                  </a:ext>
                </a:extLst>
              </p:cNvPr>
              <p:cNvSpPr>
                <a:spLocks noChangeArrowheads="1"/>
              </p:cNvSpPr>
              <p:nvPr/>
            </p:nvSpPr>
            <p:spPr bwMode="auto">
              <a:xfrm>
                <a:off x="8213726" y="1898651"/>
                <a:ext cx="441325" cy="452438"/>
              </a:xfrm>
              <a:prstGeom prst="ellipse">
                <a:avLst/>
              </a:prstGeom>
              <a:noFill/>
              <a:ln w="14288"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352">
                <a:extLst>
                  <a:ext uri="{FF2B5EF4-FFF2-40B4-BE49-F238E27FC236}">
                    <a16:creationId xmlns:a16="http://schemas.microsoft.com/office/drawing/2014/main" id="{E749D307-E07F-29BF-CB61-DFB2B8DA3841}"/>
                  </a:ext>
                </a:extLst>
              </p:cNvPr>
              <p:cNvSpPr>
                <a:spLocks/>
              </p:cNvSpPr>
              <p:nvPr/>
            </p:nvSpPr>
            <p:spPr bwMode="auto">
              <a:xfrm>
                <a:off x="8262938" y="1963738"/>
                <a:ext cx="104775" cy="161925"/>
              </a:xfrm>
              <a:custGeom>
                <a:avLst/>
                <a:gdLst>
                  <a:gd name="T0" fmla="*/ 0 w 205"/>
                  <a:gd name="T1" fmla="*/ 318 h 318"/>
                  <a:gd name="T2" fmla="*/ 26 w 205"/>
                  <a:gd name="T3" fmla="*/ 184 h 318"/>
                  <a:gd name="T4" fmla="*/ 99 w 205"/>
                  <a:gd name="T5" fmla="*/ 74 h 318"/>
                  <a:gd name="T6" fmla="*/ 205 w 205"/>
                  <a:gd name="T7" fmla="*/ 0 h 318"/>
                </a:gdLst>
                <a:ahLst/>
                <a:cxnLst>
                  <a:cxn ang="0">
                    <a:pos x="T0" y="T1"/>
                  </a:cxn>
                  <a:cxn ang="0">
                    <a:pos x="T2" y="T3"/>
                  </a:cxn>
                  <a:cxn ang="0">
                    <a:pos x="T4" y="T5"/>
                  </a:cxn>
                  <a:cxn ang="0">
                    <a:pos x="T6" y="T7"/>
                  </a:cxn>
                </a:cxnLst>
                <a:rect l="0" t="0" r="r" b="b"/>
                <a:pathLst>
                  <a:path w="205" h="318">
                    <a:moveTo>
                      <a:pt x="0" y="318"/>
                    </a:moveTo>
                    <a:cubicBezTo>
                      <a:pt x="0" y="270"/>
                      <a:pt x="9" y="225"/>
                      <a:pt x="26" y="184"/>
                    </a:cubicBezTo>
                    <a:cubicBezTo>
                      <a:pt x="43" y="142"/>
                      <a:pt x="68" y="105"/>
                      <a:pt x="99" y="74"/>
                    </a:cubicBezTo>
                    <a:cubicBezTo>
                      <a:pt x="129" y="43"/>
                      <a:pt x="165" y="18"/>
                      <a:pt x="205" y="0"/>
                    </a:cubicBezTo>
                  </a:path>
                </a:pathLst>
              </a:custGeom>
              <a:noFill/>
              <a:ln w="14288"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Line 353">
                <a:extLst>
                  <a:ext uri="{FF2B5EF4-FFF2-40B4-BE49-F238E27FC236}">
                    <a16:creationId xmlns:a16="http://schemas.microsoft.com/office/drawing/2014/main" id="{E36E516A-73D9-97C5-D6DD-8DBB88C3115D}"/>
                  </a:ext>
                </a:extLst>
              </p:cNvPr>
              <p:cNvSpPr>
                <a:spLocks noChangeShapeType="1"/>
              </p:cNvSpPr>
              <p:nvPr/>
            </p:nvSpPr>
            <p:spPr bwMode="auto">
              <a:xfrm>
                <a:off x="8323263" y="2187576"/>
                <a:ext cx="0" cy="46038"/>
              </a:xfrm>
              <a:prstGeom prst="line">
                <a:avLst/>
              </a:prstGeom>
              <a:noFill/>
              <a:ln w="9525">
                <a:solidFill>
                  <a:schemeClr val="accent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Line 354">
                <a:extLst>
                  <a:ext uri="{FF2B5EF4-FFF2-40B4-BE49-F238E27FC236}">
                    <a16:creationId xmlns:a16="http://schemas.microsoft.com/office/drawing/2014/main" id="{894AE9EE-6D39-2142-88A0-9CAEE12E9FE5}"/>
                  </a:ext>
                </a:extLst>
              </p:cNvPr>
              <p:cNvSpPr>
                <a:spLocks noChangeShapeType="1"/>
              </p:cNvSpPr>
              <p:nvPr/>
            </p:nvSpPr>
            <p:spPr bwMode="auto">
              <a:xfrm>
                <a:off x="8323263" y="2187576"/>
                <a:ext cx="0" cy="46038"/>
              </a:xfrm>
              <a:prstGeom prst="line">
                <a:avLst/>
              </a:prstGeom>
              <a:noFill/>
              <a:ln w="14288"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Line 355">
                <a:extLst>
                  <a:ext uri="{FF2B5EF4-FFF2-40B4-BE49-F238E27FC236}">
                    <a16:creationId xmlns:a16="http://schemas.microsoft.com/office/drawing/2014/main" id="{C5256601-1F9D-ADC7-9B12-AAC7484A1ED6}"/>
                  </a:ext>
                </a:extLst>
              </p:cNvPr>
              <p:cNvSpPr>
                <a:spLocks noChangeShapeType="1"/>
              </p:cNvSpPr>
              <p:nvPr/>
            </p:nvSpPr>
            <p:spPr bwMode="auto">
              <a:xfrm>
                <a:off x="8378826" y="2147888"/>
                <a:ext cx="0" cy="85725"/>
              </a:xfrm>
              <a:prstGeom prst="line">
                <a:avLst/>
              </a:prstGeom>
              <a:noFill/>
              <a:ln w="9525">
                <a:solidFill>
                  <a:schemeClr val="accent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Line 356">
                <a:extLst>
                  <a:ext uri="{FF2B5EF4-FFF2-40B4-BE49-F238E27FC236}">
                    <a16:creationId xmlns:a16="http://schemas.microsoft.com/office/drawing/2014/main" id="{02F935D3-389E-7C97-5E92-BF8A339D1B61}"/>
                  </a:ext>
                </a:extLst>
              </p:cNvPr>
              <p:cNvSpPr>
                <a:spLocks noChangeShapeType="1"/>
              </p:cNvSpPr>
              <p:nvPr/>
            </p:nvSpPr>
            <p:spPr bwMode="auto">
              <a:xfrm>
                <a:off x="8378826" y="2147888"/>
                <a:ext cx="0" cy="85725"/>
              </a:xfrm>
              <a:prstGeom prst="line">
                <a:avLst/>
              </a:prstGeom>
              <a:noFill/>
              <a:ln w="14288"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Line 357">
                <a:extLst>
                  <a:ext uri="{FF2B5EF4-FFF2-40B4-BE49-F238E27FC236}">
                    <a16:creationId xmlns:a16="http://schemas.microsoft.com/office/drawing/2014/main" id="{D6A7F1E5-89F2-C211-DBA1-211FEA3C903F}"/>
                  </a:ext>
                </a:extLst>
              </p:cNvPr>
              <p:cNvSpPr>
                <a:spLocks noChangeShapeType="1"/>
              </p:cNvSpPr>
              <p:nvPr/>
            </p:nvSpPr>
            <p:spPr bwMode="auto">
              <a:xfrm>
                <a:off x="8434388" y="2081213"/>
                <a:ext cx="0" cy="152400"/>
              </a:xfrm>
              <a:prstGeom prst="line">
                <a:avLst/>
              </a:prstGeom>
              <a:noFill/>
              <a:ln w="9525">
                <a:solidFill>
                  <a:schemeClr val="accent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Line 358">
                <a:extLst>
                  <a:ext uri="{FF2B5EF4-FFF2-40B4-BE49-F238E27FC236}">
                    <a16:creationId xmlns:a16="http://schemas.microsoft.com/office/drawing/2014/main" id="{4B66EBAE-B02B-C90C-5A62-17859D88D317}"/>
                  </a:ext>
                </a:extLst>
              </p:cNvPr>
              <p:cNvSpPr>
                <a:spLocks noChangeShapeType="1"/>
              </p:cNvSpPr>
              <p:nvPr/>
            </p:nvSpPr>
            <p:spPr bwMode="auto">
              <a:xfrm>
                <a:off x="8434388" y="2081213"/>
                <a:ext cx="0" cy="152400"/>
              </a:xfrm>
              <a:prstGeom prst="line">
                <a:avLst/>
              </a:prstGeom>
              <a:noFill/>
              <a:ln w="14288"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Line 359">
                <a:extLst>
                  <a:ext uri="{FF2B5EF4-FFF2-40B4-BE49-F238E27FC236}">
                    <a16:creationId xmlns:a16="http://schemas.microsoft.com/office/drawing/2014/main" id="{5D23E92E-B408-0C5D-7759-7490054C9E3B}"/>
                  </a:ext>
                </a:extLst>
              </p:cNvPr>
              <p:cNvSpPr>
                <a:spLocks noChangeShapeType="1"/>
              </p:cNvSpPr>
              <p:nvPr/>
            </p:nvSpPr>
            <p:spPr bwMode="auto">
              <a:xfrm>
                <a:off x="8488363" y="2103438"/>
                <a:ext cx="0" cy="130175"/>
              </a:xfrm>
              <a:prstGeom prst="line">
                <a:avLst/>
              </a:prstGeom>
              <a:noFill/>
              <a:ln w="9525">
                <a:solidFill>
                  <a:schemeClr val="accent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Line 360">
                <a:extLst>
                  <a:ext uri="{FF2B5EF4-FFF2-40B4-BE49-F238E27FC236}">
                    <a16:creationId xmlns:a16="http://schemas.microsoft.com/office/drawing/2014/main" id="{0A035C89-4631-B3D9-A998-D64A0EAC73D7}"/>
                  </a:ext>
                </a:extLst>
              </p:cNvPr>
              <p:cNvSpPr>
                <a:spLocks noChangeShapeType="1"/>
              </p:cNvSpPr>
              <p:nvPr/>
            </p:nvSpPr>
            <p:spPr bwMode="auto">
              <a:xfrm>
                <a:off x="8488363" y="2103438"/>
                <a:ext cx="0" cy="130175"/>
              </a:xfrm>
              <a:prstGeom prst="line">
                <a:avLst/>
              </a:prstGeom>
              <a:noFill/>
              <a:ln w="14288"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Line 361">
                <a:extLst>
                  <a:ext uri="{FF2B5EF4-FFF2-40B4-BE49-F238E27FC236}">
                    <a16:creationId xmlns:a16="http://schemas.microsoft.com/office/drawing/2014/main" id="{A6E43DBF-F86F-F5F3-B22C-ED6ACD502C85}"/>
                  </a:ext>
                </a:extLst>
              </p:cNvPr>
              <p:cNvSpPr>
                <a:spLocks noChangeShapeType="1"/>
              </p:cNvSpPr>
              <p:nvPr/>
            </p:nvSpPr>
            <p:spPr bwMode="auto">
              <a:xfrm>
                <a:off x="8543926" y="2027238"/>
                <a:ext cx="0" cy="206375"/>
              </a:xfrm>
              <a:prstGeom prst="line">
                <a:avLst/>
              </a:prstGeom>
              <a:noFill/>
              <a:ln w="9525">
                <a:solidFill>
                  <a:schemeClr val="accent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Line 362">
                <a:extLst>
                  <a:ext uri="{FF2B5EF4-FFF2-40B4-BE49-F238E27FC236}">
                    <a16:creationId xmlns:a16="http://schemas.microsoft.com/office/drawing/2014/main" id="{282F47A9-DBFE-7C82-D066-B7C6BDD8DC7A}"/>
                  </a:ext>
                </a:extLst>
              </p:cNvPr>
              <p:cNvSpPr>
                <a:spLocks noChangeShapeType="1"/>
              </p:cNvSpPr>
              <p:nvPr/>
            </p:nvSpPr>
            <p:spPr bwMode="auto">
              <a:xfrm>
                <a:off x="8543926" y="2027238"/>
                <a:ext cx="0" cy="206375"/>
              </a:xfrm>
              <a:prstGeom prst="line">
                <a:avLst/>
              </a:prstGeom>
              <a:noFill/>
              <a:ln w="14288"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 name="ZoneTexte 54 - 3 - 1 - 1">
              <a:extLst>
                <a:ext uri="{FF2B5EF4-FFF2-40B4-BE49-F238E27FC236}">
                  <a16:creationId xmlns:a16="http://schemas.microsoft.com/office/drawing/2014/main" id="{4667612B-374D-AB7E-25D9-566D65CDF248}"/>
                </a:ext>
              </a:extLst>
            </p:cNvPr>
            <p:cNvSpPr txBox="1"/>
            <p:nvPr/>
          </p:nvSpPr>
          <p:spPr>
            <a:xfrm>
              <a:off x="1640372" y="3187841"/>
              <a:ext cx="2025000" cy="1755000"/>
            </a:xfrm>
            <a:prstGeom prst="rect">
              <a:avLst/>
            </a:prstGeom>
            <a:noFill/>
          </p:spPr>
          <p:txBody>
            <a:bodyPr wrap="square" rtlCol="0" anchor="t">
              <a:noAutofit/>
            </a:bodyPr>
            <a:lstStyle/>
            <a:p>
              <a:pPr algn="ctr"/>
              <a:r>
                <a:rPr lang="en-US" sz="1200" b="1">
                  <a:solidFill>
                    <a:schemeClr val="accent1"/>
                  </a:solidFill>
                </a:rPr>
                <a:t>Diversification of Services</a:t>
              </a:r>
            </a:p>
            <a:p>
              <a:pPr algn="ctr"/>
              <a:endParaRPr lang="en-US" sz="1200" b="1">
                <a:solidFill>
                  <a:schemeClr val="accent1"/>
                </a:solidFill>
              </a:endParaRPr>
            </a:p>
            <a:p>
              <a:pPr algn="ctr"/>
              <a:r>
                <a:rPr lang="en-US" sz="1200"/>
                <a:t>Ubers decision to expand beyond its core ride-sharing service into areas like food delivery and logistics has been crucial. This helped Uber to mitigate the risks and losses, especially during the Covid-19 pandemic.</a:t>
              </a:r>
            </a:p>
          </p:txBody>
        </p:sp>
        <p:cxnSp>
          <p:nvCxnSpPr>
            <p:cNvPr id="12" name="Straight Connector 67">
              <a:extLst>
                <a:ext uri="{FF2B5EF4-FFF2-40B4-BE49-F238E27FC236}">
                  <a16:creationId xmlns:a16="http://schemas.microsoft.com/office/drawing/2014/main" id="{52956212-8E77-AF57-CA15-F0F3D9BC1C65}"/>
                </a:ext>
              </a:extLst>
            </p:cNvPr>
            <p:cNvCxnSpPr>
              <a:cxnSpLocks/>
            </p:cNvCxnSpPr>
            <p:nvPr/>
          </p:nvCxnSpPr>
          <p:spPr>
            <a:xfrm rot="5400000">
              <a:off x="2766131" y="4051976"/>
              <a:ext cx="1844136"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3" name="Straight Connector 89">
              <a:extLst>
                <a:ext uri="{FF2B5EF4-FFF2-40B4-BE49-F238E27FC236}">
                  <a16:creationId xmlns:a16="http://schemas.microsoft.com/office/drawing/2014/main" id="{94E8E863-6E6E-4228-8687-D3F64E5871DE}"/>
                </a:ext>
              </a:extLst>
            </p:cNvPr>
            <p:cNvCxnSpPr>
              <a:cxnSpLocks/>
            </p:cNvCxnSpPr>
            <p:nvPr/>
          </p:nvCxnSpPr>
          <p:spPr>
            <a:xfrm rot="5400000">
              <a:off x="4836785" y="4051976"/>
              <a:ext cx="1844136"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14" name="ZoneTexte 54 - 3 - 2">
              <a:extLst>
                <a:ext uri="{FF2B5EF4-FFF2-40B4-BE49-F238E27FC236}">
                  <a16:creationId xmlns:a16="http://schemas.microsoft.com/office/drawing/2014/main" id="{DEAB16F1-2726-F167-8D57-23275E2A4C69}"/>
                </a:ext>
              </a:extLst>
            </p:cNvPr>
            <p:cNvSpPr txBox="1"/>
            <p:nvPr/>
          </p:nvSpPr>
          <p:spPr>
            <a:xfrm>
              <a:off x="3711026" y="3187841"/>
              <a:ext cx="2025000" cy="1755000"/>
            </a:xfrm>
            <a:prstGeom prst="rect">
              <a:avLst/>
            </a:prstGeom>
            <a:noFill/>
          </p:spPr>
          <p:txBody>
            <a:bodyPr wrap="square" rtlCol="0" anchor="t">
              <a:noAutofit/>
            </a:bodyPr>
            <a:lstStyle/>
            <a:p>
              <a:pPr algn="ctr"/>
              <a:r>
                <a:rPr lang="en-US" sz="1200" b="1">
                  <a:solidFill>
                    <a:schemeClr val="accent2"/>
                  </a:solidFill>
                </a:rPr>
                <a:t>Operational Expansion</a:t>
              </a:r>
            </a:p>
            <a:p>
              <a:pPr algn="ctr"/>
              <a:endParaRPr lang="en-US" sz="1200" b="1">
                <a:solidFill>
                  <a:schemeClr val="accent2"/>
                </a:solidFill>
              </a:endParaRPr>
            </a:p>
            <a:p>
              <a:pPr algn="ctr"/>
              <a:r>
                <a:rPr lang="en-US" sz="1200"/>
                <a:t>Ubers expansion into a larger number of countries and the growth of its workforce allowed it to increase its market penetration and meet growing demand across different areas.</a:t>
              </a:r>
            </a:p>
          </p:txBody>
        </p:sp>
        <p:sp>
          <p:nvSpPr>
            <p:cNvPr id="15" name="ZoneTexte 54 - 3 - 1">
              <a:extLst>
                <a:ext uri="{FF2B5EF4-FFF2-40B4-BE49-F238E27FC236}">
                  <a16:creationId xmlns:a16="http://schemas.microsoft.com/office/drawing/2014/main" id="{4394A486-3B5E-3DF1-4DD2-700A9808CB68}"/>
                </a:ext>
              </a:extLst>
            </p:cNvPr>
            <p:cNvSpPr txBox="1"/>
            <p:nvPr/>
          </p:nvSpPr>
          <p:spPr>
            <a:xfrm>
              <a:off x="5781681" y="3187841"/>
              <a:ext cx="2025000" cy="1755000"/>
            </a:xfrm>
            <a:prstGeom prst="rect">
              <a:avLst/>
            </a:prstGeom>
            <a:noFill/>
          </p:spPr>
          <p:txBody>
            <a:bodyPr wrap="square" rtlCol="0" anchor="t">
              <a:noAutofit/>
            </a:bodyPr>
            <a:lstStyle/>
            <a:p>
              <a:pPr algn="ctr"/>
              <a:r>
                <a:rPr lang="en-US" sz="1200" b="1">
                  <a:solidFill>
                    <a:schemeClr val="accent3"/>
                  </a:solidFill>
                </a:rPr>
                <a:t>Response to Market Demand</a:t>
              </a:r>
            </a:p>
            <a:p>
              <a:pPr algn="ctr"/>
              <a:endParaRPr lang="en-US" sz="1200" b="1">
                <a:solidFill>
                  <a:schemeClr val="accent3"/>
                </a:solidFill>
              </a:endParaRPr>
            </a:p>
            <a:p>
              <a:pPr algn="ctr"/>
              <a:r>
                <a:rPr lang="en-US" sz="1200"/>
                <a:t>Ubers ability to capitalize on increased demand for food delivery services, along with the sudden surge in ride-sharing as markets reopened, shows a strategic agility in responding to market conditions.</a:t>
              </a:r>
            </a:p>
          </p:txBody>
        </p:sp>
        <p:grpSp>
          <p:nvGrpSpPr>
            <p:cNvPr id="16" name="Divergence" descr="{&quot;Key&quot;:&quot;POWER_USER_SHAPE_ICON&quot;,&quot;Value&quot;:&quot;POWER_USER_SHAPE_ICON_STYLE_1&quot;}">
              <a:extLst>
                <a:ext uri="{FF2B5EF4-FFF2-40B4-BE49-F238E27FC236}">
                  <a16:creationId xmlns:a16="http://schemas.microsoft.com/office/drawing/2014/main" id="{0B76D6B9-338F-EA9F-6630-E794EA63DF5F}"/>
                </a:ext>
              </a:extLst>
            </p:cNvPr>
            <p:cNvGrpSpPr>
              <a:grpSpLocks noChangeAspect="1"/>
            </p:cNvGrpSpPr>
            <p:nvPr/>
          </p:nvGrpSpPr>
          <p:grpSpPr>
            <a:xfrm>
              <a:off x="2305657" y="2200644"/>
              <a:ext cx="755610" cy="762000"/>
              <a:chOff x="10206233" y="5364811"/>
              <a:chExt cx="676264" cy="681983"/>
            </a:xfrm>
            <a:solidFill>
              <a:schemeClr val="accent1"/>
            </a:solidFill>
          </p:grpSpPr>
          <p:grpSp>
            <p:nvGrpSpPr>
              <p:cNvPr id="17" name="Group 236">
                <a:extLst>
                  <a:ext uri="{FF2B5EF4-FFF2-40B4-BE49-F238E27FC236}">
                    <a16:creationId xmlns:a16="http://schemas.microsoft.com/office/drawing/2014/main" id="{489730A7-42E4-A6C1-19CC-1A19F4EAC60F}"/>
                  </a:ext>
                </a:extLst>
              </p:cNvPr>
              <p:cNvGrpSpPr/>
              <p:nvPr/>
            </p:nvGrpSpPr>
            <p:grpSpPr>
              <a:xfrm rot="10800000">
                <a:off x="10586337" y="5602916"/>
                <a:ext cx="296160" cy="205772"/>
                <a:chOff x="9573788" y="5655908"/>
                <a:chExt cx="296160" cy="205772"/>
              </a:xfrm>
              <a:grpFill/>
            </p:grpSpPr>
            <p:sp>
              <p:nvSpPr>
                <p:cNvPr id="27" name="Freeform 490">
                  <a:extLst>
                    <a:ext uri="{FF2B5EF4-FFF2-40B4-BE49-F238E27FC236}">
                      <a16:creationId xmlns:a16="http://schemas.microsoft.com/office/drawing/2014/main" id="{827DC529-6093-0906-4156-AE168CE3CA68}"/>
                    </a:ext>
                  </a:extLst>
                </p:cNvPr>
                <p:cNvSpPr>
                  <a:spLocks/>
                </p:cNvSpPr>
                <p:nvPr/>
              </p:nvSpPr>
              <p:spPr bwMode="auto">
                <a:xfrm rot="10800000">
                  <a:off x="9581949" y="5745933"/>
                  <a:ext cx="287999" cy="25722"/>
                </a:xfrm>
                <a:custGeom>
                  <a:avLst/>
                  <a:gdLst>
                    <a:gd name="T0" fmla="*/ 299 w 306"/>
                    <a:gd name="T1" fmla="*/ 15 h 15"/>
                    <a:gd name="T2" fmla="*/ 7 w 306"/>
                    <a:gd name="T3" fmla="*/ 15 h 15"/>
                    <a:gd name="T4" fmla="*/ 0 w 306"/>
                    <a:gd name="T5" fmla="*/ 8 h 15"/>
                    <a:gd name="T6" fmla="*/ 7 w 306"/>
                    <a:gd name="T7" fmla="*/ 0 h 15"/>
                    <a:gd name="T8" fmla="*/ 299 w 306"/>
                    <a:gd name="T9" fmla="*/ 0 h 15"/>
                    <a:gd name="T10" fmla="*/ 306 w 306"/>
                    <a:gd name="T11" fmla="*/ 8 h 15"/>
                    <a:gd name="T12" fmla="*/ 299 w 30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06" h="15">
                      <a:moveTo>
                        <a:pt x="299" y="15"/>
                      </a:moveTo>
                      <a:lnTo>
                        <a:pt x="7" y="15"/>
                      </a:lnTo>
                      <a:cubicBezTo>
                        <a:pt x="3" y="15"/>
                        <a:pt x="0" y="12"/>
                        <a:pt x="0" y="8"/>
                      </a:cubicBezTo>
                      <a:cubicBezTo>
                        <a:pt x="0" y="4"/>
                        <a:pt x="3" y="0"/>
                        <a:pt x="7" y="0"/>
                      </a:cubicBezTo>
                      <a:lnTo>
                        <a:pt x="299" y="0"/>
                      </a:lnTo>
                      <a:cubicBezTo>
                        <a:pt x="303" y="0"/>
                        <a:pt x="306" y="4"/>
                        <a:pt x="306" y="8"/>
                      </a:cubicBezTo>
                      <a:cubicBezTo>
                        <a:pt x="306" y="12"/>
                        <a:pt x="303" y="15"/>
                        <a:pt x="299"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491">
                  <a:extLst>
                    <a:ext uri="{FF2B5EF4-FFF2-40B4-BE49-F238E27FC236}">
                      <a16:creationId xmlns:a16="http://schemas.microsoft.com/office/drawing/2014/main" id="{A0520CFC-C119-0886-BDB9-5C2657342387}"/>
                    </a:ext>
                  </a:extLst>
                </p:cNvPr>
                <p:cNvSpPr>
                  <a:spLocks/>
                </p:cNvSpPr>
                <p:nvPr/>
              </p:nvSpPr>
              <p:spPr bwMode="auto">
                <a:xfrm rot="10800000">
                  <a:off x="9573788" y="5655908"/>
                  <a:ext cx="174335" cy="205772"/>
                </a:xfrm>
                <a:custGeom>
                  <a:avLst/>
                  <a:gdLst>
                    <a:gd name="T0" fmla="*/ 8 w 105"/>
                    <a:gd name="T1" fmla="*/ 125 h 125"/>
                    <a:gd name="T2" fmla="*/ 2 w 105"/>
                    <a:gd name="T3" fmla="*/ 121 h 125"/>
                    <a:gd name="T4" fmla="*/ 4 w 105"/>
                    <a:gd name="T5" fmla="*/ 111 h 125"/>
                    <a:gd name="T6" fmla="*/ 84 w 105"/>
                    <a:gd name="T7" fmla="*/ 63 h 125"/>
                    <a:gd name="T8" fmla="*/ 4 w 105"/>
                    <a:gd name="T9" fmla="*/ 14 h 125"/>
                    <a:gd name="T10" fmla="*/ 2 w 105"/>
                    <a:gd name="T11" fmla="*/ 4 h 125"/>
                    <a:gd name="T12" fmla="*/ 12 w 105"/>
                    <a:gd name="T13" fmla="*/ 2 h 125"/>
                    <a:gd name="T14" fmla="*/ 102 w 105"/>
                    <a:gd name="T15" fmla="*/ 56 h 125"/>
                    <a:gd name="T16" fmla="*/ 105 w 105"/>
                    <a:gd name="T17" fmla="*/ 63 h 125"/>
                    <a:gd name="T18" fmla="*/ 102 w 105"/>
                    <a:gd name="T19" fmla="*/ 69 h 125"/>
                    <a:gd name="T20" fmla="*/ 12 w 105"/>
                    <a:gd name="T21" fmla="*/ 124 h 125"/>
                    <a:gd name="T22" fmla="*/ 8 w 105"/>
                    <a:gd name="T2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5">
                      <a:moveTo>
                        <a:pt x="8" y="125"/>
                      </a:moveTo>
                      <a:cubicBezTo>
                        <a:pt x="6" y="125"/>
                        <a:pt x="3" y="123"/>
                        <a:pt x="2" y="121"/>
                      </a:cubicBezTo>
                      <a:cubicBezTo>
                        <a:pt x="0" y="118"/>
                        <a:pt x="1" y="113"/>
                        <a:pt x="4" y="111"/>
                      </a:cubicBezTo>
                      <a:lnTo>
                        <a:pt x="84" y="63"/>
                      </a:lnTo>
                      <a:lnTo>
                        <a:pt x="4" y="14"/>
                      </a:lnTo>
                      <a:cubicBezTo>
                        <a:pt x="1" y="12"/>
                        <a:pt x="0" y="8"/>
                        <a:pt x="2" y="4"/>
                      </a:cubicBezTo>
                      <a:cubicBezTo>
                        <a:pt x="4" y="1"/>
                        <a:pt x="9" y="0"/>
                        <a:pt x="12" y="2"/>
                      </a:cubicBezTo>
                      <a:lnTo>
                        <a:pt x="102" y="56"/>
                      </a:lnTo>
                      <a:cubicBezTo>
                        <a:pt x="104" y="58"/>
                        <a:pt x="105" y="60"/>
                        <a:pt x="105" y="63"/>
                      </a:cubicBezTo>
                      <a:cubicBezTo>
                        <a:pt x="105" y="65"/>
                        <a:pt x="104" y="68"/>
                        <a:pt x="102" y="69"/>
                      </a:cubicBezTo>
                      <a:lnTo>
                        <a:pt x="12" y="124"/>
                      </a:lnTo>
                      <a:cubicBezTo>
                        <a:pt x="11" y="124"/>
                        <a:pt x="10" y="125"/>
                        <a:pt x="8" y="1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8" name="Group 237">
                <a:extLst>
                  <a:ext uri="{FF2B5EF4-FFF2-40B4-BE49-F238E27FC236}">
                    <a16:creationId xmlns:a16="http://schemas.microsoft.com/office/drawing/2014/main" id="{76A43412-6212-F11A-FC1B-81333CC11FC4}"/>
                  </a:ext>
                </a:extLst>
              </p:cNvPr>
              <p:cNvGrpSpPr/>
              <p:nvPr/>
            </p:nvGrpSpPr>
            <p:grpSpPr>
              <a:xfrm rot="16200000">
                <a:off x="10396285" y="5795828"/>
                <a:ext cx="296160" cy="205772"/>
                <a:chOff x="9573788" y="5655908"/>
                <a:chExt cx="296160" cy="205772"/>
              </a:xfrm>
              <a:grpFill/>
            </p:grpSpPr>
            <p:sp>
              <p:nvSpPr>
                <p:cNvPr id="25" name="Freeform 490">
                  <a:extLst>
                    <a:ext uri="{FF2B5EF4-FFF2-40B4-BE49-F238E27FC236}">
                      <a16:creationId xmlns:a16="http://schemas.microsoft.com/office/drawing/2014/main" id="{B76FF1DD-D3C4-C0D6-46BA-D1A99EB465A1}"/>
                    </a:ext>
                  </a:extLst>
                </p:cNvPr>
                <p:cNvSpPr>
                  <a:spLocks/>
                </p:cNvSpPr>
                <p:nvPr/>
              </p:nvSpPr>
              <p:spPr bwMode="auto">
                <a:xfrm rot="10800000">
                  <a:off x="9581949" y="5745933"/>
                  <a:ext cx="287999" cy="25722"/>
                </a:xfrm>
                <a:custGeom>
                  <a:avLst/>
                  <a:gdLst>
                    <a:gd name="T0" fmla="*/ 299 w 306"/>
                    <a:gd name="T1" fmla="*/ 15 h 15"/>
                    <a:gd name="T2" fmla="*/ 7 w 306"/>
                    <a:gd name="T3" fmla="*/ 15 h 15"/>
                    <a:gd name="T4" fmla="*/ 0 w 306"/>
                    <a:gd name="T5" fmla="*/ 8 h 15"/>
                    <a:gd name="T6" fmla="*/ 7 w 306"/>
                    <a:gd name="T7" fmla="*/ 0 h 15"/>
                    <a:gd name="T8" fmla="*/ 299 w 306"/>
                    <a:gd name="T9" fmla="*/ 0 h 15"/>
                    <a:gd name="T10" fmla="*/ 306 w 306"/>
                    <a:gd name="T11" fmla="*/ 8 h 15"/>
                    <a:gd name="T12" fmla="*/ 299 w 30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06" h="15">
                      <a:moveTo>
                        <a:pt x="299" y="15"/>
                      </a:moveTo>
                      <a:lnTo>
                        <a:pt x="7" y="15"/>
                      </a:lnTo>
                      <a:cubicBezTo>
                        <a:pt x="3" y="15"/>
                        <a:pt x="0" y="12"/>
                        <a:pt x="0" y="8"/>
                      </a:cubicBezTo>
                      <a:cubicBezTo>
                        <a:pt x="0" y="4"/>
                        <a:pt x="3" y="0"/>
                        <a:pt x="7" y="0"/>
                      </a:cubicBezTo>
                      <a:lnTo>
                        <a:pt x="299" y="0"/>
                      </a:lnTo>
                      <a:cubicBezTo>
                        <a:pt x="303" y="0"/>
                        <a:pt x="306" y="4"/>
                        <a:pt x="306" y="8"/>
                      </a:cubicBezTo>
                      <a:cubicBezTo>
                        <a:pt x="306" y="12"/>
                        <a:pt x="303" y="15"/>
                        <a:pt x="299"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491">
                  <a:extLst>
                    <a:ext uri="{FF2B5EF4-FFF2-40B4-BE49-F238E27FC236}">
                      <a16:creationId xmlns:a16="http://schemas.microsoft.com/office/drawing/2014/main" id="{E3E2D36F-923D-EF7D-08CD-F0051A5A2E6E}"/>
                    </a:ext>
                  </a:extLst>
                </p:cNvPr>
                <p:cNvSpPr>
                  <a:spLocks/>
                </p:cNvSpPr>
                <p:nvPr/>
              </p:nvSpPr>
              <p:spPr bwMode="auto">
                <a:xfrm rot="10800000">
                  <a:off x="9573788" y="5655908"/>
                  <a:ext cx="174335" cy="205772"/>
                </a:xfrm>
                <a:custGeom>
                  <a:avLst/>
                  <a:gdLst>
                    <a:gd name="T0" fmla="*/ 8 w 105"/>
                    <a:gd name="T1" fmla="*/ 125 h 125"/>
                    <a:gd name="T2" fmla="*/ 2 w 105"/>
                    <a:gd name="T3" fmla="*/ 121 h 125"/>
                    <a:gd name="T4" fmla="*/ 4 w 105"/>
                    <a:gd name="T5" fmla="*/ 111 h 125"/>
                    <a:gd name="T6" fmla="*/ 84 w 105"/>
                    <a:gd name="T7" fmla="*/ 63 h 125"/>
                    <a:gd name="T8" fmla="*/ 4 w 105"/>
                    <a:gd name="T9" fmla="*/ 14 h 125"/>
                    <a:gd name="T10" fmla="*/ 2 w 105"/>
                    <a:gd name="T11" fmla="*/ 4 h 125"/>
                    <a:gd name="T12" fmla="*/ 12 w 105"/>
                    <a:gd name="T13" fmla="*/ 2 h 125"/>
                    <a:gd name="T14" fmla="*/ 102 w 105"/>
                    <a:gd name="T15" fmla="*/ 56 h 125"/>
                    <a:gd name="T16" fmla="*/ 105 w 105"/>
                    <a:gd name="T17" fmla="*/ 63 h 125"/>
                    <a:gd name="T18" fmla="*/ 102 w 105"/>
                    <a:gd name="T19" fmla="*/ 69 h 125"/>
                    <a:gd name="T20" fmla="*/ 12 w 105"/>
                    <a:gd name="T21" fmla="*/ 124 h 125"/>
                    <a:gd name="T22" fmla="*/ 8 w 105"/>
                    <a:gd name="T2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5">
                      <a:moveTo>
                        <a:pt x="8" y="125"/>
                      </a:moveTo>
                      <a:cubicBezTo>
                        <a:pt x="6" y="125"/>
                        <a:pt x="3" y="123"/>
                        <a:pt x="2" y="121"/>
                      </a:cubicBezTo>
                      <a:cubicBezTo>
                        <a:pt x="0" y="118"/>
                        <a:pt x="1" y="113"/>
                        <a:pt x="4" y="111"/>
                      </a:cubicBezTo>
                      <a:lnTo>
                        <a:pt x="84" y="63"/>
                      </a:lnTo>
                      <a:lnTo>
                        <a:pt x="4" y="14"/>
                      </a:lnTo>
                      <a:cubicBezTo>
                        <a:pt x="1" y="12"/>
                        <a:pt x="0" y="8"/>
                        <a:pt x="2" y="4"/>
                      </a:cubicBezTo>
                      <a:cubicBezTo>
                        <a:pt x="4" y="1"/>
                        <a:pt x="9" y="0"/>
                        <a:pt x="12" y="2"/>
                      </a:cubicBezTo>
                      <a:lnTo>
                        <a:pt x="102" y="56"/>
                      </a:lnTo>
                      <a:cubicBezTo>
                        <a:pt x="104" y="58"/>
                        <a:pt x="105" y="60"/>
                        <a:pt x="105" y="63"/>
                      </a:cubicBezTo>
                      <a:cubicBezTo>
                        <a:pt x="105" y="65"/>
                        <a:pt x="104" y="68"/>
                        <a:pt x="102" y="69"/>
                      </a:cubicBezTo>
                      <a:lnTo>
                        <a:pt x="12" y="124"/>
                      </a:lnTo>
                      <a:cubicBezTo>
                        <a:pt x="11" y="124"/>
                        <a:pt x="10" y="125"/>
                        <a:pt x="8" y="1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9" name="Group 238">
                <a:extLst>
                  <a:ext uri="{FF2B5EF4-FFF2-40B4-BE49-F238E27FC236}">
                    <a16:creationId xmlns:a16="http://schemas.microsoft.com/office/drawing/2014/main" id="{6DBBA736-8333-7CE9-1629-0E6495367DDC}"/>
                  </a:ext>
                </a:extLst>
              </p:cNvPr>
              <p:cNvGrpSpPr/>
              <p:nvPr/>
            </p:nvGrpSpPr>
            <p:grpSpPr>
              <a:xfrm>
                <a:off x="10206233" y="5602916"/>
                <a:ext cx="296160" cy="205772"/>
                <a:chOff x="9573788" y="5655908"/>
                <a:chExt cx="296160" cy="205772"/>
              </a:xfrm>
              <a:grpFill/>
            </p:grpSpPr>
            <p:sp>
              <p:nvSpPr>
                <p:cNvPr id="23" name="Freeform 490">
                  <a:extLst>
                    <a:ext uri="{FF2B5EF4-FFF2-40B4-BE49-F238E27FC236}">
                      <a16:creationId xmlns:a16="http://schemas.microsoft.com/office/drawing/2014/main" id="{048FDBBA-CF17-F7A7-6D8D-F595E24E3FB6}"/>
                    </a:ext>
                  </a:extLst>
                </p:cNvPr>
                <p:cNvSpPr>
                  <a:spLocks/>
                </p:cNvSpPr>
                <p:nvPr/>
              </p:nvSpPr>
              <p:spPr bwMode="auto">
                <a:xfrm rot="10800000">
                  <a:off x="9581949" y="5745933"/>
                  <a:ext cx="287999" cy="25722"/>
                </a:xfrm>
                <a:custGeom>
                  <a:avLst/>
                  <a:gdLst>
                    <a:gd name="T0" fmla="*/ 299 w 306"/>
                    <a:gd name="T1" fmla="*/ 15 h 15"/>
                    <a:gd name="T2" fmla="*/ 7 w 306"/>
                    <a:gd name="T3" fmla="*/ 15 h 15"/>
                    <a:gd name="T4" fmla="*/ 0 w 306"/>
                    <a:gd name="T5" fmla="*/ 8 h 15"/>
                    <a:gd name="T6" fmla="*/ 7 w 306"/>
                    <a:gd name="T7" fmla="*/ 0 h 15"/>
                    <a:gd name="T8" fmla="*/ 299 w 306"/>
                    <a:gd name="T9" fmla="*/ 0 h 15"/>
                    <a:gd name="T10" fmla="*/ 306 w 306"/>
                    <a:gd name="T11" fmla="*/ 8 h 15"/>
                    <a:gd name="T12" fmla="*/ 299 w 30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06" h="15">
                      <a:moveTo>
                        <a:pt x="299" y="15"/>
                      </a:moveTo>
                      <a:lnTo>
                        <a:pt x="7" y="15"/>
                      </a:lnTo>
                      <a:cubicBezTo>
                        <a:pt x="3" y="15"/>
                        <a:pt x="0" y="12"/>
                        <a:pt x="0" y="8"/>
                      </a:cubicBezTo>
                      <a:cubicBezTo>
                        <a:pt x="0" y="4"/>
                        <a:pt x="3" y="0"/>
                        <a:pt x="7" y="0"/>
                      </a:cubicBezTo>
                      <a:lnTo>
                        <a:pt x="299" y="0"/>
                      </a:lnTo>
                      <a:cubicBezTo>
                        <a:pt x="303" y="0"/>
                        <a:pt x="306" y="4"/>
                        <a:pt x="306" y="8"/>
                      </a:cubicBezTo>
                      <a:cubicBezTo>
                        <a:pt x="306" y="12"/>
                        <a:pt x="303" y="15"/>
                        <a:pt x="299"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491">
                  <a:extLst>
                    <a:ext uri="{FF2B5EF4-FFF2-40B4-BE49-F238E27FC236}">
                      <a16:creationId xmlns:a16="http://schemas.microsoft.com/office/drawing/2014/main" id="{60495F9E-59A0-7712-0F19-C7316B116099}"/>
                    </a:ext>
                  </a:extLst>
                </p:cNvPr>
                <p:cNvSpPr>
                  <a:spLocks/>
                </p:cNvSpPr>
                <p:nvPr/>
              </p:nvSpPr>
              <p:spPr bwMode="auto">
                <a:xfrm rot="10800000">
                  <a:off x="9573788" y="5655908"/>
                  <a:ext cx="174335" cy="205772"/>
                </a:xfrm>
                <a:custGeom>
                  <a:avLst/>
                  <a:gdLst>
                    <a:gd name="T0" fmla="*/ 8 w 105"/>
                    <a:gd name="T1" fmla="*/ 125 h 125"/>
                    <a:gd name="T2" fmla="*/ 2 w 105"/>
                    <a:gd name="T3" fmla="*/ 121 h 125"/>
                    <a:gd name="T4" fmla="*/ 4 w 105"/>
                    <a:gd name="T5" fmla="*/ 111 h 125"/>
                    <a:gd name="T6" fmla="*/ 84 w 105"/>
                    <a:gd name="T7" fmla="*/ 63 h 125"/>
                    <a:gd name="T8" fmla="*/ 4 w 105"/>
                    <a:gd name="T9" fmla="*/ 14 h 125"/>
                    <a:gd name="T10" fmla="*/ 2 w 105"/>
                    <a:gd name="T11" fmla="*/ 4 h 125"/>
                    <a:gd name="T12" fmla="*/ 12 w 105"/>
                    <a:gd name="T13" fmla="*/ 2 h 125"/>
                    <a:gd name="T14" fmla="*/ 102 w 105"/>
                    <a:gd name="T15" fmla="*/ 56 h 125"/>
                    <a:gd name="T16" fmla="*/ 105 w 105"/>
                    <a:gd name="T17" fmla="*/ 63 h 125"/>
                    <a:gd name="T18" fmla="*/ 102 w 105"/>
                    <a:gd name="T19" fmla="*/ 69 h 125"/>
                    <a:gd name="T20" fmla="*/ 12 w 105"/>
                    <a:gd name="T21" fmla="*/ 124 h 125"/>
                    <a:gd name="T22" fmla="*/ 8 w 105"/>
                    <a:gd name="T2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5">
                      <a:moveTo>
                        <a:pt x="8" y="125"/>
                      </a:moveTo>
                      <a:cubicBezTo>
                        <a:pt x="6" y="125"/>
                        <a:pt x="3" y="123"/>
                        <a:pt x="2" y="121"/>
                      </a:cubicBezTo>
                      <a:cubicBezTo>
                        <a:pt x="0" y="118"/>
                        <a:pt x="1" y="113"/>
                        <a:pt x="4" y="111"/>
                      </a:cubicBezTo>
                      <a:lnTo>
                        <a:pt x="84" y="63"/>
                      </a:lnTo>
                      <a:lnTo>
                        <a:pt x="4" y="14"/>
                      </a:lnTo>
                      <a:cubicBezTo>
                        <a:pt x="1" y="12"/>
                        <a:pt x="0" y="8"/>
                        <a:pt x="2" y="4"/>
                      </a:cubicBezTo>
                      <a:cubicBezTo>
                        <a:pt x="4" y="1"/>
                        <a:pt x="9" y="0"/>
                        <a:pt x="12" y="2"/>
                      </a:cubicBezTo>
                      <a:lnTo>
                        <a:pt x="102" y="56"/>
                      </a:lnTo>
                      <a:cubicBezTo>
                        <a:pt x="104" y="58"/>
                        <a:pt x="105" y="60"/>
                        <a:pt x="105" y="63"/>
                      </a:cubicBezTo>
                      <a:cubicBezTo>
                        <a:pt x="105" y="65"/>
                        <a:pt x="104" y="68"/>
                        <a:pt x="102" y="69"/>
                      </a:cubicBezTo>
                      <a:lnTo>
                        <a:pt x="12" y="124"/>
                      </a:lnTo>
                      <a:cubicBezTo>
                        <a:pt x="11" y="124"/>
                        <a:pt x="10" y="125"/>
                        <a:pt x="8" y="1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239">
                <a:extLst>
                  <a:ext uri="{FF2B5EF4-FFF2-40B4-BE49-F238E27FC236}">
                    <a16:creationId xmlns:a16="http://schemas.microsoft.com/office/drawing/2014/main" id="{76748F58-0786-1801-6A5D-D6A5B599B490}"/>
                  </a:ext>
                </a:extLst>
              </p:cNvPr>
              <p:cNvGrpSpPr/>
              <p:nvPr/>
            </p:nvGrpSpPr>
            <p:grpSpPr>
              <a:xfrm rot="5400000">
                <a:off x="10396285" y="5410005"/>
                <a:ext cx="296160" cy="205772"/>
                <a:chOff x="9573788" y="5655908"/>
                <a:chExt cx="296160" cy="205772"/>
              </a:xfrm>
              <a:grpFill/>
            </p:grpSpPr>
            <p:sp>
              <p:nvSpPr>
                <p:cNvPr id="21" name="Freeform 490">
                  <a:extLst>
                    <a:ext uri="{FF2B5EF4-FFF2-40B4-BE49-F238E27FC236}">
                      <a16:creationId xmlns:a16="http://schemas.microsoft.com/office/drawing/2014/main" id="{56605F4A-948E-E1BE-9769-D3BC052205D2}"/>
                    </a:ext>
                  </a:extLst>
                </p:cNvPr>
                <p:cNvSpPr>
                  <a:spLocks/>
                </p:cNvSpPr>
                <p:nvPr/>
              </p:nvSpPr>
              <p:spPr bwMode="auto">
                <a:xfrm rot="10800000">
                  <a:off x="9581949" y="5745933"/>
                  <a:ext cx="287999" cy="25722"/>
                </a:xfrm>
                <a:custGeom>
                  <a:avLst/>
                  <a:gdLst>
                    <a:gd name="T0" fmla="*/ 299 w 306"/>
                    <a:gd name="T1" fmla="*/ 15 h 15"/>
                    <a:gd name="T2" fmla="*/ 7 w 306"/>
                    <a:gd name="T3" fmla="*/ 15 h 15"/>
                    <a:gd name="T4" fmla="*/ 0 w 306"/>
                    <a:gd name="T5" fmla="*/ 8 h 15"/>
                    <a:gd name="T6" fmla="*/ 7 w 306"/>
                    <a:gd name="T7" fmla="*/ 0 h 15"/>
                    <a:gd name="T8" fmla="*/ 299 w 306"/>
                    <a:gd name="T9" fmla="*/ 0 h 15"/>
                    <a:gd name="T10" fmla="*/ 306 w 306"/>
                    <a:gd name="T11" fmla="*/ 8 h 15"/>
                    <a:gd name="T12" fmla="*/ 299 w 30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06" h="15">
                      <a:moveTo>
                        <a:pt x="299" y="15"/>
                      </a:moveTo>
                      <a:lnTo>
                        <a:pt x="7" y="15"/>
                      </a:lnTo>
                      <a:cubicBezTo>
                        <a:pt x="3" y="15"/>
                        <a:pt x="0" y="12"/>
                        <a:pt x="0" y="8"/>
                      </a:cubicBezTo>
                      <a:cubicBezTo>
                        <a:pt x="0" y="4"/>
                        <a:pt x="3" y="0"/>
                        <a:pt x="7" y="0"/>
                      </a:cubicBezTo>
                      <a:lnTo>
                        <a:pt x="299" y="0"/>
                      </a:lnTo>
                      <a:cubicBezTo>
                        <a:pt x="303" y="0"/>
                        <a:pt x="306" y="4"/>
                        <a:pt x="306" y="8"/>
                      </a:cubicBezTo>
                      <a:cubicBezTo>
                        <a:pt x="306" y="12"/>
                        <a:pt x="303" y="15"/>
                        <a:pt x="299"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491">
                  <a:extLst>
                    <a:ext uri="{FF2B5EF4-FFF2-40B4-BE49-F238E27FC236}">
                      <a16:creationId xmlns:a16="http://schemas.microsoft.com/office/drawing/2014/main" id="{019F1961-3DD5-D8E5-C2B8-3775B9A7504D}"/>
                    </a:ext>
                  </a:extLst>
                </p:cNvPr>
                <p:cNvSpPr>
                  <a:spLocks/>
                </p:cNvSpPr>
                <p:nvPr/>
              </p:nvSpPr>
              <p:spPr bwMode="auto">
                <a:xfrm rot="10800000">
                  <a:off x="9573788" y="5655908"/>
                  <a:ext cx="174335" cy="205772"/>
                </a:xfrm>
                <a:custGeom>
                  <a:avLst/>
                  <a:gdLst>
                    <a:gd name="T0" fmla="*/ 8 w 105"/>
                    <a:gd name="T1" fmla="*/ 125 h 125"/>
                    <a:gd name="T2" fmla="*/ 2 w 105"/>
                    <a:gd name="T3" fmla="*/ 121 h 125"/>
                    <a:gd name="T4" fmla="*/ 4 w 105"/>
                    <a:gd name="T5" fmla="*/ 111 h 125"/>
                    <a:gd name="T6" fmla="*/ 84 w 105"/>
                    <a:gd name="T7" fmla="*/ 63 h 125"/>
                    <a:gd name="T8" fmla="*/ 4 w 105"/>
                    <a:gd name="T9" fmla="*/ 14 h 125"/>
                    <a:gd name="T10" fmla="*/ 2 w 105"/>
                    <a:gd name="T11" fmla="*/ 4 h 125"/>
                    <a:gd name="T12" fmla="*/ 12 w 105"/>
                    <a:gd name="T13" fmla="*/ 2 h 125"/>
                    <a:gd name="T14" fmla="*/ 102 w 105"/>
                    <a:gd name="T15" fmla="*/ 56 h 125"/>
                    <a:gd name="T16" fmla="*/ 105 w 105"/>
                    <a:gd name="T17" fmla="*/ 63 h 125"/>
                    <a:gd name="T18" fmla="*/ 102 w 105"/>
                    <a:gd name="T19" fmla="*/ 69 h 125"/>
                    <a:gd name="T20" fmla="*/ 12 w 105"/>
                    <a:gd name="T21" fmla="*/ 124 h 125"/>
                    <a:gd name="T22" fmla="*/ 8 w 105"/>
                    <a:gd name="T2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5">
                      <a:moveTo>
                        <a:pt x="8" y="125"/>
                      </a:moveTo>
                      <a:cubicBezTo>
                        <a:pt x="6" y="125"/>
                        <a:pt x="3" y="123"/>
                        <a:pt x="2" y="121"/>
                      </a:cubicBezTo>
                      <a:cubicBezTo>
                        <a:pt x="0" y="118"/>
                        <a:pt x="1" y="113"/>
                        <a:pt x="4" y="111"/>
                      </a:cubicBezTo>
                      <a:lnTo>
                        <a:pt x="84" y="63"/>
                      </a:lnTo>
                      <a:lnTo>
                        <a:pt x="4" y="14"/>
                      </a:lnTo>
                      <a:cubicBezTo>
                        <a:pt x="1" y="12"/>
                        <a:pt x="0" y="8"/>
                        <a:pt x="2" y="4"/>
                      </a:cubicBezTo>
                      <a:cubicBezTo>
                        <a:pt x="4" y="1"/>
                        <a:pt x="9" y="0"/>
                        <a:pt x="12" y="2"/>
                      </a:cubicBezTo>
                      <a:lnTo>
                        <a:pt x="102" y="56"/>
                      </a:lnTo>
                      <a:cubicBezTo>
                        <a:pt x="104" y="58"/>
                        <a:pt x="105" y="60"/>
                        <a:pt x="105" y="63"/>
                      </a:cubicBezTo>
                      <a:cubicBezTo>
                        <a:pt x="105" y="65"/>
                        <a:pt x="104" y="68"/>
                        <a:pt x="102" y="69"/>
                      </a:cubicBezTo>
                      <a:lnTo>
                        <a:pt x="12" y="124"/>
                      </a:lnTo>
                      <a:cubicBezTo>
                        <a:pt x="11" y="124"/>
                        <a:pt x="10" y="125"/>
                        <a:pt x="8" y="1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spTree>
    <p:extLst>
      <p:ext uri="{BB962C8B-B14F-4D97-AF65-F5344CB8AC3E}">
        <p14:creationId xmlns:p14="http://schemas.microsoft.com/office/powerpoint/2010/main" val="32488702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A28E564-1A87-BA7C-8C98-A007380FDF99}"/>
              </a:ext>
            </a:extLst>
          </p:cNvPr>
          <p:cNvGraphicFramePr>
            <a:graphicFrameLocks noChangeAspect="1"/>
          </p:cNvGraphicFramePr>
          <p:nvPr>
            <p:custDataLst>
              <p:tags r:id="rId1"/>
            </p:custDataLst>
            <p:extLst>
              <p:ext uri="{D42A27DB-BD31-4B8C-83A1-F6EECF244321}">
                <p14:modId xmlns:p14="http://schemas.microsoft.com/office/powerpoint/2010/main" val="1113231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5" name="think-cell data - do not delete" hidden="1">
                        <a:extLst>
                          <a:ext uri="{FF2B5EF4-FFF2-40B4-BE49-F238E27FC236}">
                            <a16:creationId xmlns:a16="http://schemas.microsoft.com/office/drawing/2014/main" id="{AA28E564-1A87-BA7C-8C98-A007380FDF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DE95C51-87A7-784D-0BD0-DA86F62E645A}"/>
              </a:ext>
            </a:extLst>
          </p:cNvPr>
          <p:cNvSpPr>
            <a:spLocks noGrp="1"/>
          </p:cNvSpPr>
          <p:nvPr>
            <p:ph type="title"/>
          </p:nvPr>
        </p:nvSpPr>
        <p:spPr>
          <a:xfrm>
            <a:off x="360000" y="1980000"/>
            <a:ext cx="8550000" cy="1384995"/>
          </a:xfrm>
        </p:spPr>
        <p:txBody>
          <a:bodyPr vert="horz"/>
          <a:lstStyle/>
          <a:p>
            <a:r>
              <a:rPr lang="en-US"/>
              <a:t>Frage 3: Culture &amp; Leadership – 5 Folien </a:t>
            </a:r>
          </a:p>
        </p:txBody>
      </p:sp>
      <p:sp>
        <p:nvSpPr>
          <p:cNvPr id="3" name="Textplatzhalter 2">
            <a:extLst>
              <a:ext uri="{FF2B5EF4-FFF2-40B4-BE49-F238E27FC236}">
                <a16:creationId xmlns:a16="http://schemas.microsoft.com/office/drawing/2014/main" id="{DD623A1D-B65D-0F5A-2194-0B7213638BFE}"/>
              </a:ext>
            </a:extLst>
          </p:cNvPr>
          <p:cNvSpPr>
            <a:spLocks noGrp="1"/>
          </p:cNvSpPr>
          <p:nvPr>
            <p:ph type="body" idx="1"/>
          </p:nvPr>
        </p:nvSpPr>
        <p:spPr/>
        <p:txBody>
          <a:bodyPr/>
          <a:lstStyle/>
          <a:p>
            <a:r>
              <a:rPr lang="en-US"/>
              <a:t>Hauke Siemsen</a:t>
            </a:r>
          </a:p>
        </p:txBody>
      </p:sp>
    </p:spTree>
    <p:extLst>
      <p:ext uri="{BB962C8B-B14F-4D97-AF65-F5344CB8AC3E}">
        <p14:creationId xmlns:p14="http://schemas.microsoft.com/office/powerpoint/2010/main" val="894086320"/>
      </p:ext>
    </p:extLst>
  </p:cSld>
  <p:clrMapOvr>
    <a:masterClrMapping/>
  </p:clrMapOvr>
  <p:extLst>
    <p:ext uri="{6950BFC3-D8DA-4A85-94F7-54DA5524770B}">
      <p188:commentRel xmlns:p188="http://schemas.microsoft.com/office/powerpoint/2018/8/main" r:id="rId4"/>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799EEA-858F-774B-2E33-730E903678AC}"/>
              </a:ext>
            </a:extLst>
          </p:cNvPr>
          <p:cNvSpPr>
            <a:spLocks noGrp="1"/>
          </p:cNvSpPr>
          <p:nvPr>
            <p:ph type="title"/>
          </p:nvPr>
        </p:nvSpPr>
        <p:spPr/>
        <p:txBody>
          <a:bodyPr/>
          <a:lstStyle/>
          <a:p>
            <a:r>
              <a:rPr lang="de-DE"/>
              <a:t>Acht Werte charakterisieren die neue Unternehmenskultur von Uber</a:t>
            </a:r>
          </a:p>
        </p:txBody>
      </p:sp>
      <p:sp>
        <p:nvSpPr>
          <p:cNvPr id="3" name="Inhaltsplatzhalter 2">
            <a:extLst>
              <a:ext uri="{FF2B5EF4-FFF2-40B4-BE49-F238E27FC236}">
                <a16:creationId xmlns:a16="http://schemas.microsoft.com/office/drawing/2014/main" id="{C4D207B5-63E5-5BBB-DBF4-C60D28042F04}"/>
              </a:ext>
            </a:extLst>
          </p:cNvPr>
          <p:cNvSpPr>
            <a:spLocks noGrp="1"/>
          </p:cNvSpPr>
          <p:nvPr>
            <p:ph idx="1"/>
          </p:nvPr>
        </p:nvSpPr>
        <p:spPr/>
        <p:txBody>
          <a:bodyPr numCol="2"/>
          <a:lstStyle/>
          <a:p>
            <a:r>
              <a:rPr lang="de-DE" sz="1200" b="1"/>
              <a:t>Ziele von Ubers Kultur</a:t>
            </a:r>
          </a:p>
          <a:p>
            <a:pPr marL="285750" indent="-285750">
              <a:spcBef>
                <a:spcPts val="600"/>
              </a:spcBef>
              <a:buFont typeface="Arial" panose="020B0604020202020204" pitchFamily="34" charset="0"/>
              <a:buChar char="•"/>
            </a:pPr>
            <a:r>
              <a:rPr lang="de-DE" sz="1200"/>
              <a:t>Integration von Werten in unser Unternehmen</a:t>
            </a:r>
          </a:p>
          <a:p>
            <a:pPr marL="285750" indent="-285750">
              <a:spcBef>
                <a:spcPts val="600"/>
              </a:spcBef>
              <a:buFont typeface="Arial" panose="020B0604020202020204" pitchFamily="34" charset="0"/>
              <a:buChar char="•"/>
            </a:pPr>
            <a:r>
              <a:rPr lang="de-DE" sz="1200"/>
              <a:t>Erhöhung des Anteils von Frauen und unterrepräsentierten Personen innerhalb der Organisation</a:t>
            </a:r>
          </a:p>
          <a:p>
            <a:pPr marL="285750" indent="-285750">
              <a:spcBef>
                <a:spcPts val="600"/>
              </a:spcBef>
              <a:buFont typeface="Arial" panose="020B0604020202020204" pitchFamily="34" charset="0"/>
              <a:buChar char="•"/>
            </a:pPr>
            <a:r>
              <a:rPr lang="de-DE" sz="1200"/>
              <a:t>Förderung der Rassengleichheit innerhalb und außerhalb des Unternehmens</a:t>
            </a:r>
          </a:p>
          <a:p>
            <a:pPr marL="285750" indent="-285750">
              <a:spcBef>
                <a:spcPts val="600"/>
              </a:spcBef>
              <a:buFont typeface="Arial" panose="020B0604020202020204" pitchFamily="34" charset="0"/>
              <a:buChar char="•"/>
            </a:pPr>
            <a:r>
              <a:rPr lang="de-DE" sz="1200"/>
              <a:t>Erhöhung der Mitarbeiterbindung</a:t>
            </a:r>
          </a:p>
          <a:p>
            <a:pPr>
              <a:spcBef>
                <a:spcPts val="600"/>
              </a:spcBef>
            </a:pPr>
            <a:r>
              <a:rPr lang="de-DE" sz="1200" b="1"/>
              <a:t>Die Werte von Uber und deren Veränderungen</a:t>
            </a:r>
          </a:p>
          <a:p>
            <a:pPr>
              <a:spcBef>
                <a:spcPts val="600"/>
              </a:spcBef>
            </a:pPr>
            <a:r>
              <a:rPr lang="de-DE" sz="1200"/>
              <a:t>Dara </a:t>
            </a:r>
            <a:r>
              <a:rPr lang="de-DE" sz="1200" err="1"/>
              <a:t>Khosrowshahi</a:t>
            </a:r>
            <a:r>
              <a:rPr lang="de-DE" sz="1200"/>
              <a:t> hat 2017 zum Antritt als CEO bei Uber 8 kulturelle Normen definiert, diese werden nicht als Werte bezeichnet, weil davon ausgegangen wird, dass diese sich im Laufe der Zeit weiterentwickeln.</a:t>
            </a:r>
          </a:p>
          <a:p>
            <a:pPr>
              <a:spcBef>
                <a:spcPts val="600"/>
              </a:spcBef>
            </a:pPr>
            <a:endParaRPr lang="de-DE" sz="1200"/>
          </a:p>
          <a:p>
            <a:pPr marL="285750" indent="-285750">
              <a:spcBef>
                <a:spcPts val="600"/>
              </a:spcBef>
              <a:buFont typeface="+mj-lt"/>
              <a:buAutoNum type="arabicPeriod"/>
            </a:pPr>
            <a:endParaRPr lang="de-DE" sz="1200"/>
          </a:p>
          <a:p>
            <a:pPr marL="285750" indent="-285750">
              <a:spcBef>
                <a:spcPts val="600"/>
              </a:spcBef>
              <a:buFont typeface="+mj-lt"/>
              <a:buAutoNum type="arabicPeriod"/>
            </a:pPr>
            <a:endParaRPr lang="de-DE" sz="1200"/>
          </a:p>
          <a:p>
            <a:pPr marL="285750" indent="-285750">
              <a:spcBef>
                <a:spcPts val="600"/>
              </a:spcBef>
              <a:buFont typeface="+mj-lt"/>
              <a:buAutoNum type="arabicPeriod"/>
            </a:pPr>
            <a:endParaRPr lang="de-DE" sz="1200"/>
          </a:p>
          <a:p>
            <a:pPr marL="285750" indent="-285750">
              <a:spcBef>
                <a:spcPts val="600"/>
              </a:spcBef>
              <a:buFont typeface="+mj-lt"/>
              <a:buAutoNum type="arabicPeriod"/>
            </a:pPr>
            <a:endParaRPr lang="de-DE" sz="1200"/>
          </a:p>
          <a:p>
            <a:pPr marL="285750" indent="-285750">
              <a:spcBef>
                <a:spcPts val="600"/>
              </a:spcBef>
              <a:buFont typeface="+mj-lt"/>
              <a:buAutoNum type="arabicPeriod"/>
            </a:pPr>
            <a:endParaRPr lang="de-DE" sz="1200"/>
          </a:p>
          <a:p>
            <a:pPr marL="285750" indent="-285750">
              <a:spcBef>
                <a:spcPts val="600"/>
              </a:spcBef>
              <a:buFont typeface="+mj-lt"/>
              <a:buAutoNum type="arabicPeriod"/>
            </a:pPr>
            <a:endParaRPr lang="de-DE" sz="1200"/>
          </a:p>
          <a:p>
            <a:pPr marL="285750" indent="-285750">
              <a:spcBef>
                <a:spcPts val="600"/>
              </a:spcBef>
              <a:buFont typeface="+mj-lt"/>
              <a:buAutoNum type="arabicPeriod"/>
            </a:pPr>
            <a:endParaRPr lang="de-DE" sz="1200"/>
          </a:p>
          <a:p>
            <a:pPr marL="285750" indent="-285750">
              <a:spcBef>
                <a:spcPts val="600"/>
              </a:spcBef>
              <a:buFont typeface="+mj-lt"/>
              <a:buAutoNum type="arabicPeriod"/>
            </a:pPr>
            <a:endParaRPr lang="de-DE" sz="1200"/>
          </a:p>
          <a:p>
            <a:pPr marL="285750" indent="-285750">
              <a:spcBef>
                <a:spcPts val="600"/>
              </a:spcBef>
              <a:buFont typeface="+mj-lt"/>
              <a:buAutoNum type="arabicPeriod"/>
            </a:pPr>
            <a:endParaRPr lang="de-DE" sz="1200"/>
          </a:p>
          <a:p>
            <a:pPr marL="285750" indent="-285750">
              <a:spcBef>
                <a:spcPts val="600"/>
              </a:spcBef>
              <a:buFont typeface="+mj-lt"/>
              <a:buAutoNum type="arabicPeriod"/>
            </a:pPr>
            <a:endParaRPr lang="de-DE" sz="1200"/>
          </a:p>
          <a:p>
            <a:pPr>
              <a:spcBef>
                <a:spcPts val="600"/>
              </a:spcBef>
            </a:pPr>
            <a:r>
              <a:rPr lang="de-DE" sz="1200" b="1"/>
              <a:t>Externe Elemente in der Kultur von Uber</a:t>
            </a:r>
          </a:p>
          <a:p>
            <a:pPr marL="171450" indent="-171450">
              <a:spcBef>
                <a:spcPts val="600"/>
              </a:spcBef>
              <a:buFont typeface="Arial" panose="020B0604020202020204" pitchFamily="34" charset="0"/>
              <a:buChar char="•"/>
            </a:pPr>
            <a:r>
              <a:rPr lang="de-DE" sz="1200"/>
              <a:t>Feedback-Systeme von Kunden, Fahrern und Mitarbeitern</a:t>
            </a:r>
          </a:p>
          <a:p>
            <a:pPr marL="171450" indent="-171450">
              <a:spcBef>
                <a:spcPts val="600"/>
              </a:spcBef>
              <a:buFont typeface="Arial" panose="020B0604020202020204" pitchFamily="34" charset="0"/>
              <a:buChar char="•"/>
            </a:pPr>
            <a:r>
              <a:rPr lang="de-DE" sz="1200"/>
              <a:t>Uber Applikationen in denen Uber-Magic vollbracht wird und Nutzererfahrungen als Treiber für Verbesserung gelten</a:t>
            </a:r>
          </a:p>
          <a:p>
            <a:pPr marL="171450" indent="-171450">
              <a:spcBef>
                <a:spcPts val="600"/>
              </a:spcBef>
              <a:buFont typeface="Arial" panose="020B0604020202020204" pitchFamily="34" charset="0"/>
              <a:buChar char="•"/>
            </a:pPr>
            <a:r>
              <a:rPr lang="de-DE" sz="1200"/>
              <a:t>Identifikation der Nachhaltigkeitsstrategie „Net-Zero 2030/2040“ als Treiber für einen nachhaltigen Wandel</a:t>
            </a:r>
          </a:p>
          <a:p>
            <a:pPr marL="171450" indent="-171450">
              <a:spcBef>
                <a:spcPts val="600"/>
              </a:spcBef>
              <a:buFont typeface="Arial" panose="020B0604020202020204" pitchFamily="34" charset="0"/>
              <a:buChar char="•"/>
            </a:pPr>
            <a:r>
              <a:rPr lang="de-DE" sz="1200"/>
              <a:t>Entwicklung von disruptiven Technologien, um bestmöglich alle Kundenbedürfnisse zu befriedigen</a:t>
            </a:r>
          </a:p>
          <a:p>
            <a:pPr>
              <a:spcBef>
                <a:spcPts val="600"/>
              </a:spcBef>
            </a:pPr>
            <a:r>
              <a:rPr lang="de-DE" sz="1200"/>
              <a:t>Vor 2017 waren Toe-</a:t>
            </a:r>
            <a:r>
              <a:rPr lang="de-DE" sz="1200" err="1"/>
              <a:t>Stepping</a:t>
            </a:r>
            <a:r>
              <a:rPr lang="de-DE" sz="1200"/>
              <a:t> und das </a:t>
            </a:r>
            <a:r>
              <a:rPr lang="de-DE" sz="1200" err="1"/>
              <a:t>Greyball</a:t>
            </a:r>
            <a:r>
              <a:rPr lang="de-DE" sz="1200"/>
              <a:t>-Programm in der Unternehmenskultur integriert um Ziele schneller zu erreichen und Regulatorien zu umgehen.</a:t>
            </a:r>
          </a:p>
          <a:p>
            <a:pPr>
              <a:spcBef>
                <a:spcPts val="600"/>
              </a:spcBef>
            </a:pPr>
            <a:endParaRPr lang="de-DE" sz="1200"/>
          </a:p>
          <a:p>
            <a:pPr>
              <a:spcBef>
                <a:spcPts val="600"/>
              </a:spcBef>
            </a:pPr>
            <a:endParaRPr lang="de-DE" sz="1200"/>
          </a:p>
          <a:p>
            <a:pPr>
              <a:spcBef>
                <a:spcPts val="600"/>
              </a:spcBef>
            </a:pPr>
            <a:endParaRPr lang="de-DE" sz="1200"/>
          </a:p>
          <a:p>
            <a:pPr>
              <a:spcBef>
                <a:spcPts val="600"/>
              </a:spcBef>
            </a:pPr>
            <a:endParaRPr lang="de-DE" sz="1200"/>
          </a:p>
          <a:p>
            <a:pPr marL="285750" indent="-285750">
              <a:spcBef>
                <a:spcPts val="600"/>
              </a:spcBef>
              <a:buFont typeface="Arial" panose="020B0604020202020204" pitchFamily="34" charset="0"/>
              <a:buChar char="•"/>
            </a:pPr>
            <a:endParaRPr lang="de-DE" sz="1200"/>
          </a:p>
          <a:p>
            <a:pPr marL="285750" indent="-285750">
              <a:spcBef>
                <a:spcPts val="600"/>
              </a:spcBef>
              <a:buFont typeface="Arial" panose="020B0604020202020204" pitchFamily="34" charset="0"/>
              <a:buChar char="•"/>
            </a:pPr>
            <a:endParaRPr lang="de-DE" sz="1200"/>
          </a:p>
          <a:p>
            <a:pPr>
              <a:spcBef>
                <a:spcPts val="600"/>
              </a:spcBef>
            </a:pPr>
            <a:endParaRPr lang="de-DE" sz="1200"/>
          </a:p>
          <a:p>
            <a:endParaRPr lang="de-DE"/>
          </a:p>
          <a:p>
            <a:endParaRPr lang="de-DE"/>
          </a:p>
          <a:p>
            <a:endParaRPr lang="de-DE"/>
          </a:p>
          <a:p>
            <a:endParaRPr lang="de-DE"/>
          </a:p>
        </p:txBody>
      </p:sp>
      <p:sp>
        <p:nvSpPr>
          <p:cNvPr id="4" name="Foliennummernplatzhalter 3">
            <a:extLst>
              <a:ext uri="{FF2B5EF4-FFF2-40B4-BE49-F238E27FC236}">
                <a16:creationId xmlns:a16="http://schemas.microsoft.com/office/drawing/2014/main" id="{85BBCD7F-421B-9446-0FA8-BF8C8F19CE96}"/>
              </a:ext>
            </a:extLst>
          </p:cNvPr>
          <p:cNvSpPr>
            <a:spLocks noGrp="1"/>
          </p:cNvSpPr>
          <p:nvPr>
            <p:ph type="sldNum" sz="quarter" idx="4"/>
          </p:nvPr>
        </p:nvSpPr>
        <p:spPr/>
        <p:txBody>
          <a:bodyPr/>
          <a:lstStyle/>
          <a:p>
            <a:fld id="{BAF04893-69FB-435D-AB2E-CA259D85B32F}" type="slidenum">
              <a:rPr lang="de-DE" smtClean="0"/>
              <a:pPr/>
              <a:t>39</a:t>
            </a:fld>
            <a:endParaRPr lang="de-DE"/>
          </a:p>
        </p:txBody>
      </p:sp>
      <p:sp>
        <p:nvSpPr>
          <p:cNvPr id="5" name="Inhaltsplatzhalter 4">
            <a:extLst>
              <a:ext uri="{FF2B5EF4-FFF2-40B4-BE49-F238E27FC236}">
                <a16:creationId xmlns:a16="http://schemas.microsoft.com/office/drawing/2014/main" id="{9BD6E804-2B7E-FCEC-9BEE-00FBF61E8C13}"/>
              </a:ext>
            </a:extLst>
          </p:cNvPr>
          <p:cNvSpPr>
            <a:spLocks noGrp="1"/>
          </p:cNvSpPr>
          <p:nvPr>
            <p:ph idx="10"/>
          </p:nvPr>
        </p:nvSpPr>
        <p:spPr/>
        <p:txBody>
          <a:bodyPr/>
          <a:lstStyle/>
          <a:p>
            <a:endParaRPr lang="de-DE"/>
          </a:p>
        </p:txBody>
      </p:sp>
      <p:sp>
        <p:nvSpPr>
          <p:cNvPr id="6" name="Inhaltsplatzhalter 5">
            <a:extLst>
              <a:ext uri="{FF2B5EF4-FFF2-40B4-BE49-F238E27FC236}">
                <a16:creationId xmlns:a16="http://schemas.microsoft.com/office/drawing/2014/main" id="{58A2D53C-22D1-1064-25B2-1DEFBAEDA232}"/>
              </a:ext>
            </a:extLst>
          </p:cNvPr>
          <p:cNvSpPr>
            <a:spLocks noGrp="1"/>
          </p:cNvSpPr>
          <p:nvPr>
            <p:ph idx="11"/>
          </p:nvPr>
        </p:nvSpPr>
        <p:spPr/>
        <p:txBody>
          <a:bodyPr/>
          <a:lstStyle/>
          <a:p>
            <a:r>
              <a:rPr lang="de-DE">
                <a:hlinkClick r:id="rId2"/>
              </a:rPr>
              <a:t>https://www.linkedin.com/pulse/ubers-new-cultural-norms-dara-khosrowshahi/</a:t>
            </a:r>
            <a:r>
              <a:rPr lang="de-DE"/>
              <a:t>; https://research-methodology.net/uber-organizational-culture-starting-new-page/</a:t>
            </a:r>
          </a:p>
        </p:txBody>
      </p:sp>
      <p:sp>
        <p:nvSpPr>
          <p:cNvPr id="7" name="Inhaltsplatzhalter 6">
            <a:extLst>
              <a:ext uri="{FF2B5EF4-FFF2-40B4-BE49-F238E27FC236}">
                <a16:creationId xmlns:a16="http://schemas.microsoft.com/office/drawing/2014/main" id="{50D6B522-158D-069B-2026-3B57CA543DEA}"/>
              </a:ext>
            </a:extLst>
          </p:cNvPr>
          <p:cNvSpPr>
            <a:spLocks noGrp="1"/>
          </p:cNvSpPr>
          <p:nvPr>
            <p:ph idx="12"/>
          </p:nvPr>
        </p:nvSpPr>
        <p:spPr/>
        <p:txBody>
          <a:bodyPr/>
          <a:lstStyle/>
          <a:p>
            <a:endParaRPr lang="de-DE"/>
          </a:p>
        </p:txBody>
      </p:sp>
      <p:sp>
        <p:nvSpPr>
          <p:cNvPr id="9" name="Pfeil: nach rechts 8">
            <a:extLst>
              <a:ext uri="{FF2B5EF4-FFF2-40B4-BE49-F238E27FC236}">
                <a16:creationId xmlns:a16="http://schemas.microsoft.com/office/drawing/2014/main" id="{AE83F64F-0FBA-6BF8-449B-D00D58FD3A49}"/>
              </a:ext>
            </a:extLst>
          </p:cNvPr>
          <p:cNvSpPr/>
          <p:nvPr/>
        </p:nvSpPr>
        <p:spPr>
          <a:xfrm>
            <a:off x="3624583" y="4506863"/>
            <a:ext cx="2067793" cy="1908554"/>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de-DE" sz="1200" b="1"/>
              <a:t>2023</a:t>
            </a:r>
          </a:p>
          <a:p>
            <a:pPr algn="ctr"/>
            <a:r>
              <a:rPr lang="de-DE" sz="1200"/>
              <a:t>Entwicklung zu Werten </a:t>
            </a:r>
          </a:p>
        </p:txBody>
      </p:sp>
      <p:sp>
        <p:nvSpPr>
          <p:cNvPr id="10" name="Rechteck 9">
            <a:extLst>
              <a:ext uri="{FF2B5EF4-FFF2-40B4-BE49-F238E27FC236}">
                <a16:creationId xmlns:a16="http://schemas.microsoft.com/office/drawing/2014/main" id="{6B0DFBAF-5305-197F-86A7-8D3C2EA80DD4}"/>
              </a:ext>
            </a:extLst>
          </p:cNvPr>
          <p:cNvSpPr/>
          <p:nvPr/>
        </p:nvSpPr>
        <p:spPr>
          <a:xfrm>
            <a:off x="576583" y="4462771"/>
            <a:ext cx="3048000" cy="2006804"/>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285750" indent="-285750">
              <a:spcBef>
                <a:spcPts val="600"/>
              </a:spcBef>
              <a:buFont typeface="+mj-lt"/>
              <a:buAutoNum type="arabicPeriod"/>
            </a:pPr>
            <a:r>
              <a:rPr lang="en-US" sz="1200"/>
              <a:t>We build globally, we live locally. </a:t>
            </a:r>
          </a:p>
          <a:p>
            <a:pPr marL="285750" indent="-285750">
              <a:spcBef>
                <a:spcPts val="600"/>
              </a:spcBef>
              <a:buFont typeface="+mj-lt"/>
              <a:buAutoNum type="arabicPeriod"/>
            </a:pPr>
            <a:r>
              <a:rPr lang="en-US" sz="1200"/>
              <a:t>We are customer obsessed. </a:t>
            </a:r>
          </a:p>
          <a:p>
            <a:pPr marL="285750" indent="-285750">
              <a:spcBef>
                <a:spcPts val="600"/>
              </a:spcBef>
              <a:buFont typeface="+mj-lt"/>
              <a:buAutoNum type="arabicPeriod"/>
            </a:pPr>
            <a:r>
              <a:rPr lang="en-US" sz="1200"/>
              <a:t>We celebrate differences. </a:t>
            </a:r>
          </a:p>
          <a:p>
            <a:pPr marL="285750" indent="-285750">
              <a:spcBef>
                <a:spcPts val="600"/>
              </a:spcBef>
              <a:buFont typeface="+mj-lt"/>
              <a:buAutoNum type="arabicPeriod"/>
            </a:pPr>
            <a:r>
              <a:rPr lang="en-US" sz="1200"/>
              <a:t>We do the right thing. </a:t>
            </a:r>
          </a:p>
          <a:p>
            <a:pPr marL="285750" indent="-285750">
              <a:spcBef>
                <a:spcPts val="600"/>
              </a:spcBef>
              <a:buFont typeface="+mj-lt"/>
              <a:buAutoNum type="arabicPeriod"/>
            </a:pPr>
            <a:r>
              <a:rPr lang="en-US" sz="1200"/>
              <a:t>We act like owners. </a:t>
            </a:r>
          </a:p>
          <a:p>
            <a:pPr marL="285750" indent="-285750">
              <a:spcBef>
                <a:spcPts val="600"/>
              </a:spcBef>
              <a:buFont typeface="+mj-lt"/>
              <a:buAutoNum type="arabicPeriod"/>
            </a:pPr>
            <a:r>
              <a:rPr lang="en-US" sz="1200"/>
              <a:t>We persevere. </a:t>
            </a:r>
          </a:p>
          <a:p>
            <a:pPr marL="285750" indent="-285750">
              <a:spcBef>
                <a:spcPts val="600"/>
              </a:spcBef>
              <a:buFont typeface="+mj-lt"/>
              <a:buAutoNum type="arabicPeriod"/>
            </a:pPr>
            <a:r>
              <a:rPr lang="en-US" sz="1200"/>
              <a:t>We value ideas over hierarchy. </a:t>
            </a:r>
          </a:p>
          <a:p>
            <a:pPr marL="285750" indent="-285750">
              <a:spcBef>
                <a:spcPts val="600"/>
              </a:spcBef>
              <a:buFont typeface="+mj-lt"/>
              <a:buAutoNum type="arabicPeriod"/>
            </a:pPr>
            <a:r>
              <a:rPr lang="en-US" sz="1200"/>
              <a:t>We make big bold bets. </a:t>
            </a:r>
            <a:endParaRPr lang="de-DE" sz="1200"/>
          </a:p>
        </p:txBody>
      </p:sp>
      <p:sp>
        <p:nvSpPr>
          <p:cNvPr id="11" name="Rechteck 10">
            <a:extLst>
              <a:ext uri="{FF2B5EF4-FFF2-40B4-BE49-F238E27FC236}">
                <a16:creationId xmlns:a16="http://schemas.microsoft.com/office/drawing/2014/main" id="{EEA9F059-B6DC-0707-8652-3A722562992E}"/>
              </a:ext>
            </a:extLst>
          </p:cNvPr>
          <p:cNvSpPr/>
          <p:nvPr/>
        </p:nvSpPr>
        <p:spPr>
          <a:xfrm>
            <a:off x="5692376" y="4468592"/>
            <a:ext cx="3048000" cy="2006804"/>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285750" indent="-285750">
              <a:spcBef>
                <a:spcPts val="600"/>
              </a:spcBef>
              <a:buFont typeface="+mj-lt"/>
              <a:buAutoNum type="arabicPeriod"/>
            </a:pPr>
            <a:r>
              <a:rPr lang="en-US" sz="1200"/>
              <a:t>Bring the mindset of a champion</a:t>
            </a:r>
          </a:p>
          <a:p>
            <a:pPr marL="285750" indent="-285750">
              <a:spcBef>
                <a:spcPts val="600"/>
              </a:spcBef>
              <a:buFont typeface="+mj-lt"/>
              <a:buAutoNum type="arabicPeriod"/>
            </a:pPr>
            <a:r>
              <a:rPr lang="en-US" sz="1200"/>
              <a:t>Make magic in the marketplace</a:t>
            </a:r>
          </a:p>
          <a:p>
            <a:pPr marL="285750" indent="-285750">
              <a:spcBef>
                <a:spcPts val="600"/>
              </a:spcBef>
              <a:buFont typeface="+mj-lt"/>
              <a:buAutoNum type="arabicPeriod"/>
            </a:pPr>
            <a:r>
              <a:rPr lang="de-DE" sz="1200" err="1"/>
              <a:t>We</a:t>
            </a:r>
            <a:r>
              <a:rPr lang="de-DE" sz="1200"/>
              <a:t> care</a:t>
            </a:r>
          </a:p>
          <a:p>
            <a:pPr marL="285750" indent="-285750">
              <a:spcBef>
                <a:spcPts val="600"/>
              </a:spcBef>
              <a:buFont typeface="+mj-lt"/>
              <a:buAutoNum type="arabicPeriod"/>
            </a:pPr>
            <a:r>
              <a:rPr lang="de-DE" sz="1200" err="1"/>
              <a:t>Safety</a:t>
            </a:r>
            <a:r>
              <a:rPr lang="de-DE" sz="1200"/>
              <a:t> </a:t>
            </a:r>
            <a:r>
              <a:rPr lang="de-DE" sz="1200" err="1"/>
              <a:t>never</a:t>
            </a:r>
            <a:r>
              <a:rPr lang="de-DE" sz="1200"/>
              <a:t> </a:t>
            </a:r>
            <a:r>
              <a:rPr lang="de-DE" sz="1200" err="1"/>
              <a:t>stops</a:t>
            </a:r>
            <a:endParaRPr lang="de-DE" sz="1200"/>
          </a:p>
          <a:p>
            <a:pPr marL="285750" indent="-285750">
              <a:spcBef>
                <a:spcPts val="600"/>
              </a:spcBef>
              <a:buFont typeface="+mj-lt"/>
              <a:buAutoNum type="arabicPeriod"/>
            </a:pPr>
            <a:r>
              <a:rPr lang="en-US" sz="1200"/>
              <a:t>Know the details that matter</a:t>
            </a:r>
          </a:p>
          <a:p>
            <a:pPr marL="285750" indent="-285750">
              <a:spcBef>
                <a:spcPts val="600"/>
              </a:spcBef>
              <a:buFont typeface="+mj-lt"/>
              <a:buAutoNum type="arabicPeriod"/>
            </a:pPr>
            <a:r>
              <a:rPr lang="de-DE" sz="1200" err="1"/>
              <a:t>Bet</a:t>
            </a:r>
            <a:r>
              <a:rPr lang="de-DE" sz="1200"/>
              <a:t> on </a:t>
            </a:r>
            <a:r>
              <a:rPr lang="de-DE" sz="1200" err="1"/>
              <a:t>something</a:t>
            </a:r>
            <a:r>
              <a:rPr lang="de-DE" sz="1200"/>
              <a:t> </a:t>
            </a:r>
            <a:r>
              <a:rPr lang="de-DE" sz="1200" err="1"/>
              <a:t>bigger</a:t>
            </a:r>
            <a:endParaRPr lang="de-DE" sz="1200"/>
          </a:p>
          <a:p>
            <a:pPr marL="285750" indent="-285750">
              <a:spcBef>
                <a:spcPts val="600"/>
              </a:spcBef>
              <a:buFont typeface="+mj-lt"/>
              <a:buAutoNum type="arabicPeriod"/>
            </a:pPr>
            <a:r>
              <a:rPr lang="de-DE" sz="1200" err="1"/>
              <a:t>Diversity</a:t>
            </a:r>
            <a:r>
              <a:rPr lang="de-DE" sz="1200"/>
              <a:t> </a:t>
            </a:r>
            <a:r>
              <a:rPr lang="de-DE" sz="1200" err="1"/>
              <a:t>makes</a:t>
            </a:r>
            <a:r>
              <a:rPr lang="de-DE" sz="1200"/>
              <a:t> </a:t>
            </a:r>
            <a:r>
              <a:rPr lang="de-DE" sz="1200" err="1"/>
              <a:t>us</a:t>
            </a:r>
            <a:r>
              <a:rPr lang="de-DE" sz="1200"/>
              <a:t> </a:t>
            </a:r>
            <a:r>
              <a:rPr lang="de-DE" sz="1200" err="1"/>
              <a:t>stronger</a:t>
            </a:r>
            <a:endParaRPr lang="de-DE" sz="1200"/>
          </a:p>
          <a:p>
            <a:pPr marL="285750" indent="-285750">
              <a:spcBef>
                <a:spcPts val="600"/>
              </a:spcBef>
              <a:buFont typeface="+mj-lt"/>
              <a:buAutoNum type="arabicPeriod"/>
            </a:pPr>
            <a:r>
              <a:rPr lang="de-DE" sz="1200"/>
              <a:t>Do </a:t>
            </a:r>
            <a:r>
              <a:rPr lang="de-DE" sz="1200" err="1"/>
              <a:t>the</a:t>
            </a:r>
            <a:r>
              <a:rPr lang="de-DE" sz="1200"/>
              <a:t> </a:t>
            </a:r>
            <a:r>
              <a:rPr lang="de-DE" sz="1200" err="1"/>
              <a:t>right</a:t>
            </a:r>
            <a:r>
              <a:rPr lang="de-DE" sz="1200"/>
              <a:t> </a:t>
            </a:r>
            <a:r>
              <a:rPr lang="de-DE" sz="1200" err="1"/>
              <a:t>thing</a:t>
            </a:r>
            <a:endParaRPr lang="de-DE" sz="1200"/>
          </a:p>
        </p:txBody>
      </p:sp>
    </p:spTree>
    <p:extLst>
      <p:ext uri="{BB962C8B-B14F-4D97-AF65-F5344CB8AC3E}">
        <p14:creationId xmlns:p14="http://schemas.microsoft.com/office/powerpoint/2010/main" val="20897283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CC8E84-CB5E-F382-22A2-168AECE8ABB6}"/>
              </a:ext>
            </a:extLst>
          </p:cNvPr>
          <p:cNvSpPr>
            <a:spLocks noGrp="1"/>
          </p:cNvSpPr>
          <p:nvPr>
            <p:ph type="title"/>
          </p:nvPr>
        </p:nvSpPr>
        <p:spPr/>
        <p:txBody>
          <a:bodyPr/>
          <a:lstStyle/>
          <a:p>
            <a:endParaRPr lang="en-US"/>
          </a:p>
        </p:txBody>
      </p:sp>
      <p:sp>
        <p:nvSpPr>
          <p:cNvPr id="4" name="Foliennummernplatzhalter 3">
            <a:extLst>
              <a:ext uri="{FF2B5EF4-FFF2-40B4-BE49-F238E27FC236}">
                <a16:creationId xmlns:a16="http://schemas.microsoft.com/office/drawing/2014/main" id="{917C1165-5C22-F702-29DA-4ADC767A9AA4}"/>
              </a:ext>
            </a:extLst>
          </p:cNvPr>
          <p:cNvSpPr>
            <a:spLocks noGrp="1"/>
          </p:cNvSpPr>
          <p:nvPr>
            <p:ph type="sldNum" sz="quarter" idx="4"/>
          </p:nvPr>
        </p:nvSpPr>
        <p:spPr/>
        <p:txBody>
          <a:bodyPr/>
          <a:lstStyle/>
          <a:p>
            <a:fld id="{BAF04893-69FB-435D-AB2E-CA259D85B32F}" type="slidenum">
              <a:rPr lang="de-DE" smtClean="0"/>
              <a:pPr/>
              <a:t>4</a:t>
            </a:fld>
            <a:endParaRPr lang="de-DE"/>
          </a:p>
        </p:txBody>
      </p:sp>
      <p:sp>
        <p:nvSpPr>
          <p:cNvPr id="5" name="Inhaltsplatzhalter 4">
            <a:extLst>
              <a:ext uri="{FF2B5EF4-FFF2-40B4-BE49-F238E27FC236}">
                <a16:creationId xmlns:a16="http://schemas.microsoft.com/office/drawing/2014/main" id="{261A4DAD-5968-58FF-94FB-00E63A34AA78}"/>
              </a:ext>
            </a:extLst>
          </p:cNvPr>
          <p:cNvSpPr>
            <a:spLocks noGrp="1"/>
          </p:cNvSpPr>
          <p:nvPr>
            <p:ph idx="10"/>
          </p:nvPr>
        </p:nvSpPr>
        <p:spPr/>
        <p:txBody>
          <a:bodyPr/>
          <a:lstStyle/>
          <a:p>
            <a:r>
              <a:rPr lang="en-US"/>
              <a:t>Wertschöpfungskette</a:t>
            </a:r>
          </a:p>
        </p:txBody>
      </p:sp>
      <p:sp>
        <p:nvSpPr>
          <p:cNvPr id="6" name="Inhaltsplatzhalter 5">
            <a:extLst>
              <a:ext uri="{FF2B5EF4-FFF2-40B4-BE49-F238E27FC236}">
                <a16:creationId xmlns:a16="http://schemas.microsoft.com/office/drawing/2014/main" id="{4925ED76-A5E8-C34F-E265-8D09D999306C}"/>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F1D8986F-2E83-8859-3F0F-6A7DB583331E}"/>
              </a:ext>
            </a:extLst>
          </p:cNvPr>
          <p:cNvSpPr>
            <a:spLocks noGrp="1"/>
          </p:cNvSpPr>
          <p:nvPr>
            <p:ph idx="12"/>
          </p:nvPr>
        </p:nvSpPr>
        <p:spPr/>
        <p:txBody>
          <a:bodyPr/>
          <a:lstStyle/>
          <a:p>
            <a:endParaRPr lang="en-US"/>
          </a:p>
        </p:txBody>
      </p:sp>
      <p:sp>
        <p:nvSpPr>
          <p:cNvPr id="11" name="Textfeld 10">
            <a:extLst>
              <a:ext uri="{FF2B5EF4-FFF2-40B4-BE49-F238E27FC236}">
                <a16:creationId xmlns:a16="http://schemas.microsoft.com/office/drawing/2014/main" id="{EE990072-EB52-2732-063C-58EEADDD2B7F}"/>
              </a:ext>
            </a:extLst>
          </p:cNvPr>
          <p:cNvSpPr txBox="1"/>
          <p:nvPr/>
        </p:nvSpPr>
        <p:spPr>
          <a:xfrm>
            <a:off x="365468" y="2448913"/>
            <a:ext cx="3373122" cy="830997"/>
          </a:xfrm>
          <a:prstGeom prst="rect">
            <a:avLst/>
          </a:prstGeom>
          <a:noFill/>
        </p:spPr>
        <p:txBody>
          <a:bodyPr wrap="square">
            <a:spAutoFit/>
          </a:bodyPr>
          <a:lstStyle/>
          <a:p>
            <a:pPr marL="285750" indent="-285750">
              <a:buFont typeface="Arial" panose="020B0604020202020204" pitchFamily="34" charset="0"/>
              <a:buChar char="•"/>
            </a:pPr>
            <a:r>
              <a:rPr lang="en-US" sz="1200" err="1"/>
              <a:t>Vermittlung</a:t>
            </a:r>
            <a:r>
              <a:rPr lang="en-US" sz="1200"/>
              <a:t> von </a:t>
            </a:r>
            <a:r>
              <a:rPr lang="en-US" sz="1200" err="1"/>
              <a:t>Fahrern</a:t>
            </a:r>
            <a:r>
              <a:rPr lang="en-US" sz="1200"/>
              <a:t> und </a:t>
            </a:r>
            <a:r>
              <a:rPr lang="en-US" sz="1200" err="1"/>
              <a:t>Fahrgästen</a:t>
            </a:r>
            <a:endParaRPr lang="en-US" sz="1200"/>
          </a:p>
          <a:p>
            <a:pPr marL="285750" indent="-285750">
              <a:buFont typeface="Arial" panose="020B0604020202020204" pitchFamily="34" charset="0"/>
              <a:buChar char="•"/>
            </a:pPr>
            <a:r>
              <a:rPr lang="en-US" sz="1200" err="1"/>
              <a:t>Entwicklung</a:t>
            </a:r>
            <a:r>
              <a:rPr lang="en-US" sz="1200"/>
              <a:t> und </a:t>
            </a:r>
            <a:r>
              <a:rPr lang="en-US" sz="1200" err="1"/>
              <a:t>Wartung</a:t>
            </a:r>
            <a:r>
              <a:rPr lang="en-US" sz="1200"/>
              <a:t> der </a:t>
            </a:r>
            <a:r>
              <a:rPr lang="en-US" sz="1200" err="1"/>
              <a:t>Plattform</a:t>
            </a:r>
            <a:endParaRPr lang="en-US" sz="1200"/>
          </a:p>
          <a:p>
            <a:pPr marL="285750" indent="-285750">
              <a:buFont typeface="Arial" panose="020B0604020202020204" pitchFamily="34" charset="0"/>
              <a:buChar char="•"/>
            </a:pPr>
            <a:r>
              <a:rPr lang="en-US" sz="1200"/>
              <a:t>Marketing</a:t>
            </a:r>
          </a:p>
          <a:p>
            <a:pPr marL="285750" indent="-285750">
              <a:buFont typeface="Arial" panose="020B0604020202020204" pitchFamily="34" charset="0"/>
              <a:buChar char="•"/>
            </a:pPr>
            <a:r>
              <a:rPr lang="en-US" sz="1200" err="1"/>
              <a:t>kontinuierliche</a:t>
            </a:r>
            <a:r>
              <a:rPr lang="en-US" sz="1200"/>
              <a:t> Innovation</a:t>
            </a:r>
          </a:p>
        </p:txBody>
      </p:sp>
      <p:sp>
        <p:nvSpPr>
          <p:cNvPr id="14" name="Textfeld 13">
            <a:extLst>
              <a:ext uri="{FF2B5EF4-FFF2-40B4-BE49-F238E27FC236}">
                <a16:creationId xmlns:a16="http://schemas.microsoft.com/office/drawing/2014/main" id="{70CE3E87-522D-2029-CB17-3C74ED17E3F4}"/>
              </a:ext>
            </a:extLst>
          </p:cNvPr>
          <p:cNvSpPr txBox="1"/>
          <p:nvPr/>
        </p:nvSpPr>
        <p:spPr>
          <a:xfrm>
            <a:off x="4644063" y="2439817"/>
            <a:ext cx="4205164" cy="461665"/>
          </a:xfrm>
          <a:prstGeom prst="rect">
            <a:avLst/>
          </a:prstGeom>
          <a:noFill/>
        </p:spPr>
        <p:txBody>
          <a:bodyPr wrap="square" rtlCol="0">
            <a:spAutoFit/>
          </a:bodyPr>
          <a:lstStyle/>
          <a:p>
            <a:r>
              <a:rPr lang="en-US" sz="1200" b="1" err="1"/>
              <a:t>Technologieplattform</a:t>
            </a:r>
            <a:r>
              <a:rPr lang="en-US" sz="1200" b="1"/>
              <a:t> und App-</a:t>
            </a:r>
            <a:r>
              <a:rPr lang="en-US" sz="1200" b="1" err="1"/>
              <a:t>Entwicklung</a:t>
            </a:r>
            <a:endParaRPr lang="en-US" sz="1200" b="1"/>
          </a:p>
          <a:p>
            <a:pPr marL="171450" indent="-171450">
              <a:buFont typeface="Arial" panose="020B0604020202020204" pitchFamily="34" charset="0"/>
              <a:buChar char="•"/>
            </a:pPr>
            <a:r>
              <a:rPr lang="de-DE" sz="1200"/>
              <a:t>Entwicklung einer intuitiven, stabilen Technologieplattform</a:t>
            </a:r>
            <a:endParaRPr lang="en-US" sz="1200"/>
          </a:p>
        </p:txBody>
      </p:sp>
      <p:sp>
        <p:nvSpPr>
          <p:cNvPr id="17" name="Textfeld 16">
            <a:extLst>
              <a:ext uri="{FF2B5EF4-FFF2-40B4-BE49-F238E27FC236}">
                <a16:creationId xmlns:a16="http://schemas.microsoft.com/office/drawing/2014/main" id="{29CB1AA5-042D-FB5C-412D-128FDE7AC008}"/>
              </a:ext>
            </a:extLst>
          </p:cNvPr>
          <p:cNvSpPr txBox="1"/>
          <p:nvPr/>
        </p:nvSpPr>
        <p:spPr>
          <a:xfrm>
            <a:off x="4644063" y="3086148"/>
            <a:ext cx="4205164" cy="461665"/>
          </a:xfrm>
          <a:prstGeom prst="rect">
            <a:avLst/>
          </a:prstGeom>
          <a:noFill/>
        </p:spPr>
        <p:txBody>
          <a:bodyPr wrap="square" rtlCol="0">
            <a:spAutoFit/>
          </a:bodyPr>
          <a:lstStyle/>
          <a:p>
            <a:pPr lvl="0"/>
            <a:r>
              <a:rPr lang="en-US" sz="1200" b="1" err="1"/>
              <a:t>Fahrerakquise</a:t>
            </a:r>
            <a:r>
              <a:rPr lang="en-US" sz="1200" b="1"/>
              <a:t> und -</a:t>
            </a:r>
            <a:r>
              <a:rPr lang="en-US" sz="1200" b="1" err="1"/>
              <a:t>bindung</a:t>
            </a:r>
            <a:endParaRPr lang="en-US" sz="1200"/>
          </a:p>
          <a:p>
            <a:pPr marL="171450" indent="-171450">
              <a:buFont typeface="Arial" panose="020B0604020202020204" pitchFamily="34" charset="0"/>
              <a:buChar char="•"/>
            </a:pPr>
            <a:r>
              <a:rPr lang="de-DE" sz="1200"/>
              <a:t>Fahrergewinnung und -bindung sind für Uber essentiell</a:t>
            </a:r>
            <a:endParaRPr lang="en-US" sz="1200"/>
          </a:p>
        </p:txBody>
      </p:sp>
      <p:sp>
        <p:nvSpPr>
          <p:cNvPr id="18" name="Textfeld 17">
            <a:extLst>
              <a:ext uri="{FF2B5EF4-FFF2-40B4-BE49-F238E27FC236}">
                <a16:creationId xmlns:a16="http://schemas.microsoft.com/office/drawing/2014/main" id="{A79B1181-2329-7A36-0C13-5FB899D0D44A}"/>
              </a:ext>
            </a:extLst>
          </p:cNvPr>
          <p:cNvSpPr txBox="1"/>
          <p:nvPr/>
        </p:nvSpPr>
        <p:spPr>
          <a:xfrm>
            <a:off x="4644062" y="3732479"/>
            <a:ext cx="4205164" cy="461665"/>
          </a:xfrm>
          <a:prstGeom prst="rect">
            <a:avLst/>
          </a:prstGeom>
          <a:noFill/>
        </p:spPr>
        <p:txBody>
          <a:bodyPr wrap="square" rtlCol="0">
            <a:spAutoFit/>
          </a:bodyPr>
          <a:lstStyle/>
          <a:p>
            <a:pPr lvl="0"/>
            <a:r>
              <a:rPr lang="en-US" sz="1200" b="1" err="1"/>
              <a:t>Vermittlung</a:t>
            </a:r>
            <a:r>
              <a:rPr lang="en-US" sz="1200" b="1"/>
              <a:t> und Matching</a:t>
            </a:r>
            <a:endParaRPr lang="en-US" sz="1200"/>
          </a:p>
          <a:p>
            <a:pPr marL="171450" indent="-171450">
              <a:buFont typeface="Arial" panose="020B0604020202020204" pitchFamily="34" charset="0"/>
              <a:buChar char="•"/>
            </a:pPr>
            <a:r>
              <a:rPr lang="de-DE" sz="1200" i="0">
                <a:effectLst/>
                <a:latin typeface="Söhne"/>
              </a:rPr>
              <a:t>Effizienter Vermittlungsprozess zwischen Fahrern und Kunden</a:t>
            </a:r>
            <a:endParaRPr lang="en-US" sz="1200"/>
          </a:p>
        </p:txBody>
      </p:sp>
      <p:sp>
        <p:nvSpPr>
          <p:cNvPr id="19" name="Textfeld 18">
            <a:extLst>
              <a:ext uri="{FF2B5EF4-FFF2-40B4-BE49-F238E27FC236}">
                <a16:creationId xmlns:a16="http://schemas.microsoft.com/office/drawing/2014/main" id="{6C3031BA-0094-EB3C-B085-E0E68D07DBDB}"/>
              </a:ext>
            </a:extLst>
          </p:cNvPr>
          <p:cNvSpPr txBox="1"/>
          <p:nvPr/>
        </p:nvSpPr>
        <p:spPr>
          <a:xfrm>
            <a:off x="4644060" y="4378810"/>
            <a:ext cx="4205164" cy="461665"/>
          </a:xfrm>
          <a:prstGeom prst="rect">
            <a:avLst/>
          </a:prstGeom>
          <a:noFill/>
        </p:spPr>
        <p:txBody>
          <a:bodyPr wrap="square" rtlCol="0">
            <a:spAutoFit/>
          </a:bodyPr>
          <a:lstStyle/>
          <a:p>
            <a:pPr lvl="0"/>
            <a:r>
              <a:rPr lang="en-US" sz="1200" b="1" err="1"/>
              <a:t>Kundenservice</a:t>
            </a:r>
            <a:r>
              <a:rPr lang="en-US" sz="1200" b="1"/>
              <a:t> und -</a:t>
            </a:r>
            <a:r>
              <a:rPr lang="en-US" sz="1200" b="1" err="1"/>
              <a:t>erfahrung</a:t>
            </a:r>
            <a:endParaRPr lang="en-US" sz="1200"/>
          </a:p>
          <a:p>
            <a:pPr marL="171450" indent="-171450">
              <a:buFont typeface="Arial" panose="020B0604020202020204" pitchFamily="34" charset="0"/>
              <a:buChar char="•"/>
            </a:pPr>
            <a:r>
              <a:rPr lang="de-DE" sz="1200" i="0">
                <a:effectLst/>
                <a:latin typeface="Söhne"/>
              </a:rPr>
              <a:t>Kundenerfahrung beeinflusst Zufriedenheit und Bindung stark</a:t>
            </a:r>
            <a:endParaRPr lang="en-US" sz="1200"/>
          </a:p>
        </p:txBody>
      </p:sp>
      <p:sp>
        <p:nvSpPr>
          <p:cNvPr id="20" name="Textfeld 19">
            <a:extLst>
              <a:ext uri="{FF2B5EF4-FFF2-40B4-BE49-F238E27FC236}">
                <a16:creationId xmlns:a16="http://schemas.microsoft.com/office/drawing/2014/main" id="{6EAC8362-9B95-8EBE-CDA0-2BA4CE976D48}"/>
              </a:ext>
            </a:extLst>
          </p:cNvPr>
          <p:cNvSpPr txBox="1"/>
          <p:nvPr/>
        </p:nvSpPr>
        <p:spPr>
          <a:xfrm>
            <a:off x="4644056" y="4998846"/>
            <a:ext cx="4205164" cy="461665"/>
          </a:xfrm>
          <a:prstGeom prst="rect">
            <a:avLst/>
          </a:prstGeom>
          <a:noFill/>
        </p:spPr>
        <p:txBody>
          <a:bodyPr wrap="square" rtlCol="0">
            <a:spAutoFit/>
          </a:bodyPr>
          <a:lstStyle/>
          <a:p>
            <a:pPr lvl="0"/>
            <a:r>
              <a:rPr lang="en-US" sz="1200" b="1" err="1"/>
              <a:t>Regulatorische</a:t>
            </a:r>
            <a:r>
              <a:rPr lang="en-US" sz="1200" b="1"/>
              <a:t> Compliance</a:t>
            </a:r>
            <a:endParaRPr lang="en-US" sz="1200"/>
          </a:p>
          <a:p>
            <a:pPr marL="171450" indent="-171450">
              <a:buFont typeface="Arial" panose="020B0604020202020204" pitchFamily="34" charset="0"/>
              <a:buChar char="•"/>
            </a:pPr>
            <a:r>
              <a:rPr lang="de-DE" sz="1200" i="0">
                <a:effectLst/>
                <a:latin typeface="Söhne"/>
              </a:rPr>
              <a:t>Einhaltung lokaler und regionaler Gesetze und Vorschriften</a:t>
            </a:r>
            <a:endParaRPr lang="en-US" sz="1200"/>
          </a:p>
        </p:txBody>
      </p:sp>
      <p:sp>
        <p:nvSpPr>
          <p:cNvPr id="21" name="Textfeld 20">
            <a:extLst>
              <a:ext uri="{FF2B5EF4-FFF2-40B4-BE49-F238E27FC236}">
                <a16:creationId xmlns:a16="http://schemas.microsoft.com/office/drawing/2014/main" id="{C56B5090-3F81-75A4-5A50-7E7D9FC7CB29}"/>
              </a:ext>
            </a:extLst>
          </p:cNvPr>
          <p:cNvSpPr txBox="1"/>
          <p:nvPr/>
        </p:nvSpPr>
        <p:spPr>
          <a:xfrm>
            <a:off x="4644048" y="5612859"/>
            <a:ext cx="4205164" cy="646331"/>
          </a:xfrm>
          <a:prstGeom prst="rect">
            <a:avLst/>
          </a:prstGeom>
          <a:noFill/>
        </p:spPr>
        <p:txBody>
          <a:bodyPr wrap="square" rtlCol="0">
            <a:spAutoFit/>
          </a:bodyPr>
          <a:lstStyle/>
          <a:p>
            <a:pPr lvl="0"/>
            <a:r>
              <a:rPr lang="en-US" sz="1200" b="1"/>
              <a:t>Innovation und </a:t>
            </a:r>
            <a:r>
              <a:rPr lang="en-US" sz="1200" b="1" err="1"/>
              <a:t>Forschung</a:t>
            </a:r>
            <a:endParaRPr lang="en-US" sz="1200"/>
          </a:p>
          <a:p>
            <a:pPr marL="171450" indent="-171450">
              <a:buFont typeface="Arial" panose="020B0604020202020204" pitchFamily="34" charset="0"/>
              <a:buChar char="•"/>
            </a:pPr>
            <a:r>
              <a:rPr lang="de-DE" sz="1200" i="0">
                <a:effectLst/>
                <a:latin typeface="Söhne"/>
              </a:rPr>
              <a:t>Kontinuierliche Innovation zur Wettbewerbsfähigkeit erforderlich</a:t>
            </a:r>
            <a:endParaRPr lang="en-US" sz="1200"/>
          </a:p>
        </p:txBody>
      </p:sp>
      <p:cxnSp>
        <p:nvCxnSpPr>
          <p:cNvPr id="24" name="Gerader Verbinder 23">
            <a:extLst>
              <a:ext uri="{FF2B5EF4-FFF2-40B4-BE49-F238E27FC236}">
                <a16:creationId xmlns:a16="http://schemas.microsoft.com/office/drawing/2014/main" id="{C85B7AD5-0C32-B09C-007F-9DA31EA49AB7}"/>
              </a:ext>
            </a:extLst>
          </p:cNvPr>
          <p:cNvCxnSpPr/>
          <p:nvPr/>
        </p:nvCxnSpPr>
        <p:spPr>
          <a:xfrm>
            <a:off x="4572000" y="2123573"/>
            <a:ext cx="0" cy="3904248"/>
          </a:xfrm>
          <a:prstGeom prst="line">
            <a:avLst/>
          </a:prstGeom>
        </p:spPr>
        <p:style>
          <a:lnRef idx="1">
            <a:schemeClr val="accent2"/>
          </a:lnRef>
          <a:fillRef idx="0">
            <a:schemeClr val="accent2"/>
          </a:fillRef>
          <a:effectRef idx="0">
            <a:schemeClr val="accent2"/>
          </a:effectRef>
          <a:fontRef idx="minor">
            <a:schemeClr val="tx1"/>
          </a:fontRef>
        </p:style>
      </p:cxnSp>
      <p:sp>
        <p:nvSpPr>
          <p:cNvPr id="26" name="Textfeld 25">
            <a:extLst>
              <a:ext uri="{FF2B5EF4-FFF2-40B4-BE49-F238E27FC236}">
                <a16:creationId xmlns:a16="http://schemas.microsoft.com/office/drawing/2014/main" id="{42B33883-0412-D8A0-FF6D-EE583977CAEA}"/>
              </a:ext>
            </a:extLst>
          </p:cNvPr>
          <p:cNvSpPr txBox="1"/>
          <p:nvPr/>
        </p:nvSpPr>
        <p:spPr>
          <a:xfrm>
            <a:off x="359997" y="2159547"/>
            <a:ext cx="4575008" cy="307777"/>
          </a:xfrm>
          <a:prstGeom prst="rect">
            <a:avLst/>
          </a:prstGeom>
          <a:noFill/>
        </p:spPr>
        <p:txBody>
          <a:bodyPr wrap="square">
            <a:spAutoFit/>
          </a:bodyPr>
          <a:lstStyle/>
          <a:p>
            <a:r>
              <a:rPr lang="en-US" sz="1400" b="1"/>
              <a:t>Wertschöpfungskette von Uber:</a:t>
            </a:r>
          </a:p>
        </p:txBody>
      </p:sp>
      <p:sp>
        <p:nvSpPr>
          <p:cNvPr id="30" name="Textfeld 29">
            <a:extLst>
              <a:ext uri="{FF2B5EF4-FFF2-40B4-BE49-F238E27FC236}">
                <a16:creationId xmlns:a16="http://schemas.microsoft.com/office/drawing/2014/main" id="{40D82809-3DBE-1004-2A4C-A3CB5387CE0E}"/>
              </a:ext>
            </a:extLst>
          </p:cNvPr>
          <p:cNvSpPr txBox="1"/>
          <p:nvPr/>
        </p:nvSpPr>
        <p:spPr>
          <a:xfrm>
            <a:off x="4644048" y="2162968"/>
            <a:ext cx="4575008" cy="307777"/>
          </a:xfrm>
          <a:prstGeom prst="rect">
            <a:avLst/>
          </a:prstGeom>
          <a:noFill/>
        </p:spPr>
        <p:txBody>
          <a:bodyPr wrap="square">
            <a:spAutoFit/>
          </a:bodyPr>
          <a:lstStyle/>
          <a:p>
            <a:r>
              <a:rPr lang="en-US" sz="1400" b="1" err="1"/>
              <a:t>Kritische</a:t>
            </a:r>
            <a:r>
              <a:rPr lang="en-US" sz="1400" b="1"/>
              <a:t> </a:t>
            </a:r>
            <a:r>
              <a:rPr lang="en-US" sz="1400" b="1" err="1"/>
              <a:t>Prozesse</a:t>
            </a:r>
            <a:r>
              <a:rPr lang="en-US" sz="1400" b="1"/>
              <a:t> in der Wertschöpfungskette</a:t>
            </a:r>
          </a:p>
        </p:txBody>
      </p:sp>
      <p:cxnSp>
        <p:nvCxnSpPr>
          <p:cNvPr id="32" name="Gerader Verbinder 31">
            <a:extLst>
              <a:ext uri="{FF2B5EF4-FFF2-40B4-BE49-F238E27FC236}">
                <a16:creationId xmlns:a16="http://schemas.microsoft.com/office/drawing/2014/main" id="{6E28C306-1C68-7241-1CDD-0BDBE48C35FC}"/>
              </a:ext>
            </a:extLst>
          </p:cNvPr>
          <p:cNvCxnSpPr>
            <a:cxnSpLocks/>
          </p:cNvCxnSpPr>
          <p:nvPr/>
        </p:nvCxnSpPr>
        <p:spPr>
          <a:xfrm>
            <a:off x="619626" y="3278601"/>
            <a:ext cx="3483142" cy="0"/>
          </a:xfrm>
          <a:prstGeom prst="line">
            <a:avLst/>
          </a:prstGeom>
        </p:spPr>
        <p:style>
          <a:lnRef idx="1">
            <a:schemeClr val="accent2"/>
          </a:lnRef>
          <a:fillRef idx="0">
            <a:schemeClr val="accent2"/>
          </a:fillRef>
          <a:effectRef idx="0">
            <a:schemeClr val="accent2"/>
          </a:effectRef>
          <a:fontRef idx="minor">
            <a:schemeClr val="tx1"/>
          </a:fontRef>
        </p:style>
      </p:cxnSp>
      <p:sp>
        <p:nvSpPr>
          <p:cNvPr id="35" name="Textfeld 34">
            <a:extLst>
              <a:ext uri="{FF2B5EF4-FFF2-40B4-BE49-F238E27FC236}">
                <a16:creationId xmlns:a16="http://schemas.microsoft.com/office/drawing/2014/main" id="{6EBE9266-A07E-F520-D9C1-C2D7CD97E12A}"/>
              </a:ext>
            </a:extLst>
          </p:cNvPr>
          <p:cNvSpPr txBox="1"/>
          <p:nvPr/>
        </p:nvSpPr>
        <p:spPr>
          <a:xfrm>
            <a:off x="359997" y="3306508"/>
            <a:ext cx="4575008" cy="307777"/>
          </a:xfrm>
          <a:prstGeom prst="rect">
            <a:avLst/>
          </a:prstGeom>
          <a:noFill/>
        </p:spPr>
        <p:txBody>
          <a:bodyPr wrap="square">
            <a:spAutoFit/>
          </a:bodyPr>
          <a:lstStyle/>
          <a:p>
            <a:r>
              <a:rPr lang="en-US" sz="1400" b="1" err="1"/>
              <a:t>Vertikale</a:t>
            </a:r>
            <a:r>
              <a:rPr lang="en-US" sz="1400" b="1"/>
              <a:t> Integration von Uber</a:t>
            </a:r>
          </a:p>
        </p:txBody>
      </p:sp>
      <p:sp>
        <p:nvSpPr>
          <p:cNvPr id="36" name="Textfeld 35">
            <a:extLst>
              <a:ext uri="{FF2B5EF4-FFF2-40B4-BE49-F238E27FC236}">
                <a16:creationId xmlns:a16="http://schemas.microsoft.com/office/drawing/2014/main" id="{4F76BF03-3267-D7E9-3014-2A378666A783}"/>
              </a:ext>
            </a:extLst>
          </p:cNvPr>
          <p:cNvSpPr txBox="1"/>
          <p:nvPr/>
        </p:nvSpPr>
        <p:spPr>
          <a:xfrm>
            <a:off x="359997" y="4864823"/>
            <a:ext cx="4575008" cy="307777"/>
          </a:xfrm>
          <a:prstGeom prst="rect">
            <a:avLst/>
          </a:prstGeom>
          <a:noFill/>
        </p:spPr>
        <p:txBody>
          <a:bodyPr wrap="square">
            <a:spAutoFit/>
          </a:bodyPr>
          <a:lstStyle/>
          <a:p>
            <a:r>
              <a:rPr lang="en-US" sz="1400" b="1" err="1"/>
              <a:t>Vertikale</a:t>
            </a:r>
            <a:r>
              <a:rPr lang="en-US" sz="1400" b="1"/>
              <a:t> Integration von Uber</a:t>
            </a:r>
          </a:p>
        </p:txBody>
      </p:sp>
      <p:sp>
        <p:nvSpPr>
          <p:cNvPr id="37" name="Textfeld 36">
            <a:extLst>
              <a:ext uri="{FF2B5EF4-FFF2-40B4-BE49-F238E27FC236}">
                <a16:creationId xmlns:a16="http://schemas.microsoft.com/office/drawing/2014/main" id="{E436A2AC-F439-FF61-C917-E58BD071545E}"/>
              </a:ext>
            </a:extLst>
          </p:cNvPr>
          <p:cNvSpPr txBox="1"/>
          <p:nvPr/>
        </p:nvSpPr>
        <p:spPr>
          <a:xfrm>
            <a:off x="359997" y="3548164"/>
            <a:ext cx="4067623" cy="1384995"/>
          </a:xfrm>
          <a:prstGeom prst="rect">
            <a:avLst/>
          </a:prstGeom>
          <a:noFill/>
        </p:spPr>
        <p:txBody>
          <a:bodyPr wrap="square">
            <a:spAutoFit/>
          </a:bodyPr>
          <a:lstStyle/>
          <a:p>
            <a:pPr marL="171450" indent="-171450">
              <a:buFont typeface="Arial" panose="020B0604020202020204" pitchFamily="34" charset="0"/>
              <a:buChar char="•"/>
            </a:pPr>
            <a:r>
              <a:rPr lang="de-DE" sz="1200" b="1"/>
              <a:t>Geringe vertikale Ausdehnung: </a:t>
            </a:r>
            <a:r>
              <a:rPr lang="de-DE" sz="1200"/>
              <a:t>Uber konzentriert sich auf Plattformvermittlung, nicht auf Besitz von Ressourcen</a:t>
            </a:r>
          </a:p>
          <a:p>
            <a:pPr marL="171450" indent="-171450">
              <a:buFont typeface="Arial" panose="020B0604020202020204" pitchFamily="34" charset="0"/>
              <a:buChar char="•"/>
            </a:pPr>
            <a:r>
              <a:rPr lang="de-DE" sz="1200" b="1"/>
              <a:t>Vorwärtsintegration: </a:t>
            </a:r>
            <a:r>
              <a:rPr lang="de-DE" sz="1200"/>
              <a:t>Potenzial für neue Kundenangebote, einschließlich eigener Fahrzeugflotten</a:t>
            </a:r>
          </a:p>
          <a:p>
            <a:pPr marL="171450" indent="-171450">
              <a:buFont typeface="Arial" panose="020B0604020202020204" pitchFamily="34" charset="0"/>
              <a:buChar char="•"/>
            </a:pPr>
            <a:r>
              <a:rPr lang="de-DE" sz="1200" b="1"/>
              <a:t>Rückwärtsintegration: </a:t>
            </a:r>
            <a:r>
              <a:rPr lang="de-DE" sz="1200"/>
              <a:t>Möglichkeiten zur Flottenerweiterung und Partnerschaften mit Autoherstellern</a:t>
            </a:r>
            <a:endParaRPr lang="en-US" sz="1200"/>
          </a:p>
        </p:txBody>
      </p:sp>
      <p:sp>
        <p:nvSpPr>
          <p:cNvPr id="38" name="Textfeld 37">
            <a:extLst>
              <a:ext uri="{FF2B5EF4-FFF2-40B4-BE49-F238E27FC236}">
                <a16:creationId xmlns:a16="http://schemas.microsoft.com/office/drawing/2014/main" id="{2F56B78E-C5A4-09B5-B580-94071C9D0534}"/>
              </a:ext>
            </a:extLst>
          </p:cNvPr>
          <p:cNvSpPr txBox="1"/>
          <p:nvPr/>
        </p:nvSpPr>
        <p:spPr>
          <a:xfrm>
            <a:off x="359997" y="5132504"/>
            <a:ext cx="4067623" cy="1200329"/>
          </a:xfrm>
          <a:prstGeom prst="rect">
            <a:avLst/>
          </a:prstGeom>
          <a:noFill/>
        </p:spPr>
        <p:txBody>
          <a:bodyPr wrap="square">
            <a:spAutoFit/>
          </a:bodyPr>
          <a:lstStyle/>
          <a:p>
            <a:pPr marL="171450" indent="-171450">
              <a:buFont typeface="Arial" panose="020B0604020202020204" pitchFamily="34" charset="0"/>
              <a:buChar char="•"/>
            </a:pPr>
            <a:r>
              <a:rPr lang="de-DE" sz="1200" b="1"/>
              <a:t>Stärkere horizontale Präsenz</a:t>
            </a:r>
            <a:r>
              <a:rPr lang="de-DE" sz="1200"/>
              <a:t>: Uber erweitert Dienste über Ride-Hailing hinaus zu Essens- und Frachtlieferungen</a:t>
            </a:r>
          </a:p>
          <a:p>
            <a:pPr marL="171450" indent="-171450">
              <a:buFont typeface="Arial" panose="020B0604020202020204" pitchFamily="34" charset="0"/>
              <a:buChar char="•"/>
            </a:pPr>
            <a:r>
              <a:rPr lang="de-DE" sz="1200" b="1"/>
              <a:t>Markterweiterung: </a:t>
            </a:r>
            <a:r>
              <a:rPr lang="de-DE" sz="1200"/>
              <a:t>Integration verwandter Dienste basierend auf vorhandener Technologie</a:t>
            </a:r>
          </a:p>
          <a:p>
            <a:pPr marL="171450" indent="-171450">
              <a:buFont typeface="Arial" panose="020B0604020202020204" pitchFamily="34" charset="0"/>
              <a:buChar char="•"/>
            </a:pPr>
            <a:r>
              <a:rPr lang="de-DE" sz="1200" b="1"/>
              <a:t>Effiziente Expansion: </a:t>
            </a:r>
            <a:r>
              <a:rPr lang="de-DE" sz="1200"/>
              <a:t>Horizontale Integration nutzt bestehende Plattform für neue Märkte</a:t>
            </a:r>
            <a:endParaRPr lang="en-US" sz="1200"/>
          </a:p>
        </p:txBody>
      </p:sp>
    </p:spTree>
    <p:extLst>
      <p:ext uri="{BB962C8B-B14F-4D97-AF65-F5344CB8AC3E}">
        <p14:creationId xmlns:p14="http://schemas.microsoft.com/office/powerpoint/2010/main" val="39672419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012A04-7C51-EA4B-703A-4D86273F7181}"/>
              </a:ext>
            </a:extLst>
          </p:cNvPr>
          <p:cNvSpPr>
            <a:spLocks noGrp="1"/>
          </p:cNvSpPr>
          <p:nvPr>
            <p:ph type="title"/>
          </p:nvPr>
        </p:nvSpPr>
        <p:spPr/>
        <p:txBody>
          <a:bodyPr/>
          <a:lstStyle/>
          <a:p>
            <a:r>
              <a:rPr lang="en-US"/>
              <a:t>Dara und Travis unterscheiden sich in der Führung in verschiedenen Bereichen</a:t>
            </a:r>
          </a:p>
        </p:txBody>
      </p:sp>
      <p:graphicFrame>
        <p:nvGraphicFramePr>
          <p:cNvPr id="9" name="Inhaltsplatzhalter 8">
            <a:extLst>
              <a:ext uri="{FF2B5EF4-FFF2-40B4-BE49-F238E27FC236}">
                <a16:creationId xmlns:a16="http://schemas.microsoft.com/office/drawing/2014/main" id="{B5073B81-838F-9536-BC47-90270E77D859}"/>
              </a:ext>
            </a:extLst>
          </p:cNvPr>
          <p:cNvGraphicFramePr>
            <a:graphicFrameLocks noGrp="1"/>
          </p:cNvGraphicFramePr>
          <p:nvPr>
            <p:ph idx="1"/>
            <p:extLst>
              <p:ext uri="{D42A27DB-BD31-4B8C-83A1-F6EECF244321}">
                <p14:modId xmlns:p14="http://schemas.microsoft.com/office/powerpoint/2010/main" val="4193797415"/>
              </p:ext>
            </p:extLst>
          </p:nvPr>
        </p:nvGraphicFramePr>
        <p:xfrm>
          <a:off x="360363" y="1989138"/>
          <a:ext cx="8567736" cy="4301665"/>
        </p:xfrm>
        <a:graphic>
          <a:graphicData uri="http://schemas.openxmlformats.org/drawingml/2006/table">
            <a:tbl>
              <a:tblPr firstRow="1" bandRow="1">
                <a:tableStyleId>{073A0DAA-6AF3-43AB-8588-CEC1D06C72B9}</a:tableStyleId>
              </a:tblPr>
              <a:tblGrid>
                <a:gridCol w="2855912">
                  <a:extLst>
                    <a:ext uri="{9D8B030D-6E8A-4147-A177-3AD203B41FA5}">
                      <a16:colId xmlns:a16="http://schemas.microsoft.com/office/drawing/2014/main" val="3035585703"/>
                    </a:ext>
                  </a:extLst>
                </a:gridCol>
                <a:gridCol w="2855912">
                  <a:extLst>
                    <a:ext uri="{9D8B030D-6E8A-4147-A177-3AD203B41FA5}">
                      <a16:colId xmlns:a16="http://schemas.microsoft.com/office/drawing/2014/main" val="3937143574"/>
                    </a:ext>
                  </a:extLst>
                </a:gridCol>
                <a:gridCol w="2855912">
                  <a:extLst>
                    <a:ext uri="{9D8B030D-6E8A-4147-A177-3AD203B41FA5}">
                      <a16:colId xmlns:a16="http://schemas.microsoft.com/office/drawing/2014/main" val="1085056092"/>
                    </a:ext>
                  </a:extLst>
                </a:gridCol>
              </a:tblGrid>
              <a:tr h="398955">
                <a:tc>
                  <a:txBody>
                    <a:bodyPr/>
                    <a:lstStyle/>
                    <a:p>
                      <a:r>
                        <a:rPr lang="de-DE" sz="1200" b="1"/>
                        <a:t>Führungsbereich</a:t>
                      </a:r>
                    </a:p>
                  </a:txBody>
                  <a:tcPr/>
                </a:tc>
                <a:tc>
                  <a:txBody>
                    <a:bodyPr/>
                    <a:lstStyle/>
                    <a:p>
                      <a:r>
                        <a:rPr lang="en-US" sz="1200" kern="100"/>
                        <a:t>Travis Kalnick</a:t>
                      </a:r>
                      <a:endParaRPr lang="de-DE" sz="1200"/>
                    </a:p>
                  </a:txBody>
                  <a:tcPr/>
                </a:tc>
                <a:tc>
                  <a:txBody>
                    <a:bodyPr/>
                    <a:lstStyle/>
                    <a:p>
                      <a:r>
                        <a:rPr lang="en-US" sz="1200">
                          <a:effectLst/>
                        </a:rPr>
                        <a:t>Dara Khosrowshahi</a:t>
                      </a:r>
                      <a:r>
                        <a:rPr lang="en-US" sz="1200" b="1" baseline="30000"/>
                        <a:t> </a:t>
                      </a:r>
                      <a:endParaRPr lang="de-DE" sz="1200"/>
                    </a:p>
                  </a:txBody>
                  <a:tcPr/>
                </a:tc>
                <a:extLst>
                  <a:ext uri="{0D108BD9-81ED-4DB2-BD59-A6C34878D82A}">
                    <a16:rowId xmlns:a16="http://schemas.microsoft.com/office/drawing/2014/main" val="1119496320"/>
                  </a:ext>
                </a:extLst>
              </a:tr>
              <a:tr h="370840">
                <a:tc>
                  <a:txBody>
                    <a:bodyPr/>
                    <a:lstStyle/>
                    <a:p>
                      <a:r>
                        <a:rPr lang="de-DE" sz="1200" b="1"/>
                        <a:t>Team &amp; Prozesse</a:t>
                      </a:r>
                    </a:p>
                  </a:txBody>
                  <a:tcPr/>
                </a:tc>
                <a:tc>
                  <a:txBody>
                    <a:bodyPr/>
                    <a:lstStyle/>
                    <a:p>
                      <a:pPr marL="0" indent="0">
                        <a:lnSpc>
                          <a:spcPct val="107000"/>
                        </a:lnSpc>
                        <a:spcAft>
                          <a:spcPts val="0"/>
                        </a:spcAft>
                        <a:buFont typeface="Arial" panose="020B0604020202020204" pitchFamily="34" charset="0"/>
                        <a:buNone/>
                      </a:pPr>
                      <a:r>
                        <a:rPr lang="en-US" sz="1200"/>
                        <a:t>Hat kein Interesse an den eigenen Mitarbeitern und förderte weder Diversität oder Gleichberechtigung</a:t>
                      </a:r>
                    </a:p>
                    <a:p>
                      <a:endParaRPr lang="de-DE" sz="1200"/>
                    </a:p>
                  </a:txBody>
                  <a:tcPr/>
                </a:tc>
                <a:tc>
                  <a:txBody>
                    <a:body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kumimoji="0" lang="en-US" sz="1200" b="0" u="none" strike="noStrike" kern="1200" cap="none" spc="0" normalizeH="0" baseline="0" noProof="0">
                          <a:ln>
                            <a:noFill/>
                          </a:ln>
                          <a:solidFill>
                            <a:srgbClr val="0065AD"/>
                          </a:solidFill>
                          <a:effectLst/>
                          <a:uLnTx/>
                          <a:uFillTx/>
                        </a:rPr>
                        <a:t>Sieht Mitarbeiter als wichtige Ressource, nach außen tragende Gleichberechtigung und Stabilität</a:t>
                      </a:r>
                      <a:endParaRPr kumimoji="0" lang="en-US" sz="1200" b="0" i="0" u="none" strike="noStrike" kern="1200" cap="none" spc="0" normalizeH="0" baseline="0" noProof="0">
                        <a:ln>
                          <a:noFill/>
                        </a:ln>
                        <a:solidFill>
                          <a:srgbClr val="0065AD"/>
                        </a:solidFill>
                        <a:effectLst/>
                        <a:uLnTx/>
                        <a:uFillTx/>
                        <a:latin typeface="+mn-lt"/>
                        <a:ea typeface="Calibri"/>
                        <a:cs typeface="Calibri"/>
                      </a:endParaRPr>
                    </a:p>
                  </a:txBody>
                  <a:tcPr/>
                </a:tc>
                <a:extLst>
                  <a:ext uri="{0D108BD9-81ED-4DB2-BD59-A6C34878D82A}">
                    <a16:rowId xmlns:a16="http://schemas.microsoft.com/office/drawing/2014/main" val="1458933427"/>
                  </a:ext>
                </a:extLst>
              </a:tr>
              <a:tr h="0">
                <a:tc>
                  <a:txBody>
                    <a:bodyPr/>
                    <a:lstStyle/>
                    <a:p>
                      <a:r>
                        <a:rPr lang="de-DE" sz="1200" b="1"/>
                        <a:t>Organisatorische Ausrichtung</a:t>
                      </a:r>
                    </a:p>
                  </a:txBody>
                  <a:tcPr/>
                </a:tc>
                <a:tc>
                  <a:txBody>
                    <a:bodyPr/>
                    <a:lstStyle/>
                    <a:p>
                      <a:pPr marL="0" indent="0">
                        <a:buFont typeface="Arial" panose="020B0604020202020204" pitchFamily="34" charset="0"/>
                        <a:buNone/>
                      </a:pPr>
                      <a:r>
                        <a:rPr lang="en-US" sz="1200"/>
                        <a:t>Kein Interesse an der Unternehmenskultur, Mitarbeiter wurden nicht gefördert</a:t>
                      </a:r>
                    </a:p>
                    <a:p>
                      <a:endParaRPr lang="de-DE" sz="1200"/>
                    </a:p>
                  </a:txBody>
                  <a:tcPr/>
                </a:tc>
                <a:tc>
                  <a:txBody>
                    <a:bodyPr/>
                    <a:lstStyle/>
                    <a:p>
                      <a:pPr marL="0" indent="0">
                        <a:lnSpc>
                          <a:spcPct val="107000"/>
                        </a:lnSpc>
                        <a:spcAft>
                          <a:spcPts val="0"/>
                        </a:spcAft>
                        <a:buFont typeface="Arial" panose="020B0604020202020204" pitchFamily="34" charset="0"/>
                        <a:buNone/>
                      </a:pPr>
                      <a:r>
                        <a:rPr lang="en-US" sz="1200" kern="100"/>
                        <a:t>Fördert Mitarbeiter, n</a:t>
                      </a:r>
                      <a:r>
                        <a:rPr lang="en-US" sz="1200" kern="100">
                          <a:effectLst/>
                        </a:rPr>
                        <a:t>immt Kritik an und g</a:t>
                      </a:r>
                      <a:r>
                        <a:rPr lang="en-US" sz="1200" kern="100"/>
                        <a:t>ibt Verantwortung ab, Integrierung einer </a:t>
                      </a:r>
                      <a:r>
                        <a:rPr lang="en-US" sz="1200"/>
                        <a:t>fürsorglichen Kultur und Diversität</a:t>
                      </a:r>
                      <a:endParaRPr lang="en-US" sz="1200" kern="100">
                        <a:effectLst/>
                        <a:latin typeface="+mn-lt"/>
                        <a:ea typeface="Calibri" panose="020F0502020204030204" pitchFamily="34" charset="0"/>
                        <a:cs typeface="Times New Roman"/>
                      </a:endParaRPr>
                    </a:p>
                  </a:txBody>
                  <a:tcPr/>
                </a:tc>
                <a:extLst>
                  <a:ext uri="{0D108BD9-81ED-4DB2-BD59-A6C34878D82A}">
                    <a16:rowId xmlns:a16="http://schemas.microsoft.com/office/drawing/2014/main" val="4154049165"/>
                  </a:ext>
                </a:extLst>
              </a:tr>
              <a:tr h="370840">
                <a:tc>
                  <a:txBody>
                    <a:bodyPr/>
                    <a:lstStyle/>
                    <a:p>
                      <a:r>
                        <a:rPr lang="de-DE" sz="1200" b="1"/>
                        <a:t>Engagement im Vorstand</a:t>
                      </a:r>
                    </a:p>
                  </a:txBody>
                  <a:tcPr/>
                </a:tc>
                <a:tc>
                  <a:txBody>
                    <a:bodyPr/>
                    <a:lstStyle/>
                    <a:p>
                      <a:pPr marL="0" indent="0">
                        <a:lnSpc>
                          <a:spcPct val="107000"/>
                        </a:lnSpc>
                        <a:spcAft>
                          <a:spcPts val="0"/>
                        </a:spcAft>
                        <a:buFont typeface="Arial" panose="020B0604020202020204" pitchFamily="34" charset="0"/>
                        <a:buNone/>
                      </a:pPr>
                      <a:r>
                        <a:rPr lang="en-US" sz="1200" kern="100"/>
                        <a:t>Hat Uber großes Wachstum beschert, aber auch durch Skandale wie z.B. Datendiebstahl für Bedenken gesorgt</a:t>
                      </a:r>
                    </a:p>
                    <a:p>
                      <a:endParaRPr lang="de-DE" sz="1200"/>
                    </a:p>
                  </a:txBody>
                  <a:tcPr/>
                </a:tc>
                <a:tc>
                  <a:txBody>
                    <a:bodyPr/>
                    <a:lstStyle/>
                    <a:p>
                      <a:pPr marL="0" indent="0">
                        <a:lnSpc>
                          <a:spcPct val="107000"/>
                        </a:lnSpc>
                        <a:spcAft>
                          <a:spcPts val="0"/>
                        </a:spcAft>
                        <a:buFont typeface="Arial" panose="020B0604020202020204" pitchFamily="34" charset="0"/>
                        <a:buNone/>
                      </a:pPr>
                      <a:r>
                        <a:rPr lang="en-US" sz="1200" kern="100"/>
                        <a:t>Aufbau eines neuen Management Team und Vorstands, im ständigen Austausch mit Vorstand und Inverstoren, denkt Zukunftsträchtig z.B. durch Börsengang</a:t>
                      </a:r>
                    </a:p>
                  </a:txBody>
                  <a:tcPr/>
                </a:tc>
                <a:extLst>
                  <a:ext uri="{0D108BD9-81ED-4DB2-BD59-A6C34878D82A}">
                    <a16:rowId xmlns:a16="http://schemas.microsoft.com/office/drawing/2014/main" val="1150967966"/>
                  </a:ext>
                </a:extLst>
              </a:tr>
              <a:tr h="370840">
                <a:tc>
                  <a:txBody>
                    <a:bodyPr/>
                    <a:lstStyle/>
                    <a:p>
                      <a:r>
                        <a:rPr lang="de-DE" sz="1200" b="1"/>
                        <a:t>Persönliche Arbeitsstandards</a:t>
                      </a:r>
                    </a:p>
                  </a:txBody>
                  <a:tcPr/>
                </a:tc>
                <a:tc>
                  <a:txBody>
                    <a:bodyPr/>
                    <a:lstStyle/>
                    <a:p>
                      <a:pPr marL="0" indent="0">
                        <a:lnSpc>
                          <a:spcPct val="107000"/>
                        </a:lnSpc>
                        <a:spcAft>
                          <a:spcPts val="0"/>
                        </a:spcAft>
                        <a:buFont typeface="Arial" panose="020B0604020202020204" pitchFamily="34" charset="0"/>
                        <a:buNone/>
                      </a:pPr>
                      <a:r>
                        <a:rPr lang="en-US" sz="1200"/>
                        <a:t>War oft Kritikunfähig, gestresst &amp; überarbeitet und Einzelgänger</a:t>
                      </a:r>
                    </a:p>
                    <a:p>
                      <a:endParaRPr lang="de-DE" sz="1200"/>
                    </a:p>
                  </a:txBody>
                  <a:tcPr/>
                </a:tc>
                <a:tc>
                  <a:txBody>
                    <a:bodyPr/>
                    <a:lstStyle/>
                    <a:p>
                      <a:pPr marL="0" indent="0">
                        <a:lnSpc>
                          <a:spcPct val="107000"/>
                        </a:lnSpc>
                        <a:spcAft>
                          <a:spcPts val="0"/>
                        </a:spcAft>
                        <a:buFont typeface="Arial" panose="020B0604020202020204" pitchFamily="34" charset="0"/>
                        <a:buNone/>
                      </a:pPr>
                      <a:r>
                        <a:rPr lang="en-US" sz="1200"/>
                        <a:t>Nimmt Kritik an, kommuniziert aber auch seinen Standpunkt, überträgt Wissen auf Uber, gibt Verantwortung ab, um nicht überlastet zu sein</a:t>
                      </a:r>
                      <a:endParaRPr lang="en-US" sz="1200">
                        <a:latin typeface="+mn-lt"/>
                        <a:ea typeface="Calibri"/>
                        <a:cs typeface="Calibri"/>
                      </a:endParaRPr>
                    </a:p>
                  </a:txBody>
                  <a:tcPr/>
                </a:tc>
                <a:extLst>
                  <a:ext uri="{0D108BD9-81ED-4DB2-BD59-A6C34878D82A}">
                    <a16:rowId xmlns:a16="http://schemas.microsoft.com/office/drawing/2014/main" val="2280341993"/>
                  </a:ext>
                </a:extLst>
              </a:tr>
              <a:tr h="370840">
                <a:tc>
                  <a:txBody>
                    <a:bodyPr/>
                    <a:lstStyle/>
                    <a:p>
                      <a:r>
                        <a:rPr lang="de-DE" sz="1200" b="1"/>
                        <a:t>Externe Stakeholder</a:t>
                      </a:r>
                    </a:p>
                  </a:txBody>
                  <a:tcPr/>
                </a:tc>
                <a:tc>
                  <a:txBody>
                    <a:bodyPr/>
                    <a:lstStyle/>
                    <a:p>
                      <a:pPr marL="0" indent="0">
                        <a:buFont typeface="Arial"/>
                        <a:buNone/>
                      </a:pPr>
                      <a:r>
                        <a:rPr lang="en-US" sz="1200"/>
                        <a:t>Hatte kein Interesse an Kunden und hat Nachhaltigkeit nicht gefördert</a:t>
                      </a:r>
                    </a:p>
                    <a:p>
                      <a:endParaRPr lang="de-DE" sz="1200"/>
                    </a:p>
                  </a:txBody>
                  <a:tcPr/>
                </a:tc>
                <a:tc>
                  <a:txBody>
                    <a:bodyPr/>
                    <a:lstStyle/>
                    <a:p>
                      <a:pPr marL="0" indent="0">
                        <a:lnSpc>
                          <a:spcPct val="107000"/>
                        </a:lnSpc>
                        <a:spcAft>
                          <a:spcPts val="0"/>
                        </a:spcAft>
                        <a:buFont typeface="Arial" panose="020B0604020202020204" pitchFamily="34" charset="0"/>
                        <a:buNone/>
                      </a:pPr>
                      <a:r>
                        <a:rPr lang="en-US" sz="1200" kern="100"/>
                        <a:t>Undercover Boss Aktion, beachtet die Bedürfnisse der Kunden und Nachhaltigkeit</a:t>
                      </a:r>
                      <a:endParaRPr lang="en-US" sz="1200" kern="100">
                        <a:latin typeface="Calibri" panose="020F0502020204030204" pitchFamily="34" charset="0"/>
                        <a:ea typeface="Calibri" panose="020F0502020204030204" pitchFamily="34" charset="0"/>
                        <a:cs typeface="Times New Roman"/>
                      </a:endParaRPr>
                    </a:p>
                  </a:txBody>
                  <a:tcPr/>
                </a:tc>
                <a:extLst>
                  <a:ext uri="{0D108BD9-81ED-4DB2-BD59-A6C34878D82A}">
                    <a16:rowId xmlns:a16="http://schemas.microsoft.com/office/drawing/2014/main" val="4141866734"/>
                  </a:ext>
                </a:extLst>
              </a:tr>
            </a:tbl>
          </a:graphicData>
        </a:graphic>
      </p:graphicFrame>
      <p:sp>
        <p:nvSpPr>
          <p:cNvPr id="4" name="Foliennummernplatzhalter 3">
            <a:extLst>
              <a:ext uri="{FF2B5EF4-FFF2-40B4-BE49-F238E27FC236}">
                <a16:creationId xmlns:a16="http://schemas.microsoft.com/office/drawing/2014/main" id="{A2A8E662-F544-FFF7-D3F7-4F1B28FBADCB}"/>
              </a:ext>
            </a:extLst>
          </p:cNvPr>
          <p:cNvSpPr>
            <a:spLocks noGrp="1"/>
          </p:cNvSpPr>
          <p:nvPr>
            <p:ph type="sldNum" sz="quarter" idx="4"/>
          </p:nvPr>
        </p:nvSpPr>
        <p:spPr/>
        <p:txBody>
          <a:bodyPr/>
          <a:lstStyle/>
          <a:p>
            <a:fld id="{BAF04893-69FB-435D-AB2E-CA259D85B32F}" type="slidenum">
              <a:rPr lang="en-US" smtClean="0"/>
              <a:pPr/>
              <a:t>40</a:t>
            </a:fld>
            <a:endParaRPr lang="en-US"/>
          </a:p>
        </p:txBody>
      </p:sp>
      <p:sp>
        <p:nvSpPr>
          <p:cNvPr id="5" name="Inhaltsplatzhalter 4">
            <a:extLst>
              <a:ext uri="{FF2B5EF4-FFF2-40B4-BE49-F238E27FC236}">
                <a16:creationId xmlns:a16="http://schemas.microsoft.com/office/drawing/2014/main" id="{28313855-7255-D371-E9FA-E4F1A0E2206B}"/>
              </a:ext>
            </a:extLst>
          </p:cNvPr>
          <p:cNvSpPr>
            <a:spLocks noGrp="1"/>
          </p:cNvSpPr>
          <p:nvPr>
            <p:ph idx="10"/>
          </p:nvPr>
        </p:nvSpPr>
        <p:spPr/>
        <p:txBody>
          <a:bodyPr/>
          <a:lstStyle/>
          <a:p>
            <a:r>
              <a:rPr lang="en-US"/>
              <a:t>Unterschiede in der Führung</a:t>
            </a:r>
          </a:p>
        </p:txBody>
      </p:sp>
      <p:sp>
        <p:nvSpPr>
          <p:cNvPr id="6" name="Inhaltsplatzhalter 5">
            <a:extLst>
              <a:ext uri="{FF2B5EF4-FFF2-40B4-BE49-F238E27FC236}">
                <a16:creationId xmlns:a16="http://schemas.microsoft.com/office/drawing/2014/main" id="{B9AF06A0-EFF8-B57D-CEFC-5DA9C4A9C9CC}"/>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0D2210AB-E274-45CB-0504-99A48E4D0C50}"/>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6696619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26837F6-AFD2-7FF0-97ED-801E91BC2C52}"/>
              </a:ext>
            </a:extLst>
          </p:cNvPr>
          <p:cNvGraphicFramePr>
            <a:graphicFrameLocks noChangeAspect="1"/>
          </p:cNvGraphicFramePr>
          <p:nvPr>
            <p:custDataLst>
              <p:tags r:id="rId1"/>
            </p:custDataLst>
            <p:extLst>
              <p:ext uri="{D42A27DB-BD31-4B8C-83A1-F6EECF244321}">
                <p14:modId xmlns:p14="http://schemas.microsoft.com/office/powerpoint/2010/main" val="13593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10" name="think-cell data - do not delete" hidden="1">
                        <a:extLst>
                          <a:ext uri="{FF2B5EF4-FFF2-40B4-BE49-F238E27FC236}">
                            <a16:creationId xmlns:a16="http://schemas.microsoft.com/office/drawing/2014/main" id="{426837F6-AFD2-7FF0-97ED-801E91BC2C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B8E40783-EF9F-74D6-D203-B004C033004A}"/>
              </a:ext>
            </a:extLst>
          </p:cNvPr>
          <p:cNvSpPr>
            <a:spLocks noGrp="1"/>
          </p:cNvSpPr>
          <p:nvPr>
            <p:ph type="sldNum" sz="quarter" idx="4"/>
          </p:nvPr>
        </p:nvSpPr>
        <p:spPr/>
        <p:txBody>
          <a:bodyPr/>
          <a:lstStyle/>
          <a:p>
            <a:fld id="{BAF04893-69FB-435D-AB2E-CA259D85B32F}" type="slidenum">
              <a:rPr lang="en-US" smtClean="0"/>
              <a:pPr/>
              <a:t>41</a:t>
            </a:fld>
            <a:endParaRPr lang="en-US"/>
          </a:p>
        </p:txBody>
      </p:sp>
      <p:sp>
        <p:nvSpPr>
          <p:cNvPr id="5" name="Inhaltsplatzhalter 4">
            <a:extLst>
              <a:ext uri="{FF2B5EF4-FFF2-40B4-BE49-F238E27FC236}">
                <a16:creationId xmlns:a16="http://schemas.microsoft.com/office/drawing/2014/main" id="{9E2D6739-E388-67FC-3C48-A15972A41E45}"/>
              </a:ext>
            </a:extLst>
          </p:cNvPr>
          <p:cNvSpPr>
            <a:spLocks noGrp="1"/>
          </p:cNvSpPr>
          <p:nvPr>
            <p:ph idx="10"/>
          </p:nvPr>
        </p:nvSpPr>
        <p:spPr/>
        <p:txBody>
          <a:bodyPr vert="horz" lIns="0" tIns="0" rIns="0" bIns="0" rtlCol="0" anchor="t">
            <a:noAutofit/>
          </a:bodyPr>
          <a:lstStyle/>
          <a:p>
            <a:r>
              <a:rPr lang="en-US">
                <a:ea typeface="Calibri"/>
                <a:cs typeface="Calibri"/>
              </a:rPr>
              <a:t>Unterschiede Führungsstile</a:t>
            </a:r>
          </a:p>
        </p:txBody>
      </p:sp>
      <p:sp>
        <p:nvSpPr>
          <p:cNvPr id="6" name="Inhaltsplatzhalter 5">
            <a:extLst>
              <a:ext uri="{FF2B5EF4-FFF2-40B4-BE49-F238E27FC236}">
                <a16:creationId xmlns:a16="http://schemas.microsoft.com/office/drawing/2014/main" id="{A50B7673-D59D-7A1D-C109-3B94D1A3EF81}"/>
              </a:ext>
            </a:extLst>
          </p:cNvPr>
          <p:cNvSpPr>
            <a:spLocks noGrp="1"/>
          </p:cNvSpPr>
          <p:nvPr>
            <p:ph idx="11"/>
          </p:nvPr>
        </p:nvSpPr>
        <p:spPr/>
        <p:txBody>
          <a:bodyPr vert="horz" lIns="0" tIns="0" rIns="0" bIns="0" rtlCol="0" anchor="t">
            <a:noAutofit/>
          </a:bodyPr>
          <a:lstStyle/>
          <a:p>
            <a:r>
              <a:rPr lang="en-US">
                <a:cs typeface="Calibri"/>
              </a:rPr>
              <a:t> 1) Hogg, R., 2023, Smith, M., 2023, 2) Uber, 2023</a:t>
            </a:r>
            <a:r>
              <a:rPr lang="en-US">
                <a:ea typeface="+mn-lt"/>
                <a:cs typeface="+mn-lt"/>
              </a:rPr>
              <a:t>, Arbeits-ABC, 2023, ChatGPT, siehe Anhang Folie 30ff. </a:t>
            </a:r>
            <a:endParaRPr lang="en-US">
              <a:ea typeface="Calibri"/>
              <a:cs typeface="Calibri"/>
            </a:endParaRPr>
          </a:p>
        </p:txBody>
      </p:sp>
      <p:sp>
        <p:nvSpPr>
          <p:cNvPr id="7" name="Inhaltsplatzhalter 6">
            <a:extLst>
              <a:ext uri="{FF2B5EF4-FFF2-40B4-BE49-F238E27FC236}">
                <a16:creationId xmlns:a16="http://schemas.microsoft.com/office/drawing/2014/main" id="{2A4898B0-6B0A-269D-9FE1-BD404ABD0F16}"/>
              </a:ext>
            </a:extLst>
          </p:cNvPr>
          <p:cNvSpPr>
            <a:spLocks noGrp="1"/>
          </p:cNvSpPr>
          <p:nvPr>
            <p:ph idx="12"/>
          </p:nvPr>
        </p:nvSpPr>
        <p:spPr/>
        <p:txBody>
          <a:bodyPr vert="horz" lIns="0" tIns="0" rIns="0" bIns="0" rtlCol="0" anchor="t">
            <a:noAutofit/>
          </a:bodyPr>
          <a:lstStyle/>
          <a:p>
            <a:r>
              <a:rPr lang="en-US">
                <a:cs typeface="Calibri"/>
              </a:rPr>
              <a:t>Transactional und Transformational Leadership bezogen auf Uber</a:t>
            </a:r>
            <a:endParaRPr lang="en-US"/>
          </a:p>
        </p:txBody>
      </p:sp>
      <p:sp>
        <p:nvSpPr>
          <p:cNvPr id="3" name="TextBox 2">
            <a:extLst>
              <a:ext uri="{FF2B5EF4-FFF2-40B4-BE49-F238E27FC236}">
                <a16:creationId xmlns:a16="http://schemas.microsoft.com/office/drawing/2014/main" id="{6ADC2D92-FD75-0F20-0D46-5067DE1D9D78}"/>
              </a:ext>
            </a:extLst>
          </p:cNvPr>
          <p:cNvSpPr txBox="1"/>
          <p:nvPr/>
        </p:nvSpPr>
        <p:spPr>
          <a:xfrm>
            <a:off x="201528" y="2307383"/>
            <a:ext cx="8725463"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90000"/>
              </a:lnSpc>
              <a:spcBef>
                <a:spcPts val="1000"/>
              </a:spcBef>
            </a:pPr>
            <a:endParaRPr lang="de-DE" sz="1400" b="1">
              <a:cs typeface="Calibri"/>
            </a:endParaRPr>
          </a:p>
        </p:txBody>
      </p:sp>
      <p:sp>
        <p:nvSpPr>
          <p:cNvPr id="14" name="Titel 1">
            <a:extLst>
              <a:ext uri="{FF2B5EF4-FFF2-40B4-BE49-F238E27FC236}">
                <a16:creationId xmlns:a16="http://schemas.microsoft.com/office/drawing/2014/main" id="{C29241B7-9AC0-A586-38DA-F42ED5257998}"/>
              </a:ext>
            </a:extLst>
          </p:cNvPr>
          <p:cNvSpPr txBox="1">
            <a:spLocks/>
          </p:cNvSpPr>
          <p:nvPr/>
        </p:nvSpPr>
        <p:spPr>
          <a:xfrm>
            <a:off x="359998" y="1264317"/>
            <a:ext cx="8728470" cy="45698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kern="1200">
                <a:solidFill>
                  <a:schemeClr val="tx1"/>
                </a:solidFill>
                <a:latin typeface="+mn-lt"/>
                <a:ea typeface="+mj-ea"/>
                <a:cs typeface="Arial" panose="020B0604020202020204" pitchFamily="34" charset="0"/>
              </a:defRPr>
            </a:lvl1pPr>
          </a:lstStyle>
          <a:p>
            <a:endParaRPr lang="en-US"/>
          </a:p>
        </p:txBody>
      </p:sp>
      <p:sp>
        <p:nvSpPr>
          <p:cNvPr id="8" name="TextBox 2">
            <a:extLst>
              <a:ext uri="{FF2B5EF4-FFF2-40B4-BE49-F238E27FC236}">
                <a16:creationId xmlns:a16="http://schemas.microsoft.com/office/drawing/2014/main" id="{C606C957-87D5-FA03-6E54-1D304F209894}"/>
              </a:ext>
            </a:extLst>
          </p:cNvPr>
          <p:cNvSpPr txBox="1"/>
          <p:nvPr/>
        </p:nvSpPr>
        <p:spPr>
          <a:xfrm>
            <a:off x="362514" y="3674101"/>
            <a:ext cx="8725463"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90000"/>
              </a:lnSpc>
              <a:spcBef>
                <a:spcPts val="1000"/>
              </a:spcBef>
            </a:pPr>
            <a:endParaRPr lang="de-DE" sz="1400" b="1">
              <a:ea typeface="+mn-lt"/>
              <a:cs typeface="+mn-lt"/>
            </a:endParaRPr>
          </a:p>
        </p:txBody>
      </p:sp>
      <p:graphicFrame>
        <p:nvGraphicFramePr>
          <p:cNvPr id="11" name="Tabelle 10">
            <a:extLst>
              <a:ext uri="{FF2B5EF4-FFF2-40B4-BE49-F238E27FC236}">
                <a16:creationId xmlns:a16="http://schemas.microsoft.com/office/drawing/2014/main" id="{68F9DF56-4A47-3F8B-8E0E-F8BF6BDEBCAF}"/>
              </a:ext>
            </a:extLst>
          </p:cNvPr>
          <p:cNvGraphicFramePr>
            <a:graphicFrameLocks noGrp="1"/>
          </p:cNvGraphicFramePr>
          <p:nvPr>
            <p:extLst>
              <p:ext uri="{D42A27DB-BD31-4B8C-83A1-F6EECF244321}">
                <p14:modId xmlns:p14="http://schemas.microsoft.com/office/powerpoint/2010/main" val="145885624"/>
              </p:ext>
            </p:extLst>
          </p:nvPr>
        </p:nvGraphicFramePr>
        <p:xfrm>
          <a:off x="379336" y="2106314"/>
          <a:ext cx="8543607" cy="4188314"/>
        </p:xfrm>
        <a:graphic>
          <a:graphicData uri="http://schemas.openxmlformats.org/drawingml/2006/table">
            <a:tbl>
              <a:tblPr firstRow="1" bandRow="1">
                <a:tableStyleId>{073A0DAA-6AF3-43AB-8588-CEC1D06C72B9}</a:tableStyleId>
              </a:tblPr>
              <a:tblGrid>
                <a:gridCol w="2927290">
                  <a:extLst>
                    <a:ext uri="{9D8B030D-6E8A-4147-A177-3AD203B41FA5}">
                      <a16:colId xmlns:a16="http://schemas.microsoft.com/office/drawing/2014/main" val="424325921"/>
                    </a:ext>
                  </a:extLst>
                </a:gridCol>
                <a:gridCol w="2626780">
                  <a:extLst>
                    <a:ext uri="{9D8B030D-6E8A-4147-A177-3AD203B41FA5}">
                      <a16:colId xmlns:a16="http://schemas.microsoft.com/office/drawing/2014/main" val="522521680"/>
                    </a:ext>
                  </a:extLst>
                </a:gridCol>
                <a:gridCol w="2989537">
                  <a:extLst>
                    <a:ext uri="{9D8B030D-6E8A-4147-A177-3AD203B41FA5}">
                      <a16:colId xmlns:a16="http://schemas.microsoft.com/office/drawing/2014/main" val="2221792425"/>
                    </a:ext>
                  </a:extLst>
                </a:gridCol>
              </a:tblGrid>
              <a:tr h="328046">
                <a:tc>
                  <a:txBody>
                    <a:bodyPr/>
                    <a:lstStyle/>
                    <a:p>
                      <a:pPr marL="91440"/>
                      <a:r>
                        <a:rPr lang="en-US" sz="1400">
                          <a:effectLst/>
                        </a:rPr>
                        <a:t>Rahmenbedingung</a:t>
                      </a:r>
                      <a:r>
                        <a:rPr lang="en-US" sz="1400" b="1" i="0" u="none" strike="noStrike" baseline="30000" noProof="0">
                          <a:effectLst/>
                          <a:latin typeface="Calibri"/>
                        </a:rPr>
                        <a:t>1</a:t>
                      </a:r>
                      <a:endParaRPr lang="en-US" sz="1400" b="0" i="0" u="none" strike="noStrike" noProof="0">
                        <a:effectLst/>
                        <a:latin typeface="Calibri"/>
                      </a:endParaRPr>
                    </a:p>
                  </a:txBody>
                  <a:tcPr marL="0" marR="0" marT="0" marB="0" anchor="ctr"/>
                </a:tc>
                <a:tc>
                  <a:txBody>
                    <a:bodyPr/>
                    <a:lstStyle/>
                    <a:p>
                      <a:pPr marL="91440"/>
                      <a:r>
                        <a:rPr lang="en-US" sz="1400">
                          <a:effectLst/>
                        </a:rPr>
                        <a:t>Travis Kalanick² </a:t>
                      </a:r>
                    </a:p>
                  </a:txBody>
                  <a:tcPr marL="0" marR="0" marT="0" marB="0" anchor="ctr"/>
                </a:tc>
                <a:tc>
                  <a:txBody>
                    <a:bodyPr/>
                    <a:lstStyle/>
                    <a:p>
                      <a:pPr marL="91440"/>
                      <a:r>
                        <a:rPr lang="en-US" sz="1400">
                          <a:effectLst/>
                        </a:rPr>
                        <a:t>Dara Khosrowshahi²   </a:t>
                      </a:r>
                    </a:p>
                  </a:txBody>
                  <a:tcPr marL="0" marR="0" marT="0" marB="0" anchor="ctr"/>
                </a:tc>
                <a:extLst>
                  <a:ext uri="{0D108BD9-81ED-4DB2-BD59-A6C34878D82A}">
                    <a16:rowId xmlns:a16="http://schemas.microsoft.com/office/drawing/2014/main" val="2786078964"/>
                  </a:ext>
                </a:extLst>
              </a:tr>
              <a:tr h="209585">
                <a:tc>
                  <a:txBody>
                    <a:bodyPr/>
                    <a:lstStyle/>
                    <a:p>
                      <a:pPr marL="91440" lvl="0">
                        <a:buNone/>
                      </a:pPr>
                      <a:r>
                        <a:rPr lang="en-US" sz="1400" b="1">
                          <a:effectLst/>
                        </a:rPr>
                        <a:t>Führungsstil</a:t>
                      </a:r>
                      <a:endParaRPr lang="en-US" b="1"/>
                    </a:p>
                  </a:txBody>
                  <a:tcPr marL="0" marR="0" marT="0" marB="0" anchor="ctr"/>
                </a:tc>
                <a:tc>
                  <a:txBody>
                    <a:bodyPr/>
                    <a:lstStyle/>
                    <a:p>
                      <a:pPr marL="91440" lvl="0">
                        <a:buNone/>
                      </a:pPr>
                      <a:r>
                        <a:rPr lang="en-US" sz="1400" b="1" kern="1200" noProof="0">
                          <a:solidFill>
                            <a:schemeClr val="dk1"/>
                          </a:solidFill>
                          <a:latin typeface="+mn-lt"/>
                          <a:ea typeface="+mn-ea"/>
                          <a:cs typeface="+mn-cs"/>
                        </a:rPr>
                        <a:t>Transactional Leadership</a:t>
                      </a:r>
                    </a:p>
                  </a:txBody>
                  <a:tcPr marL="0" marR="0" marT="0" marB="0" anchor="ctr"/>
                </a:tc>
                <a:tc>
                  <a:txBody>
                    <a:bodyPr/>
                    <a:lstStyle/>
                    <a:p>
                      <a:pPr marL="91440" lvl="0">
                        <a:buNone/>
                      </a:pPr>
                      <a:r>
                        <a:rPr lang="en-US" sz="1400" b="1"/>
                        <a:t>Transformational Leadership</a:t>
                      </a:r>
                    </a:p>
                  </a:txBody>
                  <a:tcPr marL="0" marR="0" marT="0" marB="0" anchor="ctr"/>
                </a:tc>
                <a:extLst>
                  <a:ext uri="{0D108BD9-81ED-4DB2-BD59-A6C34878D82A}">
                    <a16:rowId xmlns:a16="http://schemas.microsoft.com/office/drawing/2014/main" val="2595948633"/>
                  </a:ext>
                </a:extLst>
              </a:tr>
              <a:tr h="419171">
                <a:tc>
                  <a:txBody>
                    <a:bodyPr/>
                    <a:lstStyle/>
                    <a:p>
                      <a:pPr marL="91440"/>
                      <a:r>
                        <a:rPr lang="en-US" sz="1400" b="1">
                          <a:effectLst/>
                        </a:rPr>
                        <a:t>1. Kommunikation und Zusammenarbeit</a:t>
                      </a:r>
                    </a:p>
                  </a:txBody>
                  <a:tcPr marL="0" marR="0" marT="0" marB="0" anchor="ctr"/>
                </a:tc>
                <a:tc>
                  <a:txBody>
                    <a:bodyPr/>
                    <a:lstStyle/>
                    <a:p>
                      <a:pPr marL="91440" lvl="0">
                        <a:buNone/>
                      </a:pPr>
                      <a:r>
                        <a:rPr lang="en-US" sz="1400" kern="1200" noProof="0">
                          <a:solidFill>
                            <a:schemeClr val="dk1"/>
                          </a:solidFill>
                          <a:latin typeface="+mn-lt"/>
                          <a:ea typeface="+mn-ea"/>
                          <a:cs typeface="+mn-cs"/>
                        </a:rPr>
                        <a:t>Mangelnde Transparenz und Kooperation</a:t>
                      </a:r>
                      <a:endParaRPr lang="en-US" sz="1400" kern="1200">
                        <a:solidFill>
                          <a:schemeClr val="dk1"/>
                        </a:solidFill>
                        <a:latin typeface="+mn-lt"/>
                        <a:ea typeface="+mn-ea"/>
                        <a:cs typeface="+mn-cs"/>
                      </a:endParaRPr>
                    </a:p>
                  </a:txBody>
                  <a:tcPr marL="0" marR="0" marT="0" marB="0" anchor="ctr"/>
                </a:tc>
                <a:tc>
                  <a:txBody>
                    <a:bodyPr/>
                    <a:lstStyle/>
                    <a:p>
                      <a:pPr marL="91440"/>
                      <a:r>
                        <a:rPr lang="en-US" sz="1400"/>
                        <a:t>Offen und transparent, Teamarbeit   </a:t>
                      </a:r>
                    </a:p>
                  </a:txBody>
                  <a:tcPr marL="0" marR="0" marT="0" marB="0" anchor="ctr"/>
                </a:tc>
                <a:extLst>
                  <a:ext uri="{0D108BD9-81ED-4DB2-BD59-A6C34878D82A}">
                    <a16:rowId xmlns:a16="http://schemas.microsoft.com/office/drawing/2014/main" val="1846295300"/>
                  </a:ext>
                </a:extLst>
              </a:tr>
              <a:tr h="446508">
                <a:tc>
                  <a:txBody>
                    <a:bodyPr/>
                    <a:lstStyle/>
                    <a:p>
                      <a:pPr marL="91440" algn="l" rtl="0" eaLnBrk="1" latinLnBrk="0" hangingPunct="1"/>
                      <a:r>
                        <a:rPr lang="en-US" sz="1400" b="1" kern="1200">
                          <a:solidFill>
                            <a:schemeClr val="dk1"/>
                          </a:solidFill>
                          <a:effectLst/>
                          <a:latin typeface="+mn-lt"/>
                          <a:ea typeface="+mn-ea"/>
                          <a:cs typeface="+mn-cs"/>
                        </a:rPr>
                        <a:t>2. Systemisches Denken und Delegation</a:t>
                      </a:r>
                    </a:p>
                  </a:txBody>
                  <a:tcPr marL="0" marR="0" marT="0" marB="0" anchor="ctr"/>
                </a:tc>
                <a:tc>
                  <a:txBody>
                    <a:bodyPr/>
                    <a:lstStyle/>
                    <a:p>
                      <a:pPr marL="91440" algn="l" defTabSz="914400" rtl="0" eaLnBrk="1" latinLnBrk="0" hangingPunct="1"/>
                      <a:r>
                        <a:rPr lang="en-US" sz="1400" b="0" kern="1200">
                          <a:solidFill>
                            <a:schemeClr val="dk1"/>
                          </a:solidFill>
                          <a:effectLst/>
                          <a:latin typeface="+mn-lt"/>
                          <a:ea typeface="+mn-ea"/>
                          <a:cs typeface="+mn-cs"/>
                        </a:rPr>
                        <a:t>Zentralisiert , Konzentration auf eigene Vision</a:t>
                      </a:r>
                    </a:p>
                  </a:txBody>
                  <a:tcPr marL="0" marR="0" marT="0" marB="0" anchor="ctr"/>
                </a:tc>
                <a:tc>
                  <a:txBody>
                    <a:bodyPr/>
                    <a:lstStyle/>
                    <a:p>
                      <a:pPr marL="91440" algn="l" defTabSz="914400" rtl="0" eaLnBrk="1" latinLnBrk="0" hangingPunct="1"/>
                      <a:r>
                        <a:rPr lang="en-US" sz="1400" b="0" kern="1200">
                          <a:solidFill>
                            <a:schemeClr val="dk1"/>
                          </a:solidFill>
                          <a:effectLst/>
                          <a:latin typeface="+mn-lt"/>
                          <a:ea typeface="+mn-ea"/>
                          <a:cs typeface="+mn-cs"/>
                        </a:rPr>
                        <a:t>Dezentralisiert, Entscheidungen im Kontext des ganzen UN, Teamleistung   </a:t>
                      </a:r>
                    </a:p>
                  </a:txBody>
                  <a:tcPr marL="0" marR="0" marT="0" marB="0" anchor="ctr"/>
                </a:tc>
                <a:extLst>
                  <a:ext uri="{0D108BD9-81ED-4DB2-BD59-A6C34878D82A}">
                    <a16:rowId xmlns:a16="http://schemas.microsoft.com/office/drawing/2014/main" val="683848070"/>
                  </a:ext>
                </a:extLst>
              </a:tr>
              <a:tr h="419171">
                <a:tc>
                  <a:txBody>
                    <a:bodyPr/>
                    <a:lstStyle/>
                    <a:p>
                      <a:pPr marL="91440" algn="l" rtl="0" eaLnBrk="1" latinLnBrk="0" hangingPunct="1"/>
                      <a:r>
                        <a:rPr lang="en-US" sz="1400" b="1" kern="1200">
                          <a:solidFill>
                            <a:schemeClr val="dk1"/>
                          </a:solidFill>
                          <a:effectLst/>
                          <a:latin typeface="+mn-lt"/>
                          <a:ea typeface="+mn-ea"/>
                          <a:cs typeface="+mn-cs"/>
                        </a:rPr>
                        <a:t>3. Authentizität und Vertrauen</a:t>
                      </a:r>
                    </a:p>
                  </a:txBody>
                  <a:tcPr marL="0" marR="0" marT="0" marB="0" anchor="ctr"/>
                </a:tc>
                <a:tc>
                  <a:txBody>
                    <a:bodyPr/>
                    <a:lstStyle/>
                    <a:p>
                      <a:pPr marL="91440" algn="l" defTabSz="914400" rtl="0" eaLnBrk="1" latinLnBrk="0" hangingPunct="1"/>
                      <a:r>
                        <a:rPr lang="en-US" sz="1400" b="0" kern="1200">
                          <a:solidFill>
                            <a:schemeClr val="dk1"/>
                          </a:solidFill>
                          <a:effectLst/>
                          <a:latin typeface="+mn-lt"/>
                          <a:ea typeface="+mn-ea"/>
                          <a:cs typeface="+mn-cs"/>
                        </a:rPr>
                        <a:t>Kontrovers und autoritär, schwache Mitarbeiterbindung</a:t>
                      </a:r>
                    </a:p>
                  </a:txBody>
                  <a:tcPr marL="0" marR="0" marT="0" marB="0" anchor="ctr"/>
                </a:tc>
                <a:tc>
                  <a:txBody>
                    <a:bodyPr/>
                    <a:lstStyle/>
                    <a:p>
                      <a:pPr marL="91440" algn="l" defTabSz="914400" rtl="0" eaLnBrk="1" latinLnBrk="0" hangingPunct="1"/>
                      <a:r>
                        <a:rPr lang="en-US" sz="1400" b="0" kern="1200">
                          <a:solidFill>
                            <a:schemeClr val="dk1"/>
                          </a:solidFill>
                          <a:effectLst/>
                          <a:latin typeface="+mn-lt"/>
                          <a:ea typeface="+mn-ea"/>
                          <a:cs typeface="+mn-cs"/>
                        </a:rPr>
                        <a:t>Zugänglich und fürsorglich, Fokus auf Zufriedenheit der Mitarbeiter  </a:t>
                      </a:r>
                    </a:p>
                  </a:txBody>
                  <a:tcPr marL="0" marR="0" marT="0" marB="0" anchor="ctr"/>
                </a:tc>
                <a:extLst>
                  <a:ext uri="{0D108BD9-81ED-4DB2-BD59-A6C34878D82A}">
                    <a16:rowId xmlns:a16="http://schemas.microsoft.com/office/drawing/2014/main" val="25751910"/>
                  </a:ext>
                </a:extLst>
              </a:tr>
              <a:tr h="419171">
                <a:tc>
                  <a:txBody>
                    <a:bodyPr/>
                    <a:lstStyle/>
                    <a:p>
                      <a:pPr marL="91440" algn="l" rtl="0" eaLnBrk="1" latinLnBrk="0" hangingPunct="1"/>
                      <a:r>
                        <a:rPr lang="en-US" sz="1400" b="1" kern="1200">
                          <a:solidFill>
                            <a:schemeClr val="dk1"/>
                          </a:solidFill>
                          <a:effectLst/>
                          <a:latin typeface="+mn-lt"/>
                          <a:ea typeface="+mn-ea"/>
                          <a:cs typeface="+mn-cs"/>
                        </a:rPr>
                        <a:t>4. Personalentwicklung und Coaching</a:t>
                      </a:r>
                    </a:p>
                  </a:txBody>
                  <a:tcPr marL="0" marR="0" marT="0" marB="0" anchor="ctr"/>
                </a:tc>
                <a:tc>
                  <a:txBody>
                    <a:bodyPr/>
                    <a:lstStyle/>
                    <a:p>
                      <a:pPr marL="91440" algn="l" defTabSz="914400" rtl="0" eaLnBrk="1" latinLnBrk="0" hangingPunct="1"/>
                      <a:r>
                        <a:rPr lang="en-US" sz="1400" b="0" kern="1200">
                          <a:solidFill>
                            <a:schemeClr val="dk1"/>
                          </a:solidFill>
                          <a:effectLst/>
                          <a:latin typeface="+mn-lt"/>
                          <a:ea typeface="+mn-ea"/>
                          <a:cs typeface="+mn-cs"/>
                        </a:rPr>
                        <a:t>kaum im Fokus</a:t>
                      </a:r>
                    </a:p>
                  </a:txBody>
                  <a:tcPr marL="0" marR="0" marT="0" marB="0" anchor="ctr"/>
                </a:tc>
                <a:tc>
                  <a:txBody>
                    <a:bodyPr/>
                    <a:lstStyle/>
                    <a:p>
                      <a:pPr marL="91440" algn="l" defTabSz="914400" rtl="0" eaLnBrk="1" latinLnBrk="0" hangingPunct="1"/>
                      <a:r>
                        <a:rPr lang="en-US" sz="1400" b="0" kern="1200">
                          <a:solidFill>
                            <a:schemeClr val="dk1"/>
                          </a:solidFill>
                          <a:effectLst/>
                          <a:latin typeface="+mn-lt"/>
                          <a:ea typeface="+mn-ea"/>
                          <a:cs typeface="+mn-cs"/>
                        </a:rPr>
                        <a:t>Investiert in Entwicklung, Entwicklungsprogramme </a:t>
                      </a:r>
                    </a:p>
                  </a:txBody>
                  <a:tcPr marL="0" marR="0" marT="0" marB="0" anchor="ctr"/>
                </a:tc>
                <a:extLst>
                  <a:ext uri="{0D108BD9-81ED-4DB2-BD59-A6C34878D82A}">
                    <a16:rowId xmlns:a16="http://schemas.microsoft.com/office/drawing/2014/main" val="3609264762"/>
                  </a:ext>
                </a:extLst>
              </a:tr>
              <a:tr h="419171">
                <a:tc>
                  <a:txBody>
                    <a:bodyPr/>
                    <a:lstStyle/>
                    <a:p>
                      <a:pPr marL="91440" algn="l" rtl="0" eaLnBrk="1" latinLnBrk="0" hangingPunct="1"/>
                      <a:r>
                        <a:rPr lang="en-US" sz="1400" b="1" kern="1200">
                          <a:solidFill>
                            <a:schemeClr val="dk1"/>
                          </a:solidFill>
                          <a:effectLst/>
                          <a:latin typeface="+mn-lt"/>
                          <a:ea typeface="+mn-ea"/>
                          <a:cs typeface="+mn-cs"/>
                        </a:rPr>
                        <a:t>5. Diversität, Inklusion und Ethik</a:t>
                      </a:r>
                    </a:p>
                  </a:txBody>
                  <a:tcPr marL="0" marR="0" marT="0" marB="0" anchor="ctr"/>
                </a:tc>
                <a:tc>
                  <a:txBody>
                    <a:bodyPr/>
                    <a:lstStyle/>
                    <a:p>
                      <a:pPr marL="91440" algn="l" defTabSz="914400" rtl="0" eaLnBrk="1" latinLnBrk="0" hangingPunct="1"/>
                      <a:r>
                        <a:rPr lang="en-US" sz="1400" b="0" kern="1200">
                          <a:solidFill>
                            <a:schemeClr val="dk1"/>
                          </a:solidFill>
                          <a:effectLst/>
                          <a:latin typeface="+mn-lt"/>
                          <a:ea typeface="+mn-ea"/>
                          <a:cs typeface="+mn-cs"/>
                        </a:rPr>
                        <a:t>Ethik- und Inklusionsprobleme, mangelnde Diversity</a:t>
                      </a:r>
                    </a:p>
                  </a:txBody>
                  <a:tcPr marL="0" marR="0" marT="0" marB="0" anchor="ctr"/>
                </a:tc>
                <a:tc>
                  <a:txBody>
                    <a:bodyPr/>
                    <a:lstStyle/>
                    <a:p>
                      <a:pPr marL="91440" algn="l" defTabSz="914400" rtl="0" eaLnBrk="1" latinLnBrk="0" hangingPunct="1"/>
                      <a:r>
                        <a:rPr lang="en-US" sz="1400" b="0" kern="1200">
                          <a:solidFill>
                            <a:schemeClr val="dk1"/>
                          </a:solidFill>
                          <a:effectLst/>
                          <a:latin typeface="+mn-lt"/>
                          <a:ea typeface="+mn-ea"/>
                          <a:cs typeface="+mn-cs"/>
                        </a:rPr>
                        <a:t>Fördert Diversity, ethische Standards und Wertevermittlung</a:t>
                      </a:r>
                    </a:p>
                  </a:txBody>
                  <a:tcPr marL="0" marR="0" marT="0" marB="0" anchor="ctr"/>
                </a:tc>
                <a:extLst>
                  <a:ext uri="{0D108BD9-81ED-4DB2-BD59-A6C34878D82A}">
                    <a16:rowId xmlns:a16="http://schemas.microsoft.com/office/drawing/2014/main" val="654099920"/>
                  </a:ext>
                </a:extLst>
              </a:tr>
              <a:tr h="419171">
                <a:tc>
                  <a:txBody>
                    <a:bodyPr/>
                    <a:lstStyle/>
                    <a:p>
                      <a:pPr marL="91440" algn="l" rtl="0" eaLnBrk="1" latinLnBrk="0" hangingPunct="1"/>
                      <a:r>
                        <a:rPr lang="en-US" sz="1400" b="1" kern="1200">
                          <a:solidFill>
                            <a:schemeClr val="dk1"/>
                          </a:solidFill>
                          <a:effectLst/>
                          <a:latin typeface="+mn-lt"/>
                          <a:ea typeface="+mn-ea"/>
                          <a:cs typeface="+mn-cs"/>
                        </a:rPr>
                        <a:t>6. Stressmanagement und Resilienz</a:t>
                      </a:r>
                    </a:p>
                  </a:txBody>
                  <a:tcPr marL="0" marR="0" marT="0" marB="0" anchor="ctr"/>
                </a:tc>
                <a:tc>
                  <a:txBody>
                    <a:bodyPr/>
                    <a:lstStyle/>
                    <a:p>
                      <a:pPr marL="91440" algn="l" defTabSz="914400" rtl="0" eaLnBrk="1" latinLnBrk="0" hangingPunct="1"/>
                      <a:r>
                        <a:rPr lang="en-US" sz="1400" b="0" kern="1200">
                          <a:solidFill>
                            <a:schemeClr val="dk1"/>
                          </a:solidFill>
                          <a:effectLst/>
                          <a:latin typeface="+mn-lt"/>
                          <a:ea typeface="+mn-ea"/>
                          <a:cs typeface="+mn-cs"/>
                        </a:rPr>
                        <a:t>Hoher Stress und Skandale</a:t>
                      </a:r>
                    </a:p>
                  </a:txBody>
                  <a:tcPr marL="0" marR="0" marT="0" marB="0" anchor="ctr"/>
                </a:tc>
                <a:tc>
                  <a:txBody>
                    <a:bodyPr/>
                    <a:lstStyle/>
                    <a:p>
                      <a:pPr marL="91440" algn="l" defTabSz="914400" rtl="0" eaLnBrk="1" latinLnBrk="0" hangingPunct="1"/>
                      <a:r>
                        <a:rPr lang="en-US" sz="1400" b="0" kern="1200">
                          <a:solidFill>
                            <a:schemeClr val="dk1"/>
                          </a:solidFill>
                          <a:effectLst/>
                          <a:latin typeface="+mn-lt"/>
                          <a:ea typeface="+mn-ea"/>
                          <a:cs typeface="+mn-cs"/>
                        </a:rPr>
                        <a:t>Bemühen um Resilienz und Stressmanagement </a:t>
                      </a:r>
                    </a:p>
                  </a:txBody>
                  <a:tcPr marL="0" marR="0" marT="0" marB="0" anchor="ctr"/>
                </a:tc>
                <a:extLst>
                  <a:ext uri="{0D108BD9-81ED-4DB2-BD59-A6C34878D82A}">
                    <a16:rowId xmlns:a16="http://schemas.microsoft.com/office/drawing/2014/main" val="728555175"/>
                  </a:ext>
                </a:extLst>
              </a:tr>
              <a:tr h="419171">
                <a:tc>
                  <a:txBody>
                    <a:bodyPr/>
                    <a:lstStyle/>
                    <a:p>
                      <a:pPr marL="91440" algn="l" rtl="0" eaLnBrk="1" latinLnBrk="0" hangingPunct="1"/>
                      <a:r>
                        <a:rPr lang="en-US" sz="1400" b="1" kern="1200">
                          <a:solidFill>
                            <a:schemeClr val="dk1"/>
                          </a:solidFill>
                          <a:effectLst/>
                          <a:latin typeface="+mn-lt"/>
                          <a:ea typeface="+mn-ea"/>
                          <a:cs typeface="+mn-cs"/>
                        </a:rPr>
                        <a:t>7. Kontinuierliches Lernen und Entwicklung</a:t>
                      </a:r>
                    </a:p>
                  </a:txBody>
                  <a:tcPr marL="0" marR="0" marT="0" marB="0" anchor="ctr"/>
                </a:tc>
                <a:tc>
                  <a:txBody>
                    <a:bodyPr/>
                    <a:lstStyle/>
                    <a:p>
                      <a:pPr marL="91440" lvl="0" algn="l" defTabSz="914400" rtl="0" eaLnBrk="1" latinLnBrk="0" hangingPunct="1">
                        <a:buNone/>
                      </a:pPr>
                      <a:r>
                        <a:rPr lang="en-US" sz="1400" b="0" kern="1200" noProof="0">
                          <a:solidFill>
                            <a:schemeClr val="dk1"/>
                          </a:solidFill>
                          <a:effectLst/>
                          <a:latin typeface="+mn-lt"/>
                          <a:ea typeface="+mn-ea"/>
                          <a:cs typeface="+mn-cs"/>
                        </a:rPr>
                        <a:t>Kaum im Fokus</a:t>
                      </a:r>
                      <a:endParaRPr lang="en-US" sz="1400" b="0" kern="1200">
                        <a:solidFill>
                          <a:schemeClr val="dk1"/>
                        </a:solidFill>
                        <a:effectLst/>
                        <a:latin typeface="+mn-lt"/>
                        <a:ea typeface="+mn-ea"/>
                        <a:cs typeface="+mn-cs"/>
                      </a:endParaRPr>
                    </a:p>
                  </a:txBody>
                  <a:tcPr marL="0" marR="0" marT="0" marB="0" anchor="ctr"/>
                </a:tc>
                <a:tc>
                  <a:txBody>
                    <a:bodyPr/>
                    <a:lstStyle/>
                    <a:p>
                      <a:pPr marL="91440" lvl="0" algn="l" defTabSz="914400" rtl="0" eaLnBrk="1" latinLnBrk="0" hangingPunct="1">
                        <a:buNone/>
                      </a:pPr>
                      <a:r>
                        <a:rPr lang="en-US" sz="1400" b="0" kern="1200" noProof="0">
                          <a:solidFill>
                            <a:schemeClr val="dk1"/>
                          </a:solidFill>
                          <a:effectLst/>
                          <a:latin typeface="+mn-lt"/>
                          <a:ea typeface="+mn-ea"/>
                          <a:cs typeface="+mn-cs"/>
                        </a:rPr>
                        <a:t>Kultur des Lernens und der Entwicklung</a:t>
                      </a:r>
                      <a:endParaRPr lang="en-US" sz="1400" b="0" kern="1200">
                        <a:solidFill>
                          <a:schemeClr val="dk1"/>
                        </a:solidFill>
                        <a:effectLst/>
                        <a:latin typeface="+mn-lt"/>
                        <a:ea typeface="+mn-ea"/>
                        <a:cs typeface="+mn-cs"/>
                      </a:endParaRPr>
                    </a:p>
                  </a:txBody>
                  <a:tcPr marL="0" marR="0" marT="0" marB="0" anchor="ctr"/>
                </a:tc>
                <a:extLst>
                  <a:ext uri="{0D108BD9-81ED-4DB2-BD59-A6C34878D82A}">
                    <a16:rowId xmlns:a16="http://schemas.microsoft.com/office/drawing/2014/main" val="377851159"/>
                  </a:ext>
                </a:extLst>
              </a:tr>
              <a:tr h="628756">
                <a:tc>
                  <a:txBody>
                    <a:bodyPr/>
                    <a:lstStyle/>
                    <a:p>
                      <a:pPr marL="91440" algn="l" rtl="0" eaLnBrk="1" latinLnBrk="0" hangingPunct="1"/>
                      <a:r>
                        <a:rPr lang="en-US" sz="1400" b="1" kern="1200">
                          <a:solidFill>
                            <a:schemeClr val="dk1"/>
                          </a:solidFill>
                          <a:effectLst/>
                          <a:latin typeface="+mn-lt"/>
                          <a:ea typeface="+mn-ea"/>
                          <a:cs typeface="+mn-cs"/>
                        </a:rPr>
                        <a:t>8. Sinn-, Ergebnisorientierung und   Zielsetzung</a:t>
                      </a:r>
                    </a:p>
                  </a:txBody>
                  <a:tcPr marL="0" marR="0" marT="0" marB="0" anchor="ctr"/>
                </a:tc>
                <a:tc>
                  <a:txBody>
                    <a:bodyPr/>
                    <a:lstStyle/>
                    <a:p>
                      <a:pPr marL="91440" algn="l" rtl="0" eaLnBrk="1" latinLnBrk="0" hangingPunct="1"/>
                      <a:r>
                        <a:rPr lang="en-US" sz="1400" b="0" kern="1200">
                          <a:solidFill>
                            <a:schemeClr val="dk1"/>
                          </a:solidFill>
                          <a:effectLst/>
                          <a:latin typeface="+mn-lt"/>
                          <a:ea typeface="+mn-ea"/>
                          <a:cs typeface="+mn-cs"/>
                        </a:rPr>
                        <a:t>Ergebnisorientierung, wenig Fokus auf Sinnhaftigkeit</a:t>
                      </a:r>
                    </a:p>
                  </a:txBody>
                  <a:tcPr marL="0" marR="0" marT="0" marB="0" anchor="ctr"/>
                </a:tc>
                <a:tc>
                  <a:txBody>
                    <a:bodyPr/>
                    <a:lstStyle/>
                    <a:p>
                      <a:pPr marL="91440" algn="l" rtl="0" eaLnBrk="1" latinLnBrk="0" hangingPunct="1"/>
                      <a:r>
                        <a:rPr lang="en-US" sz="1400" b="0" kern="1200">
                          <a:solidFill>
                            <a:schemeClr val="dk1"/>
                          </a:solidFill>
                          <a:effectLst/>
                          <a:latin typeface="+mn-lt"/>
                          <a:ea typeface="+mn-ea"/>
                          <a:cs typeface="+mn-cs"/>
                        </a:rPr>
                        <a:t>Kommunikation über Vision und Mission, klare Ziele, Leistungsmaximierung</a:t>
                      </a:r>
                    </a:p>
                  </a:txBody>
                  <a:tcPr marL="0" marR="0" marT="0" marB="0" anchor="ctr"/>
                </a:tc>
                <a:extLst>
                  <a:ext uri="{0D108BD9-81ED-4DB2-BD59-A6C34878D82A}">
                    <a16:rowId xmlns:a16="http://schemas.microsoft.com/office/drawing/2014/main" val="493134450"/>
                  </a:ext>
                </a:extLst>
              </a:tr>
            </a:tbl>
          </a:graphicData>
        </a:graphic>
      </p:graphicFrame>
      <p:sp>
        <p:nvSpPr>
          <p:cNvPr id="2" name="Titel 1">
            <a:extLst>
              <a:ext uri="{FF2B5EF4-FFF2-40B4-BE49-F238E27FC236}">
                <a16:creationId xmlns:a16="http://schemas.microsoft.com/office/drawing/2014/main" id="{D6A11C15-BC1A-2C62-817B-8D735C47C851}"/>
              </a:ext>
            </a:extLst>
          </p:cNvPr>
          <p:cNvSpPr>
            <a:spLocks noGrp="1"/>
          </p:cNvSpPr>
          <p:nvPr>
            <p:ph type="title"/>
          </p:nvPr>
        </p:nvSpPr>
        <p:spPr>
          <a:xfrm>
            <a:off x="359998" y="1268413"/>
            <a:ext cx="8568102" cy="646747"/>
          </a:xfrm>
        </p:spPr>
        <p:txBody>
          <a:bodyPr vert="horz"/>
          <a:lstStyle/>
          <a:p>
            <a:r>
              <a:rPr lang="en-US">
                <a:solidFill>
                  <a:srgbClr val="FF0000"/>
                </a:solidFill>
              </a:rPr>
              <a:t>Transactionale und Transormationale Führung unterscheiden sich in vielen Punkten</a:t>
            </a:r>
          </a:p>
        </p:txBody>
      </p:sp>
    </p:spTree>
    <p:extLst>
      <p:ext uri="{BB962C8B-B14F-4D97-AF65-F5344CB8AC3E}">
        <p14:creationId xmlns:p14="http://schemas.microsoft.com/office/powerpoint/2010/main" val="799961263"/>
      </p:ext>
    </p:extLst>
  </p:cSld>
  <p:clrMapOvr>
    <a:masterClrMapping/>
  </p:clrMapOvr>
  <p:extLst>
    <p:ext uri="{6950BFC3-D8DA-4A85-94F7-54DA5524770B}">
      <p188:commentRel xmlns:p188="http://schemas.microsoft.com/office/powerpoint/2018/8/main" r:id="rId4"/>
    </p:ext>
  </p:extLs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04C801-B5F5-592E-2DD4-EA3A7DF29A82}"/>
              </a:ext>
            </a:extLst>
          </p:cNvPr>
          <p:cNvSpPr>
            <a:spLocks noGrp="1"/>
          </p:cNvSpPr>
          <p:nvPr>
            <p:ph type="title"/>
          </p:nvPr>
        </p:nvSpPr>
        <p:spPr/>
        <p:txBody>
          <a:bodyPr/>
          <a:lstStyle/>
          <a:p>
            <a:endParaRPr lang="en-US"/>
          </a:p>
        </p:txBody>
      </p:sp>
      <p:sp>
        <p:nvSpPr>
          <p:cNvPr id="3" name="Inhaltsplatzhalter 2">
            <a:extLst>
              <a:ext uri="{FF2B5EF4-FFF2-40B4-BE49-F238E27FC236}">
                <a16:creationId xmlns:a16="http://schemas.microsoft.com/office/drawing/2014/main" id="{935A2354-8F1F-EC48-6667-3E256EF0600D}"/>
              </a:ext>
            </a:extLst>
          </p:cNvPr>
          <p:cNvSpPr>
            <a:spLocks noGrp="1"/>
          </p:cNvSpPr>
          <p:nvPr>
            <p:ph idx="1"/>
          </p:nvPr>
        </p:nvSpPr>
        <p:spPr/>
        <p:txBody>
          <a:bodyPr numCol="2"/>
          <a:lstStyle/>
          <a:p>
            <a:pPr algn="ctr"/>
            <a:endParaRPr lang="en-US" b="1"/>
          </a:p>
          <a:p>
            <a:pPr algn="ctr"/>
            <a:endParaRPr lang="en-US" b="1"/>
          </a:p>
          <a:p>
            <a:pPr algn="ctr"/>
            <a:r>
              <a:rPr lang="en-US" b="1"/>
              <a:t>Stärken:</a:t>
            </a:r>
          </a:p>
          <a:p>
            <a:pPr algn="ctr"/>
            <a:r>
              <a:rPr lang="en-US" i="0">
                <a:effectLst/>
                <a:latin typeface="Söhne"/>
              </a:rPr>
              <a:t>Hohe Beliebtheit</a:t>
            </a:r>
          </a:p>
          <a:p>
            <a:pPr algn="ctr"/>
            <a:r>
              <a:rPr lang="en-US" i="0">
                <a:effectLst/>
                <a:latin typeface="Söhne"/>
              </a:rPr>
              <a:t>Motivationssteigerung</a:t>
            </a:r>
            <a:endParaRPr lang="en-US">
              <a:latin typeface="Söhne"/>
            </a:endParaRPr>
          </a:p>
          <a:p>
            <a:pPr algn="ctr"/>
            <a:r>
              <a:rPr lang="en-US" i="0">
                <a:effectLst/>
                <a:latin typeface="Söhne"/>
              </a:rPr>
              <a:t>Geringe Mitarbeiterfluktuation</a:t>
            </a:r>
          </a:p>
          <a:p>
            <a:pPr algn="ctr"/>
            <a:r>
              <a:rPr lang="en-US" i="0">
                <a:effectLst/>
                <a:latin typeface="Söhne"/>
              </a:rPr>
              <a:t>Geringerer Krankenstand</a:t>
            </a:r>
            <a:endParaRPr lang="en-US">
              <a:latin typeface="Söhne"/>
            </a:endParaRPr>
          </a:p>
          <a:p>
            <a:pPr algn="ctr"/>
            <a:r>
              <a:rPr lang="en-US" i="0">
                <a:effectLst/>
                <a:latin typeface="Söhne"/>
              </a:rPr>
              <a:t>Erhöhte Produktivität</a:t>
            </a:r>
          </a:p>
          <a:p>
            <a:pPr algn="ctr"/>
            <a:r>
              <a:rPr lang="en-US" i="0">
                <a:effectLst/>
                <a:latin typeface="Söhne"/>
              </a:rPr>
              <a:t>Förderung von Innovation</a:t>
            </a:r>
            <a:endParaRPr lang="en-US">
              <a:latin typeface="Söhne"/>
            </a:endParaRPr>
          </a:p>
          <a:p>
            <a:pPr algn="ctr"/>
            <a:r>
              <a:rPr lang="en-US" i="0">
                <a:effectLst/>
                <a:latin typeface="Söhne"/>
              </a:rPr>
              <a:t>Herausforderungen bieten</a:t>
            </a:r>
          </a:p>
          <a:p>
            <a:pPr algn="ctr"/>
            <a:r>
              <a:rPr lang="en-US" i="0">
                <a:effectLst/>
                <a:latin typeface="Söhne"/>
              </a:rPr>
              <a:t>Vertrauensförderung</a:t>
            </a:r>
          </a:p>
          <a:p>
            <a:pPr algn="ctr"/>
            <a:endParaRPr lang="en-US">
              <a:latin typeface="Söhne"/>
            </a:endParaRPr>
          </a:p>
          <a:p>
            <a:pPr algn="ctr"/>
            <a:endParaRPr lang="en-US">
              <a:latin typeface="Söhne"/>
            </a:endParaRPr>
          </a:p>
          <a:p>
            <a:pPr algn="ctr"/>
            <a:endParaRPr lang="en-US">
              <a:latin typeface="Söhne"/>
            </a:endParaRPr>
          </a:p>
          <a:p>
            <a:pPr algn="ctr"/>
            <a:endParaRPr lang="en-US">
              <a:latin typeface="Söhne"/>
            </a:endParaRPr>
          </a:p>
          <a:p>
            <a:pPr algn="ctr"/>
            <a:r>
              <a:rPr lang="en-US" b="1">
                <a:latin typeface="Söhne"/>
              </a:rPr>
              <a:t>Schwächen:</a:t>
            </a:r>
          </a:p>
          <a:p>
            <a:pPr algn="ctr"/>
            <a:r>
              <a:rPr lang="en-US" i="0">
                <a:effectLst/>
                <a:latin typeface="Söhne"/>
              </a:rPr>
              <a:t>Subjektivität</a:t>
            </a:r>
          </a:p>
          <a:p>
            <a:pPr algn="ctr"/>
            <a:r>
              <a:rPr lang="en-US" i="0">
                <a:effectLst/>
                <a:latin typeface="Söhne"/>
              </a:rPr>
              <a:t>Zeitaufwändig</a:t>
            </a:r>
            <a:endParaRPr lang="en-US">
              <a:latin typeface="Söhne"/>
            </a:endParaRPr>
          </a:p>
          <a:p>
            <a:pPr algn="ctr"/>
            <a:r>
              <a:rPr lang="en-US" i="0">
                <a:effectLst/>
                <a:latin typeface="Söhne"/>
              </a:rPr>
              <a:t>Nicht für alle Situationen geeignet</a:t>
            </a:r>
          </a:p>
          <a:p>
            <a:pPr algn="ctr"/>
            <a:r>
              <a:rPr lang="en-US" i="0">
                <a:effectLst/>
                <a:latin typeface="Söhne"/>
              </a:rPr>
              <a:t>Abhängigkeit von der Führungskraft</a:t>
            </a:r>
            <a:endParaRPr lang="en-US">
              <a:latin typeface="Söhne"/>
            </a:endParaRPr>
          </a:p>
          <a:p>
            <a:pPr algn="ctr"/>
            <a:r>
              <a:rPr lang="en-US" i="0">
                <a:effectLst/>
                <a:latin typeface="Söhne"/>
              </a:rPr>
              <a:t>Kann als zu nachgiebig wahrgenommen werden</a:t>
            </a:r>
          </a:p>
          <a:p>
            <a:pPr algn="ctr"/>
            <a:r>
              <a:rPr lang="en-US" i="0">
                <a:effectLst/>
                <a:latin typeface="Söhne"/>
              </a:rPr>
              <a:t>Nicht immer effektiv bei Widerstand</a:t>
            </a:r>
            <a:endParaRPr lang="en-US"/>
          </a:p>
        </p:txBody>
      </p:sp>
      <p:sp>
        <p:nvSpPr>
          <p:cNvPr id="4" name="Foliennummernplatzhalter 3">
            <a:extLst>
              <a:ext uri="{FF2B5EF4-FFF2-40B4-BE49-F238E27FC236}">
                <a16:creationId xmlns:a16="http://schemas.microsoft.com/office/drawing/2014/main" id="{16A9B342-33A4-F364-69F8-F041156B47F0}"/>
              </a:ext>
            </a:extLst>
          </p:cNvPr>
          <p:cNvSpPr>
            <a:spLocks noGrp="1"/>
          </p:cNvSpPr>
          <p:nvPr>
            <p:ph type="sldNum" sz="quarter" idx="4"/>
          </p:nvPr>
        </p:nvSpPr>
        <p:spPr/>
        <p:txBody>
          <a:bodyPr/>
          <a:lstStyle/>
          <a:p>
            <a:fld id="{BAF04893-69FB-435D-AB2E-CA259D85B32F}" type="slidenum">
              <a:rPr lang="en-US" smtClean="0"/>
              <a:pPr/>
              <a:t>42</a:t>
            </a:fld>
            <a:endParaRPr lang="en-US"/>
          </a:p>
        </p:txBody>
      </p:sp>
      <p:sp>
        <p:nvSpPr>
          <p:cNvPr id="5" name="Inhaltsplatzhalter 4">
            <a:extLst>
              <a:ext uri="{FF2B5EF4-FFF2-40B4-BE49-F238E27FC236}">
                <a16:creationId xmlns:a16="http://schemas.microsoft.com/office/drawing/2014/main" id="{1C2CE1B9-F43B-0FB4-9A2C-3454FAE420A7}"/>
              </a:ext>
            </a:extLst>
          </p:cNvPr>
          <p:cNvSpPr>
            <a:spLocks noGrp="1"/>
          </p:cNvSpPr>
          <p:nvPr>
            <p:ph idx="10"/>
          </p:nvPr>
        </p:nvSpPr>
        <p:spPr/>
        <p:txBody>
          <a:bodyPr/>
          <a:lstStyle/>
          <a:p>
            <a:r>
              <a:rPr lang="en-US"/>
              <a:t>Vorteile / Nachteile transformationale Führung</a:t>
            </a:r>
          </a:p>
        </p:txBody>
      </p:sp>
      <p:sp>
        <p:nvSpPr>
          <p:cNvPr id="6" name="Inhaltsplatzhalter 5">
            <a:extLst>
              <a:ext uri="{FF2B5EF4-FFF2-40B4-BE49-F238E27FC236}">
                <a16:creationId xmlns:a16="http://schemas.microsoft.com/office/drawing/2014/main" id="{27C6E8A2-53CB-36A7-DAC6-FB7DAF48672F}"/>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87ABBFF4-CEDB-45BA-3736-9ECD0AB78ECF}"/>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4005470106"/>
      </p:ext>
    </p:extLst>
  </p:cSld>
  <p:clrMapOvr>
    <a:masterClrMapping/>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04C801-B5F5-592E-2DD4-EA3A7DF29A82}"/>
              </a:ext>
            </a:extLst>
          </p:cNvPr>
          <p:cNvSpPr>
            <a:spLocks noGrp="1"/>
          </p:cNvSpPr>
          <p:nvPr>
            <p:ph type="title"/>
          </p:nvPr>
        </p:nvSpPr>
        <p:spPr/>
        <p:txBody>
          <a:bodyPr/>
          <a:lstStyle/>
          <a:p>
            <a:endParaRPr lang="en-US"/>
          </a:p>
        </p:txBody>
      </p:sp>
      <p:sp>
        <p:nvSpPr>
          <p:cNvPr id="3" name="Inhaltsplatzhalter 2">
            <a:extLst>
              <a:ext uri="{FF2B5EF4-FFF2-40B4-BE49-F238E27FC236}">
                <a16:creationId xmlns:a16="http://schemas.microsoft.com/office/drawing/2014/main" id="{935A2354-8F1F-EC48-6667-3E256EF0600D}"/>
              </a:ext>
            </a:extLst>
          </p:cNvPr>
          <p:cNvSpPr>
            <a:spLocks noGrp="1"/>
          </p:cNvSpPr>
          <p:nvPr>
            <p:ph idx="1"/>
          </p:nvPr>
        </p:nvSpPr>
        <p:spPr/>
        <p:txBody>
          <a:bodyPr numCol="2"/>
          <a:lstStyle/>
          <a:p>
            <a:pPr algn="ctr"/>
            <a:endParaRPr lang="en-US" b="1"/>
          </a:p>
          <a:p>
            <a:pPr algn="ctr"/>
            <a:endParaRPr lang="en-US" b="1"/>
          </a:p>
          <a:p>
            <a:pPr algn="ctr"/>
            <a:endParaRPr lang="en-US" b="1"/>
          </a:p>
          <a:p>
            <a:pPr algn="ctr"/>
            <a:r>
              <a:rPr lang="en-US" b="1"/>
              <a:t>Stärken:</a:t>
            </a:r>
          </a:p>
          <a:p>
            <a:pPr algn="ctr"/>
            <a:r>
              <a:rPr lang="en-US" i="0">
                <a:effectLst/>
                <a:latin typeface="Söhne"/>
              </a:rPr>
              <a:t>Effiziente Umsetzung</a:t>
            </a:r>
          </a:p>
          <a:p>
            <a:pPr algn="ctr"/>
            <a:r>
              <a:rPr lang="en-US" i="0">
                <a:effectLst/>
                <a:latin typeface="Söhne"/>
              </a:rPr>
              <a:t>Einfache Etablierung</a:t>
            </a:r>
            <a:endParaRPr lang="en-US">
              <a:latin typeface="Söhne"/>
            </a:endParaRPr>
          </a:p>
          <a:p>
            <a:pPr algn="ctr"/>
            <a:r>
              <a:rPr lang="en-US" i="0">
                <a:effectLst/>
                <a:latin typeface="Söhne"/>
              </a:rPr>
              <a:t>Geeignet für stabile Prozesse</a:t>
            </a:r>
            <a:endParaRPr lang="en-US">
              <a:latin typeface="Söhne"/>
            </a:endParaRPr>
          </a:p>
          <a:p>
            <a:pPr algn="ctr"/>
            <a:r>
              <a:rPr lang="en-US" i="0">
                <a:effectLst/>
                <a:latin typeface="Söhne"/>
              </a:rPr>
              <a:t>Anwendbar in risikoreichen Umgebungen</a:t>
            </a:r>
            <a:endParaRPr lang="en-US">
              <a:latin typeface="Söhne"/>
            </a:endParaRPr>
          </a:p>
          <a:p>
            <a:pPr algn="ctr"/>
            <a:endParaRPr lang="en-US">
              <a:latin typeface="Söhne"/>
            </a:endParaRPr>
          </a:p>
          <a:p>
            <a:pPr algn="ctr"/>
            <a:endParaRPr lang="en-US">
              <a:latin typeface="Söhne"/>
            </a:endParaRPr>
          </a:p>
          <a:p>
            <a:pPr algn="ctr"/>
            <a:endParaRPr lang="en-US">
              <a:latin typeface="Söhne"/>
            </a:endParaRPr>
          </a:p>
          <a:p>
            <a:pPr algn="ctr"/>
            <a:endParaRPr lang="en-US">
              <a:latin typeface="Söhne"/>
            </a:endParaRPr>
          </a:p>
          <a:p>
            <a:pPr algn="ctr"/>
            <a:endParaRPr lang="en-US">
              <a:latin typeface="Söhne"/>
            </a:endParaRPr>
          </a:p>
          <a:p>
            <a:pPr algn="ctr"/>
            <a:endParaRPr lang="en-US">
              <a:latin typeface="Söhne"/>
            </a:endParaRPr>
          </a:p>
          <a:p>
            <a:pPr algn="ctr"/>
            <a:endParaRPr lang="en-US">
              <a:latin typeface="Söhne"/>
            </a:endParaRPr>
          </a:p>
          <a:p>
            <a:pPr algn="ctr"/>
            <a:endParaRPr lang="en-US">
              <a:latin typeface="Söhne"/>
            </a:endParaRPr>
          </a:p>
          <a:p>
            <a:pPr algn="ctr"/>
            <a:r>
              <a:rPr lang="en-US" b="1">
                <a:latin typeface="Söhne"/>
              </a:rPr>
              <a:t>Schwäche</a:t>
            </a:r>
          </a:p>
          <a:p>
            <a:pPr algn="ctr"/>
            <a:r>
              <a:rPr lang="en-US" i="0">
                <a:effectLst/>
                <a:latin typeface="Söhne"/>
              </a:rPr>
              <a:t>Extrinsische Motivatio</a:t>
            </a:r>
            <a:r>
              <a:rPr lang="en-US">
                <a:latin typeface="Söhne"/>
              </a:rPr>
              <a:t>n</a:t>
            </a:r>
          </a:p>
          <a:p>
            <a:pPr algn="ctr"/>
            <a:r>
              <a:rPr lang="en-US" i="0">
                <a:effectLst/>
                <a:latin typeface="Söhne"/>
              </a:rPr>
              <a:t>Gefahr hoher Fluktuation</a:t>
            </a:r>
          </a:p>
          <a:p>
            <a:pPr algn="ctr"/>
            <a:r>
              <a:rPr lang="en-US" i="0">
                <a:effectLst/>
                <a:latin typeface="Söhne"/>
              </a:rPr>
              <a:t>Hohe Kosten für finanzielle Motivation</a:t>
            </a:r>
            <a:endParaRPr lang="en-US">
              <a:latin typeface="Söhne"/>
            </a:endParaRPr>
          </a:p>
          <a:p>
            <a:pPr algn="ctr"/>
            <a:r>
              <a:rPr lang="en-US" i="0">
                <a:effectLst/>
                <a:latin typeface="Söhne"/>
              </a:rPr>
              <a:t>Geringe Innovationsbereitschaft</a:t>
            </a:r>
          </a:p>
          <a:p>
            <a:pPr algn="ctr"/>
            <a:r>
              <a:rPr lang="en-US" i="0">
                <a:effectLst/>
                <a:latin typeface="Söhne"/>
              </a:rPr>
              <a:t>Mangelnde Flexibilität</a:t>
            </a:r>
            <a:endParaRPr lang="en-US">
              <a:latin typeface="Söhne"/>
            </a:endParaRPr>
          </a:p>
        </p:txBody>
      </p:sp>
      <p:sp>
        <p:nvSpPr>
          <p:cNvPr id="4" name="Foliennummernplatzhalter 3">
            <a:extLst>
              <a:ext uri="{FF2B5EF4-FFF2-40B4-BE49-F238E27FC236}">
                <a16:creationId xmlns:a16="http://schemas.microsoft.com/office/drawing/2014/main" id="{16A9B342-33A4-F364-69F8-F041156B47F0}"/>
              </a:ext>
            </a:extLst>
          </p:cNvPr>
          <p:cNvSpPr>
            <a:spLocks noGrp="1"/>
          </p:cNvSpPr>
          <p:nvPr>
            <p:ph type="sldNum" sz="quarter" idx="4"/>
          </p:nvPr>
        </p:nvSpPr>
        <p:spPr/>
        <p:txBody>
          <a:bodyPr/>
          <a:lstStyle/>
          <a:p>
            <a:fld id="{BAF04893-69FB-435D-AB2E-CA259D85B32F}" type="slidenum">
              <a:rPr lang="en-US" smtClean="0"/>
              <a:pPr/>
              <a:t>43</a:t>
            </a:fld>
            <a:endParaRPr lang="en-US"/>
          </a:p>
        </p:txBody>
      </p:sp>
      <p:sp>
        <p:nvSpPr>
          <p:cNvPr id="5" name="Inhaltsplatzhalter 4">
            <a:extLst>
              <a:ext uri="{FF2B5EF4-FFF2-40B4-BE49-F238E27FC236}">
                <a16:creationId xmlns:a16="http://schemas.microsoft.com/office/drawing/2014/main" id="{1C2CE1B9-F43B-0FB4-9A2C-3454FAE420A7}"/>
              </a:ext>
            </a:extLst>
          </p:cNvPr>
          <p:cNvSpPr>
            <a:spLocks noGrp="1"/>
          </p:cNvSpPr>
          <p:nvPr>
            <p:ph idx="10"/>
          </p:nvPr>
        </p:nvSpPr>
        <p:spPr/>
        <p:txBody>
          <a:bodyPr/>
          <a:lstStyle/>
          <a:p>
            <a:r>
              <a:rPr lang="en-US"/>
              <a:t>Vorteile / Nachteile transaktionale Führung</a:t>
            </a:r>
          </a:p>
        </p:txBody>
      </p:sp>
      <p:sp>
        <p:nvSpPr>
          <p:cNvPr id="6" name="Inhaltsplatzhalter 5">
            <a:extLst>
              <a:ext uri="{FF2B5EF4-FFF2-40B4-BE49-F238E27FC236}">
                <a16:creationId xmlns:a16="http://schemas.microsoft.com/office/drawing/2014/main" id="{27C6E8A2-53CB-36A7-DAC6-FB7DAF48672F}"/>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87ABBFF4-CEDB-45BA-3736-9ECD0AB78ECF}"/>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39088253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D51CFC-10C7-CA2E-406A-8A8349AE6A40}"/>
              </a:ext>
            </a:extLst>
          </p:cNvPr>
          <p:cNvSpPr>
            <a:spLocks noGrp="1"/>
          </p:cNvSpPr>
          <p:nvPr>
            <p:ph type="title"/>
          </p:nvPr>
        </p:nvSpPr>
        <p:spPr/>
        <p:txBody>
          <a:bodyPr/>
          <a:lstStyle/>
          <a:p>
            <a:r>
              <a:rPr lang="en-US"/>
              <a:t>Aktuelle Kultur von UBER</a:t>
            </a:r>
          </a:p>
        </p:txBody>
      </p:sp>
      <p:sp>
        <p:nvSpPr>
          <p:cNvPr id="3" name="Inhaltsplatzhalter 2">
            <a:extLst>
              <a:ext uri="{FF2B5EF4-FFF2-40B4-BE49-F238E27FC236}">
                <a16:creationId xmlns:a16="http://schemas.microsoft.com/office/drawing/2014/main" id="{2A3F92EC-CE25-E253-C686-F306F40E111E}"/>
              </a:ext>
            </a:extLst>
          </p:cNvPr>
          <p:cNvSpPr>
            <a:spLocks noGrp="1"/>
          </p:cNvSpPr>
          <p:nvPr>
            <p:ph idx="1"/>
          </p:nvPr>
        </p:nvSpPr>
        <p:spPr/>
        <p:txBody>
          <a:bodyPr numCol="2"/>
          <a:lstStyle/>
          <a:p>
            <a:pPr marL="342900" indent="-342900">
              <a:buAutoNum type="arabicPeriod"/>
            </a:pPr>
            <a:endParaRPr lang="en-US" sz="1200" b="1" i="0">
              <a:effectLst/>
              <a:latin typeface="Söhne"/>
            </a:endParaRPr>
          </a:p>
          <a:p>
            <a:pPr marL="342900" indent="-342900">
              <a:buAutoNum type="arabicPeriod"/>
            </a:pPr>
            <a:endParaRPr lang="en-US" sz="1200" b="1">
              <a:latin typeface="Söhne"/>
            </a:endParaRPr>
          </a:p>
          <a:p>
            <a:endParaRPr lang="en-US" sz="1200" b="1">
              <a:latin typeface="Söhne"/>
            </a:endParaRPr>
          </a:p>
          <a:p>
            <a:pPr marL="342900" indent="-342900">
              <a:buAutoNum type="arabicPeriod"/>
            </a:pPr>
            <a:r>
              <a:rPr lang="en-US" sz="1200" b="1" i="0">
                <a:effectLst/>
                <a:latin typeface="Söhne"/>
              </a:rPr>
              <a:t>Bewusstseinsfunktion</a:t>
            </a:r>
          </a:p>
          <a:p>
            <a:pPr marL="285750" indent="-285750">
              <a:buFont typeface="Arial" panose="020B0604020202020204" pitchFamily="34" charset="0"/>
              <a:buChar char="•"/>
            </a:pPr>
            <a:r>
              <a:rPr lang="en-US" sz="1200"/>
              <a:t>Verpflichtung zur Sicherheit (Safety Toolkit)</a:t>
            </a:r>
          </a:p>
          <a:p>
            <a:pPr marL="285750" indent="-285750">
              <a:buFont typeface="Arial" panose="020B0604020202020204" pitchFamily="34" charset="0"/>
              <a:buChar char="•"/>
            </a:pPr>
            <a:r>
              <a:rPr lang="en-US" sz="1200"/>
              <a:t>Notrufservices </a:t>
            </a:r>
          </a:p>
          <a:p>
            <a:pPr marL="285750" indent="-285750">
              <a:buFont typeface="Arial" panose="020B0604020202020204" pitchFamily="34" charset="0"/>
              <a:buChar char="•"/>
            </a:pPr>
            <a:r>
              <a:rPr lang="en-US" sz="1200"/>
              <a:t>Fahrtverlaufsteilung </a:t>
            </a:r>
            <a:r>
              <a:rPr lang="en-US" sz="1200" i="0">
                <a:effectLst/>
                <a:latin typeface="Söhne"/>
              </a:rPr>
              <a:t> </a:t>
            </a:r>
          </a:p>
          <a:p>
            <a:pPr marL="285750" indent="-285750">
              <a:buFont typeface="Arial" panose="020B0604020202020204" pitchFamily="34" charset="0"/>
              <a:buChar char="•"/>
            </a:pPr>
            <a:endParaRPr lang="en-US" sz="1200" i="0">
              <a:effectLst/>
              <a:latin typeface="Söhne"/>
            </a:endParaRPr>
          </a:p>
          <a:p>
            <a:pPr marL="342900" indent="-342900">
              <a:buFont typeface="+mj-lt"/>
              <a:buAutoNum type="arabicPeriod" startAt="2"/>
            </a:pPr>
            <a:r>
              <a:rPr lang="en-US" sz="1200" b="1" i="0">
                <a:effectLst/>
                <a:latin typeface="Söhne"/>
              </a:rPr>
              <a:t>Abgrenzungsfunktion  </a:t>
            </a:r>
            <a:r>
              <a:rPr lang="en-US" sz="1200" i="0">
                <a:effectLst/>
                <a:latin typeface="Söhne"/>
              </a:rPr>
              <a:t> </a:t>
            </a:r>
          </a:p>
          <a:p>
            <a:pPr marL="285750" indent="-285750">
              <a:buFont typeface="Arial" panose="020B0604020202020204" pitchFamily="34" charset="0"/>
              <a:buChar char="•"/>
            </a:pPr>
            <a:r>
              <a:rPr lang="en-US" sz="1200"/>
              <a:t>Neupositionierung durch neue Plattformen (Uber Eats, Uber Elevate)</a:t>
            </a:r>
          </a:p>
          <a:p>
            <a:pPr marL="285750" indent="-285750">
              <a:buFont typeface="Arial" panose="020B0604020202020204" pitchFamily="34" charset="0"/>
              <a:buChar char="•"/>
            </a:pPr>
            <a:r>
              <a:rPr lang="en-US" sz="1200"/>
              <a:t>Zusammenarbeit mit Transportdiensten</a:t>
            </a:r>
          </a:p>
          <a:p>
            <a:pPr marL="285750" indent="-285750">
              <a:buFont typeface="Arial" panose="020B0604020202020204" pitchFamily="34" charset="0"/>
              <a:buChar char="•"/>
            </a:pPr>
            <a:endParaRPr lang="en-US" sz="1200" i="0">
              <a:effectLst/>
              <a:latin typeface="Söhne"/>
            </a:endParaRPr>
          </a:p>
          <a:p>
            <a:pPr marL="342900" indent="-342900">
              <a:buFont typeface="+mj-lt"/>
              <a:buAutoNum type="arabicPeriod" startAt="3"/>
            </a:pPr>
            <a:r>
              <a:rPr lang="en-US" sz="1200" b="1" i="0">
                <a:effectLst/>
                <a:latin typeface="Söhne"/>
              </a:rPr>
              <a:t>Identifikationsfunktion</a:t>
            </a:r>
          </a:p>
          <a:p>
            <a:pPr marL="285750" indent="-285750">
              <a:buFont typeface="Arial" panose="020B0604020202020204" pitchFamily="34" charset="0"/>
              <a:buChar char="•"/>
            </a:pPr>
            <a:r>
              <a:rPr lang="en-US" sz="1200"/>
              <a:t>Überarbeitung der Unternehmenswerte</a:t>
            </a:r>
          </a:p>
          <a:p>
            <a:pPr marL="285750" indent="-285750">
              <a:buFont typeface="Arial" panose="020B0604020202020204" pitchFamily="34" charset="0"/>
              <a:buChar char="•"/>
            </a:pPr>
            <a:r>
              <a:rPr lang="en-US" sz="1200"/>
              <a:t>Inklusivere und ethischere Unternehmenskultur</a:t>
            </a:r>
            <a:endParaRPr lang="en-US" sz="1200" b="1">
              <a:latin typeface="Söhne"/>
            </a:endParaRPr>
          </a:p>
          <a:p>
            <a:pPr marL="342900" indent="-342900">
              <a:buFont typeface="Arial" panose="020B0604020202020204" pitchFamily="34" charset="0"/>
              <a:buAutoNum type="arabicPeriod"/>
            </a:pPr>
            <a:endParaRPr lang="en-US" sz="1200" b="1" i="0">
              <a:effectLst/>
              <a:latin typeface="Söhne"/>
            </a:endParaRPr>
          </a:p>
          <a:p>
            <a:pPr marL="342900" indent="-342900">
              <a:buFont typeface="Arial" panose="020B0604020202020204" pitchFamily="34" charset="0"/>
              <a:buAutoNum type="arabicPeriod"/>
            </a:pPr>
            <a:endParaRPr lang="en-US" sz="1200" b="1">
              <a:latin typeface="Söhne"/>
            </a:endParaRPr>
          </a:p>
          <a:p>
            <a:pPr marL="342900" indent="-342900">
              <a:buFont typeface="Arial" panose="020B0604020202020204" pitchFamily="34" charset="0"/>
              <a:buAutoNum type="arabicPeriod"/>
            </a:pPr>
            <a:endParaRPr lang="en-US" sz="1200" b="1" i="0">
              <a:effectLst/>
              <a:latin typeface="Söhne"/>
            </a:endParaRPr>
          </a:p>
          <a:p>
            <a:pPr marL="342900" indent="-342900">
              <a:buFont typeface="Arial" panose="020B0604020202020204" pitchFamily="34" charset="0"/>
              <a:buAutoNum type="arabicPeriod"/>
            </a:pPr>
            <a:endParaRPr lang="en-US" sz="1200" b="1">
              <a:latin typeface="Söhne"/>
            </a:endParaRPr>
          </a:p>
          <a:p>
            <a:pPr marL="342900" indent="-342900">
              <a:buFont typeface="Arial" panose="020B0604020202020204" pitchFamily="34" charset="0"/>
              <a:buAutoNum type="arabicPeriod"/>
            </a:pPr>
            <a:endParaRPr lang="en-US" sz="1200" b="1" i="0">
              <a:effectLst/>
              <a:latin typeface="Söhne"/>
            </a:endParaRPr>
          </a:p>
          <a:p>
            <a:pPr marL="342900" indent="-342900">
              <a:buFont typeface="Arial" panose="020B0604020202020204" pitchFamily="34" charset="0"/>
              <a:buAutoNum type="arabicPeriod"/>
            </a:pPr>
            <a:endParaRPr lang="en-US" sz="1200" b="1">
              <a:latin typeface="Söhne"/>
            </a:endParaRPr>
          </a:p>
          <a:p>
            <a:endParaRPr lang="en-US" sz="1200" b="1" i="0">
              <a:effectLst/>
              <a:latin typeface="Söhne"/>
            </a:endParaRPr>
          </a:p>
          <a:p>
            <a:pPr marL="342900" indent="-342900">
              <a:buFont typeface="+mj-lt"/>
              <a:buAutoNum type="arabicPeriod" startAt="4"/>
            </a:pPr>
            <a:r>
              <a:rPr lang="en-US" sz="1200" b="1" i="0">
                <a:effectLst/>
                <a:latin typeface="Söhne"/>
              </a:rPr>
              <a:t>Orientierungsfunktion</a:t>
            </a:r>
          </a:p>
          <a:p>
            <a:pPr marL="285750" indent="-285750">
              <a:buFont typeface="Arial" panose="020B0604020202020204" pitchFamily="34" charset="0"/>
              <a:buChar char="•"/>
            </a:pPr>
            <a:r>
              <a:rPr lang="en-US" sz="1200"/>
              <a:t>Einführung von Kulturtrainings</a:t>
            </a:r>
          </a:p>
          <a:p>
            <a:pPr marL="285750" indent="-285750">
              <a:buFont typeface="Arial" panose="020B0604020202020204" pitchFamily="34" charset="0"/>
              <a:buChar char="•"/>
            </a:pPr>
            <a:r>
              <a:rPr lang="en-US" sz="1200"/>
              <a:t>Schulungen für Führungskräfte und Mitarbeiter</a:t>
            </a:r>
          </a:p>
          <a:p>
            <a:pPr marL="285750" indent="-285750">
              <a:buFont typeface="Arial" panose="020B0604020202020204" pitchFamily="34" charset="0"/>
              <a:buChar char="•"/>
            </a:pPr>
            <a:r>
              <a:rPr lang="en-US" sz="1200"/>
              <a:t>Richtlinien für akzeptables Verhalten</a:t>
            </a:r>
          </a:p>
          <a:p>
            <a:pPr marL="285750" indent="-285750">
              <a:buFont typeface="Arial" panose="020B0604020202020204" pitchFamily="34" charset="0"/>
              <a:buChar char="•"/>
            </a:pPr>
            <a:endParaRPr lang="en-US" sz="1200" b="1" i="0">
              <a:effectLst/>
              <a:latin typeface="Söhne"/>
            </a:endParaRPr>
          </a:p>
          <a:p>
            <a:pPr marL="342900" indent="-342900">
              <a:buFont typeface="+mj-lt"/>
              <a:buAutoNum type="arabicPeriod" startAt="5"/>
            </a:pPr>
            <a:r>
              <a:rPr lang="en-US" sz="1200" b="1" i="0">
                <a:effectLst/>
                <a:latin typeface="Söhne"/>
              </a:rPr>
              <a:t>Kontrollfunktion</a:t>
            </a:r>
          </a:p>
          <a:p>
            <a:pPr marL="285750" indent="-285750">
              <a:buFont typeface="Arial" panose="020B0604020202020204" pitchFamily="34" charset="0"/>
              <a:buChar char="•"/>
            </a:pPr>
            <a:r>
              <a:rPr lang="en-US" sz="1200" i="0">
                <a:effectLst/>
                <a:latin typeface="Söhne"/>
              </a:rPr>
              <a:t>Transparenzberichte</a:t>
            </a:r>
          </a:p>
          <a:p>
            <a:pPr marL="285750" indent="-285750">
              <a:buFont typeface="Arial" panose="020B0604020202020204" pitchFamily="34" charset="0"/>
              <a:buChar char="•"/>
            </a:pPr>
            <a:r>
              <a:rPr lang="en-US" sz="1200">
                <a:latin typeface="Söhne"/>
              </a:rPr>
              <a:t>Veröffentlichung von Berichten</a:t>
            </a:r>
          </a:p>
          <a:p>
            <a:pPr marL="285750" indent="-285750">
              <a:buFont typeface="Arial" panose="020B0604020202020204" pitchFamily="34" charset="0"/>
              <a:buChar char="•"/>
            </a:pPr>
            <a:endParaRPr lang="en-US" sz="1200" b="1">
              <a:latin typeface="Söhne"/>
            </a:endParaRPr>
          </a:p>
          <a:p>
            <a:pPr marL="342900" indent="-342900">
              <a:buFont typeface="+mj-lt"/>
              <a:buAutoNum type="arabicPeriod" startAt="6"/>
            </a:pPr>
            <a:r>
              <a:rPr lang="en-US" sz="1200" b="1" i="0">
                <a:effectLst/>
                <a:latin typeface="Söhne"/>
              </a:rPr>
              <a:t>Stabilisierungsfunktion</a:t>
            </a:r>
          </a:p>
          <a:p>
            <a:pPr marL="285750" indent="-285750">
              <a:buFont typeface="Arial" panose="020B0604020202020204" pitchFamily="34" charset="0"/>
              <a:buChar char="•"/>
            </a:pPr>
            <a:r>
              <a:rPr lang="en-US" sz="1200" i="0">
                <a:effectLst/>
                <a:latin typeface="Söhne"/>
              </a:rPr>
              <a:t>Betonung der Langzeitvision</a:t>
            </a:r>
          </a:p>
          <a:p>
            <a:pPr marL="285750" indent="-285750">
              <a:buFont typeface="Arial" panose="020B0604020202020204" pitchFamily="34" charset="0"/>
              <a:buChar char="•"/>
            </a:pPr>
            <a:r>
              <a:rPr lang="en-US" sz="1200">
                <a:latin typeface="Söhne"/>
              </a:rPr>
              <a:t>Vertrauen bei Kunden, Fahrern und Mitarbeitern herstellen</a:t>
            </a:r>
          </a:p>
          <a:p>
            <a:pPr marL="285750" indent="-285750">
              <a:buFont typeface="Arial" panose="020B0604020202020204" pitchFamily="34" charset="0"/>
              <a:buChar char="•"/>
            </a:pPr>
            <a:endParaRPr lang="en-US" sz="1600"/>
          </a:p>
          <a:p>
            <a:pPr marL="342900" indent="-342900">
              <a:buAutoNum type="arabicPeriod"/>
            </a:pPr>
            <a:endParaRPr lang="en-US" sz="1600"/>
          </a:p>
          <a:p>
            <a:endParaRPr lang="en-US"/>
          </a:p>
        </p:txBody>
      </p:sp>
      <p:sp>
        <p:nvSpPr>
          <p:cNvPr id="4" name="Foliennummernplatzhalter 3">
            <a:extLst>
              <a:ext uri="{FF2B5EF4-FFF2-40B4-BE49-F238E27FC236}">
                <a16:creationId xmlns:a16="http://schemas.microsoft.com/office/drawing/2014/main" id="{DC5B29E3-E52E-8FB1-7CBB-350AF3374713}"/>
              </a:ext>
            </a:extLst>
          </p:cNvPr>
          <p:cNvSpPr>
            <a:spLocks noGrp="1"/>
          </p:cNvSpPr>
          <p:nvPr>
            <p:ph type="sldNum" sz="quarter" idx="4"/>
          </p:nvPr>
        </p:nvSpPr>
        <p:spPr/>
        <p:txBody>
          <a:bodyPr/>
          <a:lstStyle/>
          <a:p>
            <a:fld id="{BAF04893-69FB-435D-AB2E-CA259D85B32F}" type="slidenum">
              <a:rPr lang="en-US" smtClean="0"/>
              <a:pPr/>
              <a:t>44</a:t>
            </a:fld>
            <a:endParaRPr lang="en-US"/>
          </a:p>
        </p:txBody>
      </p:sp>
      <p:sp>
        <p:nvSpPr>
          <p:cNvPr id="5" name="Inhaltsplatzhalter 4">
            <a:extLst>
              <a:ext uri="{FF2B5EF4-FFF2-40B4-BE49-F238E27FC236}">
                <a16:creationId xmlns:a16="http://schemas.microsoft.com/office/drawing/2014/main" id="{CA17C18A-D065-AFB2-CF1E-3C3A314B8018}"/>
              </a:ext>
            </a:extLst>
          </p:cNvPr>
          <p:cNvSpPr>
            <a:spLocks noGrp="1"/>
          </p:cNvSpPr>
          <p:nvPr>
            <p:ph idx="10"/>
          </p:nvPr>
        </p:nvSpPr>
        <p:spPr/>
        <p:txBody>
          <a:bodyPr/>
          <a:lstStyle/>
          <a:p>
            <a:r>
              <a:rPr lang="en-US"/>
              <a:t>S.66</a:t>
            </a:r>
          </a:p>
        </p:txBody>
      </p:sp>
      <p:sp>
        <p:nvSpPr>
          <p:cNvPr id="6" name="Inhaltsplatzhalter 5">
            <a:extLst>
              <a:ext uri="{FF2B5EF4-FFF2-40B4-BE49-F238E27FC236}">
                <a16:creationId xmlns:a16="http://schemas.microsoft.com/office/drawing/2014/main" id="{65462CE1-95B3-B9AE-760C-C066034C9E7E}"/>
              </a:ext>
            </a:extLst>
          </p:cNvPr>
          <p:cNvSpPr>
            <a:spLocks noGrp="1"/>
          </p:cNvSpPr>
          <p:nvPr>
            <p:ph idx="11"/>
          </p:nvPr>
        </p:nvSpPr>
        <p:spPr/>
        <p:txBody>
          <a:bodyPr/>
          <a:lstStyle/>
          <a:p>
            <a:r>
              <a:rPr lang="en-US">
                <a:cs typeface="Calibri"/>
              </a:rPr>
              <a:t>Uber, 2023</a:t>
            </a:r>
            <a:endParaRPr lang="en-US"/>
          </a:p>
        </p:txBody>
      </p:sp>
      <p:sp>
        <p:nvSpPr>
          <p:cNvPr id="7" name="Inhaltsplatzhalter 6">
            <a:extLst>
              <a:ext uri="{FF2B5EF4-FFF2-40B4-BE49-F238E27FC236}">
                <a16:creationId xmlns:a16="http://schemas.microsoft.com/office/drawing/2014/main" id="{11F160B7-F74D-15CE-CFC3-34DCEDEBE2C8}"/>
              </a:ext>
            </a:extLst>
          </p:cNvPr>
          <p:cNvSpPr>
            <a:spLocks noGrp="1"/>
          </p:cNvSpPr>
          <p:nvPr>
            <p:ph idx="12"/>
          </p:nvPr>
        </p:nvSpPr>
        <p:spPr/>
        <p:txBody>
          <a:bodyPr/>
          <a:lstStyle/>
          <a:p>
            <a:endParaRPr lang="en-US"/>
          </a:p>
        </p:txBody>
      </p:sp>
      <p:sp>
        <p:nvSpPr>
          <p:cNvPr id="9" name="Rechteck: abgerundete Ecken 8">
            <a:extLst>
              <a:ext uri="{FF2B5EF4-FFF2-40B4-BE49-F238E27FC236}">
                <a16:creationId xmlns:a16="http://schemas.microsoft.com/office/drawing/2014/main" id="{848143C4-1FFE-C371-A13A-14198E230F93}"/>
              </a:ext>
            </a:extLst>
          </p:cNvPr>
          <p:cNvSpPr/>
          <p:nvPr/>
        </p:nvSpPr>
        <p:spPr>
          <a:xfrm>
            <a:off x="359997" y="2136710"/>
            <a:ext cx="8568102" cy="577082"/>
          </a:xfrm>
          <a:prstGeom prst="roundRect">
            <a:avLst/>
          </a:prstGeom>
          <a:solidFill>
            <a:schemeClr val="tx1">
              <a:lumMod val="75000"/>
              <a:alpha val="34000"/>
            </a:schemeClr>
          </a:solidFill>
          <a:ln>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1200" b="1">
                <a:solidFill>
                  <a:schemeClr val="tx1"/>
                </a:solidFill>
              </a:rPr>
              <a:t>Mission:</a:t>
            </a:r>
          </a:p>
          <a:p>
            <a:pPr algn="ctr"/>
            <a:r>
              <a:rPr lang="en-US" sz="1200">
                <a:solidFill>
                  <a:schemeClr val="tx1"/>
                </a:solidFill>
              </a:rPr>
              <a:t>Transforming the company into a global mobility and transportation platform</a:t>
            </a:r>
          </a:p>
        </p:txBody>
      </p:sp>
    </p:spTree>
    <p:extLst>
      <p:ext uri="{BB962C8B-B14F-4D97-AF65-F5344CB8AC3E}">
        <p14:creationId xmlns:p14="http://schemas.microsoft.com/office/powerpoint/2010/main" val="3734341024"/>
      </p:ext>
    </p:extLst>
  </p:cSld>
  <p:clrMapOvr>
    <a:masterClrMapping/>
  </p:clrMapOvr>
  <p:extLst>
    <p:ext uri="{6950BFC3-D8DA-4A85-94F7-54DA5524770B}">
      <p188:commentRel xmlns:p188="http://schemas.microsoft.com/office/powerpoint/2018/8/main" r:id="rId3"/>
    </p:ext>
  </p:extLs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EEA7F3-DD1D-AFD1-89FC-D65D45E23AB5}"/>
              </a:ext>
            </a:extLst>
          </p:cNvPr>
          <p:cNvSpPr>
            <a:spLocks noGrp="1"/>
          </p:cNvSpPr>
          <p:nvPr>
            <p:ph type="title"/>
          </p:nvPr>
        </p:nvSpPr>
        <p:spPr/>
        <p:txBody>
          <a:bodyPr/>
          <a:lstStyle/>
          <a:p>
            <a:r>
              <a:rPr lang="en-US"/>
              <a:t>Relevante Kompetenzen im Top-, Middle- und Lower-Management von UBER</a:t>
            </a:r>
          </a:p>
        </p:txBody>
      </p:sp>
      <p:graphicFrame>
        <p:nvGraphicFramePr>
          <p:cNvPr id="8" name="Inhaltsplatzhalter 7">
            <a:extLst>
              <a:ext uri="{FF2B5EF4-FFF2-40B4-BE49-F238E27FC236}">
                <a16:creationId xmlns:a16="http://schemas.microsoft.com/office/drawing/2014/main" id="{57BF713D-8740-6842-F8B8-6A4C1A27BA10}"/>
              </a:ext>
            </a:extLst>
          </p:cNvPr>
          <p:cNvGraphicFramePr>
            <a:graphicFrameLocks noGrp="1"/>
          </p:cNvGraphicFramePr>
          <p:nvPr>
            <p:ph idx="1"/>
            <p:extLst>
              <p:ext uri="{D42A27DB-BD31-4B8C-83A1-F6EECF244321}">
                <p14:modId xmlns:p14="http://schemas.microsoft.com/office/powerpoint/2010/main" val="967920387"/>
              </p:ext>
            </p:extLst>
          </p:nvPr>
        </p:nvGraphicFramePr>
        <p:xfrm>
          <a:off x="360363" y="2347274"/>
          <a:ext cx="7991785" cy="40694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Foliennummernplatzhalter 3">
            <a:extLst>
              <a:ext uri="{FF2B5EF4-FFF2-40B4-BE49-F238E27FC236}">
                <a16:creationId xmlns:a16="http://schemas.microsoft.com/office/drawing/2014/main" id="{FD951A17-BD93-60EA-CC3C-D3D663890F46}"/>
              </a:ext>
            </a:extLst>
          </p:cNvPr>
          <p:cNvSpPr>
            <a:spLocks noGrp="1"/>
          </p:cNvSpPr>
          <p:nvPr>
            <p:ph type="sldNum" sz="quarter" idx="4"/>
          </p:nvPr>
        </p:nvSpPr>
        <p:spPr/>
        <p:txBody>
          <a:bodyPr/>
          <a:lstStyle/>
          <a:p>
            <a:fld id="{BAF04893-69FB-435D-AB2E-CA259D85B32F}" type="slidenum">
              <a:rPr lang="en-US" smtClean="0"/>
              <a:pPr/>
              <a:t>45</a:t>
            </a:fld>
            <a:endParaRPr lang="en-US"/>
          </a:p>
        </p:txBody>
      </p:sp>
      <p:sp>
        <p:nvSpPr>
          <p:cNvPr id="5" name="Inhaltsplatzhalter 4">
            <a:extLst>
              <a:ext uri="{FF2B5EF4-FFF2-40B4-BE49-F238E27FC236}">
                <a16:creationId xmlns:a16="http://schemas.microsoft.com/office/drawing/2014/main" id="{906F583E-5DE1-9305-CC6A-56891F29DCCE}"/>
              </a:ext>
            </a:extLst>
          </p:cNvPr>
          <p:cNvSpPr>
            <a:spLocks noGrp="1"/>
          </p:cNvSpPr>
          <p:nvPr>
            <p:ph idx="10"/>
          </p:nvPr>
        </p:nvSpPr>
        <p:spPr/>
        <p:txBody>
          <a:bodyPr/>
          <a:lstStyle/>
          <a:p>
            <a:r>
              <a:rPr lang="en-US"/>
              <a:t>Competency Model</a:t>
            </a:r>
          </a:p>
        </p:txBody>
      </p:sp>
      <p:sp>
        <p:nvSpPr>
          <p:cNvPr id="6" name="Inhaltsplatzhalter 5">
            <a:extLst>
              <a:ext uri="{FF2B5EF4-FFF2-40B4-BE49-F238E27FC236}">
                <a16:creationId xmlns:a16="http://schemas.microsoft.com/office/drawing/2014/main" id="{16FF6AD1-F265-43E1-565E-7A72ED57CFA9}"/>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2A6393F2-14BB-59C7-BD88-BA9711B62FAD}"/>
              </a:ext>
            </a:extLst>
          </p:cNvPr>
          <p:cNvSpPr>
            <a:spLocks noGrp="1"/>
          </p:cNvSpPr>
          <p:nvPr>
            <p:ph idx="12"/>
          </p:nvPr>
        </p:nvSpPr>
        <p:spPr/>
        <p:txBody>
          <a:bodyPr/>
          <a:lstStyle/>
          <a:p>
            <a:endParaRPr lang="en-US"/>
          </a:p>
        </p:txBody>
      </p:sp>
      <p:sp>
        <p:nvSpPr>
          <p:cNvPr id="9" name="Textfeld 8">
            <a:extLst>
              <a:ext uri="{FF2B5EF4-FFF2-40B4-BE49-F238E27FC236}">
                <a16:creationId xmlns:a16="http://schemas.microsoft.com/office/drawing/2014/main" id="{BEBCC43A-9C8B-908E-370E-DDA69E2E312B}"/>
              </a:ext>
            </a:extLst>
          </p:cNvPr>
          <p:cNvSpPr txBox="1"/>
          <p:nvPr/>
        </p:nvSpPr>
        <p:spPr>
          <a:xfrm>
            <a:off x="5039544" y="3031748"/>
            <a:ext cx="2535810" cy="646331"/>
          </a:xfrm>
          <a:prstGeom prst="rect">
            <a:avLst/>
          </a:prstGeom>
          <a:noFill/>
        </p:spPr>
        <p:txBody>
          <a:bodyPr wrap="square" rtlCol="0">
            <a:spAutoFit/>
          </a:bodyPr>
          <a:lstStyle/>
          <a:p>
            <a:pPr algn="ctr"/>
            <a:r>
              <a:rPr lang="en-US" b="1"/>
              <a:t>Top-</a:t>
            </a:r>
          </a:p>
          <a:p>
            <a:pPr algn="ctr"/>
            <a:r>
              <a:rPr lang="en-US" b="1"/>
              <a:t>Management</a:t>
            </a:r>
          </a:p>
        </p:txBody>
      </p:sp>
      <p:sp>
        <p:nvSpPr>
          <p:cNvPr id="10" name="Textfeld 9">
            <a:extLst>
              <a:ext uri="{FF2B5EF4-FFF2-40B4-BE49-F238E27FC236}">
                <a16:creationId xmlns:a16="http://schemas.microsoft.com/office/drawing/2014/main" id="{9C00DFAB-E260-CF7D-285C-97EF2EA666F4}"/>
              </a:ext>
            </a:extLst>
          </p:cNvPr>
          <p:cNvSpPr txBox="1"/>
          <p:nvPr/>
        </p:nvSpPr>
        <p:spPr>
          <a:xfrm>
            <a:off x="6392290" y="4423483"/>
            <a:ext cx="2535810" cy="646331"/>
          </a:xfrm>
          <a:prstGeom prst="rect">
            <a:avLst/>
          </a:prstGeom>
          <a:noFill/>
        </p:spPr>
        <p:txBody>
          <a:bodyPr wrap="square" rtlCol="0">
            <a:spAutoFit/>
          </a:bodyPr>
          <a:lstStyle/>
          <a:p>
            <a:pPr algn="ctr"/>
            <a:r>
              <a:rPr lang="en-US" b="1"/>
              <a:t>Middle-</a:t>
            </a:r>
          </a:p>
          <a:p>
            <a:pPr algn="ctr"/>
            <a:r>
              <a:rPr lang="en-US" b="1"/>
              <a:t>Management</a:t>
            </a:r>
          </a:p>
        </p:txBody>
      </p:sp>
      <p:sp>
        <p:nvSpPr>
          <p:cNvPr id="11" name="Textfeld 10">
            <a:extLst>
              <a:ext uri="{FF2B5EF4-FFF2-40B4-BE49-F238E27FC236}">
                <a16:creationId xmlns:a16="http://schemas.microsoft.com/office/drawing/2014/main" id="{FB33FEE6-33D9-F1C7-3248-AD1AD9A77B06}"/>
              </a:ext>
            </a:extLst>
          </p:cNvPr>
          <p:cNvSpPr txBox="1"/>
          <p:nvPr/>
        </p:nvSpPr>
        <p:spPr>
          <a:xfrm>
            <a:off x="7177131" y="5299362"/>
            <a:ext cx="2535810" cy="646331"/>
          </a:xfrm>
          <a:prstGeom prst="rect">
            <a:avLst/>
          </a:prstGeom>
          <a:noFill/>
        </p:spPr>
        <p:txBody>
          <a:bodyPr wrap="square" rtlCol="0">
            <a:spAutoFit/>
          </a:bodyPr>
          <a:lstStyle/>
          <a:p>
            <a:pPr algn="ctr"/>
            <a:r>
              <a:rPr lang="en-US" b="1"/>
              <a:t>Lower</a:t>
            </a:r>
          </a:p>
          <a:p>
            <a:pPr algn="ctr"/>
            <a:r>
              <a:rPr lang="en-US" b="1"/>
              <a:t>Management</a:t>
            </a:r>
          </a:p>
        </p:txBody>
      </p:sp>
    </p:spTree>
    <p:extLst>
      <p:ext uri="{BB962C8B-B14F-4D97-AF65-F5344CB8AC3E}">
        <p14:creationId xmlns:p14="http://schemas.microsoft.com/office/powerpoint/2010/main" val="3554033876"/>
      </p:ext>
    </p:extLst>
  </p:cSld>
  <p:clrMapOvr>
    <a:masterClrMapping/>
  </p:clrMapOvr>
  <p:extLst>
    <p:ext uri="{6950BFC3-D8DA-4A85-94F7-54DA5524770B}">
      <p188:commentRel xmlns:p188="http://schemas.microsoft.com/office/powerpoint/2018/8/main" r:id="rId3"/>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E6E7EE-E560-3729-3022-B7E1AA79899D}"/>
              </a:ext>
            </a:extLst>
          </p:cNvPr>
          <p:cNvSpPr>
            <a:spLocks noGrp="1"/>
          </p:cNvSpPr>
          <p:nvPr>
            <p:ph type="title"/>
          </p:nvPr>
        </p:nvSpPr>
        <p:spPr/>
        <p:txBody>
          <a:bodyPr/>
          <a:lstStyle/>
          <a:p>
            <a:r>
              <a:rPr lang="en-US"/>
              <a:t>UBER reagiert auf unterschiedliche Art und Weise auf Probleme in der Branche und dem Wettbewerb</a:t>
            </a:r>
          </a:p>
        </p:txBody>
      </p:sp>
      <p:graphicFrame>
        <p:nvGraphicFramePr>
          <p:cNvPr id="8" name="Inhaltsplatzhalter 7">
            <a:extLst>
              <a:ext uri="{FF2B5EF4-FFF2-40B4-BE49-F238E27FC236}">
                <a16:creationId xmlns:a16="http://schemas.microsoft.com/office/drawing/2014/main" id="{ED0B2B28-F91B-689F-6B87-718291F75961}"/>
              </a:ext>
            </a:extLst>
          </p:cNvPr>
          <p:cNvGraphicFramePr>
            <a:graphicFrameLocks noGrp="1"/>
          </p:cNvGraphicFramePr>
          <p:nvPr>
            <p:ph idx="1"/>
            <p:extLst>
              <p:ext uri="{D42A27DB-BD31-4B8C-83A1-F6EECF244321}">
                <p14:modId xmlns:p14="http://schemas.microsoft.com/office/powerpoint/2010/main" val="4146031672"/>
              </p:ext>
            </p:extLst>
          </p:nvPr>
        </p:nvGraphicFramePr>
        <p:xfrm>
          <a:off x="360363" y="1989138"/>
          <a:ext cx="8567737" cy="442753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Foliennummernplatzhalter 3">
            <a:extLst>
              <a:ext uri="{FF2B5EF4-FFF2-40B4-BE49-F238E27FC236}">
                <a16:creationId xmlns:a16="http://schemas.microsoft.com/office/drawing/2014/main" id="{E3E9F81A-FDF7-3F4C-5E07-CA067BCD0E3F}"/>
              </a:ext>
            </a:extLst>
          </p:cNvPr>
          <p:cNvSpPr>
            <a:spLocks noGrp="1"/>
          </p:cNvSpPr>
          <p:nvPr>
            <p:ph type="sldNum" sz="quarter" idx="4"/>
          </p:nvPr>
        </p:nvSpPr>
        <p:spPr/>
        <p:txBody>
          <a:bodyPr/>
          <a:lstStyle/>
          <a:p>
            <a:fld id="{BAF04893-69FB-435D-AB2E-CA259D85B32F}" type="slidenum">
              <a:rPr lang="en-US" smtClean="0"/>
              <a:pPr/>
              <a:t>46</a:t>
            </a:fld>
            <a:endParaRPr lang="en-US"/>
          </a:p>
        </p:txBody>
      </p:sp>
      <p:sp>
        <p:nvSpPr>
          <p:cNvPr id="5" name="Inhaltsplatzhalter 4">
            <a:extLst>
              <a:ext uri="{FF2B5EF4-FFF2-40B4-BE49-F238E27FC236}">
                <a16:creationId xmlns:a16="http://schemas.microsoft.com/office/drawing/2014/main" id="{A5C33B17-BA4B-EAA1-98C8-1735EF88019C}"/>
              </a:ext>
            </a:extLst>
          </p:cNvPr>
          <p:cNvSpPr>
            <a:spLocks noGrp="1"/>
          </p:cNvSpPr>
          <p:nvPr>
            <p:ph idx="10"/>
          </p:nvPr>
        </p:nvSpPr>
        <p:spPr/>
        <p:txBody>
          <a:bodyPr/>
          <a:lstStyle/>
          <a:p>
            <a:r>
              <a:rPr lang="en-US" sz="1800" kern="100">
                <a:effectLst/>
                <a:latin typeface="Calibri" panose="020F0502020204030204" pitchFamily="34" charset="0"/>
                <a:ea typeface="Calibri" panose="020F0502020204030204" pitchFamily="34" charset="0"/>
                <a:cs typeface="Calibri" panose="020F0502020204030204" pitchFamily="34" charset="0"/>
              </a:rPr>
              <a:t>Elemente des kreativen Managements</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endParaRPr lang="en-US"/>
          </a:p>
        </p:txBody>
      </p:sp>
      <p:sp>
        <p:nvSpPr>
          <p:cNvPr id="6" name="Inhaltsplatzhalter 5">
            <a:extLst>
              <a:ext uri="{FF2B5EF4-FFF2-40B4-BE49-F238E27FC236}">
                <a16:creationId xmlns:a16="http://schemas.microsoft.com/office/drawing/2014/main" id="{D66C1891-6CF8-C1EC-CA1F-B2ACBBB468D3}"/>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867B9B9C-7540-3293-F97C-88F9FCCEBF8E}"/>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330923922"/>
      </p:ext>
    </p:extLst>
  </p:cSld>
  <p:clrMapOvr>
    <a:masterClrMapping/>
  </p:clrMapOvr>
  <p:extLst>
    <p:ext uri="{6950BFC3-D8DA-4A85-94F7-54DA5524770B}">
      <p188:commentRel xmlns:p188="http://schemas.microsoft.com/office/powerpoint/2018/8/main" r:id="rId3"/>
    </p:ext>
  </p:extLs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0F74EE-08A0-CE58-51C2-7D3AAF8057FA}"/>
              </a:ext>
            </a:extLst>
          </p:cNvPr>
          <p:cNvSpPr>
            <a:spLocks noGrp="1"/>
          </p:cNvSpPr>
          <p:nvPr>
            <p:ph type="title"/>
          </p:nvPr>
        </p:nvSpPr>
        <p:spPr>
          <a:xfrm>
            <a:off x="360000" y="1980000"/>
            <a:ext cx="8550000" cy="692497"/>
          </a:xfrm>
        </p:spPr>
        <p:txBody>
          <a:bodyPr/>
          <a:lstStyle/>
          <a:p>
            <a:r>
              <a:rPr lang="en-US"/>
              <a:t>Anhang Culture &amp; Leadership</a:t>
            </a:r>
          </a:p>
        </p:txBody>
      </p:sp>
      <p:sp>
        <p:nvSpPr>
          <p:cNvPr id="3" name="Textplatzhalter 2">
            <a:extLst>
              <a:ext uri="{FF2B5EF4-FFF2-40B4-BE49-F238E27FC236}">
                <a16:creationId xmlns:a16="http://schemas.microsoft.com/office/drawing/2014/main" id="{E57AB54C-BED6-D440-704F-4F0B985C5298}"/>
              </a:ext>
            </a:extLst>
          </p:cNvPr>
          <p:cNvSpPr>
            <a:spLocks noGrp="1"/>
          </p:cNvSpPr>
          <p:nvPr>
            <p:ph type="body" idx="1"/>
          </p:nvPr>
        </p:nvSpPr>
        <p:spPr/>
        <p:txBody>
          <a:bodyPr/>
          <a:lstStyle/>
          <a:p>
            <a:endParaRPr lang="de-DE"/>
          </a:p>
        </p:txBody>
      </p:sp>
    </p:spTree>
    <p:extLst>
      <p:ext uri="{BB962C8B-B14F-4D97-AF65-F5344CB8AC3E}">
        <p14:creationId xmlns:p14="http://schemas.microsoft.com/office/powerpoint/2010/main" val="17737307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CFA269-5589-2EA3-85A5-9F0537F8AED4}"/>
              </a:ext>
            </a:extLst>
          </p:cNvPr>
          <p:cNvSpPr>
            <a:spLocks noGrp="1"/>
          </p:cNvSpPr>
          <p:nvPr>
            <p:ph type="title"/>
          </p:nvPr>
        </p:nvSpPr>
        <p:spPr>
          <a:xfrm>
            <a:off x="359998" y="1268413"/>
            <a:ext cx="8661554" cy="465243"/>
          </a:xfrm>
        </p:spPr>
        <p:txBody>
          <a:bodyPr/>
          <a:lstStyle/>
          <a:p>
            <a:r>
              <a:rPr lang="en-US" sz="2400">
                <a:cs typeface="Arial"/>
              </a:rPr>
              <a:t>Dara und Travis hatten unterschiedliche Vorstellungen bei der Führung von Mitarbeitern </a:t>
            </a:r>
            <a:endParaRPr lang="en-US" b="0">
              <a:ea typeface="+mn-lt"/>
              <a:cs typeface="+mn-lt"/>
            </a:endParaRPr>
          </a:p>
          <a:p>
            <a:endParaRPr lang="en-US" b="0">
              <a:ea typeface="Calibri"/>
              <a:cs typeface="Calibri"/>
            </a:endParaRPr>
          </a:p>
          <a:p>
            <a:endParaRPr lang="en-US" b="0">
              <a:ea typeface="Calibri"/>
              <a:cs typeface="Calibri"/>
            </a:endParaRPr>
          </a:p>
          <a:p>
            <a:endParaRPr lang="en-US">
              <a:ea typeface="Calibri"/>
            </a:endParaRPr>
          </a:p>
        </p:txBody>
      </p:sp>
      <p:sp>
        <p:nvSpPr>
          <p:cNvPr id="4" name="Foliennummernplatzhalter 3">
            <a:extLst>
              <a:ext uri="{FF2B5EF4-FFF2-40B4-BE49-F238E27FC236}">
                <a16:creationId xmlns:a16="http://schemas.microsoft.com/office/drawing/2014/main" id="{6231288B-AE5D-716B-328E-5914A319486E}"/>
              </a:ext>
            </a:extLst>
          </p:cNvPr>
          <p:cNvSpPr>
            <a:spLocks noGrp="1"/>
          </p:cNvSpPr>
          <p:nvPr>
            <p:ph type="sldNum" sz="quarter" idx="4"/>
          </p:nvPr>
        </p:nvSpPr>
        <p:spPr/>
        <p:txBody>
          <a:bodyPr/>
          <a:lstStyle/>
          <a:p>
            <a:fld id="{BAF04893-69FB-435D-AB2E-CA259D85B32F}" type="slidenum">
              <a:rPr lang="en-US" smtClean="0"/>
              <a:pPr/>
              <a:t>48</a:t>
            </a:fld>
            <a:endParaRPr lang="en-US"/>
          </a:p>
        </p:txBody>
      </p:sp>
      <p:sp>
        <p:nvSpPr>
          <p:cNvPr id="6" name="Inhaltsplatzhalter 5">
            <a:extLst>
              <a:ext uri="{FF2B5EF4-FFF2-40B4-BE49-F238E27FC236}">
                <a16:creationId xmlns:a16="http://schemas.microsoft.com/office/drawing/2014/main" id="{8368093E-E255-1FD0-8253-7359808AD8A4}"/>
              </a:ext>
            </a:extLst>
          </p:cNvPr>
          <p:cNvSpPr>
            <a:spLocks noGrp="1"/>
          </p:cNvSpPr>
          <p:nvPr>
            <p:ph idx="11"/>
          </p:nvPr>
        </p:nvSpPr>
        <p:spPr/>
        <p:txBody>
          <a:bodyPr vert="horz" lIns="0" tIns="0" rIns="0" bIns="0" rtlCol="0" anchor="t">
            <a:noAutofit/>
          </a:bodyPr>
          <a:lstStyle/>
          <a:p>
            <a:r>
              <a:rPr lang="en-US">
                <a:cs typeface="Calibri"/>
              </a:rPr>
              <a:t>1) Uber investor, 2023, Uber, 2023, McKinsey(b) 2023, 2) McKinsey(a), 2023</a:t>
            </a:r>
          </a:p>
        </p:txBody>
      </p:sp>
      <p:sp>
        <p:nvSpPr>
          <p:cNvPr id="7" name="Inhaltsplatzhalter 6">
            <a:extLst>
              <a:ext uri="{FF2B5EF4-FFF2-40B4-BE49-F238E27FC236}">
                <a16:creationId xmlns:a16="http://schemas.microsoft.com/office/drawing/2014/main" id="{3C502EDD-5A19-64AE-A64F-B04FE85D9266}"/>
              </a:ext>
            </a:extLst>
          </p:cNvPr>
          <p:cNvSpPr>
            <a:spLocks noGrp="1"/>
          </p:cNvSpPr>
          <p:nvPr>
            <p:ph idx="12"/>
          </p:nvPr>
        </p:nvSpPr>
        <p:spPr/>
        <p:txBody>
          <a:bodyPr vert="horz" lIns="0" tIns="0" rIns="0" bIns="0" rtlCol="0" anchor="t">
            <a:noAutofit/>
          </a:bodyPr>
          <a:lstStyle/>
          <a:p>
            <a:r>
              <a:rPr lang="en-US">
                <a:cs typeface="Calibri"/>
              </a:rPr>
              <a:t>CEO peformance und  purpose framework</a:t>
            </a:r>
          </a:p>
        </p:txBody>
      </p:sp>
      <p:sp>
        <p:nvSpPr>
          <p:cNvPr id="11" name="Inhaltsplatzhalter 4">
            <a:extLst>
              <a:ext uri="{FF2B5EF4-FFF2-40B4-BE49-F238E27FC236}">
                <a16:creationId xmlns:a16="http://schemas.microsoft.com/office/drawing/2014/main" id="{0C638B22-28B0-D795-811B-6C03F35B2D1C}"/>
              </a:ext>
            </a:extLst>
          </p:cNvPr>
          <p:cNvSpPr txBox="1">
            <a:spLocks noGrp="1"/>
          </p:cNvSpPr>
          <p:nvPr>
            <p:ph idx="10"/>
          </p:nvPr>
        </p:nvSpPr>
        <p:spPr>
          <a:xfrm>
            <a:off x="360363" y="912813"/>
            <a:ext cx="8567737" cy="284162"/>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kern="1200">
                <a:solidFill>
                  <a:schemeClr val="tx1"/>
                </a:solidFill>
                <a:latin typeface="+mn-lt"/>
                <a:ea typeface="+mn-ea"/>
                <a:cs typeface="+mn-cs"/>
              </a:defRPr>
            </a:lvl1pPr>
            <a:lvl2pPr marL="179388" marR="0" indent="-179388" algn="l" defTabSz="896938" rtl="0" eaLnBrk="1" fontAlgn="auto" latinLnBrk="0" hangingPunct="1">
              <a:lnSpc>
                <a:spcPct val="90000"/>
              </a:lnSpc>
              <a:spcBef>
                <a:spcPts val="500"/>
              </a:spcBef>
              <a:spcAft>
                <a:spcPts val="0"/>
              </a:spcAft>
              <a:buClrTx/>
              <a:buSzTx/>
              <a:buFont typeface="Arial" panose="020B0604020202020204" pitchFamily="34" charset="0"/>
              <a:buNone/>
              <a:tabLst/>
              <a:defRPr sz="1600" kern="1200" baseline="0">
                <a:solidFill>
                  <a:schemeClr val="tx1"/>
                </a:solidFill>
                <a:latin typeface="+mn-lt"/>
                <a:ea typeface="+mn-ea"/>
                <a:cs typeface="+mn-cs"/>
              </a:defRPr>
            </a:lvl2pPr>
            <a:lvl3pPr marL="358775"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ea typeface="Calibri"/>
                <a:cs typeface="Calibri"/>
              </a:rPr>
              <a:t>Unterschiede in der Führung (1/2)</a:t>
            </a:r>
            <a:endParaRPr lang="en-US" sz="2000"/>
          </a:p>
        </p:txBody>
      </p:sp>
      <p:sp>
        <p:nvSpPr>
          <p:cNvPr id="10" name="Textfeld 9">
            <a:extLst>
              <a:ext uri="{FF2B5EF4-FFF2-40B4-BE49-F238E27FC236}">
                <a16:creationId xmlns:a16="http://schemas.microsoft.com/office/drawing/2014/main" id="{5ACC1EFE-E771-A193-E05C-DBB70A16DAB1}"/>
              </a:ext>
            </a:extLst>
          </p:cNvPr>
          <p:cNvSpPr txBox="1"/>
          <p:nvPr/>
        </p:nvSpPr>
        <p:spPr>
          <a:xfrm>
            <a:off x="359998" y="2065988"/>
            <a:ext cx="3266853" cy="3956211"/>
          </a:xfrm>
          <a:prstGeom prst="rect">
            <a:avLst/>
          </a:prstGeom>
          <a:noFill/>
        </p:spPr>
        <p:txBody>
          <a:bodyPr wrap="square" lIns="91440" tIns="45720" rIns="91440" bIns="45720" rtlCol="0" anchor="t">
            <a:spAutoFit/>
          </a:bodyPr>
          <a:lstStyle/>
          <a:p>
            <a:pPr>
              <a:lnSpc>
                <a:spcPct val="107000"/>
              </a:lnSpc>
              <a:spcAft>
                <a:spcPts val="800"/>
              </a:spcAft>
            </a:pPr>
            <a:r>
              <a:rPr lang="en-US" sz="1400" b="1" kern="100">
                <a:effectLst/>
                <a:latin typeface="Calibri"/>
                <a:ea typeface="Calibri"/>
                <a:cs typeface="Times New Roman"/>
              </a:rPr>
              <a:t>Team and </a:t>
            </a:r>
            <a:r>
              <a:rPr lang="en-US" sz="1400" b="1" kern="100">
                <a:latin typeface="Calibri"/>
                <a:ea typeface="Calibri"/>
                <a:cs typeface="Times New Roman"/>
              </a:rPr>
              <a:t>process</a:t>
            </a:r>
            <a:r>
              <a:rPr lang="en-US" sz="1400" b="1" baseline="30000">
                <a:ea typeface="Calibri"/>
                <a:cs typeface="Calibri"/>
              </a:rPr>
              <a:t>1,² </a:t>
            </a:r>
            <a:r>
              <a:rPr lang="en-US" sz="1400" b="1" kern="100">
                <a:effectLst/>
                <a:latin typeface="Calibri"/>
                <a:ea typeface="Calibri"/>
                <a:cs typeface="Times New Roman"/>
              </a:rPr>
              <a:t>:</a:t>
            </a:r>
            <a:r>
              <a:rPr lang="en-US" sz="1400" b="1" kern="100">
                <a:latin typeface="Calibri"/>
                <a:ea typeface="Calibri"/>
                <a:cs typeface="Times New Roman"/>
              </a:rPr>
              <a:t> </a:t>
            </a:r>
            <a:endParaRPr lang="en-US" sz="1400">
              <a:ea typeface="Calibri"/>
            </a:endParaRPr>
          </a:p>
          <a:p>
            <a:pPr>
              <a:lnSpc>
                <a:spcPct val="107000"/>
              </a:lnSpc>
              <a:spcAft>
                <a:spcPts val="800"/>
              </a:spcAft>
            </a:pPr>
            <a:r>
              <a:rPr lang="en-US" sz="1400">
                <a:effectLst/>
              </a:rPr>
              <a:t>Dara Khosrowshahi</a:t>
            </a:r>
            <a:r>
              <a:rPr lang="en-US" sz="1400"/>
              <a:t>:</a:t>
            </a:r>
            <a:endParaRPr lang="en-US" sz="1400">
              <a:ea typeface="Calibri"/>
              <a:cs typeface="Calibri"/>
            </a:endParaRPr>
          </a:p>
          <a:p>
            <a:pPr marL="285750" indent="-285750">
              <a:lnSpc>
                <a:spcPct val="107000"/>
              </a:lnSpc>
              <a:spcAft>
                <a:spcPts val="800"/>
              </a:spcAft>
              <a:buFont typeface="Arial" panose="020B0604020202020204" pitchFamily="34" charset="0"/>
              <a:buChar char="•"/>
            </a:pPr>
            <a:r>
              <a:rPr lang="en-US" sz="1400"/>
              <a:t>Sieht Mitarbeiter als wichtige Ressource</a:t>
            </a:r>
            <a:endParaRPr lang="en-US" sz="1400">
              <a:ea typeface="Calibri"/>
              <a:cs typeface="Calibri"/>
            </a:endParaRPr>
          </a:p>
          <a:p>
            <a:pPr marL="285750" indent="-285750">
              <a:lnSpc>
                <a:spcPct val="107000"/>
              </a:lnSpc>
              <a:spcAft>
                <a:spcPts val="800"/>
              </a:spcAft>
              <a:buFont typeface="Arial" panose="020B0604020202020204" pitchFamily="34" charset="0"/>
              <a:buChar char="•"/>
            </a:pPr>
            <a:r>
              <a:rPr lang="en-US" sz="1400"/>
              <a:t>Das Vorurteil das Uber dem Taxigeschäft schadet stimmt nicht</a:t>
            </a:r>
            <a:endParaRPr lang="en-US" sz="1400">
              <a:ea typeface="Calibri"/>
              <a:cs typeface="Calibri"/>
            </a:endParaRPr>
          </a:p>
          <a:p>
            <a:pPr marL="285750" indent="-285750">
              <a:lnSpc>
                <a:spcPct val="107000"/>
              </a:lnSpc>
              <a:spcAft>
                <a:spcPts val="800"/>
              </a:spcAft>
              <a:buFont typeface="Arial" panose="020B0604020202020204" pitchFamily="34" charset="0"/>
              <a:buChar char="•"/>
            </a:pPr>
            <a:r>
              <a:rPr lang="en-US" sz="1400"/>
              <a:t>Nach außen tragende Gleichberechtigung und Stabilität</a:t>
            </a:r>
            <a:endParaRPr lang="en-US" sz="1400">
              <a:ea typeface="Calibri"/>
              <a:cs typeface="Calibri"/>
            </a:endParaRPr>
          </a:p>
          <a:p>
            <a:pPr>
              <a:lnSpc>
                <a:spcPct val="107000"/>
              </a:lnSpc>
              <a:spcAft>
                <a:spcPts val="800"/>
              </a:spcAft>
            </a:pPr>
            <a:r>
              <a:rPr lang="en-US" sz="1400" kern="100">
                <a:latin typeface="Calibri"/>
                <a:cs typeface="Times New Roman"/>
              </a:rPr>
              <a:t>Travis Kalnick</a:t>
            </a:r>
            <a:r>
              <a:rPr lang="en-US" sz="1400"/>
              <a:t>:</a:t>
            </a:r>
            <a:endParaRPr lang="en-US" sz="1400">
              <a:ea typeface="Calibri"/>
              <a:cs typeface="Calibri"/>
            </a:endParaRPr>
          </a:p>
          <a:p>
            <a:pPr marL="285750" indent="-285750">
              <a:lnSpc>
                <a:spcPct val="107000"/>
              </a:lnSpc>
              <a:spcAft>
                <a:spcPts val="800"/>
              </a:spcAft>
              <a:buFont typeface="Arial" panose="020B0604020202020204" pitchFamily="34" charset="0"/>
              <a:buChar char="•"/>
            </a:pPr>
            <a:r>
              <a:rPr lang="en-US" sz="1400"/>
              <a:t>Kein Interesse an Mitarbeitern</a:t>
            </a:r>
            <a:endParaRPr lang="en-US" sz="1400">
              <a:ea typeface="Calibri"/>
              <a:cs typeface="Calibri"/>
            </a:endParaRPr>
          </a:p>
          <a:p>
            <a:pPr marL="285750" indent="-285750">
              <a:lnSpc>
                <a:spcPct val="107000"/>
              </a:lnSpc>
              <a:spcAft>
                <a:spcPts val="800"/>
              </a:spcAft>
              <a:buFont typeface="Arial" panose="020B0604020202020204" pitchFamily="34" charset="0"/>
              <a:buChar char="•"/>
            </a:pPr>
            <a:r>
              <a:rPr lang="en-US" sz="1400"/>
              <a:t>Keine Diversität oder Gleichberechtigung</a:t>
            </a:r>
            <a:endParaRPr lang="en-US" sz="1400">
              <a:ea typeface="Calibri"/>
              <a:cs typeface="Calibri"/>
            </a:endParaRPr>
          </a:p>
          <a:p>
            <a:endParaRPr lang="en-US"/>
          </a:p>
        </p:txBody>
      </p:sp>
      <p:sp>
        <p:nvSpPr>
          <p:cNvPr id="12" name="Textfeld 11">
            <a:extLst>
              <a:ext uri="{FF2B5EF4-FFF2-40B4-BE49-F238E27FC236}">
                <a16:creationId xmlns:a16="http://schemas.microsoft.com/office/drawing/2014/main" id="{216AEE1E-244E-0AF1-0BBA-8DA83EE14D7E}"/>
              </a:ext>
            </a:extLst>
          </p:cNvPr>
          <p:cNvSpPr txBox="1"/>
          <p:nvPr/>
        </p:nvSpPr>
        <p:spPr>
          <a:xfrm>
            <a:off x="4567526" y="2062135"/>
            <a:ext cx="4402138" cy="3516347"/>
          </a:xfrm>
          <a:prstGeom prst="rect">
            <a:avLst/>
          </a:prstGeom>
          <a:noFill/>
        </p:spPr>
        <p:txBody>
          <a:bodyPr wrap="square" lIns="91440" tIns="45720" rIns="91440" bIns="45720" rtlCol="0" anchor="t">
            <a:spAutoFit/>
          </a:bodyPr>
          <a:lstStyle/>
          <a:p>
            <a:pPr>
              <a:lnSpc>
                <a:spcPct val="107000"/>
              </a:lnSpc>
              <a:spcAft>
                <a:spcPts val="800"/>
              </a:spcAft>
            </a:pPr>
            <a:r>
              <a:rPr lang="en-US" sz="1400" b="1" kern="100">
                <a:effectLst/>
                <a:latin typeface="Calibri"/>
                <a:ea typeface="Calibri"/>
                <a:cs typeface="Times New Roman"/>
              </a:rPr>
              <a:t>Organization alignment</a:t>
            </a:r>
            <a:r>
              <a:rPr lang="en-US" sz="1400" b="1" baseline="30000">
                <a:ea typeface="Calibri"/>
                <a:cs typeface="Calibri"/>
              </a:rPr>
              <a:t>1</a:t>
            </a:r>
            <a:r>
              <a:rPr lang="en-US" sz="1400" b="1" kern="100">
                <a:effectLst/>
                <a:latin typeface="Calibri"/>
                <a:ea typeface="Calibri"/>
                <a:cs typeface="Times New Roman"/>
              </a:rPr>
              <a:t>:</a:t>
            </a:r>
            <a:r>
              <a:rPr lang="en-US" sz="1400" b="1" kern="100">
                <a:latin typeface="Calibri"/>
                <a:ea typeface="Calibri"/>
                <a:cs typeface="Times New Roman"/>
              </a:rPr>
              <a:t> </a:t>
            </a:r>
            <a:endParaRPr lang="en-US" sz="1400" b="1" kern="100">
              <a:ea typeface="Calibri"/>
              <a:cs typeface="Times New Roman"/>
            </a:endParaRPr>
          </a:p>
          <a:p>
            <a:pPr>
              <a:lnSpc>
                <a:spcPct val="107000"/>
              </a:lnSpc>
              <a:spcAft>
                <a:spcPts val="800"/>
              </a:spcAft>
            </a:pPr>
            <a:r>
              <a:rPr lang="en-US" sz="1400">
                <a:effectLst/>
              </a:rPr>
              <a:t>Dara Khosrowshahi</a:t>
            </a:r>
            <a:r>
              <a:rPr lang="en-US" sz="1400" kern="100">
                <a:effectLst/>
                <a:latin typeface="Calibri"/>
                <a:ea typeface="Calibri"/>
                <a:cs typeface="Times New Roman"/>
              </a:rPr>
              <a:t>:</a:t>
            </a:r>
          </a:p>
          <a:p>
            <a:pPr marL="285750" indent="-285750">
              <a:lnSpc>
                <a:spcPct val="107000"/>
              </a:lnSpc>
              <a:spcAft>
                <a:spcPts val="800"/>
              </a:spcAft>
              <a:buFont typeface="Arial" panose="020B0604020202020204" pitchFamily="34" charset="0"/>
              <a:buChar char="•"/>
            </a:pPr>
            <a:r>
              <a:rPr lang="en-US" sz="1400" kern="100">
                <a:latin typeface="Calibri"/>
                <a:ea typeface="Calibri"/>
                <a:cs typeface="Times New Roman"/>
              </a:rPr>
              <a:t>Fördert Mitarbeiter</a:t>
            </a:r>
          </a:p>
          <a:p>
            <a:pPr marL="285750" indent="-285750">
              <a:lnSpc>
                <a:spcPct val="107000"/>
              </a:lnSpc>
              <a:spcAft>
                <a:spcPts val="800"/>
              </a:spcAft>
              <a:buFont typeface="Arial" panose="020B0604020202020204" pitchFamily="34" charset="0"/>
              <a:buChar char="•"/>
            </a:pPr>
            <a:r>
              <a:rPr lang="en-US" sz="1400" kern="100">
                <a:effectLst/>
                <a:latin typeface="Calibri"/>
                <a:ea typeface="Calibri"/>
                <a:cs typeface="Times New Roman"/>
              </a:rPr>
              <a:t>Nimmt Kritik an</a:t>
            </a:r>
          </a:p>
          <a:p>
            <a:pPr marL="285750" indent="-285750">
              <a:lnSpc>
                <a:spcPct val="107000"/>
              </a:lnSpc>
              <a:spcAft>
                <a:spcPts val="800"/>
              </a:spcAft>
              <a:buFont typeface="Arial" panose="020B0604020202020204" pitchFamily="34" charset="0"/>
              <a:buChar char="•"/>
            </a:pPr>
            <a:r>
              <a:rPr lang="en-US" sz="1400" kern="100">
                <a:latin typeface="Calibri"/>
                <a:ea typeface="Calibri"/>
                <a:cs typeface="Times New Roman"/>
              </a:rPr>
              <a:t>Gibt Verantwortung ab</a:t>
            </a:r>
          </a:p>
          <a:p>
            <a:pPr marL="285750" indent="-285750">
              <a:lnSpc>
                <a:spcPct val="107000"/>
              </a:lnSpc>
              <a:spcAft>
                <a:spcPts val="800"/>
              </a:spcAft>
              <a:buFont typeface="Arial" panose="020B0604020202020204" pitchFamily="34" charset="0"/>
              <a:buChar char="•"/>
            </a:pPr>
            <a:r>
              <a:rPr lang="en-US" sz="1400"/>
              <a:t>Innerhalb des Unternehmens soll eine fürsorgliche Kultur herrschen</a:t>
            </a:r>
            <a:endParaRPr lang="en-US" sz="1400">
              <a:ea typeface="Calibri"/>
              <a:cs typeface="Calibri"/>
            </a:endParaRPr>
          </a:p>
          <a:p>
            <a:pPr marL="285750" indent="-285750">
              <a:lnSpc>
                <a:spcPct val="107000"/>
              </a:lnSpc>
              <a:spcAft>
                <a:spcPts val="800"/>
              </a:spcAft>
              <a:buFont typeface="Arial" panose="020B0604020202020204" pitchFamily="34" charset="0"/>
              <a:buChar char="•"/>
            </a:pPr>
            <a:r>
              <a:rPr lang="en-US" sz="1400"/>
              <a:t>Diversität</a:t>
            </a:r>
            <a:endParaRPr lang="en-US" sz="1400" kern="100">
              <a:effectLst/>
              <a:latin typeface="Calibri"/>
              <a:ea typeface="Calibri" panose="020F0502020204030204" pitchFamily="34" charset="0"/>
              <a:cs typeface="Times New Roman"/>
            </a:endParaRPr>
          </a:p>
          <a:p>
            <a:r>
              <a:rPr lang="en-US" sz="1400"/>
              <a:t>Travis Kalnick:</a:t>
            </a:r>
            <a:endParaRPr lang="en-US" sz="1400">
              <a:ea typeface="Calibri"/>
              <a:cs typeface="Calibri"/>
            </a:endParaRPr>
          </a:p>
          <a:p>
            <a:pPr marL="285750" indent="-285750">
              <a:buFont typeface="Arial" panose="020B0604020202020204" pitchFamily="34" charset="0"/>
              <a:buChar char="•"/>
            </a:pPr>
            <a:r>
              <a:rPr lang="en-US" sz="1400"/>
              <a:t>Kein Interesse an der Unternehmenskultur</a:t>
            </a:r>
            <a:endParaRPr lang="en-US" sz="1400">
              <a:ea typeface="Calibri"/>
              <a:cs typeface="Calibri"/>
            </a:endParaRPr>
          </a:p>
          <a:p>
            <a:endParaRPr lang="en-US" sz="1400"/>
          </a:p>
          <a:p>
            <a:pPr marL="285750" indent="-285750">
              <a:buFont typeface="Arial" panose="020B0604020202020204" pitchFamily="34" charset="0"/>
              <a:buChar char="•"/>
            </a:pPr>
            <a:r>
              <a:rPr lang="en-US" sz="1400"/>
              <a:t>Mitarbeiter wurden nicht gefördert</a:t>
            </a:r>
            <a:endParaRPr lang="en-US" sz="1400">
              <a:ea typeface="Calibri"/>
              <a:cs typeface="Calibri"/>
            </a:endParaRPr>
          </a:p>
        </p:txBody>
      </p:sp>
    </p:spTree>
    <p:extLst>
      <p:ext uri="{BB962C8B-B14F-4D97-AF65-F5344CB8AC3E}">
        <p14:creationId xmlns:p14="http://schemas.microsoft.com/office/powerpoint/2010/main" val="2363565334"/>
      </p:ext>
    </p:extLst>
  </p:cSld>
  <p:clrMapOvr>
    <a:masterClrMapping/>
  </p:clrMapOvr>
  <p:extLst>
    <p:ext uri="{6950BFC3-D8DA-4A85-94F7-54DA5524770B}">
      <p188:commentRel xmlns:p188="http://schemas.microsoft.com/office/powerpoint/2018/8/main" r:id="rId3"/>
    </p:ext>
  </p:extLs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CFA269-5589-2EA3-85A5-9F0537F8AED4}"/>
              </a:ext>
            </a:extLst>
          </p:cNvPr>
          <p:cNvSpPr>
            <a:spLocks noGrp="1"/>
          </p:cNvSpPr>
          <p:nvPr>
            <p:ph type="title"/>
          </p:nvPr>
        </p:nvSpPr>
        <p:spPr>
          <a:xfrm>
            <a:off x="359998" y="1268413"/>
            <a:ext cx="8661554" cy="929842"/>
          </a:xfrm>
        </p:spPr>
        <p:txBody>
          <a:bodyPr/>
          <a:lstStyle/>
          <a:p>
            <a:r>
              <a:rPr lang="en-US" sz="2400">
                <a:cs typeface="Arial"/>
              </a:rPr>
              <a:t>Dara und Travis </a:t>
            </a:r>
            <a:r>
              <a:rPr lang="en-US">
                <a:cs typeface="Arial"/>
              </a:rPr>
              <a:t>hatten unterschiedliche Ansichten bei Kunden</a:t>
            </a:r>
            <a:r>
              <a:rPr lang="en-US" sz="2400">
                <a:cs typeface="Arial"/>
              </a:rPr>
              <a:t> </a:t>
            </a:r>
            <a:endParaRPr lang="en-US" b="0">
              <a:ea typeface="+mn-lt"/>
              <a:cs typeface="+mn-lt"/>
            </a:endParaRPr>
          </a:p>
          <a:p>
            <a:endParaRPr lang="en-US" b="0">
              <a:ea typeface="Calibri"/>
              <a:cs typeface="Calibri"/>
            </a:endParaRPr>
          </a:p>
          <a:p>
            <a:endParaRPr lang="en-US" b="0">
              <a:ea typeface="Calibri"/>
              <a:cs typeface="Calibri"/>
            </a:endParaRPr>
          </a:p>
          <a:p>
            <a:endParaRPr lang="en-US">
              <a:ea typeface="Calibri"/>
            </a:endParaRPr>
          </a:p>
        </p:txBody>
      </p:sp>
      <p:sp>
        <p:nvSpPr>
          <p:cNvPr id="4" name="Foliennummernplatzhalter 3">
            <a:extLst>
              <a:ext uri="{FF2B5EF4-FFF2-40B4-BE49-F238E27FC236}">
                <a16:creationId xmlns:a16="http://schemas.microsoft.com/office/drawing/2014/main" id="{6231288B-AE5D-716B-328E-5914A319486E}"/>
              </a:ext>
            </a:extLst>
          </p:cNvPr>
          <p:cNvSpPr>
            <a:spLocks noGrp="1"/>
          </p:cNvSpPr>
          <p:nvPr>
            <p:ph type="sldNum" sz="quarter" idx="4"/>
          </p:nvPr>
        </p:nvSpPr>
        <p:spPr/>
        <p:txBody>
          <a:bodyPr/>
          <a:lstStyle/>
          <a:p>
            <a:fld id="{BAF04893-69FB-435D-AB2E-CA259D85B32F}" type="slidenum">
              <a:rPr lang="en-US" smtClean="0"/>
              <a:pPr/>
              <a:t>49</a:t>
            </a:fld>
            <a:endParaRPr lang="en-US"/>
          </a:p>
        </p:txBody>
      </p:sp>
      <p:sp>
        <p:nvSpPr>
          <p:cNvPr id="6" name="Inhaltsplatzhalter 5">
            <a:extLst>
              <a:ext uri="{FF2B5EF4-FFF2-40B4-BE49-F238E27FC236}">
                <a16:creationId xmlns:a16="http://schemas.microsoft.com/office/drawing/2014/main" id="{8368093E-E255-1FD0-8253-7359808AD8A4}"/>
              </a:ext>
            </a:extLst>
          </p:cNvPr>
          <p:cNvSpPr>
            <a:spLocks noGrp="1"/>
          </p:cNvSpPr>
          <p:nvPr>
            <p:ph idx="11"/>
          </p:nvPr>
        </p:nvSpPr>
        <p:spPr/>
        <p:txBody>
          <a:bodyPr vert="horz" lIns="0" tIns="0" rIns="0" bIns="0" rtlCol="0" anchor="t">
            <a:noAutofit/>
          </a:bodyPr>
          <a:lstStyle/>
          <a:p>
            <a:r>
              <a:rPr lang="en-US">
                <a:cs typeface="Calibri"/>
              </a:rPr>
              <a:t>1)Uber investor, 2023; Uber, 2023, McKinsey(b),2023</a:t>
            </a:r>
          </a:p>
        </p:txBody>
      </p:sp>
      <p:sp>
        <p:nvSpPr>
          <p:cNvPr id="7" name="Inhaltsplatzhalter 6">
            <a:extLst>
              <a:ext uri="{FF2B5EF4-FFF2-40B4-BE49-F238E27FC236}">
                <a16:creationId xmlns:a16="http://schemas.microsoft.com/office/drawing/2014/main" id="{3C502EDD-5A19-64AE-A64F-B04FE85D9266}"/>
              </a:ext>
            </a:extLst>
          </p:cNvPr>
          <p:cNvSpPr>
            <a:spLocks noGrp="1"/>
          </p:cNvSpPr>
          <p:nvPr>
            <p:ph idx="12"/>
          </p:nvPr>
        </p:nvSpPr>
        <p:spPr/>
        <p:txBody>
          <a:bodyPr vert="horz" lIns="0" tIns="0" rIns="0" bIns="0" rtlCol="0" anchor="t">
            <a:noAutofit/>
          </a:bodyPr>
          <a:lstStyle/>
          <a:p>
            <a:r>
              <a:rPr lang="en-US">
                <a:cs typeface="Calibri"/>
              </a:rPr>
              <a:t>CEO peformance und  purpose framework</a:t>
            </a:r>
          </a:p>
        </p:txBody>
      </p:sp>
      <p:sp>
        <p:nvSpPr>
          <p:cNvPr id="11" name="Inhaltsplatzhalter 4">
            <a:extLst>
              <a:ext uri="{FF2B5EF4-FFF2-40B4-BE49-F238E27FC236}">
                <a16:creationId xmlns:a16="http://schemas.microsoft.com/office/drawing/2014/main" id="{0C638B22-28B0-D795-811B-6C03F35B2D1C}"/>
              </a:ext>
            </a:extLst>
          </p:cNvPr>
          <p:cNvSpPr txBox="1">
            <a:spLocks noGrp="1"/>
          </p:cNvSpPr>
          <p:nvPr>
            <p:ph idx="10"/>
          </p:nvPr>
        </p:nvSpPr>
        <p:spPr>
          <a:xfrm>
            <a:off x="360363" y="912813"/>
            <a:ext cx="8567737" cy="284162"/>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kern="1200">
                <a:solidFill>
                  <a:schemeClr val="tx1"/>
                </a:solidFill>
                <a:latin typeface="+mn-lt"/>
                <a:ea typeface="+mn-ea"/>
                <a:cs typeface="+mn-cs"/>
              </a:defRPr>
            </a:lvl1pPr>
            <a:lvl2pPr marL="179388" marR="0" indent="-179388" algn="l" defTabSz="896938" rtl="0" eaLnBrk="1" fontAlgn="auto" latinLnBrk="0" hangingPunct="1">
              <a:lnSpc>
                <a:spcPct val="90000"/>
              </a:lnSpc>
              <a:spcBef>
                <a:spcPts val="500"/>
              </a:spcBef>
              <a:spcAft>
                <a:spcPts val="0"/>
              </a:spcAft>
              <a:buClrTx/>
              <a:buSzTx/>
              <a:buFont typeface="Arial" panose="020B0604020202020204" pitchFamily="34" charset="0"/>
              <a:buNone/>
              <a:tabLst/>
              <a:defRPr sz="1600" kern="1200" baseline="0">
                <a:solidFill>
                  <a:schemeClr val="tx1"/>
                </a:solidFill>
                <a:latin typeface="+mn-lt"/>
                <a:ea typeface="+mn-ea"/>
                <a:cs typeface="+mn-cs"/>
              </a:defRPr>
            </a:lvl2pPr>
            <a:lvl3pPr marL="358775"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ea typeface="Calibri"/>
                <a:cs typeface="Calibri"/>
              </a:rPr>
              <a:t>Unterschiede in der Führung (2/2)</a:t>
            </a:r>
            <a:endParaRPr lang="en-US" sz="2000"/>
          </a:p>
        </p:txBody>
      </p:sp>
      <p:sp>
        <p:nvSpPr>
          <p:cNvPr id="8" name="Textfeld 7">
            <a:extLst>
              <a:ext uri="{FF2B5EF4-FFF2-40B4-BE49-F238E27FC236}">
                <a16:creationId xmlns:a16="http://schemas.microsoft.com/office/drawing/2014/main" id="{577C39F7-D692-75CF-E4DE-130EF2AB4CA8}"/>
              </a:ext>
            </a:extLst>
          </p:cNvPr>
          <p:cNvSpPr txBox="1"/>
          <p:nvPr/>
        </p:nvSpPr>
        <p:spPr>
          <a:xfrm>
            <a:off x="5240835" y="1733334"/>
            <a:ext cx="3687265" cy="4104713"/>
          </a:xfrm>
          <a:prstGeom prst="rect">
            <a:avLst/>
          </a:prstGeom>
          <a:noFill/>
        </p:spPr>
        <p:txBody>
          <a:bodyPr wrap="square" lIns="91440" tIns="45720" rIns="91440" bIns="45720" rtlCol="0" anchor="t">
            <a:spAutoFit/>
          </a:bodyPr>
          <a:lstStyle/>
          <a:p>
            <a:pPr>
              <a:lnSpc>
                <a:spcPct val="107000"/>
              </a:lnSpc>
              <a:spcAft>
                <a:spcPts val="800"/>
              </a:spcAft>
            </a:pPr>
            <a:r>
              <a:rPr lang="en-US" sz="1400" b="1" kern="0">
                <a:effectLst/>
                <a:latin typeface="Calibri"/>
                <a:ea typeface="Calibri"/>
                <a:cs typeface="Calibri"/>
              </a:rPr>
              <a:t>Personal Working norms</a:t>
            </a:r>
            <a:r>
              <a:rPr lang="en-US" sz="1400" b="1" baseline="30000">
                <a:ea typeface="Calibri"/>
                <a:cs typeface="Calibri"/>
              </a:rPr>
              <a:t>1 </a:t>
            </a:r>
            <a:r>
              <a:rPr lang="en-US" sz="1400" b="1" kern="100">
                <a:latin typeface="Calibri"/>
                <a:ea typeface="Calibri"/>
                <a:cs typeface="Times New Roman"/>
              </a:rPr>
              <a:t>: </a:t>
            </a:r>
            <a:endParaRPr lang="en-US" sz="1400" b="1" kern="100">
              <a:latin typeface="Calibri"/>
              <a:ea typeface="Calibri" panose="020F0502020204030204" pitchFamily="34" charset="0"/>
              <a:cs typeface="Times New Roman"/>
            </a:endParaRPr>
          </a:p>
          <a:p>
            <a:pPr>
              <a:lnSpc>
                <a:spcPct val="107000"/>
              </a:lnSpc>
              <a:spcAft>
                <a:spcPts val="800"/>
              </a:spcAft>
            </a:pPr>
            <a:r>
              <a:rPr lang="en-US" sz="1400">
                <a:effectLst/>
              </a:rPr>
              <a:t>Dara Khosrowshahi</a:t>
            </a:r>
            <a:r>
              <a:rPr lang="en-US" sz="1400" b="1" baseline="30000">
                <a:ea typeface="Calibri"/>
                <a:cs typeface="Calibri"/>
              </a:rPr>
              <a:t> </a:t>
            </a:r>
            <a:r>
              <a:rPr lang="en-US" sz="1400" b="1" kern="100">
                <a:latin typeface="Calibri"/>
                <a:ea typeface="+mn-lt"/>
                <a:cs typeface="Times New Roman"/>
              </a:rPr>
              <a:t>:</a:t>
            </a:r>
            <a:endParaRPr lang="en-US" sz="1400" kern="100">
              <a:ea typeface="+mn-lt"/>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en-US" sz="1400">
                <a:latin typeface="Calibri"/>
                <a:ea typeface="Calibri"/>
                <a:cs typeface="Calibri"/>
              </a:rPr>
              <a:t>Nimmt Kritik an, kommuniziert aber auch seinen Standpunkt</a:t>
            </a:r>
          </a:p>
          <a:p>
            <a:pPr marL="285750" indent="-285750">
              <a:lnSpc>
                <a:spcPct val="107000"/>
              </a:lnSpc>
              <a:spcAft>
                <a:spcPts val="800"/>
              </a:spcAft>
              <a:buFont typeface="Arial" panose="020B0604020202020204" pitchFamily="34" charset="0"/>
              <a:buChar char="•"/>
            </a:pPr>
            <a:r>
              <a:rPr lang="en-US" sz="1400">
                <a:latin typeface="Calibri"/>
                <a:ea typeface="Calibri"/>
                <a:cs typeface="Calibri"/>
              </a:rPr>
              <a:t>Überträgt Wissen auf Uber</a:t>
            </a:r>
          </a:p>
          <a:p>
            <a:pPr marL="285750" indent="-285750">
              <a:lnSpc>
                <a:spcPct val="107000"/>
              </a:lnSpc>
              <a:spcAft>
                <a:spcPts val="800"/>
              </a:spcAft>
              <a:buFont typeface="Arial" panose="020B0604020202020204" pitchFamily="34" charset="0"/>
              <a:buChar char="•"/>
            </a:pPr>
            <a:r>
              <a:rPr lang="en-US" sz="1400">
                <a:latin typeface="Calibri"/>
                <a:ea typeface="Calibri"/>
                <a:cs typeface="Calibri"/>
              </a:rPr>
              <a:t>Gibt Verantwortung ab, um nicht überlastet zu sein</a:t>
            </a:r>
          </a:p>
          <a:p>
            <a:pPr>
              <a:lnSpc>
                <a:spcPct val="107000"/>
              </a:lnSpc>
              <a:spcAft>
                <a:spcPts val="800"/>
              </a:spcAft>
            </a:pPr>
            <a:r>
              <a:rPr lang="en-US" sz="1400" kern="100">
                <a:latin typeface="Calibri"/>
                <a:cs typeface="Times New Roman"/>
              </a:rPr>
              <a:t>Travis Kalnick</a:t>
            </a:r>
            <a:endParaRPr lang="en-US" sz="1400" kern="100">
              <a:latin typeface="Calibri"/>
              <a:ea typeface="Calibri"/>
              <a:cs typeface="Times New Roman"/>
            </a:endParaRPr>
          </a:p>
          <a:p>
            <a:pPr marL="285750" indent="-285750">
              <a:lnSpc>
                <a:spcPct val="107000"/>
              </a:lnSpc>
              <a:spcAft>
                <a:spcPts val="800"/>
              </a:spcAft>
              <a:buFont typeface="Arial" panose="020B0604020202020204" pitchFamily="34" charset="0"/>
              <a:buChar char="•"/>
            </a:pPr>
            <a:r>
              <a:rPr lang="en-US" sz="1400">
                <a:latin typeface="Calibri"/>
                <a:ea typeface="Calibri"/>
                <a:cs typeface="Calibri"/>
              </a:rPr>
              <a:t>Kritikunfähig</a:t>
            </a:r>
            <a:endParaRPr lang="en-US" sz="1400">
              <a:latin typeface="Calibri"/>
              <a:ea typeface="Calibri" panose="020F0502020204030204" pitchFamily="34" charset="0"/>
              <a:cs typeface="Calibri"/>
            </a:endParaRPr>
          </a:p>
          <a:p>
            <a:pPr marL="285750" indent="-285750">
              <a:lnSpc>
                <a:spcPct val="107000"/>
              </a:lnSpc>
              <a:spcAft>
                <a:spcPts val="800"/>
              </a:spcAft>
              <a:buFont typeface="Arial" panose="020B0604020202020204" pitchFamily="34" charset="0"/>
              <a:buChar char="•"/>
            </a:pPr>
            <a:r>
              <a:rPr lang="en-US" sz="1400">
                <a:latin typeface="Calibri"/>
                <a:ea typeface="Calibri"/>
                <a:cs typeface="Calibri"/>
              </a:rPr>
              <a:t>Gestresst und überarbeitet</a:t>
            </a:r>
          </a:p>
          <a:p>
            <a:pPr marL="285750" indent="-285750">
              <a:lnSpc>
                <a:spcPct val="107000"/>
              </a:lnSpc>
              <a:spcAft>
                <a:spcPts val="800"/>
              </a:spcAft>
              <a:buFont typeface="Arial" panose="020B0604020202020204" pitchFamily="34" charset="0"/>
              <a:buChar char="•"/>
            </a:pPr>
            <a:r>
              <a:rPr lang="en-US" sz="1400">
                <a:latin typeface="Calibri"/>
                <a:ea typeface="Calibri"/>
                <a:cs typeface="Calibri"/>
              </a:rPr>
              <a:t>War Einzelgänger</a:t>
            </a:r>
          </a:p>
          <a:p>
            <a:pPr>
              <a:lnSpc>
                <a:spcPct val="107000"/>
              </a:lnSpc>
              <a:spcAft>
                <a:spcPts val="800"/>
              </a:spcAft>
            </a:pPr>
            <a:endParaRPr lang="en-US" sz="1400">
              <a:latin typeface="Calibri"/>
              <a:ea typeface="Calibri" panose="020F0502020204030204" pitchFamily="34" charset="0"/>
              <a:cs typeface="Calibri"/>
            </a:endParaRPr>
          </a:p>
          <a:p>
            <a:pPr>
              <a:lnSpc>
                <a:spcPct val="107000"/>
              </a:lnSpc>
              <a:spcAft>
                <a:spcPts val="800"/>
              </a:spcAft>
            </a:pPr>
            <a:r>
              <a:rPr lang="en-US" sz="1400">
                <a:latin typeface="Calibri"/>
                <a:ea typeface="Calibri"/>
                <a:cs typeface="Calibri"/>
              </a:rPr>
              <a:t>  </a:t>
            </a:r>
            <a:endParaRPr lang="en-US" sz="1400" kern="100">
              <a:effectLst/>
              <a:latin typeface="Calibri"/>
              <a:ea typeface="Calibri"/>
              <a:cs typeface="Times New Roman" panose="02020603050405020304" pitchFamily="18" charset="0"/>
            </a:endParaRPr>
          </a:p>
        </p:txBody>
      </p:sp>
      <p:sp>
        <p:nvSpPr>
          <p:cNvPr id="3" name="Textfeld 2">
            <a:extLst>
              <a:ext uri="{FF2B5EF4-FFF2-40B4-BE49-F238E27FC236}">
                <a16:creationId xmlns:a16="http://schemas.microsoft.com/office/drawing/2014/main" id="{1A5266B4-4AF5-4F4E-3505-56B77C8F25BF}"/>
              </a:ext>
            </a:extLst>
          </p:cNvPr>
          <p:cNvSpPr txBox="1"/>
          <p:nvPr/>
        </p:nvSpPr>
        <p:spPr>
          <a:xfrm>
            <a:off x="359998" y="1733334"/>
            <a:ext cx="5159829" cy="2874890"/>
          </a:xfrm>
          <a:prstGeom prst="rect">
            <a:avLst/>
          </a:prstGeom>
          <a:noFill/>
        </p:spPr>
        <p:txBody>
          <a:bodyPr wrap="square" lIns="91440" tIns="45720" rIns="91440" bIns="45720" anchor="t">
            <a:spAutoFit/>
          </a:bodyPr>
          <a:lstStyle/>
          <a:p>
            <a:pPr>
              <a:lnSpc>
                <a:spcPct val="107000"/>
              </a:lnSpc>
              <a:spcAft>
                <a:spcPts val="800"/>
              </a:spcAft>
            </a:pPr>
            <a:r>
              <a:rPr lang="en-US" sz="1400" b="1" kern="100">
                <a:effectLst/>
                <a:latin typeface="Calibri"/>
                <a:ea typeface="Calibri"/>
                <a:cs typeface="Times New Roman"/>
              </a:rPr>
              <a:t>Board engagement</a:t>
            </a:r>
            <a:r>
              <a:rPr lang="en-US" sz="1400" b="1" baseline="30000">
                <a:ea typeface="Calibri"/>
                <a:cs typeface="Calibri"/>
              </a:rPr>
              <a:t>1 </a:t>
            </a:r>
            <a:r>
              <a:rPr lang="en-US" sz="1400" b="1" kern="100">
                <a:latin typeface="Calibri"/>
                <a:ea typeface="Calibri"/>
                <a:cs typeface="Times New Roman"/>
              </a:rPr>
              <a:t>: </a:t>
            </a:r>
          </a:p>
          <a:p>
            <a:pPr>
              <a:lnSpc>
                <a:spcPct val="107000"/>
              </a:lnSpc>
              <a:spcAft>
                <a:spcPts val="800"/>
              </a:spcAft>
            </a:pPr>
            <a:r>
              <a:rPr lang="en-US" sz="1400">
                <a:effectLst/>
              </a:rPr>
              <a:t>Dara Khosrowshahi</a:t>
            </a:r>
            <a:r>
              <a:rPr lang="en-US" sz="1400" kern="100">
                <a:latin typeface="Calibri"/>
                <a:cs typeface="Times New Roman"/>
              </a:rPr>
              <a:t>:</a:t>
            </a:r>
            <a:endParaRPr lang="en-US" sz="1400" kern="100">
              <a:latin typeface="Calibri"/>
              <a:ea typeface="Calibri"/>
              <a:cs typeface="Times New Roman"/>
            </a:endParaRPr>
          </a:p>
          <a:p>
            <a:pPr marL="285750" indent="-285750">
              <a:lnSpc>
                <a:spcPct val="107000"/>
              </a:lnSpc>
              <a:spcAft>
                <a:spcPts val="800"/>
              </a:spcAft>
              <a:buFont typeface="Arial" panose="020B0604020202020204" pitchFamily="34" charset="0"/>
              <a:buChar char="•"/>
            </a:pPr>
            <a:r>
              <a:rPr lang="en-US" sz="1400" kern="100">
                <a:latin typeface="Calibri"/>
                <a:cs typeface="Times New Roman"/>
              </a:rPr>
              <a:t>Neues Management Team mit Vorstand aufgebaut</a:t>
            </a:r>
            <a:endParaRPr lang="en-US" sz="1400" kern="100">
              <a:latin typeface="Calibri"/>
              <a:ea typeface="Calibri"/>
              <a:cs typeface="Times New Roman"/>
            </a:endParaRPr>
          </a:p>
          <a:p>
            <a:pPr marL="285750" indent="-285750">
              <a:lnSpc>
                <a:spcPct val="107000"/>
              </a:lnSpc>
              <a:spcAft>
                <a:spcPts val="800"/>
              </a:spcAft>
              <a:buFont typeface="Arial" panose="020B0604020202020204" pitchFamily="34" charset="0"/>
              <a:buChar char="•"/>
            </a:pPr>
            <a:r>
              <a:rPr lang="en-US" sz="1400" kern="100">
                <a:latin typeface="Calibri"/>
                <a:cs typeface="Times New Roman"/>
              </a:rPr>
              <a:t>Im ständigen Austausch mit Vorstand und Inverstoren</a:t>
            </a:r>
            <a:endParaRPr lang="en-US" sz="1400" kern="100">
              <a:latin typeface="Calibri"/>
              <a:ea typeface="Calibri"/>
              <a:cs typeface="Times New Roman"/>
            </a:endParaRPr>
          </a:p>
          <a:p>
            <a:pPr marL="285750" indent="-285750">
              <a:lnSpc>
                <a:spcPct val="107000"/>
              </a:lnSpc>
              <a:spcAft>
                <a:spcPts val="800"/>
              </a:spcAft>
              <a:buFont typeface="Arial" panose="020B0604020202020204" pitchFamily="34" charset="0"/>
              <a:buChar char="•"/>
            </a:pPr>
            <a:r>
              <a:rPr lang="en-US" sz="1400" kern="100">
                <a:latin typeface="Calibri"/>
                <a:cs typeface="Times New Roman"/>
              </a:rPr>
              <a:t>Hat durch Aktionen wie z.B. den Börsengang bewiesen, die Zukunft im Blick zu haben </a:t>
            </a:r>
            <a:endParaRPr lang="en-US" sz="1400" kern="100">
              <a:latin typeface="Calibri"/>
              <a:ea typeface="Calibri"/>
              <a:cs typeface="Times New Roman"/>
            </a:endParaRPr>
          </a:p>
          <a:p>
            <a:pPr>
              <a:lnSpc>
                <a:spcPct val="107000"/>
              </a:lnSpc>
              <a:spcAft>
                <a:spcPts val="800"/>
              </a:spcAft>
            </a:pPr>
            <a:r>
              <a:rPr lang="en-US" sz="1400" kern="100">
                <a:latin typeface="Calibri"/>
                <a:cs typeface="Times New Roman"/>
              </a:rPr>
              <a:t>Travis Kalnick</a:t>
            </a:r>
            <a:endParaRPr lang="en-US" sz="1400" kern="100">
              <a:latin typeface="Calibri"/>
              <a:ea typeface="Calibri"/>
              <a:cs typeface="Times New Roman"/>
            </a:endParaRPr>
          </a:p>
          <a:p>
            <a:pPr marL="285750" indent="-285750">
              <a:lnSpc>
                <a:spcPct val="107000"/>
              </a:lnSpc>
              <a:spcAft>
                <a:spcPts val="800"/>
              </a:spcAft>
              <a:buFont typeface="Arial" panose="020B0604020202020204" pitchFamily="34" charset="0"/>
              <a:buChar char="•"/>
            </a:pPr>
            <a:r>
              <a:rPr lang="en-US" sz="1400" kern="100">
                <a:latin typeface="Calibri"/>
                <a:cs typeface="Times New Roman"/>
              </a:rPr>
              <a:t>Hat Uber großes Wachstum beschert</a:t>
            </a:r>
            <a:endParaRPr lang="en-US" sz="1400" kern="100">
              <a:latin typeface="Calibri"/>
              <a:ea typeface="Calibri"/>
              <a:cs typeface="Times New Roman"/>
            </a:endParaRPr>
          </a:p>
          <a:p>
            <a:pPr marL="285750" indent="-285750">
              <a:lnSpc>
                <a:spcPct val="107000"/>
              </a:lnSpc>
              <a:spcAft>
                <a:spcPts val="800"/>
              </a:spcAft>
              <a:buFont typeface="Arial" panose="020B0604020202020204" pitchFamily="34" charset="0"/>
              <a:buChar char="•"/>
            </a:pPr>
            <a:r>
              <a:rPr lang="en-US" sz="1400" kern="100">
                <a:latin typeface="Calibri"/>
                <a:cs typeface="Times New Roman"/>
              </a:rPr>
              <a:t>Durch Skandale wie z.B. Datendiebstahl für Bedenken gesorgt</a:t>
            </a:r>
            <a:endParaRPr lang="en-US" sz="1400" kern="100">
              <a:latin typeface="Calibri"/>
              <a:ea typeface="Calibri"/>
              <a:cs typeface="Times New Roman"/>
            </a:endParaRPr>
          </a:p>
        </p:txBody>
      </p:sp>
      <p:sp>
        <p:nvSpPr>
          <p:cNvPr id="9" name="Textfeld 8">
            <a:extLst>
              <a:ext uri="{FF2B5EF4-FFF2-40B4-BE49-F238E27FC236}">
                <a16:creationId xmlns:a16="http://schemas.microsoft.com/office/drawing/2014/main" id="{63FFA7D8-3B5B-08EC-52F0-E63863E43645}"/>
              </a:ext>
            </a:extLst>
          </p:cNvPr>
          <p:cNvSpPr txBox="1"/>
          <p:nvPr/>
        </p:nvSpPr>
        <p:spPr>
          <a:xfrm>
            <a:off x="359998" y="4609115"/>
            <a:ext cx="2362938" cy="1645066"/>
          </a:xfrm>
          <a:prstGeom prst="rect">
            <a:avLst/>
          </a:prstGeom>
          <a:noFill/>
        </p:spPr>
        <p:txBody>
          <a:bodyPr wrap="square" lIns="91440" tIns="45720" rIns="91440" bIns="45720" rtlCol="0" anchor="t">
            <a:spAutoFit/>
          </a:bodyPr>
          <a:lstStyle/>
          <a:p>
            <a:pPr>
              <a:lnSpc>
                <a:spcPct val="107000"/>
              </a:lnSpc>
              <a:spcAft>
                <a:spcPts val="800"/>
              </a:spcAft>
            </a:pPr>
            <a:r>
              <a:rPr lang="en-US" sz="1400" b="1" kern="100">
                <a:effectLst/>
                <a:latin typeface="Calibri"/>
                <a:ea typeface="Calibri"/>
                <a:cs typeface="Times New Roman"/>
              </a:rPr>
              <a:t>External Stakeholders</a:t>
            </a:r>
            <a:r>
              <a:rPr lang="en-US" sz="1400" b="1" baseline="30000">
                <a:ea typeface="Calibri"/>
                <a:cs typeface="Calibri"/>
              </a:rPr>
              <a:t>1</a:t>
            </a:r>
            <a:r>
              <a:rPr lang="en-US" sz="1400" b="1" kern="100">
                <a:effectLst/>
                <a:latin typeface="Calibri"/>
                <a:ea typeface="Calibri"/>
                <a:cs typeface="Times New Roman"/>
              </a:rPr>
              <a:t>:</a:t>
            </a:r>
            <a:r>
              <a:rPr lang="en-US" sz="1400" b="1" kern="100">
                <a:latin typeface="Calibri"/>
                <a:ea typeface="Calibri"/>
                <a:cs typeface="Times New Roman"/>
              </a:rPr>
              <a:t> </a:t>
            </a:r>
            <a:endParaRPr lang="en-US" sz="1400" b="1" kern="0">
              <a:latin typeface="Calibri"/>
              <a:ea typeface="Calibri" panose="020F0502020204030204" pitchFamily="34" charset="0"/>
              <a:cs typeface="Calibri"/>
            </a:endParaRPr>
          </a:p>
          <a:p>
            <a:pPr>
              <a:lnSpc>
                <a:spcPct val="107000"/>
              </a:lnSpc>
              <a:spcAft>
                <a:spcPts val="800"/>
              </a:spcAft>
            </a:pPr>
            <a:r>
              <a:rPr lang="en-US" sz="1400">
                <a:effectLst/>
              </a:rPr>
              <a:t>Dara Khosrowshahi</a:t>
            </a:r>
            <a:r>
              <a:rPr lang="en-US" sz="1400" kern="100">
                <a:effectLst/>
                <a:latin typeface="Calibri"/>
                <a:ea typeface="Calibri"/>
                <a:cs typeface="Times New Roman"/>
              </a:rPr>
              <a:t>:	</a:t>
            </a:r>
            <a:endParaRPr lang="en-US" sz="1400" kern="100">
              <a:effectLst/>
              <a:latin typeface="Calibri"/>
              <a:ea typeface="Calibri" panose="020F0502020204030204" pitchFamily="34" charset="0"/>
              <a:cs typeface="Times New Roman"/>
            </a:endParaRPr>
          </a:p>
          <a:p>
            <a:pPr marL="285750" indent="-285750">
              <a:lnSpc>
                <a:spcPct val="107000"/>
              </a:lnSpc>
              <a:spcAft>
                <a:spcPts val="800"/>
              </a:spcAft>
              <a:buFont typeface="Arial" panose="020B0604020202020204" pitchFamily="34" charset="0"/>
              <a:buChar char="•"/>
            </a:pPr>
            <a:r>
              <a:rPr lang="en-US" sz="1400" kern="100">
                <a:latin typeface="Calibri"/>
                <a:ea typeface="Calibri"/>
                <a:cs typeface="Times New Roman"/>
              </a:rPr>
              <a:t>Undercover Boss Aktion</a:t>
            </a:r>
            <a:endParaRPr lang="en-US" sz="1400" kern="100">
              <a:latin typeface="Calibri"/>
              <a:ea typeface="Calibri" panose="020F0502020204030204" pitchFamily="34" charset="0"/>
              <a:cs typeface="Times New Roman"/>
            </a:endParaRPr>
          </a:p>
          <a:p>
            <a:pPr marL="285750" indent="-285750">
              <a:lnSpc>
                <a:spcPct val="107000"/>
              </a:lnSpc>
              <a:spcAft>
                <a:spcPts val="800"/>
              </a:spcAft>
              <a:buFont typeface="Arial" panose="020B0604020202020204" pitchFamily="34" charset="0"/>
              <a:buChar char="•"/>
            </a:pPr>
            <a:r>
              <a:rPr lang="en-US" sz="1400" kern="100">
                <a:latin typeface="Calibri"/>
                <a:ea typeface="Calibri"/>
                <a:cs typeface="Times New Roman"/>
              </a:rPr>
              <a:t>Bedürfnisse der Kunden</a:t>
            </a:r>
            <a:endParaRPr lang="en-US" sz="1400" kern="100">
              <a:latin typeface="Calibri" panose="020F0502020204030204" pitchFamily="34" charset="0"/>
              <a:ea typeface="Calibri" panose="020F0502020204030204" pitchFamily="34" charset="0"/>
              <a:cs typeface="Times New Roman"/>
            </a:endParaRPr>
          </a:p>
          <a:p>
            <a:pPr marL="285750" indent="-285750">
              <a:lnSpc>
                <a:spcPct val="107000"/>
              </a:lnSpc>
              <a:spcAft>
                <a:spcPts val="800"/>
              </a:spcAft>
              <a:buFont typeface="Arial" panose="020B0604020202020204" pitchFamily="34" charset="0"/>
              <a:buChar char="•"/>
            </a:pPr>
            <a:r>
              <a:rPr lang="en-US" sz="1400" kern="100">
                <a:latin typeface="Calibri"/>
                <a:ea typeface="Calibri"/>
                <a:cs typeface="Times New Roman"/>
              </a:rPr>
              <a:t>Nachhaltigkeit</a:t>
            </a:r>
            <a:endParaRPr lang="en-US" sz="1400" kern="100">
              <a:latin typeface="Calibri" panose="020F0502020204030204" pitchFamily="34" charset="0"/>
              <a:ea typeface="Calibri" panose="020F0502020204030204" pitchFamily="34" charset="0"/>
              <a:cs typeface="Times New Roman"/>
            </a:endParaRPr>
          </a:p>
        </p:txBody>
      </p:sp>
      <p:sp>
        <p:nvSpPr>
          <p:cNvPr id="5" name="Textfeld 4">
            <a:extLst>
              <a:ext uri="{FF2B5EF4-FFF2-40B4-BE49-F238E27FC236}">
                <a16:creationId xmlns:a16="http://schemas.microsoft.com/office/drawing/2014/main" id="{7FE8DAAA-C564-FADF-4C07-28A63D08DF3A}"/>
              </a:ext>
            </a:extLst>
          </p:cNvPr>
          <p:cNvSpPr txBox="1"/>
          <p:nvPr/>
        </p:nvSpPr>
        <p:spPr>
          <a:xfrm>
            <a:off x="2793933" y="4963492"/>
            <a:ext cx="238838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kern="100">
                <a:latin typeface="Calibri"/>
                <a:cs typeface="Times New Roman"/>
              </a:rPr>
              <a:t>Travis Kalnick</a:t>
            </a:r>
            <a:endParaRPr lang="en-US" sz="1400">
              <a:ea typeface="Calibri"/>
              <a:cs typeface="Calibri"/>
            </a:endParaRPr>
          </a:p>
          <a:p>
            <a:pPr marL="285750" indent="-285750">
              <a:buFont typeface="Arial"/>
              <a:buChar char="•"/>
            </a:pPr>
            <a:r>
              <a:rPr lang="en-US" sz="1400">
                <a:ea typeface="Calibri"/>
                <a:cs typeface="Calibri"/>
              </a:rPr>
              <a:t>Kein Interesse an Kunden</a:t>
            </a:r>
          </a:p>
          <a:p>
            <a:pPr marL="285750" indent="-285750">
              <a:buFont typeface="Arial"/>
              <a:buChar char="•"/>
            </a:pPr>
            <a:r>
              <a:rPr lang="en-US" sz="1400">
                <a:ea typeface="Calibri"/>
                <a:cs typeface="Calibri"/>
              </a:rPr>
              <a:t>Keine Nachhaltigkeit</a:t>
            </a:r>
            <a:endParaRPr lang="en-US" sz="1400"/>
          </a:p>
        </p:txBody>
      </p:sp>
    </p:spTree>
    <p:extLst>
      <p:ext uri="{BB962C8B-B14F-4D97-AF65-F5344CB8AC3E}">
        <p14:creationId xmlns:p14="http://schemas.microsoft.com/office/powerpoint/2010/main" val="530286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82DBF3-C9FC-6087-83DE-B4446CCF85A7}"/>
              </a:ext>
            </a:extLst>
          </p:cNvPr>
          <p:cNvSpPr>
            <a:spLocks noGrp="1"/>
          </p:cNvSpPr>
          <p:nvPr>
            <p:ph type="title"/>
          </p:nvPr>
        </p:nvSpPr>
        <p:spPr/>
        <p:txBody>
          <a:bodyPr/>
          <a:lstStyle/>
          <a:p>
            <a:endParaRPr lang="en-US"/>
          </a:p>
        </p:txBody>
      </p:sp>
      <p:sp>
        <p:nvSpPr>
          <p:cNvPr id="4" name="Foliennummernplatzhalter 3">
            <a:extLst>
              <a:ext uri="{FF2B5EF4-FFF2-40B4-BE49-F238E27FC236}">
                <a16:creationId xmlns:a16="http://schemas.microsoft.com/office/drawing/2014/main" id="{AA562446-2C47-57F8-1A8E-A9ABEAEDA11D}"/>
              </a:ext>
            </a:extLst>
          </p:cNvPr>
          <p:cNvSpPr>
            <a:spLocks noGrp="1"/>
          </p:cNvSpPr>
          <p:nvPr>
            <p:ph type="sldNum" sz="quarter" idx="4"/>
          </p:nvPr>
        </p:nvSpPr>
        <p:spPr/>
        <p:txBody>
          <a:bodyPr/>
          <a:lstStyle/>
          <a:p>
            <a:fld id="{BAF04893-69FB-435D-AB2E-CA259D85B32F}" type="slidenum">
              <a:rPr lang="de-DE" smtClean="0"/>
              <a:pPr/>
              <a:t>5</a:t>
            </a:fld>
            <a:endParaRPr lang="de-DE"/>
          </a:p>
        </p:txBody>
      </p:sp>
      <p:sp>
        <p:nvSpPr>
          <p:cNvPr id="5" name="Inhaltsplatzhalter 4">
            <a:extLst>
              <a:ext uri="{FF2B5EF4-FFF2-40B4-BE49-F238E27FC236}">
                <a16:creationId xmlns:a16="http://schemas.microsoft.com/office/drawing/2014/main" id="{72ABF665-BF56-9447-C810-B7F5BF5B4C6A}"/>
              </a:ext>
            </a:extLst>
          </p:cNvPr>
          <p:cNvSpPr>
            <a:spLocks noGrp="1"/>
          </p:cNvSpPr>
          <p:nvPr>
            <p:ph idx="10"/>
          </p:nvPr>
        </p:nvSpPr>
        <p:spPr/>
        <p:txBody>
          <a:bodyPr/>
          <a:lstStyle/>
          <a:p>
            <a:r>
              <a:rPr lang="en-US" err="1"/>
              <a:t>Bewertung</a:t>
            </a:r>
            <a:r>
              <a:rPr lang="en-US"/>
              <a:t> von Ubers </a:t>
            </a:r>
            <a:r>
              <a:rPr lang="en-US" err="1"/>
              <a:t>Geschäftsmodell</a:t>
            </a:r>
            <a:r>
              <a:rPr lang="en-US"/>
              <a:t> </a:t>
            </a:r>
            <a:r>
              <a:rPr lang="en-US" err="1"/>
              <a:t>anhand</a:t>
            </a:r>
            <a:r>
              <a:rPr lang="en-US"/>
              <a:t> </a:t>
            </a:r>
            <a:r>
              <a:rPr lang="en-US" err="1"/>
              <a:t>strategischer</a:t>
            </a:r>
            <a:r>
              <a:rPr lang="en-US"/>
              <a:t> </a:t>
            </a:r>
            <a:r>
              <a:rPr lang="en-US" err="1"/>
              <a:t>Methoden</a:t>
            </a:r>
            <a:endParaRPr lang="en-US"/>
          </a:p>
          <a:p>
            <a:endParaRPr lang="en-US"/>
          </a:p>
        </p:txBody>
      </p:sp>
      <p:sp>
        <p:nvSpPr>
          <p:cNvPr id="6" name="Inhaltsplatzhalter 5">
            <a:extLst>
              <a:ext uri="{FF2B5EF4-FFF2-40B4-BE49-F238E27FC236}">
                <a16:creationId xmlns:a16="http://schemas.microsoft.com/office/drawing/2014/main" id="{78182557-F282-5F3B-67D4-46DD8860C877}"/>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9AA70A41-F9B5-A4E1-D4CB-0055C6285B2D}"/>
              </a:ext>
            </a:extLst>
          </p:cNvPr>
          <p:cNvSpPr>
            <a:spLocks noGrp="1"/>
          </p:cNvSpPr>
          <p:nvPr>
            <p:ph idx="12"/>
          </p:nvPr>
        </p:nvSpPr>
        <p:spPr/>
        <p:txBody>
          <a:bodyPr/>
          <a:lstStyle/>
          <a:p>
            <a:endParaRPr lang="en-US"/>
          </a:p>
        </p:txBody>
      </p:sp>
      <p:sp>
        <p:nvSpPr>
          <p:cNvPr id="8" name="ShapeNameChangedByPowerUser1">
            <a:extLst>
              <a:ext uri="{FF2B5EF4-FFF2-40B4-BE49-F238E27FC236}">
                <a16:creationId xmlns:a16="http://schemas.microsoft.com/office/drawing/2014/main" id="{A872C20D-75CD-4682-CA85-E99675F6A7DC}"/>
              </a:ext>
            </a:extLst>
          </p:cNvPr>
          <p:cNvSpPr/>
          <p:nvPr/>
        </p:nvSpPr>
        <p:spPr>
          <a:xfrm>
            <a:off x="627553" y="2730304"/>
            <a:ext cx="2670428" cy="1607694"/>
          </a:xfrm>
          <a:prstGeom prst="rect">
            <a:avLst/>
          </a:prstGeom>
          <a:no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1050" b="1" err="1">
                <a:solidFill>
                  <a:schemeClr val="tx1"/>
                </a:solidFill>
              </a:rPr>
              <a:t>Stärken</a:t>
            </a:r>
            <a:endParaRPr lang="en-US" sz="1050" b="1">
              <a:solidFill>
                <a:schemeClr val="tx1"/>
              </a:solidFill>
            </a:endParaRPr>
          </a:p>
          <a:p>
            <a:pPr algn="ctr" defTabSz="685800">
              <a:defRPr/>
            </a:pPr>
            <a:endParaRPr lang="en-US" sz="1050" b="1">
              <a:solidFill>
                <a:schemeClr val="tx1"/>
              </a:solidFill>
            </a:endParaRPr>
          </a:p>
          <a:p>
            <a:pPr marL="160735" indent="-160735">
              <a:buFont typeface="Arial" panose="020B0604020202020204" pitchFamily="34" charset="0"/>
              <a:buChar char="•"/>
              <a:defRPr/>
            </a:pPr>
            <a:r>
              <a:rPr lang="de-DE" sz="1050">
                <a:solidFill>
                  <a:schemeClr val="tx1"/>
                </a:solidFill>
              </a:rPr>
              <a:t>Umfangreiche globale Marktpräsenz in vielen Ländern</a:t>
            </a:r>
          </a:p>
          <a:p>
            <a:pPr marL="160735" indent="-160735">
              <a:buFont typeface="Arial" panose="020B0604020202020204" pitchFamily="34" charset="0"/>
              <a:buChar char="•"/>
              <a:defRPr/>
            </a:pPr>
            <a:r>
              <a:rPr lang="de-DE" sz="1050">
                <a:solidFill>
                  <a:schemeClr val="tx1"/>
                </a:solidFill>
              </a:rPr>
              <a:t>Fortgeschrittene Technologieeinsätze für verbesserte Dienstleistungen</a:t>
            </a:r>
          </a:p>
          <a:p>
            <a:pPr marL="160735" indent="-160735">
              <a:buFont typeface="Arial" panose="020B0604020202020204" pitchFamily="34" charset="0"/>
              <a:buChar char="•"/>
              <a:defRPr/>
            </a:pPr>
            <a:r>
              <a:rPr lang="de-DE" sz="1050">
                <a:solidFill>
                  <a:schemeClr val="tx1"/>
                </a:solidFill>
              </a:rPr>
              <a:t>Vielfältiges Dienstleistungsangebot für unterschiedliche Kundenbedürfnisse</a:t>
            </a:r>
          </a:p>
        </p:txBody>
      </p:sp>
      <p:sp>
        <p:nvSpPr>
          <p:cNvPr id="9" name="ShapeNameChangedByPowerUser2">
            <a:extLst>
              <a:ext uri="{FF2B5EF4-FFF2-40B4-BE49-F238E27FC236}">
                <a16:creationId xmlns:a16="http://schemas.microsoft.com/office/drawing/2014/main" id="{64598B69-3CEF-F6F6-33DF-05559D375B8F}"/>
              </a:ext>
            </a:extLst>
          </p:cNvPr>
          <p:cNvSpPr/>
          <p:nvPr/>
        </p:nvSpPr>
        <p:spPr>
          <a:xfrm>
            <a:off x="3297980" y="2730304"/>
            <a:ext cx="2670428" cy="1607694"/>
          </a:xfrm>
          <a:prstGeom prst="rect">
            <a:avLst/>
          </a:prstGeom>
          <a:no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1050" b="1" err="1">
                <a:solidFill>
                  <a:schemeClr val="tx1"/>
                </a:solidFill>
              </a:rPr>
              <a:t>Schwächen</a:t>
            </a:r>
            <a:endParaRPr lang="en-US" sz="1050" b="1">
              <a:solidFill>
                <a:schemeClr val="tx1"/>
              </a:solidFill>
            </a:endParaRPr>
          </a:p>
          <a:p>
            <a:pPr algn="ctr" defTabSz="685800">
              <a:defRPr/>
            </a:pPr>
            <a:endParaRPr lang="en-US" sz="1050" b="1">
              <a:solidFill>
                <a:schemeClr val="tx1"/>
              </a:solidFill>
            </a:endParaRPr>
          </a:p>
          <a:p>
            <a:pPr marL="160735" indent="-160735">
              <a:buFont typeface="Arial" panose="020B0604020202020204" pitchFamily="34" charset="0"/>
              <a:buChar char="•"/>
              <a:defRPr/>
            </a:pPr>
            <a:r>
              <a:rPr lang="de-DE" sz="1050">
                <a:solidFill>
                  <a:schemeClr val="tx1"/>
                </a:solidFill>
              </a:rPr>
              <a:t>Konfrontation mit komplexen rechtlichen Rahmenbedingungen weltweit</a:t>
            </a:r>
          </a:p>
          <a:p>
            <a:pPr marL="160735" indent="-160735">
              <a:buFont typeface="Arial" panose="020B0604020202020204" pitchFamily="34" charset="0"/>
              <a:buChar char="•"/>
              <a:defRPr/>
            </a:pPr>
            <a:r>
              <a:rPr lang="de-DE" sz="1050">
                <a:solidFill>
                  <a:schemeClr val="tx1"/>
                </a:solidFill>
              </a:rPr>
              <a:t>Starke Abhängigkeit von der Verfügbarkeit unabhängiger Fahrer</a:t>
            </a:r>
          </a:p>
          <a:p>
            <a:pPr marL="160735" indent="-160735">
              <a:buFont typeface="Arial" panose="020B0604020202020204" pitchFamily="34" charset="0"/>
              <a:buChar char="•"/>
              <a:defRPr/>
            </a:pPr>
            <a:r>
              <a:rPr lang="de-DE" sz="1050">
                <a:solidFill>
                  <a:schemeClr val="tx1"/>
                </a:solidFill>
              </a:rPr>
              <a:t>Anfälligkeit für Reputationsschäden bei negativen Vorfällen</a:t>
            </a:r>
          </a:p>
          <a:p>
            <a:pPr marL="160735" indent="-160735">
              <a:buFont typeface="Arial" panose="020B0604020202020204" pitchFamily="34" charset="0"/>
              <a:buChar char="•"/>
              <a:defRPr/>
            </a:pPr>
            <a:endParaRPr lang="en-US" sz="1013">
              <a:solidFill>
                <a:schemeClr val="tx1"/>
              </a:solidFill>
            </a:endParaRPr>
          </a:p>
        </p:txBody>
      </p:sp>
      <p:sp>
        <p:nvSpPr>
          <p:cNvPr id="10" name="ShapeNameChangedByPowerUser1">
            <a:extLst>
              <a:ext uri="{FF2B5EF4-FFF2-40B4-BE49-F238E27FC236}">
                <a16:creationId xmlns:a16="http://schemas.microsoft.com/office/drawing/2014/main" id="{7537A954-6906-3F21-75D1-CE7A7642FD0F}"/>
              </a:ext>
            </a:extLst>
          </p:cNvPr>
          <p:cNvSpPr/>
          <p:nvPr/>
        </p:nvSpPr>
        <p:spPr>
          <a:xfrm>
            <a:off x="627555" y="4337999"/>
            <a:ext cx="2670428" cy="1607694"/>
          </a:xfrm>
          <a:prstGeom prst="rect">
            <a:avLst/>
          </a:prstGeom>
          <a:no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1050" b="1" err="1">
                <a:solidFill>
                  <a:schemeClr val="tx1"/>
                </a:solidFill>
              </a:rPr>
              <a:t>Chancen</a:t>
            </a:r>
            <a:endParaRPr lang="en-US" sz="1050" b="1">
              <a:solidFill>
                <a:schemeClr val="tx1"/>
              </a:solidFill>
            </a:endParaRPr>
          </a:p>
          <a:p>
            <a:pPr algn="ctr" defTabSz="685800">
              <a:defRPr/>
            </a:pPr>
            <a:endParaRPr lang="en-US" sz="1050" b="1">
              <a:solidFill>
                <a:schemeClr val="tx1"/>
              </a:solidFill>
            </a:endParaRPr>
          </a:p>
          <a:p>
            <a:pPr marL="160735" indent="-160735">
              <a:buFont typeface="Arial" panose="020B0604020202020204" pitchFamily="34" charset="0"/>
              <a:buChar char="•"/>
              <a:defRPr/>
            </a:pPr>
            <a:r>
              <a:rPr lang="de-DE" sz="1050">
                <a:solidFill>
                  <a:schemeClr val="tx1"/>
                </a:solidFill>
              </a:rPr>
              <a:t>Zunehmende Investitionen in Selbstfahrtechnologie zur Zukunftssicherung</a:t>
            </a:r>
          </a:p>
          <a:p>
            <a:pPr marL="160735" indent="-160735">
              <a:buFont typeface="Arial" panose="020B0604020202020204" pitchFamily="34" charset="0"/>
              <a:buChar char="•"/>
              <a:defRPr/>
            </a:pPr>
            <a:r>
              <a:rPr lang="de-DE" sz="1050">
                <a:solidFill>
                  <a:schemeClr val="tx1"/>
                </a:solidFill>
              </a:rPr>
              <a:t>Erweiterung des Angebots um diverse neue Kundendienste</a:t>
            </a:r>
          </a:p>
          <a:p>
            <a:pPr marL="160735" indent="-160735">
              <a:buFont typeface="Arial" panose="020B0604020202020204" pitchFamily="34" charset="0"/>
              <a:buChar char="•"/>
              <a:defRPr/>
            </a:pPr>
            <a:r>
              <a:rPr lang="de-DE" sz="1050">
                <a:solidFill>
                  <a:schemeClr val="tx1"/>
                </a:solidFill>
              </a:rPr>
              <a:t>Stetige Optimierung der Interaktion zwischen Fahrern und Kunden</a:t>
            </a:r>
            <a:endParaRPr lang="en-US" sz="1050">
              <a:solidFill>
                <a:schemeClr val="tx1"/>
              </a:solidFill>
            </a:endParaRPr>
          </a:p>
        </p:txBody>
      </p:sp>
      <p:sp>
        <p:nvSpPr>
          <p:cNvPr id="11" name="ShapeNameChangedByPowerUser2">
            <a:extLst>
              <a:ext uri="{FF2B5EF4-FFF2-40B4-BE49-F238E27FC236}">
                <a16:creationId xmlns:a16="http://schemas.microsoft.com/office/drawing/2014/main" id="{B08244A1-5C2F-90F2-B9E6-51CB2FF82B13}"/>
              </a:ext>
            </a:extLst>
          </p:cNvPr>
          <p:cNvSpPr/>
          <p:nvPr/>
        </p:nvSpPr>
        <p:spPr>
          <a:xfrm>
            <a:off x="3297980" y="4337999"/>
            <a:ext cx="2670428" cy="1607694"/>
          </a:xfrm>
          <a:prstGeom prst="rect">
            <a:avLst/>
          </a:prstGeom>
          <a:no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1050" b="1" err="1">
                <a:solidFill>
                  <a:schemeClr val="tx1"/>
                </a:solidFill>
              </a:rPr>
              <a:t>Bedrohungen</a:t>
            </a:r>
            <a:endParaRPr lang="en-US" sz="1050" b="1">
              <a:solidFill>
                <a:schemeClr val="tx1"/>
              </a:solidFill>
            </a:endParaRPr>
          </a:p>
          <a:p>
            <a:pPr algn="ctr" defTabSz="685800">
              <a:defRPr/>
            </a:pPr>
            <a:endParaRPr lang="en-US" sz="1050" b="1">
              <a:solidFill>
                <a:schemeClr val="tx1"/>
              </a:solidFill>
            </a:endParaRPr>
          </a:p>
          <a:p>
            <a:pPr marL="160735" indent="-160735">
              <a:buFont typeface="Arial" panose="020B0604020202020204" pitchFamily="34" charset="0"/>
              <a:buChar char="•"/>
              <a:defRPr/>
            </a:pPr>
            <a:r>
              <a:rPr lang="de-DE" sz="1050">
                <a:solidFill>
                  <a:schemeClr val="tx1"/>
                </a:solidFill>
              </a:rPr>
              <a:t>Anpassungen an laufend wechselnde regulatorische Anforderungen</a:t>
            </a:r>
          </a:p>
          <a:p>
            <a:pPr marL="160735" indent="-160735">
              <a:buFont typeface="Arial" panose="020B0604020202020204" pitchFamily="34" charset="0"/>
              <a:buChar char="•"/>
              <a:defRPr/>
            </a:pPr>
            <a:r>
              <a:rPr lang="de-DE" sz="1050">
                <a:solidFill>
                  <a:schemeClr val="tx1"/>
                </a:solidFill>
              </a:rPr>
              <a:t>Herausforderungen durch intensiven Wettbewerb in der Branche</a:t>
            </a:r>
          </a:p>
          <a:p>
            <a:pPr marL="160735" indent="-160735">
              <a:buFont typeface="Arial" panose="020B0604020202020204" pitchFamily="34" charset="0"/>
              <a:buChar char="•"/>
              <a:defRPr/>
            </a:pPr>
            <a:r>
              <a:rPr lang="de-DE" sz="1050">
                <a:solidFill>
                  <a:schemeClr val="tx1"/>
                </a:solidFill>
              </a:rPr>
              <a:t>Risiko und Chance durch schnelle technologische Fortschritte</a:t>
            </a:r>
            <a:endParaRPr lang="en-US" sz="1050">
              <a:solidFill>
                <a:schemeClr val="tx1"/>
              </a:solidFill>
            </a:endParaRPr>
          </a:p>
        </p:txBody>
      </p:sp>
      <p:sp>
        <p:nvSpPr>
          <p:cNvPr id="12" name="ShapeNameChangedByPowerUser2">
            <a:extLst>
              <a:ext uri="{FF2B5EF4-FFF2-40B4-BE49-F238E27FC236}">
                <a16:creationId xmlns:a16="http://schemas.microsoft.com/office/drawing/2014/main" id="{1F72D764-5699-9580-BA15-0A6BD90E000A}"/>
              </a:ext>
            </a:extLst>
          </p:cNvPr>
          <p:cNvSpPr/>
          <p:nvPr/>
        </p:nvSpPr>
        <p:spPr>
          <a:xfrm>
            <a:off x="627552" y="2374237"/>
            <a:ext cx="2670428" cy="356068"/>
          </a:xfrm>
          <a:prstGeom prst="rect">
            <a:avLst/>
          </a:prstGeom>
          <a:solidFill>
            <a:schemeClr val="tx1"/>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1050" b="1"/>
              <a:t>HELPFUL</a:t>
            </a:r>
          </a:p>
        </p:txBody>
      </p:sp>
      <p:sp>
        <p:nvSpPr>
          <p:cNvPr id="13" name="ShapeNameChangedByPowerUser2">
            <a:extLst>
              <a:ext uri="{FF2B5EF4-FFF2-40B4-BE49-F238E27FC236}">
                <a16:creationId xmlns:a16="http://schemas.microsoft.com/office/drawing/2014/main" id="{8CD5E643-7813-0C41-CABB-865804417389}"/>
              </a:ext>
            </a:extLst>
          </p:cNvPr>
          <p:cNvSpPr/>
          <p:nvPr/>
        </p:nvSpPr>
        <p:spPr>
          <a:xfrm>
            <a:off x="3297980" y="2374237"/>
            <a:ext cx="2670428" cy="356068"/>
          </a:xfrm>
          <a:prstGeom prst="rect">
            <a:avLst/>
          </a:prstGeom>
          <a:solidFill>
            <a:schemeClr val="tx1"/>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1050" b="1"/>
              <a:t>HARMFUL</a:t>
            </a:r>
          </a:p>
        </p:txBody>
      </p:sp>
      <p:sp>
        <p:nvSpPr>
          <p:cNvPr id="14" name="ShapeNameChangedByPowerUser1">
            <a:extLst>
              <a:ext uri="{FF2B5EF4-FFF2-40B4-BE49-F238E27FC236}">
                <a16:creationId xmlns:a16="http://schemas.microsoft.com/office/drawing/2014/main" id="{0F04F5E9-D63C-6EF6-D7B1-EB311946091F}"/>
              </a:ext>
            </a:extLst>
          </p:cNvPr>
          <p:cNvSpPr/>
          <p:nvPr/>
        </p:nvSpPr>
        <p:spPr>
          <a:xfrm>
            <a:off x="359997" y="2730304"/>
            <a:ext cx="267556" cy="1607694"/>
          </a:xfrm>
          <a:prstGeom prst="rect">
            <a:avLst/>
          </a:prstGeom>
          <a:solidFill>
            <a:schemeClr val="tx1"/>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51435" tIns="25718" rIns="51435" bIns="25718"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1050" b="1"/>
              <a:t>INTERNAL</a:t>
            </a:r>
          </a:p>
        </p:txBody>
      </p:sp>
      <p:sp>
        <p:nvSpPr>
          <p:cNvPr id="15" name="ShapeNameChangedByPowerUser1">
            <a:extLst>
              <a:ext uri="{FF2B5EF4-FFF2-40B4-BE49-F238E27FC236}">
                <a16:creationId xmlns:a16="http://schemas.microsoft.com/office/drawing/2014/main" id="{66024C40-DDAF-8267-B838-DB7674C32C3C}"/>
              </a:ext>
            </a:extLst>
          </p:cNvPr>
          <p:cNvSpPr/>
          <p:nvPr/>
        </p:nvSpPr>
        <p:spPr>
          <a:xfrm>
            <a:off x="359999" y="4337999"/>
            <a:ext cx="267556" cy="1607694"/>
          </a:xfrm>
          <a:prstGeom prst="rect">
            <a:avLst/>
          </a:prstGeom>
          <a:solidFill>
            <a:schemeClr val="tx1"/>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51435" tIns="25718" rIns="51435" bIns="25718"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1050" b="1"/>
              <a:t>EXTERNAL</a:t>
            </a:r>
          </a:p>
        </p:txBody>
      </p:sp>
      <p:sp>
        <p:nvSpPr>
          <p:cNvPr id="16" name="ShapeNameChangedByPowerUser1">
            <a:extLst>
              <a:ext uri="{FF2B5EF4-FFF2-40B4-BE49-F238E27FC236}">
                <a16:creationId xmlns:a16="http://schemas.microsoft.com/office/drawing/2014/main" id="{CD6EDBA4-CD25-4884-5A3F-14F314CE81AF}"/>
              </a:ext>
            </a:extLst>
          </p:cNvPr>
          <p:cNvSpPr>
            <a:spLocks/>
          </p:cNvSpPr>
          <p:nvPr/>
        </p:nvSpPr>
        <p:spPr>
          <a:xfrm>
            <a:off x="2724860" y="3945917"/>
            <a:ext cx="1146234" cy="772959"/>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rmAutofit fontScale="85000" lnSpcReduction="10000"/>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2100"/>
              <a:t>SWOT</a:t>
            </a:r>
          </a:p>
        </p:txBody>
      </p:sp>
      <p:sp>
        <p:nvSpPr>
          <p:cNvPr id="17" name="Rechteck 16">
            <a:extLst>
              <a:ext uri="{FF2B5EF4-FFF2-40B4-BE49-F238E27FC236}">
                <a16:creationId xmlns:a16="http://schemas.microsoft.com/office/drawing/2014/main" id="{7F9D7294-8184-4BF9-2B78-47AFD49AA28A}"/>
              </a:ext>
            </a:extLst>
          </p:cNvPr>
          <p:cNvSpPr/>
          <p:nvPr/>
        </p:nvSpPr>
        <p:spPr>
          <a:xfrm>
            <a:off x="6228003" y="2269086"/>
            <a:ext cx="2556000" cy="1840691"/>
          </a:xfrm>
          <a:prstGeom prst="rect">
            <a:avLst/>
          </a:prstGeom>
          <a:noFill/>
          <a:ln>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18" name="Rechteck 17">
            <a:extLst>
              <a:ext uri="{FF2B5EF4-FFF2-40B4-BE49-F238E27FC236}">
                <a16:creationId xmlns:a16="http://schemas.microsoft.com/office/drawing/2014/main" id="{C5FE9BB7-1645-B6AB-4604-662CD2CCB2C0}"/>
              </a:ext>
            </a:extLst>
          </p:cNvPr>
          <p:cNvSpPr/>
          <p:nvPr/>
        </p:nvSpPr>
        <p:spPr>
          <a:xfrm>
            <a:off x="6228003" y="2269087"/>
            <a:ext cx="2556000" cy="252663"/>
          </a:xfrm>
          <a:prstGeom prst="rect">
            <a:avLst/>
          </a:prstGeom>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200" b="1"/>
              <a:t>Risiken für die Stärken</a:t>
            </a:r>
          </a:p>
        </p:txBody>
      </p:sp>
      <p:sp>
        <p:nvSpPr>
          <p:cNvPr id="20" name="Rechteck 19">
            <a:extLst>
              <a:ext uri="{FF2B5EF4-FFF2-40B4-BE49-F238E27FC236}">
                <a16:creationId xmlns:a16="http://schemas.microsoft.com/office/drawing/2014/main" id="{DFBD7911-4852-36B3-8AE3-7F0D5B1A9337}"/>
              </a:ext>
            </a:extLst>
          </p:cNvPr>
          <p:cNvSpPr/>
          <p:nvPr/>
        </p:nvSpPr>
        <p:spPr>
          <a:xfrm>
            <a:off x="6228003" y="4232847"/>
            <a:ext cx="2556000" cy="1840691"/>
          </a:xfrm>
          <a:prstGeom prst="rect">
            <a:avLst/>
          </a:prstGeom>
          <a:noFill/>
          <a:ln>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21" name="Rechteck 20">
            <a:extLst>
              <a:ext uri="{FF2B5EF4-FFF2-40B4-BE49-F238E27FC236}">
                <a16:creationId xmlns:a16="http://schemas.microsoft.com/office/drawing/2014/main" id="{DB5DA25B-8F93-CBAD-F51F-5E098299988F}"/>
              </a:ext>
            </a:extLst>
          </p:cNvPr>
          <p:cNvSpPr/>
          <p:nvPr/>
        </p:nvSpPr>
        <p:spPr>
          <a:xfrm>
            <a:off x="6228003" y="4232848"/>
            <a:ext cx="2556000" cy="252663"/>
          </a:xfrm>
          <a:prstGeom prst="rect">
            <a:avLst/>
          </a:prstGeom>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200" b="1"/>
              <a:t>Verbesserungen der Schwächen</a:t>
            </a:r>
          </a:p>
        </p:txBody>
      </p:sp>
      <p:sp>
        <p:nvSpPr>
          <p:cNvPr id="26" name="Textfeld 25">
            <a:extLst>
              <a:ext uri="{FF2B5EF4-FFF2-40B4-BE49-F238E27FC236}">
                <a16:creationId xmlns:a16="http://schemas.microsoft.com/office/drawing/2014/main" id="{95077D84-90FB-D062-2BB7-883A1DCADB54}"/>
              </a:ext>
            </a:extLst>
          </p:cNvPr>
          <p:cNvSpPr txBox="1"/>
          <p:nvPr/>
        </p:nvSpPr>
        <p:spPr>
          <a:xfrm>
            <a:off x="6214321" y="2581910"/>
            <a:ext cx="2569682" cy="1384995"/>
          </a:xfrm>
          <a:prstGeom prst="rect">
            <a:avLst/>
          </a:prstGeom>
          <a:noFill/>
        </p:spPr>
        <p:txBody>
          <a:bodyPr wrap="square">
            <a:spAutoFit/>
          </a:bodyPr>
          <a:lstStyle/>
          <a:p>
            <a:pPr marL="171450" indent="-171450">
              <a:buFont typeface="Arial" panose="020B0604020202020204" pitchFamily="34" charset="0"/>
              <a:buChar char="•"/>
            </a:pPr>
            <a:r>
              <a:rPr lang="de-DE" sz="1200"/>
              <a:t>Regulatorische Einschränkungen könnten globale Expansion behindern.</a:t>
            </a:r>
          </a:p>
          <a:p>
            <a:pPr marL="171450" indent="-171450">
              <a:buFont typeface="Arial" panose="020B0604020202020204" pitchFamily="34" charset="0"/>
              <a:buChar char="•"/>
            </a:pPr>
            <a:r>
              <a:rPr lang="de-DE" sz="1200"/>
              <a:t>Neue Technologien erhöhen die Gefahr der Überholung.</a:t>
            </a:r>
          </a:p>
          <a:p>
            <a:pPr marL="171450" indent="-171450">
              <a:buFont typeface="Arial" panose="020B0604020202020204" pitchFamily="34" charset="0"/>
              <a:buChar char="•"/>
            </a:pPr>
            <a:r>
              <a:rPr lang="de-DE" sz="1200"/>
              <a:t>Wachsende Marktsättigung limitiert Dienstleistungsdiversität.</a:t>
            </a:r>
            <a:endParaRPr lang="en-US" sz="1200"/>
          </a:p>
        </p:txBody>
      </p:sp>
      <p:sp>
        <p:nvSpPr>
          <p:cNvPr id="30" name="Textfeld 29">
            <a:extLst>
              <a:ext uri="{FF2B5EF4-FFF2-40B4-BE49-F238E27FC236}">
                <a16:creationId xmlns:a16="http://schemas.microsoft.com/office/drawing/2014/main" id="{130CAFCB-BAF9-D044-E126-DB359788A604}"/>
              </a:ext>
            </a:extLst>
          </p:cNvPr>
          <p:cNvSpPr txBox="1"/>
          <p:nvPr/>
        </p:nvSpPr>
        <p:spPr>
          <a:xfrm>
            <a:off x="6242373" y="4553738"/>
            <a:ext cx="2541628" cy="1200329"/>
          </a:xfrm>
          <a:prstGeom prst="rect">
            <a:avLst/>
          </a:prstGeom>
          <a:noFill/>
        </p:spPr>
        <p:txBody>
          <a:bodyPr wrap="square">
            <a:spAutoFit/>
          </a:bodyPr>
          <a:lstStyle/>
          <a:p>
            <a:pPr marL="171450" indent="-171450">
              <a:buFont typeface="Arial" panose="020B0604020202020204" pitchFamily="34" charset="0"/>
              <a:buChar char="•"/>
            </a:pPr>
            <a:r>
              <a:rPr lang="de-DE" sz="1200"/>
              <a:t>Rechtsexperten-Team stärken für bessere Compliance.</a:t>
            </a:r>
          </a:p>
          <a:p>
            <a:pPr marL="171450" indent="-171450">
              <a:buFont typeface="Arial" panose="020B0604020202020204" pitchFamily="34" charset="0"/>
              <a:buChar char="•"/>
            </a:pPr>
            <a:r>
              <a:rPr lang="de-DE" sz="1200"/>
              <a:t>Fahrerloyalitätsprogramme zur Verringerung der Abhängigkeit.</a:t>
            </a:r>
          </a:p>
          <a:p>
            <a:pPr marL="171450" indent="-171450">
              <a:buFont typeface="Arial" panose="020B0604020202020204" pitchFamily="34" charset="0"/>
              <a:buChar char="•"/>
            </a:pPr>
            <a:r>
              <a:rPr lang="de-DE" sz="1200"/>
              <a:t>Krisenmanagement verbessern, um Reputation zu schützen.</a:t>
            </a:r>
            <a:endParaRPr lang="en-US" sz="1200"/>
          </a:p>
        </p:txBody>
      </p:sp>
    </p:spTree>
    <p:extLst>
      <p:ext uri="{BB962C8B-B14F-4D97-AF65-F5344CB8AC3E}">
        <p14:creationId xmlns:p14="http://schemas.microsoft.com/office/powerpoint/2010/main" val="543960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7F14C88-CA21-1906-B7C0-05888224D698}"/>
              </a:ext>
            </a:extLst>
          </p:cNvPr>
          <p:cNvGraphicFramePr>
            <a:graphicFrameLocks noChangeAspect="1"/>
          </p:cNvGraphicFramePr>
          <p:nvPr>
            <p:custDataLst>
              <p:tags r:id="rId1"/>
            </p:custDataLst>
            <p:extLst>
              <p:ext uri="{D42A27DB-BD31-4B8C-83A1-F6EECF244321}">
                <p14:modId xmlns:p14="http://schemas.microsoft.com/office/powerpoint/2010/main" val="3957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4" name="think-cell data - do not delete" hidden="1">
                        <a:extLst>
                          <a:ext uri="{FF2B5EF4-FFF2-40B4-BE49-F238E27FC236}">
                            <a16:creationId xmlns:a16="http://schemas.microsoft.com/office/drawing/2014/main" id="{B7F14C88-CA21-1906-B7C0-05888224D6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8FC5D07-42BE-15E4-72CB-9F559B366C14}"/>
              </a:ext>
            </a:extLst>
          </p:cNvPr>
          <p:cNvSpPr>
            <a:spLocks noGrp="1"/>
          </p:cNvSpPr>
          <p:nvPr>
            <p:ph type="title"/>
          </p:nvPr>
        </p:nvSpPr>
        <p:spPr>
          <a:xfrm>
            <a:off x="360000" y="1980000"/>
            <a:ext cx="8550000" cy="692497"/>
          </a:xfrm>
        </p:spPr>
        <p:txBody>
          <a:bodyPr vert="horz"/>
          <a:lstStyle/>
          <a:p>
            <a:r>
              <a:rPr lang="en-US"/>
              <a:t>Frage 4: ESG Main – 4 Folien</a:t>
            </a:r>
          </a:p>
        </p:txBody>
      </p:sp>
      <p:sp>
        <p:nvSpPr>
          <p:cNvPr id="3" name="Textplatzhalter 2">
            <a:extLst>
              <a:ext uri="{FF2B5EF4-FFF2-40B4-BE49-F238E27FC236}">
                <a16:creationId xmlns:a16="http://schemas.microsoft.com/office/drawing/2014/main" id="{8B8445DB-E7F2-BAC9-08C4-70B0CD4C80DE}"/>
              </a:ext>
            </a:extLst>
          </p:cNvPr>
          <p:cNvSpPr>
            <a:spLocks noGrp="1"/>
          </p:cNvSpPr>
          <p:nvPr>
            <p:ph type="body" idx="1"/>
          </p:nvPr>
        </p:nvSpPr>
        <p:spPr/>
        <p:txBody>
          <a:bodyPr/>
          <a:lstStyle/>
          <a:p>
            <a:r>
              <a:rPr lang="en-US"/>
              <a:t>Kevin Clausen</a:t>
            </a:r>
          </a:p>
        </p:txBody>
      </p:sp>
    </p:spTree>
    <p:extLst>
      <p:ext uri="{BB962C8B-B14F-4D97-AF65-F5344CB8AC3E}">
        <p14:creationId xmlns:p14="http://schemas.microsoft.com/office/powerpoint/2010/main" val="20206554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C5FCDB9-C12B-9BEB-A9DE-1F1F2481E5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9" name="think-cell data - do not delete" hidden="1">
                        <a:extLst>
                          <a:ext uri="{FF2B5EF4-FFF2-40B4-BE49-F238E27FC236}">
                            <a16:creationId xmlns:a16="http://schemas.microsoft.com/office/drawing/2014/main" id="{1C5FCDB9-C12B-9BEB-A9DE-1F1F2481E5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AC13FE87-AEB7-9405-BDDB-B2CF0EF7C578}"/>
              </a:ext>
            </a:extLst>
          </p:cNvPr>
          <p:cNvSpPr>
            <a:spLocks noGrp="1"/>
          </p:cNvSpPr>
          <p:nvPr>
            <p:ph type="title"/>
          </p:nvPr>
        </p:nvSpPr>
        <p:spPr/>
        <p:txBody>
          <a:bodyPr vert="horz"/>
          <a:lstStyle/>
          <a:p>
            <a:r>
              <a:rPr lang="en-US"/>
              <a:t>As a global and very diversified Company Uber faces numerous ESG-Problems that are represented in their Goals</a:t>
            </a:r>
          </a:p>
        </p:txBody>
      </p:sp>
      <p:sp>
        <p:nvSpPr>
          <p:cNvPr id="6" name="Inhaltsplatzhalter 5">
            <a:extLst>
              <a:ext uri="{FF2B5EF4-FFF2-40B4-BE49-F238E27FC236}">
                <a16:creationId xmlns:a16="http://schemas.microsoft.com/office/drawing/2014/main" id="{A81E16E6-7ACB-32F4-B4EF-F846390B666C}"/>
              </a:ext>
            </a:extLst>
          </p:cNvPr>
          <p:cNvSpPr>
            <a:spLocks noGrp="1"/>
          </p:cNvSpPr>
          <p:nvPr>
            <p:ph idx="10"/>
          </p:nvPr>
        </p:nvSpPr>
        <p:spPr/>
        <p:txBody>
          <a:bodyPr/>
          <a:lstStyle/>
          <a:p>
            <a:r>
              <a:rPr lang="en-US"/>
              <a:t>ESG-Goals of UBER</a:t>
            </a:r>
          </a:p>
          <a:p>
            <a:endParaRPr lang="en-US"/>
          </a:p>
        </p:txBody>
      </p:sp>
      <p:sp>
        <p:nvSpPr>
          <p:cNvPr id="7" name="Inhaltsplatzhalter 6">
            <a:extLst>
              <a:ext uri="{FF2B5EF4-FFF2-40B4-BE49-F238E27FC236}">
                <a16:creationId xmlns:a16="http://schemas.microsoft.com/office/drawing/2014/main" id="{441FBD4F-33E8-F763-9A48-4D651A421F9B}"/>
              </a:ext>
            </a:extLst>
          </p:cNvPr>
          <p:cNvSpPr>
            <a:spLocks noGrp="1"/>
          </p:cNvSpPr>
          <p:nvPr>
            <p:ph idx="11"/>
          </p:nvPr>
        </p:nvSpPr>
        <p:spPr/>
        <p:txBody>
          <a:bodyPr/>
          <a:lstStyle/>
          <a:p>
            <a:r>
              <a:rPr lang="en-US"/>
              <a:t>Own Representation, Uber ESG-Report</a:t>
            </a:r>
          </a:p>
        </p:txBody>
      </p:sp>
      <p:sp>
        <p:nvSpPr>
          <p:cNvPr id="8" name="Inhaltsplatzhalter 7">
            <a:extLst>
              <a:ext uri="{FF2B5EF4-FFF2-40B4-BE49-F238E27FC236}">
                <a16:creationId xmlns:a16="http://schemas.microsoft.com/office/drawing/2014/main" id="{C78F3ED8-67D3-3876-183B-379159FC79F3}"/>
              </a:ext>
            </a:extLst>
          </p:cNvPr>
          <p:cNvSpPr>
            <a:spLocks noGrp="1"/>
          </p:cNvSpPr>
          <p:nvPr>
            <p:ph idx="12"/>
          </p:nvPr>
        </p:nvSpPr>
        <p:spPr/>
        <p:txBody>
          <a:bodyPr/>
          <a:lstStyle/>
          <a:p>
            <a:r>
              <a:rPr lang="en-US"/>
              <a:t>ESG</a:t>
            </a:r>
          </a:p>
        </p:txBody>
      </p:sp>
      <p:sp>
        <p:nvSpPr>
          <p:cNvPr id="10" name="Freeform: Shape 17">
            <a:extLst>
              <a:ext uri="{FF2B5EF4-FFF2-40B4-BE49-F238E27FC236}">
                <a16:creationId xmlns:a16="http://schemas.microsoft.com/office/drawing/2014/main" id="{E43366CA-E8AB-F353-09CE-B0E6E98D309D}"/>
              </a:ext>
            </a:extLst>
          </p:cNvPr>
          <p:cNvSpPr/>
          <p:nvPr/>
        </p:nvSpPr>
        <p:spPr>
          <a:xfrm>
            <a:off x="457199" y="2462224"/>
            <a:ext cx="2700000" cy="3735376"/>
          </a:xfrm>
          <a:custGeom>
            <a:avLst/>
            <a:gdLst>
              <a:gd name="connsiteX0" fmla="*/ 0 w 3600000"/>
              <a:gd name="connsiteY0" fmla="*/ 0 h 3012602"/>
              <a:gd name="connsiteX1" fmla="*/ 1800001 w 3600000"/>
              <a:gd name="connsiteY1" fmla="*/ 265125 h 3012602"/>
              <a:gd name="connsiteX2" fmla="*/ 3600000 w 3600000"/>
              <a:gd name="connsiteY2" fmla="*/ 0 h 3012602"/>
              <a:gd name="connsiteX3" fmla="*/ 3600000 w 3600000"/>
              <a:gd name="connsiteY3" fmla="*/ 3012602 h 3012602"/>
              <a:gd name="connsiteX4" fmla="*/ 0 w 3600000"/>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3012602">
                <a:moveTo>
                  <a:pt x="0" y="0"/>
                </a:moveTo>
                <a:lnTo>
                  <a:pt x="1800001" y="265125"/>
                </a:lnTo>
                <a:lnTo>
                  <a:pt x="3600000" y="0"/>
                </a:lnTo>
                <a:lnTo>
                  <a:pt x="3600000" y="3012602"/>
                </a:lnTo>
                <a:lnTo>
                  <a:pt x="0" y="3012602"/>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6675" tIns="270000" rIns="66675" bIns="28575" rtlCol="0" anchor="t">
            <a:noAutofit/>
          </a:bodyPr>
          <a:lstStyle/>
          <a:p>
            <a:pPr marL="214308" indent="-214308" defTabSz="685800">
              <a:buFont typeface="Arial" panose="020B0604020202020204" pitchFamily="34" charset="0"/>
              <a:buChar char="•"/>
              <a:defRPr/>
            </a:pPr>
            <a:r>
              <a:rPr lang="en-US" sz="1200" b="1" kern="0">
                <a:solidFill>
                  <a:schemeClr val="tx1"/>
                </a:solidFill>
              </a:rPr>
              <a:t>Air quality: </a:t>
            </a:r>
            <a:r>
              <a:rPr lang="en-US" sz="1200" kern="0">
                <a:solidFill>
                  <a:schemeClr val="tx1"/>
                </a:solidFill>
              </a:rPr>
              <a:t>Implement initiatives to improve air quality by integrating more hybrid and electric vehicles into the fleet</a:t>
            </a:r>
          </a:p>
          <a:p>
            <a:pPr marL="214308" indent="-214308" defTabSz="685800">
              <a:buFont typeface="Arial" panose="020B0604020202020204" pitchFamily="34" charset="0"/>
              <a:buChar char="•"/>
              <a:defRPr/>
            </a:pPr>
            <a:r>
              <a:rPr lang="en-US" sz="1200" b="1" kern="0">
                <a:solidFill>
                  <a:schemeClr val="tx1"/>
                </a:solidFill>
              </a:rPr>
              <a:t>Climate Risks and Chances: </a:t>
            </a:r>
            <a:r>
              <a:rPr lang="en-US" sz="1200" kern="0">
                <a:solidFill>
                  <a:schemeClr val="tx1"/>
                </a:solidFill>
              </a:rPr>
              <a:t>Develop strategies to mitigate risks and capitalize on opportunities presented by the climate change, such as investing in sustainable technologies</a:t>
            </a:r>
          </a:p>
          <a:p>
            <a:pPr marL="214308" indent="-214308" defTabSz="685800">
              <a:buFont typeface="Arial" panose="020B0604020202020204" pitchFamily="34" charset="0"/>
              <a:buChar char="•"/>
              <a:defRPr/>
            </a:pPr>
            <a:r>
              <a:rPr lang="en-US" sz="1200" b="1" kern="0">
                <a:solidFill>
                  <a:schemeClr val="tx1"/>
                </a:solidFill>
              </a:rPr>
              <a:t>General Economic Sustainability: </a:t>
            </a:r>
            <a:r>
              <a:rPr lang="en-US" sz="1200" kern="0">
                <a:solidFill>
                  <a:schemeClr val="tx1"/>
                </a:solidFill>
              </a:rPr>
              <a:t>Adopt business practices that ensure long-term economic sustainability without compromising environmental integrity</a:t>
            </a:r>
          </a:p>
        </p:txBody>
      </p:sp>
      <p:sp>
        <p:nvSpPr>
          <p:cNvPr id="11" name="Nom4">
            <a:extLst>
              <a:ext uri="{FF2B5EF4-FFF2-40B4-BE49-F238E27FC236}">
                <a16:creationId xmlns:a16="http://schemas.microsoft.com/office/drawing/2014/main" id="{73B1394B-3A03-23F8-9D28-C3B29BFC450A}"/>
              </a:ext>
            </a:extLst>
          </p:cNvPr>
          <p:cNvSpPr/>
          <p:nvPr/>
        </p:nvSpPr>
        <p:spPr>
          <a:xfrm rot="5400000">
            <a:off x="1590857" y="1038146"/>
            <a:ext cx="432686" cy="2700000"/>
          </a:xfrm>
          <a:prstGeom prst="homePlat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algn="ctr" defTabSz="685800">
              <a:defRPr/>
            </a:pPr>
            <a:r>
              <a:rPr lang="en-US" sz="1200" b="1" kern="0"/>
              <a:t>Environment</a:t>
            </a:r>
          </a:p>
        </p:txBody>
      </p:sp>
      <p:sp>
        <p:nvSpPr>
          <p:cNvPr id="12" name="Nom3">
            <a:extLst>
              <a:ext uri="{FF2B5EF4-FFF2-40B4-BE49-F238E27FC236}">
                <a16:creationId xmlns:a16="http://schemas.microsoft.com/office/drawing/2014/main" id="{9C200FA7-74DC-9770-5029-C2FCA51E9D64}"/>
              </a:ext>
            </a:extLst>
          </p:cNvPr>
          <p:cNvSpPr/>
          <p:nvPr/>
        </p:nvSpPr>
        <p:spPr>
          <a:xfrm rot="5400000">
            <a:off x="4476305" y="1038146"/>
            <a:ext cx="432686" cy="270000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lang="en-US" sz="1200" b="1" kern="0"/>
              <a:t>Social</a:t>
            </a:r>
          </a:p>
        </p:txBody>
      </p:sp>
      <p:sp>
        <p:nvSpPr>
          <p:cNvPr id="13" name="Freeform: Shape 18">
            <a:extLst>
              <a:ext uri="{FF2B5EF4-FFF2-40B4-BE49-F238E27FC236}">
                <a16:creationId xmlns:a16="http://schemas.microsoft.com/office/drawing/2014/main" id="{70EDB747-8E18-CAFC-E6C6-73EFA9913650}"/>
              </a:ext>
            </a:extLst>
          </p:cNvPr>
          <p:cNvSpPr/>
          <p:nvPr/>
        </p:nvSpPr>
        <p:spPr>
          <a:xfrm>
            <a:off x="3342649" y="2462223"/>
            <a:ext cx="2699999" cy="3735376"/>
          </a:xfrm>
          <a:custGeom>
            <a:avLst/>
            <a:gdLst>
              <a:gd name="connsiteX0" fmla="*/ 0 w 3599998"/>
              <a:gd name="connsiteY0" fmla="*/ 0 h 3012602"/>
              <a:gd name="connsiteX1" fmla="*/ 1800000 w 3599998"/>
              <a:gd name="connsiteY1" fmla="*/ 265125 h 3012602"/>
              <a:gd name="connsiteX2" fmla="*/ 3599998 w 3599998"/>
              <a:gd name="connsiteY2" fmla="*/ 0 h 3012602"/>
              <a:gd name="connsiteX3" fmla="*/ 3599998 w 3599998"/>
              <a:gd name="connsiteY3" fmla="*/ 3012602 h 3012602"/>
              <a:gd name="connsiteX4" fmla="*/ 0 w 3599998"/>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8" h="3012602">
                <a:moveTo>
                  <a:pt x="0" y="0"/>
                </a:moveTo>
                <a:lnTo>
                  <a:pt x="1800000" y="265125"/>
                </a:lnTo>
                <a:lnTo>
                  <a:pt x="3599998" y="0"/>
                </a:lnTo>
                <a:lnTo>
                  <a:pt x="3599998" y="3012602"/>
                </a:lnTo>
                <a:lnTo>
                  <a:pt x="0" y="3012602"/>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6675" tIns="270000" rIns="66675" bIns="28575" rtlCol="0" anchor="t">
            <a:noAutofit/>
          </a:bodyPr>
          <a:lstStyle/>
          <a:p>
            <a:pPr marL="171450" indent="-171450">
              <a:buFont typeface="Arial" panose="020B0604020202020204" pitchFamily="34" charset="0"/>
              <a:buChar char="•"/>
              <a:defRPr/>
            </a:pPr>
            <a:r>
              <a:rPr lang="en-US" sz="1200" b="1" kern="0">
                <a:solidFill>
                  <a:schemeClr val="tx1"/>
                </a:solidFill>
              </a:rPr>
              <a:t>Safety and Well-being of Drivers and Customers</a:t>
            </a:r>
            <a:r>
              <a:rPr lang="en-US" sz="1200" kern="0">
                <a:solidFill>
                  <a:schemeClr val="tx1"/>
                </a:solidFill>
              </a:rPr>
              <a:t>: Enhance safety measures with advanced in-ride technologies and support systems for driver and passenger well-being</a:t>
            </a:r>
          </a:p>
          <a:p>
            <a:pPr marL="171450" indent="-171450">
              <a:buFont typeface="Arial" panose="020B0604020202020204" pitchFamily="34" charset="0"/>
              <a:buChar char="•"/>
              <a:defRPr/>
            </a:pPr>
            <a:r>
              <a:rPr lang="en-US" sz="1200" b="1" kern="0">
                <a:solidFill>
                  <a:schemeClr val="tx1"/>
                </a:solidFill>
              </a:rPr>
              <a:t>Diversity and Integration: </a:t>
            </a:r>
            <a:r>
              <a:rPr lang="en-US" sz="1200" kern="0">
                <a:solidFill>
                  <a:schemeClr val="tx1"/>
                </a:solidFill>
              </a:rPr>
              <a:t>Commit to creating an inclusive workplace and service that reflects the diversity of the communities served.</a:t>
            </a:r>
          </a:p>
          <a:p>
            <a:pPr marL="171450" indent="-171450">
              <a:buFont typeface="Arial" panose="020B0604020202020204" pitchFamily="34" charset="0"/>
              <a:buChar char="•"/>
              <a:defRPr/>
            </a:pPr>
            <a:r>
              <a:rPr lang="en-US" sz="1200" b="1" kern="0">
                <a:solidFill>
                  <a:schemeClr val="tx1"/>
                </a:solidFill>
              </a:rPr>
              <a:t>Human Rights</a:t>
            </a:r>
            <a:r>
              <a:rPr lang="en-US" sz="1200" kern="0">
                <a:solidFill>
                  <a:schemeClr val="tx1"/>
                </a:solidFill>
              </a:rPr>
              <a:t>: Uphold stringent human rights standards within the company and the supply chain.</a:t>
            </a:r>
          </a:p>
          <a:p>
            <a:pPr marL="171450" indent="-171450">
              <a:buFont typeface="Arial" panose="020B0604020202020204" pitchFamily="34" charset="0"/>
              <a:buChar char="•"/>
              <a:defRPr/>
            </a:pPr>
            <a:r>
              <a:rPr lang="en-US" sz="1200" b="1" kern="0">
                <a:solidFill>
                  <a:schemeClr val="tx1"/>
                </a:solidFill>
              </a:rPr>
              <a:t>Innovation: </a:t>
            </a:r>
            <a:r>
              <a:rPr lang="en-US" sz="1200" kern="0">
                <a:solidFill>
                  <a:schemeClr val="tx1"/>
                </a:solidFill>
              </a:rPr>
              <a:t>Invest in innovative technologies and services that enhance the user experience and improve societal impact.</a:t>
            </a:r>
          </a:p>
          <a:p>
            <a:pPr marL="214308" indent="-214308">
              <a:buFont typeface="Arial" panose="020B0604020202020204" pitchFamily="34" charset="0"/>
              <a:buChar char="•"/>
              <a:defRPr/>
            </a:pPr>
            <a:endParaRPr lang="en-US" sz="1200" kern="0">
              <a:solidFill>
                <a:schemeClr val="tx1"/>
              </a:solidFill>
            </a:endParaRPr>
          </a:p>
          <a:p>
            <a:pPr>
              <a:defRPr/>
            </a:pPr>
            <a:endParaRPr lang="en-US" sz="1200" kern="0">
              <a:solidFill>
                <a:schemeClr val="tx1"/>
              </a:solidFill>
            </a:endParaRPr>
          </a:p>
        </p:txBody>
      </p:sp>
      <p:sp>
        <p:nvSpPr>
          <p:cNvPr id="14" name="Nom2">
            <a:extLst>
              <a:ext uri="{FF2B5EF4-FFF2-40B4-BE49-F238E27FC236}">
                <a16:creationId xmlns:a16="http://schemas.microsoft.com/office/drawing/2014/main" id="{82AF2894-1A53-B411-4AC0-D81A8B861B8C}"/>
              </a:ext>
            </a:extLst>
          </p:cNvPr>
          <p:cNvSpPr/>
          <p:nvPr/>
        </p:nvSpPr>
        <p:spPr>
          <a:xfrm rot="5400000">
            <a:off x="7361758" y="1038146"/>
            <a:ext cx="432686" cy="2700000"/>
          </a:xfrm>
          <a:prstGeom prst="homePlat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lvl="0" algn="ctr">
              <a:defRPr/>
            </a:pPr>
            <a:r>
              <a:rPr lang="en-US" sz="1200" b="1" kern="0"/>
              <a:t>Governance</a:t>
            </a:r>
          </a:p>
        </p:txBody>
      </p:sp>
      <p:sp>
        <p:nvSpPr>
          <p:cNvPr id="15" name="Freeform: Shape 19">
            <a:extLst>
              <a:ext uri="{FF2B5EF4-FFF2-40B4-BE49-F238E27FC236}">
                <a16:creationId xmlns:a16="http://schemas.microsoft.com/office/drawing/2014/main" id="{675AC80F-DFFB-87ED-1489-FE9D5803DA55}"/>
              </a:ext>
            </a:extLst>
          </p:cNvPr>
          <p:cNvSpPr/>
          <p:nvPr/>
        </p:nvSpPr>
        <p:spPr>
          <a:xfrm>
            <a:off x="6228101" y="2462223"/>
            <a:ext cx="2699999" cy="3735376"/>
          </a:xfrm>
          <a:custGeom>
            <a:avLst/>
            <a:gdLst>
              <a:gd name="connsiteX0" fmla="*/ 0 w 3599999"/>
              <a:gd name="connsiteY0" fmla="*/ 0 h 3012602"/>
              <a:gd name="connsiteX1" fmla="*/ 1800001 w 3599999"/>
              <a:gd name="connsiteY1" fmla="*/ 265125 h 3012602"/>
              <a:gd name="connsiteX2" fmla="*/ 3599999 w 3599999"/>
              <a:gd name="connsiteY2" fmla="*/ 0 h 3012602"/>
              <a:gd name="connsiteX3" fmla="*/ 3599999 w 3599999"/>
              <a:gd name="connsiteY3" fmla="*/ 3012602 h 3012602"/>
              <a:gd name="connsiteX4" fmla="*/ 0 w 3599999"/>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9" h="3012602">
                <a:moveTo>
                  <a:pt x="0" y="0"/>
                </a:moveTo>
                <a:lnTo>
                  <a:pt x="1800001" y="265125"/>
                </a:lnTo>
                <a:lnTo>
                  <a:pt x="3599999" y="0"/>
                </a:lnTo>
                <a:lnTo>
                  <a:pt x="3599999" y="3012602"/>
                </a:lnTo>
                <a:lnTo>
                  <a:pt x="0" y="3012602"/>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6675" tIns="270000" rIns="66675" bIns="28575" rtlCol="0" anchor="t">
            <a:noAutofit/>
          </a:bodyPr>
          <a:lstStyle/>
          <a:p>
            <a:pPr marL="214308" indent="-214308">
              <a:buFont typeface="Arial" panose="020B0604020202020204" pitchFamily="34" charset="0"/>
              <a:buChar char="•"/>
              <a:defRPr/>
            </a:pPr>
            <a:r>
              <a:rPr lang="en-US" sz="1200" b="1" kern="0">
                <a:solidFill>
                  <a:schemeClr val="tx1"/>
                </a:solidFill>
              </a:rPr>
              <a:t>ESG-Governance: </a:t>
            </a:r>
            <a:r>
              <a:rPr lang="en-US" sz="1200" kern="0">
                <a:solidFill>
                  <a:schemeClr val="tx1"/>
                </a:solidFill>
              </a:rPr>
              <a:t>Strengthen governance structures to oversee and integrate ESG priorities effectively across all levels of the organization.</a:t>
            </a:r>
          </a:p>
          <a:p>
            <a:pPr marL="214308" indent="-214308">
              <a:buFont typeface="Arial" panose="020B0604020202020204" pitchFamily="34" charset="0"/>
              <a:buChar char="•"/>
              <a:defRPr/>
            </a:pPr>
            <a:r>
              <a:rPr lang="en-US" sz="1200" b="1" kern="0">
                <a:solidFill>
                  <a:schemeClr val="tx1"/>
                </a:solidFill>
              </a:rPr>
              <a:t>Regulatory Changes: </a:t>
            </a:r>
            <a:r>
              <a:rPr lang="en-US" sz="1200" kern="0">
                <a:solidFill>
                  <a:schemeClr val="tx1"/>
                </a:solidFill>
              </a:rPr>
              <a:t>Stay proactive in adapting to global regulatory changes affecting the transportation and technology sectors.</a:t>
            </a:r>
          </a:p>
          <a:p>
            <a:pPr marL="214308" indent="-214308">
              <a:buFont typeface="Arial" panose="020B0604020202020204" pitchFamily="34" charset="0"/>
              <a:buChar char="•"/>
              <a:defRPr/>
            </a:pPr>
            <a:r>
              <a:rPr lang="en-US" sz="1200" b="1" kern="0">
                <a:solidFill>
                  <a:schemeClr val="tx1"/>
                </a:solidFill>
              </a:rPr>
              <a:t>Lobbying and Political Campaigning: </a:t>
            </a:r>
            <a:r>
              <a:rPr lang="en-US" sz="1200" kern="0">
                <a:solidFill>
                  <a:schemeClr val="tx1"/>
                </a:solidFill>
              </a:rPr>
              <a:t>Maintain ethical lobbying practices and transparent political contributions.</a:t>
            </a:r>
          </a:p>
          <a:p>
            <a:pPr marL="214308" indent="-214308">
              <a:buFont typeface="Arial" panose="020B0604020202020204" pitchFamily="34" charset="0"/>
              <a:buChar char="•"/>
              <a:defRPr/>
            </a:pPr>
            <a:r>
              <a:rPr lang="en-US" sz="1200" b="1" kern="0">
                <a:solidFill>
                  <a:schemeClr val="tx1"/>
                </a:solidFill>
              </a:rPr>
              <a:t>Data Safety</a:t>
            </a:r>
            <a:r>
              <a:rPr lang="en-US" sz="1200" kern="0">
                <a:solidFill>
                  <a:schemeClr val="tx1"/>
                </a:solidFill>
              </a:rPr>
              <a:t>: Ensure the highest standards of data privacy and security for users and employees.</a:t>
            </a:r>
          </a:p>
        </p:txBody>
      </p:sp>
      <p:sp>
        <p:nvSpPr>
          <p:cNvPr id="2" name="Foliennummernplatzhalter 3">
            <a:extLst>
              <a:ext uri="{FF2B5EF4-FFF2-40B4-BE49-F238E27FC236}">
                <a16:creationId xmlns:a16="http://schemas.microsoft.com/office/drawing/2014/main" id="{F7EAD545-6CB8-5737-97BC-F51B3141C08C}"/>
              </a:ext>
            </a:extLst>
          </p:cNvPr>
          <p:cNvSpPr>
            <a:spLocks noGrp="1"/>
          </p:cNvSpPr>
          <p:nvPr>
            <p:ph type="sldNum" sz="quarter" idx="4"/>
          </p:nvPr>
        </p:nvSpPr>
        <p:spPr>
          <a:xfrm>
            <a:off x="8620125" y="6517499"/>
            <a:ext cx="308504" cy="180000"/>
          </a:xfrm>
        </p:spPr>
        <p:txBody>
          <a:bodyPr/>
          <a:lstStyle/>
          <a:p>
            <a:fld id="{BAF04893-69FB-435D-AB2E-CA259D85B32F}" type="slidenum">
              <a:rPr lang="en-US" smtClean="0"/>
              <a:pPr/>
              <a:t>51</a:t>
            </a:fld>
            <a:endParaRPr lang="en-US"/>
          </a:p>
        </p:txBody>
      </p:sp>
    </p:spTree>
    <p:extLst>
      <p:ext uri="{BB962C8B-B14F-4D97-AF65-F5344CB8AC3E}">
        <p14:creationId xmlns:p14="http://schemas.microsoft.com/office/powerpoint/2010/main" val="8012360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72921D6-4295-BF0A-DA24-43A86B04CE6C}"/>
              </a:ext>
            </a:extLst>
          </p:cNvPr>
          <p:cNvGraphicFramePr>
            <a:graphicFrameLocks noChangeAspect="1"/>
          </p:cNvGraphicFramePr>
          <p:nvPr>
            <p:custDataLst>
              <p:tags r:id="rId2"/>
            </p:custDataLst>
            <p:extLst>
              <p:ext uri="{D42A27DB-BD31-4B8C-83A1-F6EECF244321}">
                <p14:modId xmlns:p14="http://schemas.microsoft.com/office/powerpoint/2010/main" val="1231907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8" name="think-cell data - do not delete" hidden="1">
                        <a:extLst>
                          <a:ext uri="{FF2B5EF4-FFF2-40B4-BE49-F238E27FC236}">
                            <a16:creationId xmlns:a16="http://schemas.microsoft.com/office/drawing/2014/main" id="{B72921D6-4295-BF0A-DA24-43A86B04CE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itle 1"/>
          <p:cNvSpPr>
            <a:spLocks noGrp="1"/>
          </p:cNvSpPr>
          <p:nvPr>
            <p:ph type="title"/>
          </p:nvPr>
        </p:nvSpPr>
        <p:spPr>
          <a:ln>
            <a:solidFill>
              <a:schemeClr val="bg1"/>
            </a:solidFill>
          </a:ln>
        </p:spPr>
        <p:txBody>
          <a:bodyPr vert="horz" lIns="0" tIns="0" rIns="0" bIns="0">
            <a:noAutofit/>
          </a:bodyPr>
          <a:lstStyle/>
          <a:p>
            <a:r>
              <a:rPr lang="en-US"/>
              <a:t>Uber generally aligns well with the SDG Goals of the United Nations through its different ESG-Initiatives</a:t>
            </a:r>
          </a:p>
        </p:txBody>
      </p:sp>
      <p:sp>
        <p:nvSpPr>
          <p:cNvPr id="4" name="Inhaltsplatzhalter 3">
            <a:extLst>
              <a:ext uri="{FF2B5EF4-FFF2-40B4-BE49-F238E27FC236}">
                <a16:creationId xmlns:a16="http://schemas.microsoft.com/office/drawing/2014/main" id="{7E9D4D57-C012-C642-9267-75501651B22E}"/>
              </a:ext>
            </a:extLst>
          </p:cNvPr>
          <p:cNvSpPr>
            <a:spLocks noGrp="1"/>
          </p:cNvSpPr>
          <p:nvPr>
            <p:ph idx="10"/>
          </p:nvPr>
        </p:nvSpPr>
        <p:spPr/>
        <p:txBody>
          <a:bodyPr/>
          <a:lstStyle/>
          <a:p>
            <a:r>
              <a:rPr lang="en-US"/>
              <a:t> SDG Alignment</a:t>
            </a:r>
          </a:p>
        </p:txBody>
      </p:sp>
      <p:sp>
        <p:nvSpPr>
          <p:cNvPr id="5" name="Inhaltsplatzhalter 4">
            <a:extLst>
              <a:ext uri="{FF2B5EF4-FFF2-40B4-BE49-F238E27FC236}">
                <a16:creationId xmlns:a16="http://schemas.microsoft.com/office/drawing/2014/main" id="{41B67B3C-E9EC-2F3E-A70E-C9031AE86237}"/>
              </a:ext>
            </a:extLst>
          </p:cNvPr>
          <p:cNvSpPr>
            <a:spLocks noGrp="1"/>
          </p:cNvSpPr>
          <p:nvPr>
            <p:ph idx="11"/>
          </p:nvPr>
        </p:nvSpPr>
        <p:spPr/>
        <p:txBody>
          <a:bodyPr/>
          <a:lstStyle/>
          <a:p>
            <a:r>
              <a:rPr lang="en-US"/>
              <a:t>SDGs United Nations, Uber ESG-Report</a:t>
            </a:r>
          </a:p>
        </p:txBody>
      </p:sp>
      <p:sp>
        <p:nvSpPr>
          <p:cNvPr id="6" name="Inhaltsplatzhalter 5">
            <a:extLst>
              <a:ext uri="{FF2B5EF4-FFF2-40B4-BE49-F238E27FC236}">
                <a16:creationId xmlns:a16="http://schemas.microsoft.com/office/drawing/2014/main" id="{2A95E1B2-1BF0-D5CD-225E-EAD02897945A}"/>
              </a:ext>
            </a:extLst>
          </p:cNvPr>
          <p:cNvSpPr>
            <a:spLocks noGrp="1"/>
          </p:cNvSpPr>
          <p:nvPr>
            <p:ph idx="12"/>
          </p:nvPr>
        </p:nvSpPr>
        <p:spPr/>
        <p:txBody>
          <a:bodyPr/>
          <a:lstStyle/>
          <a:p>
            <a:r>
              <a:rPr lang="en-US"/>
              <a:t>ESG</a:t>
            </a:r>
          </a:p>
        </p:txBody>
      </p:sp>
      <p:sp>
        <p:nvSpPr>
          <p:cNvPr id="23" name="Textfeld 22">
            <a:extLst>
              <a:ext uri="{FF2B5EF4-FFF2-40B4-BE49-F238E27FC236}">
                <a16:creationId xmlns:a16="http://schemas.microsoft.com/office/drawing/2014/main" id="{CA1B20F7-AF25-BA03-C93C-CA2FE59B440F}"/>
              </a:ext>
            </a:extLst>
          </p:cNvPr>
          <p:cNvSpPr txBox="1"/>
          <p:nvPr/>
        </p:nvSpPr>
        <p:spPr>
          <a:xfrm>
            <a:off x="359997" y="2475568"/>
            <a:ext cx="2503853" cy="1938992"/>
          </a:xfrm>
          <a:prstGeom prst="rect">
            <a:avLst/>
          </a:prstGeom>
          <a:noFill/>
        </p:spPr>
        <p:txBody>
          <a:bodyPr wrap="square">
            <a:spAutoFit/>
          </a:bodyPr>
          <a:lstStyle/>
          <a:p>
            <a:pPr marL="171450" indent="-171450">
              <a:buFont typeface="Arial" panose="020B0604020202020204" pitchFamily="34" charset="0"/>
              <a:buChar char="•"/>
            </a:pPr>
            <a:r>
              <a:rPr lang="en-US" sz="1200"/>
              <a:t>High alignment with SDGs, particularly in advancing clean energy, sustainable cities, and climate action</a:t>
            </a:r>
          </a:p>
          <a:p>
            <a:pPr marL="171450" indent="-171450">
              <a:buFont typeface="Arial" panose="020B0604020202020204" pitchFamily="34" charset="0"/>
              <a:buChar char="•"/>
            </a:pPr>
            <a:r>
              <a:rPr lang="en-US" sz="1200"/>
              <a:t>Emphasizes innovation in transportation technology to reduce carbon emissions.</a:t>
            </a:r>
          </a:p>
          <a:p>
            <a:pPr marL="171450" indent="-171450">
              <a:buFont typeface="Arial" panose="020B0604020202020204" pitchFamily="34" charset="0"/>
              <a:buChar char="•"/>
            </a:pPr>
            <a:r>
              <a:rPr lang="en-US" sz="1200"/>
              <a:t>Prioritizes partnerships and tracking to ensure environmental accountability and progress</a:t>
            </a:r>
          </a:p>
        </p:txBody>
      </p:sp>
      <p:sp>
        <p:nvSpPr>
          <p:cNvPr id="24" name="Textfeld 23">
            <a:extLst>
              <a:ext uri="{FF2B5EF4-FFF2-40B4-BE49-F238E27FC236}">
                <a16:creationId xmlns:a16="http://schemas.microsoft.com/office/drawing/2014/main" id="{8DA32ECE-FAC7-524A-76D0-E18C8074FDD9}"/>
              </a:ext>
            </a:extLst>
          </p:cNvPr>
          <p:cNvSpPr txBox="1"/>
          <p:nvPr/>
        </p:nvSpPr>
        <p:spPr>
          <a:xfrm>
            <a:off x="3390375" y="2475568"/>
            <a:ext cx="2505600" cy="2123658"/>
          </a:xfrm>
          <a:prstGeom prst="rect">
            <a:avLst/>
          </a:prstGeom>
          <a:noFill/>
        </p:spPr>
        <p:txBody>
          <a:bodyPr wrap="square">
            <a:spAutoFit/>
          </a:bodyPr>
          <a:lstStyle/>
          <a:p>
            <a:pPr marL="171450" indent="-171450">
              <a:buFont typeface="Arial" panose="020B0604020202020204" pitchFamily="34" charset="0"/>
              <a:buChar char="•"/>
            </a:pPr>
            <a:r>
              <a:rPr lang="en-US" sz="1200"/>
              <a:t>High alignment with SDGs, focusing on health, reducing inequalities, and economic opportunities for underserved communities</a:t>
            </a:r>
          </a:p>
          <a:p>
            <a:pPr marL="171450" indent="-171450">
              <a:buFont typeface="Arial" panose="020B0604020202020204" pitchFamily="34" charset="0"/>
              <a:buChar char="•"/>
            </a:pPr>
            <a:r>
              <a:rPr lang="en-US" sz="1200"/>
              <a:t>Promotes gender equality and flexible work arrangements to support diverse workforce needs.</a:t>
            </a:r>
          </a:p>
          <a:p>
            <a:pPr marL="171450" indent="-171450">
              <a:buFont typeface="Arial" panose="020B0604020202020204" pitchFamily="34" charset="0"/>
              <a:buChar char="•"/>
            </a:pPr>
            <a:r>
              <a:rPr lang="en-US" sz="1200"/>
              <a:t>Engages in community and disaster response initiatives to support resilient social structures</a:t>
            </a:r>
          </a:p>
        </p:txBody>
      </p:sp>
      <p:sp>
        <p:nvSpPr>
          <p:cNvPr id="25" name="Textfeld 24">
            <a:extLst>
              <a:ext uri="{FF2B5EF4-FFF2-40B4-BE49-F238E27FC236}">
                <a16:creationId xmlns:a16="http://schemas.microsoft.com/office/drawing/2014/main" id="{3662099C-B53E-C473-C66F-E0798294A303}"/>
              </a:ext>
            </a:extLst>
          </p:cNvPr>
          <p:cNvSpPr txBox="1"/>
          <p:nvPr/>
        </p:nvSpPr>
        <p:spPr>
          <a:xfrm>
            <a:off x="6422500" y="2475226"/>
            <a:ext cx="2505600" cy="1754326"/>
          </a:xfrm>
          <a:prstGeom prst="rect">
            <a:avLst/>
          </a:prstGeom>
          <a:noFill/>
        </p:spPr>
        <p:txBody>
          <a:bodyPr wrap="square">
            <a:spAutoFit/>
          </a:bodyPr>
          <a:lstStyle/>
          <a:p>
            <a:pPr marL="171450" indent="-171450">
              <a:buFont typeface="Arial" panose="020B0604020202020204" pitchFamily="34" charset="0"/>
              <a:buChar char="•"/>
            </a:pPr>
            <a:r>
              <a:rPr lang="en-US" sz="1200"/>
              <a:t>High alignment, with strong focus on diversity in workforce and ethical business practices</a:t>
            </a:r>
          </a:p>
          <a:p>
            <a:pPr marL="171450" indent="-171450">
              <a:buFont typeface="Arial" panose="020B0604020202020204" pitchFamily="34" charset="0"/>
              <a:buChar char="•"/>
            </a:pPr>
            <a:r>
              <a:rPr lang="en-US" sz="1200"/>
              <a:t>Encourages transparency and accountability through detailed reporting and verification</a:t>
            </a:r>
          </a:p>
          <a:p>
            <a:pPr marL="171450" indent="-171450">
              <a:buFont typeface="Arial" panose="020B0604020202020204" pitchFamily="34" charset="0"/>
              <a:buChar char="•"/>
            </a:pPr>
            <a:r>
              <a:rPr lang="en-US" sz="1200"/>
              <a:t>Advocates for inclusive governance and fair practices across the corporate structure</a:t>
            </a:r>
          </a:p>
        </p:txBody>
      </p:sp>
      <p:cxnSp>
        <p:nvCxnSpPr>
          <p:cNvPr id="28" name="Gerader Verbinder 27">
            <a:extLst>
              <a:ext uri="{FF2B5EF4-FFF2-40B4-BE49-F238E27FC236}">
                <a16:creationId xmlns:a16="http://schemas.microsoft.com/office/drawing/2014/main" id="{4826A400-27C8-28A8-94AC-AE03DE69832C}"/>
              </a:ext>
            </a:extLst>
          </p:cNvPr>
          <p:cNvCxnSpPr>
            <a:cxnSpLocks/>
          </p:cNvCxnSpPr>
          <p:nvPr/>
        </p:nvCxnSpPr>
        <p:spPr>
          <a:xfrm>
            <a:off x="3022600" y="2240280"/>
            <a:ext cx="0" cy="2358946"/>
          </a:xfrm>
          <a:prstGeom prst="line">
            <a:avLst/>
          </a:prstGeom>
        </p:spPr>
        <p:style>
          <a:lnRef idx="1">
            <a:schemeClr val="accent2"/>
          </a:lnRef>
          <a:fillRef idx="0">
            <a:schemeClr val="accent2"/>
          </a:fillRef>
          <a:effectRef idx="0">
            <a:schemeClr val="accent2"/>
          </a:effectRef>
          <a:fontRef idx="minor">
            <a:schemeClr val="tx1"/>
          </a:fontRef>
        </p:style>
      </p:cxnSp>
      <p:cxnSp>
        <p:nvCxnSpPr>
          <p:cNvPr id="29" name="Gerader Verbinder 28">
            <a:extLst>
              <a:ext uri="{FF2B5EF4-FFF2-40B4-BE49-F238E27FC236}">
                <a16:creationId xmlns:a16="http://schemas.microsoft.com/office/drawing/2014/main" id="{4B1FEBCE-89DA-A41F-6D0E-4064241E3049}"/>
              </a:ext>
            </a:extLst>
          </p:cNvPr>
          <p:cNvCxnSpPr>
            <a:cxnSpLocks/>
          </p:cNvCxnSpPr>
          <p:nvPr/>
        </p:nvCxnSpPr>
        <p:spPr>
          <a:xfrm>
            <a:off x="6153150" y="2240280"/>
            <a:ext cx="0" cy="2358946"/>
          </a:xfrm>
          <a:prstGeom prst="line">
            <a:avLst/>
          </a:prstGeom>
        </p:spPr>
        <p:style>
          <a:lnRef idx="1">
            <a:schemeClr val="accent2"/>
          </a:lnRef>
          <a:fillRef idx="0">
            <a:schemeClr val="accent2"/>
          </a:fillRef>
          <a:effectRef idx="0">
            <a:schemeClr val="accent2"/>
          </a:effectRef>
          <a:fontRef idx="minor">
            <a:schemeClr val="tx1"/>
          </a:fontRef>
        </p:style>
      </p:cxnSp>
      <p:sp>
        <p:nvSpPr>
          <p:cNvPr id="30" name="Textfeld 29">
            <a:extLst>
              <a:ext uri="{FF2B5EF4-FFF2-40B4-BE49-F238E27FC236}">
                <a16:creationId xmlns:a16="http://schemas.microsoft.com/office/drawing/2014/main" id="{010EF957-9069-E418-FA7D-E5C27D38F8A2}"/>
              </a:ext>
            </a:extLst>
          </p:cNvPr>
          <p:cNvSpPr txBox="1"/>
          <p:nvPr/>
        </p:nvSpPr>
        <p:spPr>
          <a:xfrm>
            <a:off x="359996" y="2119630"/>
            <a:ext cx="2503853" cy="276999"/>
          </a:xfrm>
          <a:prstGeom prst="rect">
            <a:avLst/>
          </a:prstGeom>
          <a:noFill/>
        </p:spPr>
        <p:txBody>
          <a:bodyPr wrap="square">
            <a:spAutoFit/>
          </a:bodyPr>
          <a:lstStyle/>
          <a:p>
            <a:r>
              <a:rPr lang="en-US" sz="1200" b="1"/>
              <a:t>Environmental</a:t>
            </a:r>
          </a:p>
        </p:txBody>
      </p:sp>
      <p:sp>
        <p:nvSpPr>
          <p:cNvPr id="31" name="Textfeld 30">
            <a:extLst>
              <a:ext uri="{FF2B5EF4-FFF2-40B4-BE49-F238E27FC236}">
                <a16:creationId xmlns:a16="http://schemas.microsoft.com/office/drawing/2014/main" id="{4267EE7D-0407-EE3E-F796-36E4B0C2903A}"/>
              </a:ext>
            </a:extLst>
          </p:cNvPr>
          <p:cNvSpPr txBox="1"/>
          <p:nvPr/>
        </p:nvSpPr>
        <p:spPr>
          <a:xfrm>
            <a:off x="3335949" y="2119629"/>
            <a:ext cx="2503853" cy="276999"/>
          </a:xfrm>
          <a:prstGeom prst="rect">
            <a:avLst/>
          </a:prstGeom>
          <a:noFill/>
        </p:spPr>
        <p:txBody>
          <a:bodyPr wrap="square">
            <a:spAutoFit/>
          </a:bodyPr>
          <a:lstStyle/>
          <a:p>
            <a:r>
              <a:rPr lang="en-US" sz="1200" b="1"/>
              <a:t>Social</a:t>
            </a:r>
          </a:p>
        </p:txBody>
      </p:sp>
      <p:sp>
        <p:nvSpPr>
          <p:cNvPr id="32" name="Textfeld 31">
            <a:extLst>
              <a:ext uri="{FF2B5EF4-FFF2-40B4-BE49-F238E27FC236}">
                <a16:creationId xmlns:a16="http://schemas.microsoft.com/office/drawing/2014/main" id="{22518558-CFAC-D1DE-9BDC-2EF3BE87523F}"/>
              </a:ext>
            </a:extLst>
          </p:cNvPr>
          <p:cNvSpPr txBox="1"/>
          <p:nvPr/>
        </p:nvSpPr>
        <p:spPr>
          <a:xfrm>
            <a:off x="6311902" y="2119628"/>
            <a:ext cx="2503853" cy="276999"/>
          </a:xfrm>
          <a:prstGeom prst="rect">
            <a:avLst/>
          </a:prstGeom>
          <a:noFill/>
        </p:spPr>
        <p:txBody>
          <a:bodyPr wrap="square">
            <a:spAutoFit/>
          </a:bodyPr>
          <a:lstStyle/>
          <a:p>
            <a:r>
              <a:rPr lang="en-US" sz="1200" b="1"/>
              <a:t>Governance</a:t>
            </a:r>
          </a:p>
        </p:txBody>
      </p:sp>
      <p:cxnSp>
        <p:nvCxnSpPr>
          <p:cNvPr id="37" name="Gerader Verbinder 36">
            <a:extLst>
              <a:ext uri="{FF2B5EF4-FFF2-40B4-BE49-F238E27FC236}">
                <a16:creationId xmlns:a16="http://schemas.microsoft.com/office/drawing/2014/main" id="{28CFDE56-E500-E9B7-C853-8A8FBD5A9F75}"/>
              </a:ext>
            </a:extLst>
          </p:cNvPr>
          <p:cNvCxnSpPr>
            <a:cxnSpLocks/>
          </p:cNvCxnSpPr>
          <p:nvPr/>
        </p:nvCxnSpPr>
        <p:spPr>
          <a:xfrm flipH="1">
            <a:off x="444500" y="4738926"/>
            <a:ext cx="8261350" cy="0"/>
          </a:xfrm>
          <a:prstGeom prst="line">
            <a:avLst/>
          </a:prstGeom>
        </p:spPr>
        <p:style>
          <a:lnRef idx="1">
            <a:schemeClr val="accent2"/>
          </a:lnRef>
          <a:fillRef idx="0">
            <a:schemeClr val="accent2"/>
          </a:fillRef>
          <a:effectRef idx="0">
            <a:schemeClr val="accent2"/>
          </a:effectRef>
          <a:fontRef idx="minor">
            <a:schemeClr val="tx1"/>
          </a:fontRef>
        </p:style>
      </p:cxnSp>
      <p:sp>
        <p:nvSpPr>
          <p:cNvPr id="41" name="Textfeld 40">
            <a:extLst>
              <a:ext uri="{FF2B5EF4-FFF2-40B4-BE49-F238E27FC236}">
                <a16:creationId xmlns:a16="http://schemas.microsoft.com/office/drawing/2014/main" id="{40F6D3F8-2570-3C5D-0446-01736B598A28}"/>
              </a:ext>
            </a:extLst>
          </p:cNvPr>
          <p:cNvSpPr txBox="1"/>
          <p:nvPr/>
        </p:nvSpPr>
        <p:spPr>
          <a:xfrm>
            <a:off x="359995" y="4841071"/>
            <a:ext cx="8455760" cy="1569660"/>
          </a:xfrm>
          <a:prstGeom prst="rect">
            <a:avLst/>
          </a:prstGeom>
          <a:noFill/>
        </p:spPr>
        <p:txBody>
          <a:bodyPr wrap="square">
            <a:spAutoFit/>
          </a:bodyPr>
          <a:lstStyle/>
          <a:p>
            <a:pPr marL="171450" indent="-171450">
              <a:buFont typeface="Arial" panose="020B0604020202020204" pitchFamily="34" charset="0"/>
              <a:buChar char="•"/>
            </a:pPr>
            <a:r>
              <a:rPr lang="en-US" sz="1200" b="1"/>
              <a:t>Environmental and Social: </a:t>
            </a:r>
            <a:r>
              <a:rPr lang="en-US" sz="1200"/>
              <a:t>Uber demonstrates a high alignment with environmental and social SDGs through a focused approach on clean energy, innovation, community support, and health initiatives</a:t>
            </a:r>
          </a:p>
          <a:p>
            <a:pPr marL="171450" indent="-171450">
              <a:buFont typeface="Arial" panose="020B0604020202020204" pitchFamily="34" charset="0"/>
              <a:buChar char="•"/>
            </a:pPr>
            <a:r>
              <a:rPr lang="en-US" sz="1200" b="1"/>
              <a:t>Governance</a:t>
            </a:r>
            <a:r>
              <a:rPr lang="en-US" sz="1200"/>
              <a:t>: The company also shows a high alignment in governance, with substantial efforts towards diversity, transparency, and ethical practices that support strong institutional frameworks</a:t>
            </a:r>
          </a:p>
          <a:p>
            <a:endParaRPr lang="en-US" sz="1200"/>
          </a:p>
          <a:p>
            <a:pPr marL="171450" indent="-171450">
              <a:buFont typeface="Arial" panose="020B0604020202020204" pitchFamily="34" charset="0"/>
              <a:buChar char="•"/>
            </a:pPr>
            <a:r>
              <a:rPr lang="en-US" sz="1200" b="1"/>
              <a:t>Comprehensive Strategy</a:t>
            </a:r>
            <a:r>
              <a:rPr lang="en-US" sz="1200"/>
              <a:t>: Across all ESG categories, Uber's comprehensive strategy indicates a strong commitment to integrating SDG-related objectives into their operations and corporate ethos.</a:t>
            </a:r>
          </a:p>
          <a:p>
            <a:pPr marL="171450" indent="-171450">
              <a:buFont typeface="Arial" panose="020B0604020202020204" pitchFamily="34" charset="0"/>
              <a:buChar char="•"/>
            </a:pPr>
            <a:endParaRPr lang="en-US" sz="1200"/>
          </a:p>
        </p:txBody>
      </p:sp>
      <p:sp>
        <p:nvSpPr>
          <p:cNvPr id="42" name="Rechteck: abgerundete Ecken 41">
            <a:extLst>
              <a:ext uri="{FF2B5EF4-FFF2-40B4-BE49-F238E27FC236}">
                <a16:creationId xmlns:a16="http://schemas.microsoft.com/office/drawing/2014/main" id="{A50A530A-9289-0AC7-4E0F-FBAC59C10D90}"/>
              </a:ext>
            </a:extLst>
          </p:cNvPr>
          <p:cNvSpPr/>
          <p:nvPr/>
        </p:nvSpPr>
        <p:spPr>
          <a:xfrm>
            <a:off x="2283621" y="2182939"/>
            <a:ext cx="626634" cy="150375"/>
          </a:xfrm>
          <a:prstGeom prst="roundRect">
            <a:avLst>
              <a:gd name="adj" fmla="val 50000"/>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Ellipse 42">
            <a:extLst>
              <a:ext uri="{FF2B5EF4-FFF2-40B4-BE49-F238E27FC236}">
                <a16:creationId xmlns:a16="http://schemas.microsoft.com/office/drawing/2014/main" id="{9E5F4FFF-157B-C135-D08C-909D2CDAB2FB}"/>
              </a:ext>
            </a:extLst>
          </p:cNvPr>
          <p:cNvSpPr/>
          <p:nvPr/>
        </p:nvSpPr>
        <p:spPr>
          <a:xfrm>
            <a:off x="2554652" y="2168126"/>
            <a:ext cx="180000" cy="180000"/>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hteck: abgerundete Ecken 43">
            <a:extLst>
              <a:ext uri="{FF2B5EF4-FFF2-40B4-BE49-F238E27FC236}">
                <a16:creationId xmlns:a16="http://schemas.microsoft.com/office/drawing/2014/main" id="{5A1A94E0-34E8-FE4D-802D-D319F4A5A787}"/>
              </a:ext>
            </a:extLst>
          </p:cNvPr>
          <p:cNvSpPr/>
          <p:nvPr/>
        </p:nvSpPr>
        <p:spPr>
          <a:xfrm>
            <a:off x="5414171" y="2182939"/>
            <a:ext cx="626634" cy="150375"/>
          </a:xfrm>
          <a:prstGeom prst="roundRect">
            <a:avLst>
              <a:gd name="adj" fmla="val 50000"/>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Ellipse 44">
            <a:extLst>
              <a:ext uri="{FF2B5EF4-FFF2-40B4-BE49-F238E27FC236}">
                <a16:creationId xmlns:a16="http://schemas.microsoft.com/office/drawing/2014/main" id="{3BFF4756-CE38-3D8C-BD0C-AE8C2C99CADC}"/>
              </a:ext>
            </a:extLst>
          </p:cNvPr>
          <p:cNvSpPr/>
          <p:nvPr/>
        </p:nvSpPr>
        <p:spPr>
          <a:xfrm>
            <a:off x="5628052" y="2168126"/>
            <a:ext cx="180000" cy="180000"/>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hteck: abgerundete Ecken 45">
            <a:extLst>
              <a:ext uri="{FF2B5EF4-FFF2-40B4-BE49-F238E27FC236}">
                <a16:creationId xmlns:a16="http://schemas.microsoft.com/office/drawing/2014/main" id="{A536E3BC-6D83-AD38-3ED6-294E7A5148C4}"/>
              </a:ext>
            </a:extLst>
          </p:cNvPr>
          <p:cNvSpPr/>
          <p:nvPr/>
        </p:nvSpPr>
        <p:spPr>
          <a:xfrm>
            <a:off x="8305377" y="2176597"/>
            <a:ext cx="626634" cy="150375"/>
          </a:xfrm>
          <a:prstGeom prst="roundRect">
            <a:avLst>
              <a:gd name="adj" fmla="val 50000"/>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Ellipse 46">
            <a:extLst>
              <a:ext uri="{FF2B5EF4-FFF2-40B4-BE49-F238E27FC236}">
                <a16:creationId xmlns:a16="http://schemas.microsoft.com/office/drawing/2014/main" id="{F190AF56-7A1F-4AD7-1A17-76AFC1EB25D2}"/>
              </a:ext>
            </a:extLst>
          </p:cNvPr>
          <p:cNvSpPr/>
          <p:nvPr/>
        </p:nvSpPr>
        <p:spPr>
          <a:xfrm>
            <a:off x="8678008" y="2161784"/>
            <a:ext cx="180000" cy="180000"/>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feld 47">
            <a:extLst>
              <a:ext uri="{FF2B5EF4-FFF2-40B4-BE49-F238E27FC236}">
                <a16:creationId xmlns:a16="http://schemas.microsoft.com/office/drawing/2014/main" id="{53CA9369-E697-C281-D096-FF705A499C7E}"/>
              </a:ext>
            </a:extLst>
          </p:cNvPr>
          <p:cNvSpPr txBox="1"/>
          <p:nvPr/>
        </p:nvSpPr>
        <p:spPr>
          <a:xfrm>
            <a:off x="2283621" y="2295699"/>
            <a:ext cx="622721" cy="215444"/>
          </a:xfrm>
          <a:prstGeom prst="rect">
            <a:avLst/>
          </a:prstGeom>
          <a:noFill/>
        </p:spPr>
        <p:txBody>
          <a:bodyPr wrap="square">
            <a:spAutoFit/>
          </a:bodyPr>
          <a:lstStyle/>
          <a:p>
            <a:r>
              <a:rPr lang="en-US" sz="800" b="1"/>
              <a:t>Alignment</a:t>
            </a:r>
          </a:p>
        </p:txBody>
      </p:sp>
      <p:sp>
        <p:nvSpPr>
          <p:cNvPr id="49" name="Textfeld 48">
            <a:extLst>
              <a:ext uri="{FF2B5EF4-FFF2-40B4-BE49-F238E27FC236}">
                <a16:creationId xmlns:a16="http://schemas.microsoft.com/office/drawing/2014/main" id="{E7FE4F5E-0BD6-BDAD-55D6-7326A8868F98}"/>
              </a:ext>
            </a:extLst>
          </p:cNvPr>
          <p:cNvSpPr txBox="1"/>
          <p:nvPr/>
        </p:nvSpPr>
        <p:spPr>
          <a:xfrm>
            <a:off x="5438441" y="2295699"/>
            <a:ext cx="622721" cy="215444"/>
          </a:xfrm>
          <a:prstGeom prst="rect">
            <a:avLst/>
          </a:prstGeom>
          <a:noFill/>
        </p:spPr>
        <p:txBody>
          <a:bodyPr wrap="square">
            <a:spAutoFit/>
          </a:bodyPr>
          <a:lstStyle/>
          <a:p>
            <a:r>
              <a:rPr lang="en-US" sz="800" b="1"/>
              <a:t>Alignment</a:t>
            </a:r>
          </a:p>
        </p:txBody>
      </p:sp>
      <p:sp>
        <p:nvSpPr>
          <p:cNvPr id="50" name="Textfeld 49">
            <a:extLst>
              <a:ext uri="{FF2B5EF4-FFF2-40B4-BE49-F238E27FC236}">
                <a16:creationId xmlns:a16="http://schemas.microsoft.com/office/drawing/2014/main" id="{0E16EAC5-EEE8-C42A-7E13-FA371F5E370E}"/>
              </a:ext>
            </a:extLst>
          </p:cNvPr>
          <p:cNvSpPr txBox="1"/>
          <p:nvPr/>
        </p:nvSpPr>
        <p:spPr>
          <a:xfrm>
            <a:off x="8288873" y="2295699"/>
            <a:ext cx="622721" cy="215444"/>
          </a:xfrm>
          <a:prstGeom prst="rect">
            <a:avLst/>
          </a:prstGeom>
          <a:noFill/>
        </p:spPr>
        <p:txBody>
          <a:bodyPr wrap="square">
            <a:spAutoFit/>
          </a:bodyPr>
          <a:lstStyle/>
          <a:p>
            <a:r>
              <a:rPr lang="en-US" sz="800" b="1"/>
              <a:t>Alignment</a:t>
            </a:r>
          </a:p>
        </p:txBody>
      </p:sp>
      <p:sp>
        <p:nvSpPr>
          <p:cNvPr id="51" name="Textfeld 50">
            <a:extLst>
              <a:ext uri="{FF2B5EF4-FFF2-40B4-BE49-F238E27FC236}">
                <a16:creationId xmlns:a16="http://schemas.microsoft.com/office/drawing/2014/main" id="{D2C68446-4456-3E03-8AC9-AD6A52F1395D}"/>
              </a:ext>
            </a:extLst>
          </p:cNvPr>
          <p:cNvSpPr txBox="1"/>
          <p:nvPr/>
        </p:nvSpPr>
        <p:spPr>
          <a:xfrm>
            <a:off x="2486037" y="1964046"/>
            <a:ext cx="317230" cy="215444"/>
          </a:xfrm>
          <a:prstGeom prst="rect">
            <a:avLst/>
          </a:prstGeom>
          <a:noFill/>
        </p:spPr>
        <p:txBody>
          <a:bodyPr wrap="square">
            <a:spAutoFit/>
          </a:bodyPr>
          <a:lstStyle/>
          <a:p>
            <a:r>
              <a:rPr lang="en-US" sz="800" b="1"/>
              <a:t>4,4</a:t>
            </a:r>
          </a:p>
        </p:txBody>
      </p:sp>
      <p:sp>
        <p:nvSpPr>
          <p:cNvPr id="52" name="Textfeld 51">
            <a:extLst>
              <a:ext uri="{FF2B5EF4-FFF2-40B4-BE49-F238E27FC236}">
                <a16:creationId xmlns:a16="http://schemas.microsoft.com/office/drawing/2014/main" id="{7FB2CFDA-762E-5E8D-0517-748E1F76CD8B}"/>
              </a:ext>
            </a:extLst>
          </p:cNvPr>
          <p:cNvSpPr txBox="1"/>
          <p:nvPr/>
        </p:nvSpPr>
        <p:spPr>
          <a:xfrm>
            <a:off x="5568873" y="1961153"/>
            <a:ext cx="317230" cy="215444"/>
          </a:xfrm>
          <a:prstGeom prst="rect">
            <a:avLst/>
          </a:prstGeom>
          <a:noFill/>
        </p:spPr>
        <p:txBody>
          <a:bodyPr wrap="square">
            <a:spAutoFit/>
          </a:bodyPr>
          <a:lstStyle/>
          <a:p>
            <a:r>
              <a:rPr lang="en-US" sz="800" b="1"/>
              <a:t>4,1</a:t>
            </a:r>
          </a:p>
        </p:txBody>
      </p:sp>
      <p:sp>
        <p:nvSpPr>
          <p:cNvPr id="53" name="Textfeld 52">
            <a:extLst>
              <a:ext uri="{FF2B5EF4-FFF2-40B4-BE49-F238E27FC236}">
                <a16:creationId xmlns:a16="http://schemas.microsoft.com/office/drawing/2014/main" id="{AAADA9F6-E307-F94B-5F1C-52B4693B6D5E}"/>
              </a:ext>
            </a:extLst>
          </p:cNvPr>
          <p:cNvSpPr txBox="1"/>
          <p:nvPr/>
        </p:nvSpPr>
        <p:spPr>
          <a:xfrm>
            <a:off x="8616497" y="1961153"/>
            <a:ext cx="317230" cy="215444"/>
          </a:xfrm>
          <a:prstGeom prst="rect">
            <a:avLst/>
          </a:prstGeom>
          <a:noFill/>
        </p:spPr>
        <p:txBody>
          <a:bodyPr wrap="square">
            <a:spAutoFit/>
          </a:bodyPr>
          <a:lstStyle/>
          <a:p>
            <a:r>
              <a:rPr lang="en-US" sz="800" b="1"/>
              <a:t>6,5</a:t>
            </a:r>
          </a:p>
        </p:txBody>
      </p:sp>
      <p:sp>
        <p:nvSpPr>
          <p:cNvPr id="54" name="Textfeld 53">
            <a:extLst>
              <a:ext uri="{FF2B5EF4-FFF2-40B4-BE49-F238E27FC236}">
                <a16:creationId xmlns:a16="http://schemas.microsoft.com/office/drawing/2014/main" id="{F9CAAEC8-C69B-DED0-B77E-6AFBC809D85B}"/>
              </a:ext>
            </a:extLst>
          </p:cNvPr>
          <p:cNvSpPr txBox="1"/>
          <p:nvPr/>
        </p:nvSpPr>
        <p:spPr>
          <a:xfrm>
            <a:off x="328245" y="6248671"/>
            <a:ext cx="7531100" cy="276999"/>
          </a:xfrm>
          <a:prstGeom prst="rect">
            <a:avLst/>
          </a:prstGeom>
          <a:noFill/>
        </p:spPr>
        <p:txBody>
          <a:bodyPr wrap="square" rtlCol="0">
            <a:spAutoFit/>
          </a:bodyPr>
          <a:lstStyle/>
          <a:p>
            <a:r>
              <a:rPr lang="en-US" sz="800"/>
              <a:t>Alignment Rating Number based on the Average Number of intersections between the Uber Initiatives and SDGs in the Table in the Appendix (Slide </a:t>
            </a:r>
            <a:r>
              <a:rPr lang="en-US" sz="1200">
                <a:solidFill>
                  <a:srgbClr val="FF0000"/>
                </a:solidFill>
              </a:rPr>
              <a:t>XXXXX)</a:t>
            </a:r>
            <a:r>
              <a:rPr lang="en-US" sz="800"/>
              <a:t>.</a:t>
            </a:r>
          </a:p>
        </p:txBody>
      </p:sp>
      <p:sp>
        <p:nvSpPr>
          <p:cNvPr id="2" name="Foliennummernplatzhalter 3">
            <a:extLst>
              <a:ext uri="{FF2B5EF4-FFF2-40B4-BE49-F238E27FC236}">
                <a16:creationId xmlns:a16="http://schemas.microsoft.com/office/drawing/2014/main" id="{78DF36EB-8809-C9CF-16AA-8592C3A366A9}"/>
              </a:ext>
            </a:extLst>
          </p:cNvPr>
          <p:cNvSpPr>
            <a:spLocks noGrp="1"/>
          </p:cNvSpPr>
          <p:nvPr>
            <p:ph type="sldNum" sz="quarter" idx="4"/>
          </p:nvPr>
        </p:nvSpPr>
        <p:spPr>
          <a:xfrm>
            <a:off x="8620125" y="6517499"/>
            <a:ext cx="308504" cy="180000"/>
          </a:xfrm>
        </p:spPr>
        <p:txBody>
          <a:bodyPr/>
          <a:lstStyle/>
          <a:p>
            <a:fld id="{BAF04893-69FB-435D-AB2E-CA259D85B32F}" type="slidenum">
              <a:rPr lang="en-US" smtClean="0"/>
              <a:pPr/>
              <a:t>52</a:t>
            </a:fld>
            <a:endParaRPr lang="en-US"/>
          </a:p>
        </p:txBody>
      </p:sp>
    </p:spTree>
    <p:custDataLst>
      <p:tags r:id="rId1"/>
    </p:custDataLst>
    <p:extLst>
      <p:ext uri="{BB962C8B-B14F-4D97-AF65-F5344CB8AC3E}">
        <p14:creationId xmlns:p14="http://schemas.microsoft.com/office/powerpoint/2010/main" val="33034455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7AE1349-9A8E-F699-1702-A90733B9B9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32" imgH="530" progId="TCLayout.ActiveDocument.1">
                  <p:embed/>
                </p:oleObj>
              </mc:Choice>
              <mc:Fallback>
                <p:oleObj name="think-cell Folie" r:id="rId8" imgW="532" imgH="530" progId="TCLayout.ActiveDocument.1">
                  <p:embed/>
                  <p:pic>
                    <p:nvPicPr>
                      <p:cNvPr id="9" name="think-cell data - do not delete" hidden="1">
                        <a:extLst>
                          <a:ext uri="{FF2B5EF4-FFF2-40B4-BE49-F238E27FC236}">
                            <a16:creationId xmlns:a16="http://schemas.microsoft.com/office/drawing/2014/main" id="{D7AE1349-9A8E-F699-1702-A90733B9B99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5" name="Pentagon 47" descr="{&quot;Key&quot;:&quot;POWER_USER_SHAPE_ICON&quot;,&quot;Value&quot;:&quot;POWER_USER_SHAPE_ICON_STYLE_1&quot;}"/>
          <p:cNvSpPr/>
          <p:nvPr/>
        </p:nvSpPr>
        <p:spPr bwMode="auto">
          <a:xfrm>
            <a:off x="4821587" y="3868987"/>
            <a:ext cx="675000" cy="6750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kern="0">
              <a:solidFill>
                <a:prstClr val="white"/>
              </a:solidFill>
            </a:endParaRPr>
          </a:p>
        </p:txBody>
      </p:sp>
      <p:sp>
        <p:nvSpPr>
          <p:cNvPr id="63" name="Pentagon 33"/>
          <p:cNvSpPr/>
          <p:nvPr/>
        </p:nvSpPr>
        <p:spPr bwMode="auto">
          <a:xfrm>
            <a:off x="3647414" y="4753715"/>
            <a:ext cx="675000" cy="6750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kern="0">
              <a:solidFill>
                <a:prstClr val="white"/>
              </a:solidFill>
            </a:endParaRPr>
          </a:p>
        </p:txBody>
      </p:sp>
      <p:sp>
        <p:nvSpPr>
          <p:cNvPr id="68" name="Pentagon 19"/>
          <p:cNvSpPr/>
          <p:nvPr/>
        </p:nvSpPr>
        <p:spPr bwMode="auto">
          <a:xfrm>
            <a:off x="3647414" y="3868987"/>
            <a:ext cx="675000" cy="6750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kern="0">
              <a:solidFill>
                <a:prstClr val="white"/>
              </a:solidFill>
            </a:endParaRPr>
          </a:p>
        </p:txBody>
      </p:sp>
      <p:sp>
        <p:nvSpPr>
          <p:cNvPr id="2" name="Title 1"/>
          <p:cNvSpPr>
            <a:spLocks noGrp="1"/>
          </p:cNvSpPr>
          <p:nvPr>
            <p:ph type="title"/>
          </p:nvPr>
        </p:nvSpPr>
        <p:spPr/>
        <p:txBody>
          <a:bodyPr vert="horz">
            <a:noAutofit/>
          </a:bodyPr>
          <a:lstStyle/>
          <a:p>
            <a:r>
              <a:rPr lang="en-US"/>
              <a:t>The SASB standards provide industry specific metrics to enable parties to rate and compare different entities in these industries</a:t>
            </a:r>
          </a:p>
        </p:txBody>
      </p:sp>
      <p:sp>
        <p:nvSpPr>
          <p:cNvPr id="6" name="Inhaltsplatzhalter 5">
            <a:extLst>
              <a:ext uri="{FF2B5EF4-FFF2-40B4-BE49-F238E27FC236}">
                <a16:creationId xmlns:a16="http://schemas.microsoft.com/office/drawing/2014/main" id="{A3D25B29-6892-67F9-8824-017F701F1E00}"/>
              </a:ext>
            </a:extLst>
          </p:cNvPr>
          <p:cNvSpPr>
            <a:spLocks noGrp="1"/>
          </p:cNvSpPr>
          <p:nvPr>
            <p:ph idx="11"/>
          </p:nvPr>
        </p:nvSpPr>
        <p:spPr/>
        <p:txBody>
          <a:bodyPr/>
          <a:lstStyle/>
          <a:p>
            <a:r>
              <a:rPr lang="en-US"/>
              <a:t>Uber ESG-Report</a:t>
            </a:r>
          </a:p>
        </p:txBody>
      </p:sp>
      <p:sp>
        <p:nvSpPr>
          <p:cNvPr id="7" name="Inhaltsplatzhalter 6">
            <a:extLst>
              <a:ext uri="{FF2B5EF4-FFF2-40B4-BE49-F238E27FC236}">
                <a16:creationId xmlns:a16="http://schemas.microsoft.com/office/drawing/2014/main" id="{C6EC0A98-3268-C7C2-E380-01A35AFCA009}"/>
              </a:ext>
            </a:extLst>
          </p:cNvPr>
          <p:cNvSpPr>
            <a:spLocks noGrp="1"/>
          </p:cNvSpPr>
          <p:nvPr>
            <p:ph idx="12"/>
          </p:nvPr>
        </p:nvSpPr>
        <p:spPr/>
        <p:txBody>
          <a:bodyPr/>
          <a:lstStyle/>
          <a:p>
            <a:endParaRPr lang="en-US"/>
          </a:p>
        </p:txBody>
      </p:sp>
      <p:sp>
        <p:nvSpPr>
          <p:cNvPr id="80" name="Pentagon 26"/>
          <p:cNvSpPr/>
          <p:nvPr/>
        </p:nvSpPr>
        <p:spPr bwMode="auto">
          <a:xfrm>
            <a:off x="3647414" y="5640522"/>
            <a:ext cx="675000" cy="6750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kern="0">
              <a:solidFill>
                <a:prstClr val="white"/>
              </a:solidFill>
            </a:endParaRPr>
          </a:p>
        </p:txBody>
      </p:sp>
      <p:sp>
        <p:nvSpPr>
          <p:cNvPr id="22" name="Pentagon 33"/>
          <p:cNvSpPr/>
          <p:nvPr/>
        </p:nvSpPr>
        <p:spPr bwMode="auto">
          <a:xfrm>
            <a:off x="4821587" y="4753715"/>
            <a:ext cx="675000" cy="6750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kern="0">
              <a:solidFill>
                <a:prstClr val="white"/>
              </a:solidFill>
            </a:endParaRPr>
          </a:p>
        </p:txBody>
      </p:sp>
      <p:sp>
        <p:nvSpPr>
          <p:cNvPr id="23" name="Pentagon 19"/>
          <p:cNvSpPr/>
          <p:nvPr/>
        </p:nvSpPr>
        <p:spPr bwMode="auto">
          <a:xfrm>
            <a:off x="4821587" y="5638444"/>
            <a:ext cx="675000" cy="6750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50" b="1" kern="0">
              <a:solidFill>
                <a:prstClr val="white"/>
              </a:solidFill>
            </a:endParaRPr>
          </a:p>
        </p:txBody>
      </p:sp>
      <p:sp>
        <p:nvSpPr>
          <p:cNvPr id="27" name="Rectangle 26"/>
          <p:cNvSpPr/>
          <p:nvPr/>
        </p:nvSpPr>
        <p:spPr bwMode="auto">
          <a:xfrm>
            <a:off x="5559138" y="3868987"/>
            <a:ext cx="3127663" cy="676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ctr"/>
          <a:lstStyle/>
          <a:p>
            <a:pPr defTabSz="685800" fontAlgn="base">
              <a:lnSpc>
                <a:spcPct val="90000"/>
              </a:lnSpc>
              <a:defRPr/>
            </a:pPr>
            <a:r>
              <a:rPr lang="en-US" sz="1200" b="1" kern="0">
                <a:solidFill>
                  <a:schemeClr val="tx1"/>
                </a:solidFill>
                <a:cs typeface="Arial" pitchFamily="34" charset="0"/>
              </a:rPr>
              <a:t>Global Scope 1 emissions</a:t>
            </a:r>
          </a:p>
          <a:p>
            <a:pPr defTabSz="685800" fontAlgn="base">
              <a:lnSpc>
                <a:spcPct val="90000"/>
              </a:lnSpc>
              <a:defRPr/>
            </a:pPr>
            <a:r>
              <a:rPr lang="en-US" sz="1200" b="0" i="0">
                <a:solidFill>
                  <a:schemeClr val="tx1"/>
                </a:solidFill>
                <a:effectLst/>
              </a:rPr>
              <a:t>The total annual emissions of CO2</a:t>
            </a:r>
            <a:r>
              <a:rPr lang="en-US" sz="1200" b="0" i="0" kern="0">
                <a:solidFill>
                  <a:schemeClr val="tx1"/>
                </a:solidFill>
                <a:effectLst/>
                <a:cs typeface="Arial" pitchFamily="34" charset="0"/>
              </a:rPr>
              <a:t>, </a:t>
            </a:r>
            <a:r>
              <a:rPr lang="en-US" sz="1200" b="0" i="0">
                <a:solidFill>
                  <a:schemeClr val="tx1"/>
                </a:solidFill>
                <a:effectLst/>
              </a:rPr>
              <a:t>Emissions by type of fuel used</a:t>
            </a:r>
            <a:r>
              <a:rPr lang="en-US" sz="1200" b="0" i="0" kern="0">
                <a:solidFill>
                  <a:schemeClr val="tx1"/>
                </a:solidFill>
                <a:effectLst/>
                <a:cs typeface="Arial" pitchFamily="34" charset="0"/>
              </a:rPr>
              <a:t>, Fleet fuel efficiency</a:t>
            </a:r>
            <a:r>
              <a:rPr lang="en-US" sz="1200" kern="0">
                <a:solidFill>
                  <a:schemeClr val="tx1"/>
                </a:solidFill>
                <a:cs typeface="Arial" pitchFamily="34" charset="0"/>
              </a:rPr>
              <a:t> </a:t>
            </a:r>
          </a:p>
        </p:txBody>
      </p:sp>
      <p:sp>
        <p:nvSpPr>
          <p:cNvPr id="28" name="Rectangle 27"/>
          <p:cNvSpPr/>
          <p:nvPr/>
        </p:nvSpPr>
        <p:spPr bwMode="auto">
          <a:xfrm>
            <a:off x="5559138" y="4751719"/>
            <a:ext cx="3127663" cy="676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ctr"/>
          <a:lstStyle/>
          <a:p>
            <a:pPr defTabSz="685800" fontAlgn="base">
              <a:lnSpc>
                <a:spcPct val="90000"/>
              </a:lnSpc>
              <a:defRPr/>
            </a:pPr>
            <a:r>
              <a:rPr lang="en-US" sz="1200" b="1" kern="0">
                <a:solidFill>
                  <a:schemeClr val="tx1"/>
                </a:solidFill>
                <a:cs typeface="Arial" pitchFamily="34" charset="0"/>
              </a:rPr>
              <a:t>Fuel Consumption</a:t>
            </a:r>
          </a:p>
          <a:p>
            <a:pPr defTabSz="685800" fontAlgn="base">
              <a:lnSpc>
                <a:spcPct val="90000"/>
              </a:lnSpc>
              <a:defRPr/>
            </a:pPr>
            <a:r>
              <a:rPr lang="en-US" sz="1200" kern="0">
                <a:solidFill>
                  <a:schemeClr val="tx1"/>
                </a:solidFill>
                <a:cs typeface="Arial" pitchFamily="34" charset="0"/>
              </a:rPr>
              <a:t>Total fuel consumed, percentage natural gas, percentage renewables</a:t>
            </a:r>
          </a:p>
        </p:txBody>
      </p:sp>
      <p:sp>
        <p:nvSpPr>
          <p:cNvPr id="29" name="Rectangle 28"/>
          <p:cNvSpPr/>
          <p:nvPr/>
        </p:nvSpPr>
        <p:spPr bwMode="auto">
          <a:xfrm>
            <a:off x="5559138" y="5634451"/>
            <a:ext cx="3127663" cy="676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ctr"/>
          <a:lstStyle/>
          <a:p>
            <a:pPr defTabSz="685800" fontAlgn="base">
              <a:lnSpc>
                <a:spcPct val="90000"/>
              </a:lnSpc>
              <a:defRPr/>
            </a:pPr>
            <a:r>
              <a:rPr lang="en-US" sz="1200" b="1" kern="0">
                <a:solidFill>
                  <a:schemeClr val="tx1"/>
                </a:solidFill>
                <a:cs typeface="Arial" pitchFamily="34" charset="0"/>
              </a:rPr>
              <a:t>Incidents</a:t>
            </a:r>
          </a:p>
          <a:p>
            <a:pPr defTabSz="685800" fontAlgn="base">
              <a:lnSpc>
                <a:spcPct val="90000"/>
              </a:lnSpc>
              <a:defRPr/>
            </a:pPr>
            <a:r>
              <a:rPr lang="en-US" sz="1200" kern="0">
                <a:solidFill>
                  <a:schemeClr val="tx1"/>
                </a:solidFill>
                <a:cs typeface="Arial" pitchFamily="34" charset="0"/>
              </a:rPr>
              <a:t>Total recordable incident rate for direct employees, fatality rate, motor vehicle fatalities</a:t>
            </a:r>
          </a:p>
        </p:txBody>
      </p:sp>
      <p:sp>
        <p:nvSpPr>
          <p:cNvPr id="31" name="Rectangle 30"/>
          <p:cNvSpPr/>
          <p:nvPr/>
        </p:nvSpPr>
        <p:spPr bwMode="auto">
          <a:xfrm>
            <a:off x="425592" y="3866990"/>
            <a:ext cx="3127663" cy="676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ctr"/>
          <a:lstStyle/>
          <a:p>
            <a:pPr algn="r" defTabSz="685800" fontAlgn="base">
              <a:lnSpc>
                <a:spcPct val="90000"/>
              </a:lnSpc>
              <a:defRPr/>
            </a:pPr>
            <a:r>
              <a:rPr lang="en-US" sz="1200" b="1" kern="0">
                <a:solidFill>
                  <a:schemeClr val="tx1"/>
                </a:solidFill>
                <a:cs typeface="Arial" pitchFamily="34" charset="0"/>
              </a:rPr>
              <a:t>Energy Consumption</a:t>
            </a:r>
          </a:p>
          <a:p>
            <a:pPr algn="r" defTabSz="685800" fontAlgn="base">
              <a:lnSpc>
                <a:spcPct val="90000"/>
              </a:lnSpc>
              <a:defRPr/>
            </a:pPr>
            <a:r>
              <a:rPr lang="en-US" sz="1200" kern="0">
                <a:solidFill>
                  <a:schemeClr val="tx1"/>
                </a:solidFill>
                <a:cs typeface="Arial" pitchFamily="34" charset="0"/>
              </a:rPr>
              <a:t>Total energy consumed, percentage of grid electricity, percentage of renewables</a:t>
            </a:r>
          </a:p>
        </p:txBody>
      </p:sp>
      <p:sp>
        <p:nvSpPr>
          <p:cNvPr id="32" name="Rectangle 31"/>
          <p:cNvSpPr/>
          <p:nvPr/>
        </p:nvSpPr>
        <p:spPr bwMode="auto">
          <a:xfrm>
            <a:off x="425592" y="4749722"/>
            <a:ext cx="3127663" cy="676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ctr"/>
          <a:lstStyle/>
          <a:p>
            <a:pPr algn="r" defTabSz="685800" fontAlgn="base">
              <a:lnSpc>
                <a:spcPct val="90000"/>
              </a:lnSpc>
              <a:defRPr/>
            </a:pPr>
            <a:r>
              <a:rPr lang="en-US" sz="1200" b="1" kern="0">
                <a:solidFill>
                  <a:schemeClr val="tx1"/>
                </a:solidFill>
                <a:cs typeface="Arial" pitchFamily="34" charset="0"/>
              </a:rPr>
              <a:t>Water Consumption</a:t>
            </a:r>
          </a:p>
          <a:p>
            <a:pPr algn="r" defTabSz="685800" fontAlgn="base">
              <a:lnSpc>
                <a:spcPct val="90000"/>
              </a:lnSpc>
              <a:defRPr/>
            </a:pPr>
            <a:r>
              <a:rPr lang="en-US" sz="1200" kern="0">
                <a:solidFill>
                  <a:schemeClr val="tx1"/>
                </a:solidFill>
                <a:cs typeface="Arial" pitchFamily="34" charset="0"/>
              </a:rPr>
              <a:t>Total water consumed, percentage of water comsumed in regions with water stress</a:t>
            </a:r>
          </a:p>
        </p:txBody>
      </p:sp>
      <p:sp>
        <p:nvSpPr>
          <p:cNvPr id="34" name="Rectangle 33"/>
          <p:cNvSpPr/>
          <p:nvPr/>
        </p:nvSpPr>
        <p:spPr bwMode="auto">
          <a:xfrm>
            <a:off x="425592" y="5632536"/>
            <a:ext cx="3127663" cy="676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ctr"/>
          <a:lstStyle/>
          <a:p>
            <a:pPr algn="r" defTabSz="685800" fontAlgn="base">
              <a:lnSpc>
                <a:spcPct val="90000"/>
              </a:lnSpc>
              <a:defRPr/>
            </a:pPr>
            <a:r>
              <a:rPr lang="en-US" sz="1200" b="1" kern="0">
                <a:solidFill>
                  <a:schemeClr val="tx1"/>
                </a:solidFill>
                <a:cs typeface="Arial" pitchFamily="34" charset="0"/>
              </a:rPr>
              <a:t>Minority Representation</a:t>
            </a:r>
          </a:p>
          <a:p>
            <a:pPr algn="r" defTabSz="685800" fontAlgn="base">
              <a:lnSpc>
                <a:spcPct val="90000"/>
              </a:lnSpc>
              <a:defRPr/>
            </a:pPr>
            <a:r>
              <a:rPr lang="en-US" sz="1200" kern="0">
                <a:solidFill>
                  <a:schemeClr val="tx1"/>
                </a:solidFill>
                <a:cs typeface="Arial" pitchFamily="34" charset="0"/>
              </a:rPr>
              <a:t>Percentage of gender and racial/ethnic group representation for Leadership, tech staff and other employees</a:t>
            </a:r>
          </a:p>
        </p:txBody>
      </p:sp>
      <p:cxnSp>
        <p:nvCxnSpPr>
          <p:cNvPr id="5" name="Straight Connector 4"/>
          <p:cNvCxnSpPr>
            <a:cxnSpLocks/>
          </p:cNvCxnSpPr>
          <p:nvPr/>
        </p:nvCxnSpPr>
        <p:spPr>
          <a:xfrm>
            <a:off x="4561609" y="3829050"/>
            <a:ext cx="0" cy="2550333"/>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3F747F6E-0F70-01BF-1DDE-05E1498CF3FC}"/>
              </a:ext>
            </a:extLst>
          </p:cNvPr>
          <p:cNvSpPr txBox="1"/>
          <p:nvPr/>
        </p:nvSpPr>
        <p:spPr>
          <a:xfrm>
            <a:off x="566487" y="3370560"/>
            <a:ext cx="3959475" cy="338554"/>
          </a:xfrm>
          <a:prstGeom prst="rect">
            <a:avLst/>
          </a:prstGeom>
          <a:noFill/>
        </p:spPr>
        <p:txBody>
          <a:bodyPr wrap="square" rtlCol="0">
            <a:spAutoFit/>
          </a:bodyPr>
          <a:lstStyle/>
          <a:p>
            <a:pPr algn="ctr"/>
            <a:r>
              <a:rPr lang="en-US" sz="1600" b="1"/>
              <a:t>SASB -  Internet Media and Services</a:t>
            </a:r>
          </a:p>
        </p:txBody>
      </p:sp>
      <p:sp>
        <p:nvSpPr>
          <p:cNvPr id="13" name="Textfeld 12">
            <a:extLst>
              <a:ext uri="{FF2B5EF4-FFF2-40B4-BE49-F238E27FC236}">
                <a16:creationId xmlns:a16="http://schemas.microsoft.com/office/drawing/2014/main" id="{8D0EE710-55DA-8B6D-59DB-03F272507654}"/>
              </a:ext>
            </a:extLst>
          </p:cNvPr>
          <p:cNvSpPr txBox="1"/>
          <p:nvPr/>
        </p:nvSpPr>
        <p:spPr>
          <a:xfrm>
            <a:off x="4638333" y="3370560"/>
            <a:ext cx="3959475" cy="338554"/>
          </a:xfrm>
          <a:prstGeom prst="rect">
            <a:avLst/>
          </a:prstGeom>
          <a:noFill/>
        </p:spPr>
        <p:txBody>
          <a:bodyPr wrap="square" rtlCol="0">
            <a:spAutoFit/>
          </a:bodyPr>
          <a:lstStyle/>
          <a:p>
            <a:pPr algn="ctr"/>
            <a:r>
              <a:rPr lang="en-US" sz="1600" b="1"/>
              <a:t>SASB -  Road Transportation</a:t>
            </a:r>
          </a:p>
        </p:txBody>
      </p:sp>
      <p:grpSp>
        <p:nvGrpSpPr>
          <p:cNvPr id="3" name="Battery_full2" descr="{&quot;Key&quot;:&quot;POWER_USER_SHAPE_ICON&quot;,&quot;Value&quot;:&quot;POWER_USER_SHAPE_ICON_STYLE_1&quot;}">
            <a:extLst>
              <a:ext uri="{FF2B5EF4-FFF2-40B4-BE49-F238E27FC236}">
                <a16:creationId xmlns:a16="http://schemas.microsoft.com/office/drawing/2014/main" id="{2BAA9065-6269-9A89-D5DB-906AA3929961}"/>
              </a:ext>
            </a:extLst>
          </p:cNvPr>
          <p:cNvGrpSpPr>
            <a:grpSpLocks noChangeAspect="1"/>
          </p:cNvGrpSpPr>
          <p:nvPr/>
        </p:nvGrpSpPr>
        <p:grpSpPr>
          <a:xfrm>
            <a:off x="3752393" y="3953863"/>
            <a:ext cx="463427" cy="466579"/>
            <a:chOff x="3435350" y="2509838"/>
            <a:chExt cx="233363" cy="234950"/>
          </a:xfrm>
          <a:solidFill>
            <a:schemeClr val="bg1"/>
          </a:solidFill>
        </p:grpSpPr>
        <p:sp>
          <p:nvSpPr>
            <p:cNvPr id="8" name="Freeform 1363">
              <a:extLst>
                <a:ext uri="{FF2B5EF4-FFF2-40B4-BE49-F238E27FC236}">
                  <a16:creationId xmlns:a16="http://schemas.microsoft.com/office/drawing/2014/main" id="{C2649FC5-883B-54E3-6DAF-2B9C80B85F18}"/>
                </a:ext>
              </a:extLst>
            </p:cNvPr>
            <p:cNvSpPr>
              <a:spLocks/>
            </p:cNvSpPr>
            <p:nvPr/>
          </p:nvSpPr>
          <p:spPr bwMode="auto">
            <a:xfrm>
              <a:off x="3435350" y="2509838"/>
              <a:ext cx="233363" cy="234950"/>
            </a:xfrm>
            <a:custGeom>
              <a:avLst/>
              <a:gdLst>
                <a:gd name="T0" fmla="*/ 2459 w 6421"/>
                <a:gd name="T1" fmla="*/ 6461 h 6461"/>
                <a:gd name="T2" fmla="*/ 2150 w 6421"/>
                <a:gd name="T3" fmla="*/ 6330 h 6461"/>
                <a:gd name="T4" fmla="*/ 189 w 6421"/>
                <a:gd name="T5" fmla="*/ 4432 h 6461"/>
                <a:gd name="T6" fmla="*/ 135 w 6421"/>
                <a:gd name="T7" fmla="*/ 3889 h 6461"/>
                <a:gd name="T8" fmla="*/ 3004 w 6421"/>
                <a:gd name="T9" fmla="*/ 924 h 6461"/>
                <a:gd name="T10" fmla="*/ 3146 w 6421"/>
                <a:gd name="T11" fmla="*/ 921 h 6461"/>
                <a:gd name="T12" fmla="*/ 3148 w 6421"/>
                <a:gd name="T13" fmla="*/ 1063 h 6461"/>
                <a:gd name="T14" fmla="*/ 279 w 6421"/>
                <a:gd name="T15" fmla="*/ 4027 h 6461"/>
                <a:gd name="T16" fmla="*/ 328 w 6421"/>
                <a:gd name="T17" fmla="*/ 4288 h 6461"/>
                <a:gd name="T18" fmla="*/ 2289 w 6421"/>
                <a:gd name="T19" fmla="*/ 6186 h 6461"/>
                <a:gd name="T20" fmla="*/ 2551 w 6421"/>
                <a:gd name="T21" fmla="*/ 6226 h 6461"/>
                <a:gd name="T22" fmla="*/ 6179 w 6421"/>
                <a:gd name="T23" fmla="*/ 2479 h 6461"/>
                <a:gd name="T24" fmla="*/ 6209 w 6421"/>
                <a:gd name="T25" fmla="*/ 2367 h 6461"/>
                <a:gd name="T26" fmla="*/ 6129 w 6421"/>
                <a:gd name="T27" fmla="*/ 2218 h 6461"/>
                <a:gd name="T28" fmla="*/ 4169 w 6421"/>
                <a:gd name="T29" fmla="*/ 320 h 6461"/>
                <a:gd name="T30" fmla="*/ 3907 w 6421"/>
                <a:gd name="T31" fmla="*/ 279 h 6461"/>
                <a:gd name="T32" fmla="*/ 3637 w 6421"/>
                <a:gd name="T33" fmla="*/ 558 h 6461"/>
                <a:gd name="T34" fmla="*/ 3496 w 6421"/>
                <a:gd name="T35" fmla="*/ 560 h 6461"/>
                <a:gd name="T36" fmla="*/ 3493 w 6421"/>
                <a:gd name="T37" fmla="*/ 419 h 6461"/>
                <a:gd name="T38" fmla="*/ 3763 w 6421"/>
                <a:gd name="T39" fmla="*/ 140 h 6461"/>
                <a:gd name="T40" fmla="*/ 4308 w 6421"/>
                <a:gd name="T41" fmla="*/ 176 h 6461"/>
                <a:gd name="T42" fmla="*/ 6269 w 6421"/>
                <a:gd name="T43" fmla="*/ 2074 h 6461"/>
                <a:gd name="T44" fmla="*/ 6408 w 6421"/>
                <a:gd name="T45" fmla="*/ 2342 h 6461"/>
                <a:gd name="T46" fmla="*/ 6322 w 6421"/>
                <a:gd name="T47" fmla="*/ 2617 h 6461"/>
                <a:gd name="T48" fmla="*/ 2695 w 6421"/>
                <a:gd name="T49" fmla="*/ 6365 h 6461"/>
                <a:gd name="T50" fmla="*/ 2459 w 6421"/>
                <a:gd name="T51" fmla="*/ 6461 h 6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21" h="6461">
                  <a:moveTo>
                    <a:pt x="2459" y="6461"/>
                  </a:moveTo>
                  <a:cubicBezTo>
                    <a:pt x="2353" y="6461"/>
                    <a:pt x="2239" y="6416"/>
                    <a:pt x="2150" y="6330"/>
                  </a:cubicBezTo>
                  <a:lnTo>
                    <a:pt x="189" y="4432"/>
                  </a:lnTo>
                  <a:cubicBezTo>
                    <a:pt x="24" y="4272"/>
                    <a:pt x="0" y="4028"/>
                    <a:pt x="135" y="3889"/>
                  </a:cubicBezTo>
                  <a:cubicBezTo>
                    <a:pt x="135" y="3889"/>
                    <a:pt x="1921" y="2043"/>
                    <a:pt x="3004" y="924"/>
                  </a:cubicBezTo>
                  <a:cubicBezTo>
                    <a:pt x="3043" y="884"/>
                    <a:pt x="3106" y="883"/>
                    <a:pt x="3146" y="921"/>
                  </a:cubicBezTo>
                  <a:cubicBezTo>
                    <a:pt x="3185" y="960"/>
                    <a:pt x="3186" y="1023"/>
                    <a:pt x="3148" y="1063"/>
                  </a:cubicBezTo>
                  <a:cubicBezTo>
                    <a:pt x="2065" y="2182"/>
                    <a:pt x="279" y="4027"/>
                    <a:pt x="279" y="4027"/>
                  </a:cubicBezTo>
                  <a:cubicBezTo>
                    <a:pt x="221" y="4087"/>
                    <a:pt x="244" y="4207"/>
                    <a:pt x="328" y="4288"/>
                  </a:cubicBezTo>
                  <a:lnTo>
                    <a:pt x="2289" y="6186"/>
                  </a:lnTo>
                  <a:cubicBezTo>
                    <a:pt x="2373" y="6267"/>
                    <a:pt x="2493" y="6286"/>
                    <a:pt x="2551" y="6226"/>
                  </a:cubicBezTo>
                  <a:lnTo>
                    <a:pt x="6179" y="2479"/>
                  </a:lnTo>
                  <a:cubicBezTo>
                    <a:pt x="6213" y="2443"/>
                    <a:pt x="6213" y="2394"/>
                    <a:pt x="6209" y="2367"/>
                  </a:cubicBezTo>
                  <a:cubicBezTo>
                    <a:pt x="6202" y="2314"/>
                    <a:pt x="6173" y="2260"/>
                    <a:pt x="6129" y="2218"/>
                  </a:cubicBezTo>
                  <a:lnTo>
                    <a:pt x="4169" y="320"/>
                  </a:lnTo>
                  <a:cubicBezTo>
                    <a:pt x="4085" y="238"/>
                    <a:pt x="3964" y="219"/>
                    <a:pt x="3907" y="279"/>
                  </a:cubicBezTo>
                  <a:lnTo>
                    <a:pt x="3637" y="558"/>
                  </a:lnTo>
                  <a:cubicBezTo>
                    <a:pt x="3599" y="597"/>
                    <a:pt x="3535" y="598"/>
                    <a:pt x="3496" y="560"/>
                  </a:cubicBezTo>
                  <a:cubicBezTo>
                    <a:pt x="3456" y="522"/>
                    <a:pt x="3455" y="458"/>
                    <a:pt x="3493" y="419"/>
                  </a:cubicBezTo>
                  <a:lnTo>
                    <a:pt x="3763" y="140"/>
                  </a:lnTo>
                  <a:cubicBezTo>
                    <a:pt x="3898" y="0"/>
                    <a:pt x="4143" y="16"/>
                    <a:pt x="4308" y="176"/>
                  </a:cubicBezTo>
                  <a:lnTo>
                    <a:pt x="6269" y="2074"/>
                  </a:lnTo>
                  <a:cubicBezTo>
                    <a:pt x="6346" y="2148"/>
                    <a:pt x="6395" y="2243"/>
                    <a:pt x="6408" y="2342"/>
                  </a:cubicBezTo>
                  <a:cubicBezTo>
                    <a:pt x="6421" y="2447"/>
                    <a:pt x="6390" y="2547"/>
                    <a:pt x="6322" y="2617"/>
                  </a:cubicBezTo>
                  <a:lnTo>
                    <a:pt x="2695" y="6365"/>
                  </a:lnTo>
                  <a:cubicBezTo>
                    <a:pt x="2633" y="6429"/>
                    <a:pt x="2548" y="6461"/>
                    <a:pt x="2459" y="6461"/>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1364">
              <a:extLst>
                <a:ext uri="{FF2B5EF4-FFF2-40B4-BE49-F238E27FC236}">
                  <a16:creationId xmlns:a16="http://schemas.microsoft.com/office/drawing/2014/main" id="{60CAC90A-546E-F4C1-8B75-C7EBB962B918}"/>
                </a:ext>
              </a:extLst>
            </p:cNvPr>
            <p:cNvSpPr>
              <a:spLocks noEditPoints="1"/>
            </p:cNvSpPr>
            <p:nvPr/>
          </p:nvSpPr>
          <p:spPr bwMode="auto">
            <a:xfrm>
              <a:off x="3605213" y="2516188"/>
              <a:ext cx="58738" cy="57150"/>
            </a:xfrm>
            <a:custGeom>
              <a:avLst/>
              <a:gdLst>
                <a:gd name="T0" fmla="*/ 211 w 1602"/>
                <a:gd name="T1" fmla="*/ 577 h 1570"/>
                <a:gd name="T2" fmla="*/ 1020 w 1602"/>
                <a:gd name="T3" fmla="*/ 1360 h 1570"/>
                <a:gd name="T4" fmla="*/ 1375 w 1602"/>
                <a:gd name="T5" fmla="*/ 993 h 1570"/>
                <a:gd name="T6" fmla="*/ 566 w 1602"/>
                <a:gd name="T7" fmla="*/ 210 h 1570"/>
                <a:gd name="T8" fmla="*/ 211 w 1602"/>
                <a:gd name="T9" fmla="*/ 577 h 1570"/>
                <a:gd name="T10" fmla="*/ 1018 w 1602"/>
                <a:gd name="T11" fmla="*/ 1570 h 1570"/>
                <a:gd name="T12" fmla="*/ 901 w 1602"/>
                <a:gd name="T13" fmla="*/ 1523 h 1570"/>
                <a:gd name="T14" fmla="*/ 52 w 1602"/>
                <a:gd name="T15" fmla="*/ 701 h 1570"/>
                <a:gd name="T16" fmla="*/ 1 w 1602"/>
                <a:gd name="T17" fmla="*/ 582 h 1570"/>
                <a:gd name="T18" fmla="*/ 53 w 1602"/>
                <a:gd name="T19" fmla="*/ 453 h 1570"/>
                <a:gd name="T20" fmla="*/ 437 w 1602"/>
                <a:gd name="T21" fmla="*/ 56 h 1570"/>
                <a:gd name="T22" fmla="*/ 568 w 1602"/>
                <a:gd name="T23" fmla="*/ 0 h 1570"/>
                <a:gd name="T24" fmla="*/ 685 w 1602"/>
                <a:gd name="T25" fmla="*/ 47 h 1570"/>
                <a:gd name="T26" fmla="*/ 1534 w 1602"/>
                <a:gd name="T27" fmla="*/ 869 h 1570"/>
                <a:gd name="T28" fmla="*/ 1533 w 1602"/>
                <a:gd name="T29" fmla="*/ 1117 h 1570"/>
                <a:gd name="T30" fmla="*/ 1149 w 1602"/>
                <a:gd name="T31" fmla="*/ 1514 h 1570"/>
                <a:gd name="T32" fmla="*/ 1018 w 1602"/>
                <a:gd name="T33" fmla="*/ 1570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2" h="1570">
                  <a:moveTo>
                    <a:pt x="211" y="577"/>
                  </a:moveTo>
                  <a:lnTo>
                    <a:pt x="1020" y="1360"/>
                  </a:lnTo>
                  <a:lnTo>
                    <a:pt x="1375" y="993"/>
                  </a:lnTo>
                  <a:lnTo>
                    <a:pt x="566" y="210"/>
                  </a:lnTo>
                  <a:lnTo>
                    <a:pt x="211" y="577"/>
                  </a:lnTo>
                  <a:close/>
                  <a:moveTo>
                    <a:pt x="1018" y="1570"/>
                  </a:moveTo>
                  <a:cubicBezTo>
                    <a:pt x="974" y="1570"/>
                    <a:pt x="933" y="1554"/>
                    <a:pt x="901" y="1523"/>
                  </a:cubicBezTo>
                  <a:lnTo>
                    <a:pt x="52" y="701"/>
                  </a:lnTo>
                  <a:cubicBezTo>
                    <a:pt x="20" y="670"/>
                    <a:pt x="1" y="628"/>
                    <a:pt x="1" y="582"/>
                  </a:cubicBezTo>
                  <a:cubicBezTo>
                    <a:pt x="0" y="535"/>
                    <a:pt x="19" y="488"/>
                    <a:pt x="53" y="453"/>
                  </a:cubicBezTo>
                  <a:lnTo>
                    <a:pt x="437" y="56"/>
                  </a:lnTo>
                  <a:cubicBezTo>
                    <a:pt x="471" y="20"/>
                    <a:pt x="519" y="0"/>
                    <a:pt x="568" y="0"/>
                  </a:cubicBezTo>
                  <a:cubicBezTo>
                    <a:pt x="612" y="0"/>
                    <a:pt x="653" y="17"/>
                    <a:pt x="685" y="47"/>
                  </a:cubicBezTo>
                  <a:lnTo>
                    <a:pt x="1534" y="869"/>
                  </a:lnTo>
                  <a:cubicBezTo>
                    <a:pt x="1602" y="935"/>
                    <a:pt x="1602" y="1046"/>
                    <a:pt x="1533" y="1117"/>
                  </a:cubicBezTo>
                  <a:lnTo>
                    <a:pt x="1149" y="1514"/>
                  </a:lnTo>
                  <a:cubicBezTo>
                    <a:pt x="1114" y="1550"/>
                    <a:pt x="1067" y="1570"/>
                    <a:pt x="1018" y="157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1365">
              <a:extLst>
                <a:ext uri="{FF2B5EF4-FFF2-40B4-BE49-F238E27FC236}">
                  <a16:creationId xmlns:a16="http://schemas.microsoft.com/office/drawing/2014/main" id="{A6E9C4C1-DFFC-F083-3DC8-3FFD47A15032}"/>
                </a:ext>
              </a:extLst>
            </p:cNvPr>
            <p:cNvSpPr>
              <a:spLocks/>
            </p:cNvSpPr>
            <p:nvPr/>
          </p:nvSpPr>
          <p:spPr bwMode="auto">
            <a:xfrm>
              <a:off x="3462338" y="2627313"/>
              <a:ext cx="95250" cy="90488"/>
            </a:xfrm>
            <a:custGeom>
              <a:avLst/>
              <a:gdLst>
                <a:gd name="T0" fmla="*/ 57 w 60"/>
                <a:gd name="T1" fmla="*/ 57 h 57"/>
                <a:gd name="T2" fmla="*/ 0 w 60"/>
                <a:gd name="T3" fmla="*/ 3 h 57"/>
                <a:gd name="T4" fmla="*/ 3 w 60"/>
                <a:gd name="T5" fmla="*/ 0 h 57"/>
                <a:gd name="T6" fmla="*/ 60 w 60"/>
                <a:gd name="T7" fmla="*/ 54 h 57"/>
                <a:gd name="T8" fmla="*/ 57 w 60"/>
                <a:gd name="T9" fmla="*/ 57 h 57"/>
              </a:gdLst>
              <a:ahLst/>
              <a:cxnLst>
                <a:cxn ang="0">
                  <a:pos x="T0" y="T1"/>
                </a:cxn>
                <a:cxn ang="0">
                  <a:pos x="T2" y="T3"/>
                </a:cxn>
                <a:cxn ang="0">
                  <a:pos x="T4" y="T5"/>
                </a:cxn>
                <a:cxn ang="0">
                  <a:pos x="T6" y="T7"/>
                </a:cxn>
                <a:cxn ang="0">
                  <a:pos x="T8" y="T9"/>
                </a:cxn>
              </a:cxnLst>
              <a:rect l="0" t="0" r="r" b="b"/>
              <a:pathLst>
                <a:path w="60" h="57">
                  <a:moveTo>
                    <a:pt x="57" y="57"/>
                  </a:moveTo>
                  <a:lnTo>
                    <a:pt x="0" y="3"/>
                  </a:lnTo>
                  <a:lnTo>
                    <a:pt x="3" y="0"/>
                  </a:lnTo>
                  <a:lnTo>
                    <a:pt x="60" y="54"/>
                  </a:lnTo>
                  <a:lnTo>
                    <a:pt x="57" y="57"/>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366">
              <a:extLst>
                <a:ext uri="{FF2B5EF4-FFF2-40B4-BE49-F238E27FC236}">
                  <a16:creationId xmlns:a16="http://schemas.microsoft.com/office/drawing/2014/main" id="{0E3DDCC0-AD50-449D-935E-B92205A6A3F9}"/>
                </a:ext>
              </a:extLst>
            </p:cNvPr>
            <p:cNvSpPr>
              <a:spLocks/>
            </p:cNvSpPr>
            <p:nvPr/>
          </p:nvSpPr>
          <p:spPr bwMode="auto">
            <a:xfrm>
              <a:off x="3495675" y="2592388"/>
              <a:ext cx="93663" cy="92075"/>
            </a:xfrm>
            <a:custGeom>
              <a:avLst/>
              <a:gdLst>
                <a:gd name="T0" fmla="*/ 56 w 59"/>
                <a:gd name="T1" fmla="*/ 58 h 58"/>
                <a:gd name="T2" fmla="*/ 0 w 59"/>
                <a:gd name="T3" fmla="*/ 4 h 58"/>
                <a:gd name="T4" fmla="*/ 3 w 59"/>
                <a:gd name="T5" fmla="*/ 0 h 58"/>
                <a:gd name="T6" fmla="*/ 59 w 59"/>
                <a:gd name="T7" fmla="*/ 55 h 58"/>
                <a:gd name="T8" fmla="*/ 56 w 59"/>
                <a:gd name="T9" fmla="*/ 58 h 58"/>
              </a:gdLst>
              <a:ahLst/>
              <a:cxnLst>
                <a:cxn ang="0">
                  <a:pos x="T0" y="T1"/>
                </a:cxn>
                <a:cxn ang="0">
                  <a:pos x="T2" y="T3"/>
                </a:cxn>
                <a:cxn ang="0">
                  <a:pos x="T4" y="T5"/>
                </a:cxn>
                <a:cxn ang="0">
                  <a:pos x="T6" y="T7"/>
                </a:cxn>
                <a:cxn ang="0">
                  <a:pos x="T8" y="T9"/>
                </a:cxn>
              </a:cxnLst>
              <a:rect l="0" t="0" r="r" b="b"/>
              <a:pathLst>
                <a:path w="59" h="58">
                  <a:moveTo>
                    <a:pt x="56" y="58"/>
                  </a:moveTo>
                  <a:lnTo>
                    <a:pt x="0" y="4"/>
                  </a:lnTo>
                  <a:lnTo>
                    <a:pt x="3" y="0"/>
                  </a:lnTo>
                  <a:lnTo>
                    <a:pt x="59" y="55"/>
                  </a:lnTo>
                  <a:lnTo>
                    <a:pt x="56" y="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1367">
              <a:extLst>
                <a:ext uri="{FF2B5EF4-FFF2-40B4-BE49-F238E27FC236}">
                  <a16:creationId xmlns:a16="http://schemas.microsoft.com/office/drawing/2014/main" id="{0F2B2B7F-9869-324E-B3BB-5A7225B47BA4}"/>
                </a:ext>
              </a:extLst>
            </p:cNvPr>
            <p:cNvSpPr>
              <a:spLocks/>
            </p:cNvSpPr>
            <p:nvPr/>
          </p:nvSpPr>
          <p:spPr bwMode="auto">
            <a:xfrm>
              <a:off x="3527425" y="2559050"/>
              <a:ext cx="95250" cy="92075"/>
            </a:xfrm>
            <a:custGeom>
              <a:avLst/>
              <a:gdLst>
                <a:gd name="T0" fmla="*/ 56 w 60"/>
                <a:gd name="T1" fmla="*/ 58 h 58"/>
                <a:gd name="T2" fmla="*/ 0 w 60"/>
                <a:gd name="T3" fmla="*/ 4 h 58"/>
                <a:gd name="T4" fmla="*/ 3 w 60"/>
                <a:gd name="T5" fmla="*/ 0 h 58"/>
                <a:gd name="T6" fmla="*/ 60 w 60"/>
                <a:gd name="T7" fmla="*/ 55 h 58"/>
                <a:gd name="T8" fmla="*/ 56 w 60"/>
                <a:gd name="T9" fmla="*/ 58 h 58"/>
              </a:gdLst>
              <a:ahLst/>
              <a:cxnLst>
                <a:cxn ang="0">
                  <a:pos x="T0" y="T1"/>
                </a:cxn>
                <a:cxn ang="0">
                  <a:pos x="T2" y="T3"/>
                </a:cxn>
                <a:cxn ang="0">
                  <a:pos x="T4" y="T5"/>
                </a:cxn>
                <a:cxn ang="0">
                  <a:pos x="T6" y="T7"/>
                </a:cxn>
                <a:cxn ang="0">
                  <a:pos x="T8" y="T9"/>
                </a:cxn>
              </a:cxnLst>
              <a:rect l="0" t="0" r="r" b="b"/>
              <a:pathLst>
                <a:path w="60" h="58">
                  <a:moveTo>
                    <a:pt x="56" y="58"/>
                  </a:moveTo>
                  <a:lnTo>
                    <a:pt x="0" y="4"/>
                  </a:lnTo>
                  <a:lnTo>
                    <a:pt x="3" y="0"/>
                  </a:lnTo>
                  <a:lnTo>
                    <a:pt x="60" y="55"/>
                  </a:lnTo>
                  <a:lnTo>
                    <a:pt x="56" y="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368">
              <a:extLst>
                <a:ext uri="{FF2B5EF4-FFF2-40B4-BE49-F238E27FC236}">
                  <a16:creationId xmlns:a16="http://schemas.microsoft.com/office/drawing/2014/main" id="{4A86B212-7649-B091-DF97-E70ED55619C9}"/>
                </a:ext>
              </a:extLst>
            </p:cNvPr>
            <p:cNvSpPr>
              <a:spLocks/>
            </p:cNvSpPr>
            <p:nvPr/>
          </p:nvSpPr>
          <p:spPr bwMode="auto">
            <a:xfrm>
              <a:off x="3552825" y="2532063"/>
              <a:ext cx="7938" cy="7938"/>
            </a:xfrm>
            <a:custGeom>
              <a:avLst/>
              <a:gdLst>
                <a:gd name="T0" fmla="*/ 117 w 231"/>
                <a:gd name="T1" fmla="*/ 222 h 222"/>
                <a:gd name="T2" fmla="*/ 27 w 231"/>
                <a:gd name="T3" fmla="*/ 165 h 222"/>
                <a:gd name="T4" fmla="*/ 23 w 231"/>
                <a:gd name="T5" fmla="*/ 157 h 222"/>
                <a:gd name="T6" fmla="*/ 71 w 231"/>
                <a:gd name="T7" fmla="*/ 23 h 222"/>
                <a:gd name="T8" fmla="*/ 204 w 231"/>
                <a:gd name="T9" fmla="*/ 71 h 222"/>
                <a:gd name="T10" fmla="*/ 208 w 231"/>
                <a:gd name="T11" fmla="*/ 79 h 222"/>
                <a:gd name="T12" fmla="*/ 160 w 231"/>
                <a:gd name="T13" fmla="*/ 212 h 222"/>
                <a:gd name="T14" fmla="*/ 117 w 231"/>
                <a:gd name="T15" fmla="*/ 222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1" h="222">
                  <a:moveTo>
                    <a:pt x="117" y="222"/>
                  </a:moveTo>
                  <a:cubicBezTo>
                    <a:pt x="80" y="222"/>
                    <a:pt x="44" y="200"/>
                    <a:pt x="27" y="165"/>
                  </a:cubicBezTo>
                  <a:lnTo>
                    <a:pt x="23" y="157"/>
                  </a:lnTo>
                  <a:cubicBezTo>
                    <a:pt x="0" y="106"/>
                    <a:pt x="21" y="47"/>
                    <a:pt x="71" y="23"/>
                  </a:cubicBezTo>
                  <a:cubicBezTo>
                    <a:pt x="121" y="0"/>
                    <a:pt x="180" y="21"/>
                    <a:pt x="204" y="71"/>
                  </a:cubicBezTo>
                  <a:lnTo>
                    <a:pt x="208" y="79"/>
                  </a:lnTo>
                  <a:cubicBezTo>
                    <a:pt x="231" y="129"/>
                    <a:pt x="210" y="189"/>
                    <a:pt x="160" y="212"/>
                  </a:cubicBezTo>
                  <a:cubicBezTo>
                    <a:pt x="146" y="219"/>
                    <a:pt x="132" y="222"/>
                    <a:pt x="117" y="222"/>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8" name="Water4" descr="{&quot;Key&quot;:&quot;POWER_USER_SHAPE_ICON&quot;,&quot;Value&quot;:&quot;POWER_USER_SHAPE_ICON_STYLE_1&quot;}">
            <a:extLst>
              <a:ext uri="{FF2B5EF4-FFF2-40B4-BE49-F238E27FC236}">
                <a16:creationId xmlns:a16="http://schemas.microsoft.com/office/drawing/2014/main" id="{FE847CCA-C33E-0D81-3FAB-628DDE03D173}"/>
              </a:ext>
            </a:extLst>
          </p:cNvPr>
          <p:cNvGrpSpPr>
            <a:grpSpLocks noChangeAspect="1"/>
          </p:cNvGrpSpPr>
          <p:nvPr/>
        </p:nvGrpSpPr>
        <p:grpSpPr>
          <a:xfrm>
            <a:off x="3673106" y="4901091"/>
            <a:ext cx="628391" cy="361063"/>
            <a:chOff x="5967413" y="2965451"/>
            <a:chExt cx="287338" cy="165100"/>
          </a:xfrm>
          <a:solidFill>
            <a:schemeClr val="bg1"/>
          </a:solidFill>
        </p:grpSpPr>
        <p:sp>
          <p:nvSpPr>
            <p:cNvPr id="19" name="Freeform 2350">
              <a:extLst>
                <a:ext uri="{FF2B5EF4-FFF2-40B4-BE49-F238E27FC236}">
                  <a16:creationId xmlns:a16="http://schemas.microsoft.com/office/drawing/2014/main" id="{DFD5030F-7A85-24B6-B919-08E1614EFDA2}"/>
                </a:ext>
              </a:extLst>
            </p:cNvPr>
            <p:cNvSpPr>
              <a:spLocks/>
            </p:cNvSpPr>
            <p:nvPr/>
          </p:nvSpPr>
          <p:spPr bwMode="auto">
            <a:xfrm>
              <a:off x="6064251" y="2965451"/>
              <a:ext cx="50800" cy="122238"/>
            </a:xfrm>
            <a:custGeom>
              <a:avLst/>
              <a:gdLst>
                <a:gd name="T0" fmla="*/ 1341 w 1379"/>
                <a:gd name="T1" fmla="*/ 3346 h 3346"/>
                <a:gd name="T2" fmla="*/ 1241 w 1379"/>
                <a:gd name="T3" fmla="*/ 3346 h 3346"/>
                <a:gd name="T4" fmla="*/ 835 w 1379"/>
                <a:gd name="T5" fmla="*/ 3303 h 3346"/>
                <a:gd name="T6" fmla="*/ 254 w 1379"/>
                <a:gd name="T7" fmla="*/ 2869 h 3346"/>
                <a:gd name="T8" fmla="*/ 248 w 1379"/>
                <a:gd name="T9" fmla="*/ 2861 h 3346"/>
                <a:gd name="T10" fmla="*/ 206 w 1379"/>
                <a:gd name="T11" fmla="*/ 1556 h 3346"/>
                <a:gd name="T12" fmla="*/ 840 w 1379"/>
                <a:gd name="T13" fmla="*/ 532 h 3346"/>
                <a:gd name="T14" fmla="*/ 1158 w 1379"/>
                <a:gd name="T15" fmla="*/ 83 h 3346"/>
                <a:gd name="T16" fmla="*/ 1213 w 1379"/>
                <a:gd name="T17" fmla="*/ 0 h 3346"/>
                <a:gd name="T18" fmla="*/ 1379 w 1379"/>
                <a:gd name="T19" fmla="*/ 110 h 3346"/>
                <a:gd name="T20" fmla="*/ 1324 w 1379"/>
                <a:gd name="T21" fmla="*/ 194 h 3346"/>
                <a:gd name="T22" fmla="*/ 1001 w 1379"/>
                <a:gd name="T23" fmla="*/ 650 h 3346"/>
                <a:gd name="T24" fmla="*/ 393 w 1379"/>
                <a:gd name="T25" fmla="*/ 1628 h 3346"/>
                <a:gd name="T26" fmla="*/ 408 w 1379"/>
                <a:gd name="T27" fmla="*/ 2741 h 3346"/>
                <a:gd name="T28" fmla="*/ 414 w 1379"/>
                <a:gd name="T29" fmla="*/ 2749 h 3346"/>
                <a:gd name="T30" fmla="*/ 887 w 1379"/>
                <a:gd name="T31" fmla="*/ 3110 h 3346"/>
                <a:gd name="T32" fmla="*/ 1241 w 1379"/>
                <a:gd name="T33" fmla="*/ 3146 h 3346"/>
                <a:gd name="T34" fmla="*/ 1341 w 1379"/>
                <a:gd name="T35" fmla="*/ 3146 h 3346"/>
                <a:gd name="T36" fmla="*/ 1341 w 1379"/>
                <a:gd name="T37" fmla="*/ 3346 h 3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9" h="3346">
                  <a:moveTo>
                    <a:pt x="1341" y="3346"/>
                  </a:moveTo>
                  <a:lnTo>
                    <a:pt x="1241" y="3346"/>
                  </a:lnTo>
                  <a:cubicBezTo>
                    <a:pt x="1089" y="3346"/>
                    <a:pt x="937" y="3330"/>
                    <a:pt x="835" y="3303"/>
                  </a:cubicBezTo>
                  <a:cubicBezTo>
                    <a:pt x="514" y="3218"/>
                    <a:pt x="387" y="3048"/>
                    <a:pt x="254" y="2869"/>
                  </a:cubicBezTo>
                  <a:lnTo>
                    <a:pt x="248" y="2861"/>
                  </a:lnTo>
                  <a:cubicBezTo>
                    <a:pt x="14" y="2546"/>
                    <a:pt x="0" y="2095"/>
                    <a:pt x="206" y="1556"/>
                  </a:cubicBezTo>
                  <a:cubicBezTo>
                    <a:pt x="333" y="1225"/>
                    <a:pt x="591" y="873"/>
                    <a:pt x="840" y="532"/>
                  </a:cubicBezTo>
                  <a:cubicBezTo>
                    <a:pt x="948" y="383"/>
                    <a:pt x="1061" y="230"/>
                    <a:pt x="1158" y="83"/>
                  </a:cubicBezTo>
                  <a:lnTo>
                    <a:pt x="1213" y="0"/>
                  </a:lnTo>
                  <a:lnTo>
                    <a:pt x="1379" y="110"/>
                  </a:lnTo>
                  <a:lnTo>
                    <a:pt x="1324" y="194"/>
                  </a:lnTo>
                  <a:cubicBezTo>
                    <a:pt x="1225" y="344"/>
                    <a:pt x="1112" y="499"/>
                    <a:pt x="1001" y="650"/>
                  </a:cubicBezTo>
                  <a:cubicBezTo>
                    <a:pt x="760" y="980"/>
                    <a:pt x="510" y="1322"/>
                    <a:pt x="393" y="1628"/>
                  </a:cubicBezTo>
                  <a:cubicBezTo>
                    <a:pt x="267" y="1957"/>
                    <a:pt x="168" y="2417"/>
                    <a:pt x="408" y="2741"/>
                  </a:cubicBezTo>
                  <a:lnTo>
                    <a:pt x="414" y="2749"/>
                  </a:lnTo>
                  <a:cubicBezTo>
                    <a:pt x="541" y="2919"/>
                    <a:pt x="633" y="3042"/>
                    <a:pt x="887" y="3110"/>
                  </a:cubicBezTo>
                  <a:cubicBezTo>
                    <a:pt x="972" y="3132"/>
                    <a:pt x="1107" y="3146"/>
                    <a:pt x="1241" y="3146"/>
                  </a:cubicBezTo>
                  <a:lnTo>
                    <a:pt x="1341" y="3146"/>
                  </a:lnTo>
                  <a:lnTo>
                    <a:pt x="1341" y="3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2351">
              <a:extLst>
                <a:ext uri="{FF2B5EF4-FFF2-40B4-BE49-F238E27FC236}">
                  <a16:creationId xmlns:a16="http://schemas.microsoft.com/office/drawing/2014/main" id="{7B1C15F1-EBD8-1A2E-D35D-A23625BBBAA5}"/>
                </a:ext>
              </a:extLst>
            </p:cNvPr>
            <p:cNvSpPr>
              <a:spLocks/>
            </p:cNvSpPr>
            <p:nvPr/>
          </p:nvSpPr>
          <p:spPr bwMode="auto">
            <a:xfrm>
              <a:off x="6105526" y="2965451"/>
              <a:ext cx="50800" cy="122238"/>
            </a:xfrm>
            <a:custGeom>
              <a:avLst/>
              <a:gdLst>
                <a:gd name="T0" fmla="*/ 43 w 1379"/>
                <a:gd name="T1" fmla="*/ 3350 h 3350"/>
                <a:gd name="T2" fmla="*/ 34 w 1379"/>
                <a:gd name="T3" fmla="*/ 3150 h 3350"/>
                <a:gd name="T4" fmla="*/ 134 w 1379"/>
                <a:gd name="T5" fmla="*/ 3146 h 3350"/>
                <a:gd name="T6" fmla="*/ 970 w 1379"/>
                <a:gd name="T7" fmla="*/ 2741 h 3350"/>
                <a:gd name="T8" fmla="*/ 987 w 1379"/>
                <a:gd name="T9" fmla="*/ 1628 h 3350"/>
                <a:gd name="T10" fmla="*/ 378 w 1379"/>
                <a:gd name="T11" fmla="*/ 650 h 3350"/>
                <a:gd name="T12" fmla="*/ 55 w 1379"/>
                <a:gd name="T13" fmla="*/ 194 h 3350"/>
                <a:gd name="T14" fmla="*/ 0 w 1379"/>
                <a:gd name="T15" fmla="*/ 110 h 3350"/>
                <a:gd name="T16" fmla="*/ 167 w 1379"/>
                <a:gd name="T17" fmla="*/ 0 h 3350"/>
                <a:gd name="T18" fmla="*/ 222 w 1379"/>
                <a:gd name="T19" fmla="*/ 83 h 3350"/>
                <a:gd name="T20" fmla="*/ 539 w 1379"/>
                <a:gd name="T21" fmla="*/ 532 h 3350"/>
                <a:gd name="T22" fmla="*/ 1173 w 1379"/>
                <a:gd name="T23" fmla="*/ 1556 h 3350"/>
                <a:gd name="T24" fmla="*/ 1131 w 1379"/>
                <a:gd name="T25" fmla="*/ 2861 h 3350"/>
                <a:gd name="T26" fmla="*/ 142 w 1379"/>
                <a:gd name="T27" fmla="*/ 3346 h 3350"/>
                <a:gd name="T28" fmla="*/ 43 w 1379"/>
                <a:gd name="T29" fmla="*/ 3350 h 3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9" h="3350">
                  <a:moveTo>
                    <a:pt x="43" y="3350"/>
                  </a:moveTo>
                  <a:lnTo>
                    <a:pt x="34" y="3150"/>
                  </a:lnTo>
                  <a:lnTo>
                    <a:pt x="134" y="3146"/>
                  </a:lnTo>
                  <a:cubicBezTo>
                    <a:pt x="531" y="3130"/>
                    <a:pt x="765" y="3017"/>
                    <a:pt x="970" y="2741"/>
                  </a:cubicBezTo>
                  <a:cubicBezTo>
                    <a:pt x="1212" y="2417"/>
                    <a:pt x="1112" y="1957"/>
                    <a:pt x="987" y="1628"/>
                  </a:cubicBezTo>
                  <a:cubicBezTo>
                    <a:pt x="869" y="1322"/>
                    <a:pt x="619" y="980"/>
                    <a:pt x="378" y="650"/>
                  </a:cubicBezTo>
                  <a:cubicBezTo>
                    <a:pt x="268" y="499"/>
                    <a:pt x="154" y="344"/>
                    <a:pt x="55" y="194"/>
                  </a:cubicBezTo>
                  <a:lnTo>
                    <a:pt x="0" y="110"/>
                  </a:lnTo>
                  <a:lnTo>
                    <a:pt x="167" y="0"/>
                  </a:lnTo>
                  <a:lnTo>
                    <a:pt x="222" y="83"/>
                  </a:lnTo>
                  <a:cubicBezTo>
                    <a:pt x="318" y="230"/>
                    <a:pt x="430" y="383"/>
                    <a:pt x="539" y="532"/>
                  </a:cubicBezTo>
                  <a:cubicBezTo>
                    <a:pt x="789" y="873"/>
                    <a:pt x="1046" y="1225"/>
                    <a:pt x="1173" y="1556"/>
                  </a:cubicBezTo>
                  <a:cubicBezTo>
                    <a:pt x="1379" y="2095"/>
                    <a:pt x="1365" y="2546"/>
                    <a:pt x="1131" y="2861"/>
                  </a:cubicBezTo>
                  <a:cubicBezTo>
                    <a:pt x="891" y="3183"/>
                    <a:pt x="595" y="3328"/>
                    <a:pt x="142" y="3346"/>
                  </a:cubicBezTo>
                  <a:lnTo>
                    <a:pt x="43" y="335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2352">
              <a:extLst>
                <a:ext uri="{FF2B5EF4-FFF2-40B4-BE49-F238E27FC236}">
                  <a16:creationId xmlns:a16="http://schemas.microsoft.com/office/drawing/2014/main" id="{A0E64AF3-35F7-660E-47E6-F1B189B8F3E8}"/>
                </a:ext>
              </a:extLst>
            </p:cNvPr>
            <p:cNvSpPr>
              <a:spLocks/>
            </p:cNvSpPr>
            <p:nvPr/>
          </p:nvSpPr>
          <p:spPr bwMode="auto">
            <a:xfrm>
              <a:off x="6051551" y="3063876"/>
              <a:ext cx="14288" cy="7938"/>
            </a:xfrm>
            <a:custGeom>
              <a:avLst/>
              <a:gdLst>
                <a:gd name="T0" fmla="*/ 32 w 394"/>
                <a:gd name="T1" fmla="*/ 252 h 252"/>
                <a:gd name="T2" fmla="*/ 0 w 394"/>
                <a:gd name="T3" fmla="*/ 55 h 252"/>
                <a:gd name="T4" fmla="*/ 98 w 394"/>
                <a:gd name="T5" fmla="*/ 39 h 252"/>
                <a:gd name="T6" fmla="*/ 268 w 394"/>
                <a:gd name="T7" fmla="*/ 13 h 252"/>
                <a:gd name="T8" fmla="*/ 368 w 394"/>
                <a:gd name="T9" fmla="*/ 0 h 252"/>
                <a:gd name="T10" fmla="*/ 394 w 394"/>
                <a:gd name="T11" fmla="*/ 198 h 252"/>
                <a:gd name="T12" fmla="*/ 295 w 394"/>
                <a:gd name="T13" fmla="*/ 211 h 252"/>
                <a:gd name="T14" fmla="*/ 131 w 394"/>
                <a:gd name="T15" fmla="*/ 236 h 252"/>
                <a:gd name="T16" fmla="*/ 32 w 39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252">
                  <a:moveTo>
                    <a:pt x="32" y="252"/>
                  </a:moveTo>
                  <a:lnTo>
                    <a:pt x="0" y="55"/>
                  </a:lnTo>
                  <a:lnTo>
                    <a:pt x="98" y="39"/>
                  </a:lnTo>
                  <a:cubicBezTo>
                    <a:pt x="154" y="30"/>
                    <a:pt x="211" y="21"/>
                    <a:pt x="268" y="13"/>
                  </a:cubicBezTo>
                  <a:lnTo>
                    <a:pt x="368" y="0"/>
                  </a:lnTo>
                  <a:lnTo>
                    <a:pt x="394" y="198"/>
                  </a:lnTo>
                  <a:lnTo>
                    <a:pt x="295" y="211"/>
                  </a:lnTo>
                  <a:cubicBezTo>
                    <a:pt x="240" y="219"/>
                    <a:pt x="184" y="227"/>
                    <a:pt x="131" y="236"/>
                  </a:cubicBezTo>
                  <a:lnTo>
                    <a:pt x="32"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2353">
              <a:extLst>
                <a:ext uri="{FF2B5EF4-FFF2-40B4-BE49-F238E27FC236}">
                  <a16:creationId xmlns:a16="http://schemas.microsoft.com/office/drawing/2014/main" id="{3FDD57DF-5E89-CDEE-E06B-7539FF504F6E}"/>
                </a:ext>
              </a:extLst>
            </p:cNvPr>
            <p:cNvSpPr>
              <a:spLocks/>
            </p:cNvSpPr>
            <p:nvPr/>
          </p:nvSpPr>
          <p:spPr bwMode="auto">
            <a:xfrm>
              <a:off x="6013451" y="3065463"/>
              <a:ext cx="193675" cy="46038"/>
            </a:xfrm>
            <a:custGeom>
              <a:avLst/>
              <a:gdLst>
                <a:gd name="T0" fmla="*/ 2663 w 5326"/>
                <a:gd name="T1" fmla="*/ 1259 h 1259"/>
                <a:gd name="T2" fmla="*/ 828 w 5326"/>
                <a:gd name="T3" fmla="*/ 1079 h 1259"/>
                <a:gd name="T4" fmla="*/ 0 w 5326"/>
                <a:gd name="T5" fmla="*/ 551 h 1259"/>
                <a:gd name="T6" fmla="*/ 766 w 5326"/>
                <a:gd name="T7" fmla="*/ 38 h 1259"/>
                <a:gd name="T8" fmla="*/ 863 w 5326"/>
                <a:gd name="T9" fmla="*/ 14 h 1259"/>
                <a:gd name="T10" fmla="*/ 912 w 5326"/>
                <a:gd name="T11" fmla="*/ 207 h 1259"/>
                <a:gd name="T12" fmla="*/ 815 w 5326"/>
                <a:gd name="T13" fmla="*/ 232 h 1259"/>
                <a:gd name="T14" fmla="*/ 200 w 5326"/>
                <a:gd name="T15" fmla="*/ 551 h 1259"/>
                <a:gd name="T16" fmla="*/ 874 w 5326"/>
                <a:gd name="T17" fmla="*/ 884 h 1259"/>
                <a:gd name="T18" fmla="*/ 2663 w 5326"/>
                <a:gd name="T19" fmla="*/ 1059 h 1259"/>
                <a:gd name="T20" fmla="*/ 4452 w 5326"/>
                <a:gd name="T21" fmla="*/ 884 h 1259"/>
                <a:gd name="T22" fmla="*/ 5126 w 5326"/>
                <a:gd name="T23" fmla="*/ 551 h 1259"/>
                <a:gd name="T24" fmla="*/ 4454 w 5326"/>
                <a:gd name="T25" fmla="*/ 218 h 1259"/>
                <a:gd name="T26" fmla="*/ 4357 w 5326"/>
                <a:gd name="T27" fmla="*/ 195 h 1259"/>
                <a:gd name="T28" fmla="*/ 4403 w 5326"/>
                <a:gd name="T29" fmla="*/ 0 h 1259"/>
                <a:gd name="T30" fmla="*/ 4500 w 5326"/>
                <a:gd name="T31" fmla="*/ 23 h 1259"/>
                <a:gd name="T32" fmla="*/ 5326 w 5326"/>
                <a:gd name="T33" fmla="*/ 551 h 1259"/>
                <a:gd name="T34" fmla="*/ 4498 w 5326"/>
                <a:gd name="T35" fmla="*/ 1079 h 1259"/>
                <a:gd name="T36" fmla="*/ 2663 w 5326"/>
                <a:gd name="T37" fmla="*/ 1259 h 1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26" h="1259">
                  <a:moveTo>
                    <a:pt x="2663" y="1259"/>
                  </a:moveTo>
                  <a:cubicBezTo>
                    <a:pt x="1971" y="1259"/>
                    <a:pt x="1319" y="1195"/>
                    <a:pt x="828" y="1079"/>
                  </a:cubicBezTo>
                  <a:cubicBezTo>
                    <a:pt x="278" y="948"/>
                    <a:pt x="0" y="770"/>
                    <a:pt x="0" y="551"/>
                  </a:cubicBezTo>
                  <a:cubicBezTo>
                    <a:pt x="0" y="340"/>
                    <a:pt x="258" y="167"/>
                    <a:pt x="766" y="38"/>
                  </a:cubicBezTo>
                  <a:lnTo>
                    <a:pt x="863" y="14"/>
                  </a:lnTo>
                  <a:lnTo>
                    <a:pt x="912" y="207"/>
                  </a:lnTo>
                  <a:lnTo>
                    <a:pt x="815" y="232"/>
                  </a:lnTo>
                  <a:cubicBezTo>
                    <a:pt x="329" y="355"/>
                    <a:pt x="200" y="491"/>
                    <a:pt x="200" y="551"/>
                  </a:cubicBezTo>
                  <a:cubicBezTo>
                    <a:pt x="200" y="611"/>
                    <a:pt x="341" y="757"/>
                    <a:pt x="874" y="884"/>
                  </a:cubicBezTo>
                  <a:cubicBezTo>
                    <a:pt x="1351" y="997"/>
                    <a:pt x="1986" y="1059"/>
                    <a:pt x="2663" y="1059"/>
                  </a:cubicBezTo>
                  <a:cubicBezTo>
                    <a:pt x="3340" y="1059"/>
                    <a:pt x="3976" y="997"/>
                    <a:pt x="4452" y="884"/>
                  </a:cubicBezTo>
                  <a:cubicBezTo>
                    <a:pt x="4986" y="757"/>
                    <a:pt x="5126" y="611"/>
                    <a:pt x="5126" y="551"/>
                  </a:cubicBezTo>
                  <a:cubicBezTo>
                    <a:pt x="5126" y="491"/>
                    <a:pt x="4986" y="345"/>
                    <a:pt x="4454" y="218"/>
                  </a:cubicBezTo>
                  <a:lnTo>
                    <a:pt x="4357" y="195"/>
                  </a:lnTo>
                  <a:lnTo>
                    <a:pt x="4403" y="0"/>
                  </a:lnTo>
                  <a:lnTo>
                    <a:pt x="4500" y="23"/>
                  </a:lnTo>
                  <a:cubicBezTo>
                    <a:pt x="5049" y="154"/>
                    <a:pt x="5326" y="331"/>
                    <a:pt x="5326" y="551"/>
                  </a:cubicBezTo>
                  <a:cubicBezTo>
                    <a:pt x="5326" y="770"/>
                    <a:pt x="5048" y="948"/>
                    <a:pt x="4498" y="1079"/>
                  </a:cubicBezTo>
                  <a:cubicBezTo>
                    <a:pt x="4007" y="1195"/>
                    <a:pt x="3356" y="1259"/>
                    <a:pt x="2663" y="1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2354">
              <a:extLst>
                <a:ext uri="{FF2B5EF4-FFF2-40B4-BE49-F238E27FC236}">
                  <a16:creationId xmlns:a16="http://schemas.microsoft.com/office/drawing/2014/main" id="{9D3E8AA7-B3CB-C10E-BF08-D4FD36F063D5}"/>
                </a:ext>
              </a:extLst>
            </p:cNvPr>
            <p:cNvSpPr>
              <a:spLocks/>
            </p:cNvSpPr>
            <p:nvPr/>
          </p:nvSpPr>
          <p:spPr bwMode="auto">
            <a:xfrm>
              <a:off x="6156326" y="3062288"/>
              <a:ext cx="12700" cy="9525"/>
            </a:xfrm>
            <a:custGeom>
              <a:avLst/>
              <a:gdLst>
                <a:gd name="T0" fmla="*/ 326 w 359"/>
                <a:gd name="T1" fmla="*/ 248 h 248"/>
                <a:gd name="T2" fmla="*/ 227 w 359"/>
                <a:gd name="T3" fmla="*/ 232 h 248"/>
                <a:gd name="T4" fmla="*/ 100 w 359"/>
                <a:gd name="T5" fmla="*/ 213 h 248"/>
                <a:gd name="T6" fmla="*/ 0 w 359"/>
                <a:gd name="T7" fmla="*/ 199 h 248"/>
                <a:gd name="T8" fmla="*/ 28 w 359"/>
                <a:gd name="T9" fmla="*/ 0 h 248"/>
                <a:gd name="T10" fmla="*/ 128 w 359"/>
                <a:gd name="T11" fmla="*/ 14 h 248"/>
                <a:gd name="T12" fmla="*/ 260 w 359"/>
                <a:gd name="T13" fmla="*/ 35 h 248"/>
                <a:gd name="T14" fmla="*/ 359 w 359"/>
                <a:gd name="T15" fmla="*/ 51 h 248"/>
                <a:gd name="T16" fmla="*/ 326 w 359"/>
                <a:gd name="T17"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248">
                  <a:moveTo>
                    <a:pt x="326" y="248"/>
                  </a:moveTo>
                  <a:lnTo>
                    <a:pt x="227" y="232"/>
                  </a:lnTo>
                  <a:cubicBezTo>
                    <a:pt x="186" y="225"/>
                    <a:pt x="142" y="218"/>
                    <a:pt x="100" y="213"/>
                  </a:cubicBezTo>
                  <a:lnTo>
                    <a:pt x="0" y="199"/>
                  </a:lnTo>
                  <a:lnTo>
                    <a:pt x="28" y="0"/>
                  </a:lnTo>
                  <a:lnTo>
                    <a:pt x="128" y="14"/>
                  </a:lnTo>
                  <a:cubicBezTo>
                    <a:pt x="172" y="21"/>
                    <a:pt x="217" y="27"/>
                    <a:pt x="260" y="35"/>
                  </a:cubicBezTo>
                  <a:lnTo>
                    <a:pt x="359" y="51"/>
                  </a:lnTo>
                  <a:lnTo>
                    <a:pt x="326"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355">
              <a:extLst>
                <a:ext uri="{FF2B5EF4-FFF2-40B4-BE49-F238E27FC236}">
                  <a16:creationId xmlns:a16="http://schemas.microsoft.com/office/drawing/2014/main" id="{E27295F6-3992-3E51-82A7-4F6BC45C6219}"/>
                </a:ext>
              </a:extLst>
            </p:cNvPr>
            <p:cNvSpPr>
              <a:spLocks/>
            </p:cNvSpPr>
            <p:nvPr/>
          </p:nvSpPr>
          <p:spPr bwMode="auto">
            <a:xfrm>
              <a:off x="6049963" y="3043238"/>
              <a:ext cx="9525" cy="7938"/>
            </a:xfrm>
            <a:custGeom>
              <a:avLst/>
              <a:gdLst>
                <a:gd name="T0" fmla="*/ 25 w 261"/>
                <a:gd name="T1" fmla="*/ 224 h 224"/>
                <a:gd name="T2" fmla="*/ 0 w 261"/>
                <a:gd name="T3" fmla="*/ 26 h 224"/>
                <a:gd name="T4" fmla="*/ 99 w 261"/>
                <a:gd name="T5" fmla="*/ 13 h 224"/>
                <a:gd name="T6" fmla="*/ 120 w 261"/>
                <a:gd name="T7" fmla="*/ 10 h 224"/>
                <a:gd name="T8" fmla="*/ 147 w 261"/>
                <a:gd name="T9" fmla="*/ 10 h 224"/>
                <a:gd name="T10" fmla="*/ 238 w 261"/>
                <a:gd name="T11" fmla="*/ 0 h 224"/>
                <a:gd name="T12" fmla="*/ 261 w 261"/>
                <a:gd name="T13" fmla="*/ 199 h 224"/>
                <a:gd name="T14" fmla="*/ 161 w 261"/>
                <a:gd name="T15" fmla="*/ 210 h 224"/>
                <a:gd name="T16" fmla="*/ 138 w 261"/>
                <a:gd name="T17" fmla="*/ 212 h 224"/>
                <a:gd name="T18" fmla="*/ 117 w 261"/>
                <a:gd name="T19" fmla="*/ 212 h 224"/>
                <a:gd name="T20" fmla="*/ 25 w 261"/>
                <a:gd name="T21"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224">
                  <a:moveTo>
                    <a:pt x="25" y="224"/>
                  </a:moveTo>
                  <a:lnTo>
                    <a:pt x="0" y="26"/>
                  </a:lnTo>
                  <a:lnTo>
                    <a:pt x="99" y="13"/>
                  </a:lnTo>
                  <a:cubicBezTo>
                    <a:pt x="109" y="12"/>
                    <a:pt x="116" y="11"/>
                    <a:pt x="120" y="10"/>
                  </a:cubicBezTo>
                  <a:cubicBezTo>
                    <a:pt x="129" y="9"/>
                    <a:pt x="138" y="9"/>
                    <a:pt x="147" y="10"/>
                  </a:cubicBezTo>
                  <a:lnTo>
                    <a:pt x="238" y="0"/>
                  </a:lnTo>
                  <a:lnTo>
                    <a:pt x="261" y="199"/>
                  </a:lnTo>
                  <a:lnTo>
                    <a:pt x="161" y="210"/>
                  </a:lnTo>
                  <a:cubicBezTo>
                    <a:pt x="149" y="212"/>
                    <a:pt x="142" y="212"/>
                    <a:pt x="138" y="212"/>
                  </a:cubicBezTo>
                  <a:cubicBezTo>
                    <a:pt x="130" y="213"/>
                    <a:pt x="123" y="213"/>
                    <a:pt x="117" y="212"/>
                  </a:cubicBezTo>
                  <a:lnTo>
                    <a:pt x="25" y="22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356">
              <a:extLst>
                <a:ext uri="{FF2B5EF4-FFF2-40B4-BE49-F238E27FC236}">
                  <a16:creationId xmlns:a16="http://schemas.microsoft.com/office/drawing/2014/main" id="{6AC59A24-C603-AC00-A306-9A76EFEA292F}"/>
                </a:ext>
              </a:extLst>
            </p:cNvPr>
            <p:cNvSpPr>
              <a:spLocks/>
            </p:cNvSpPr>
            <p:nvPr/>
          </p:nvSpPr>
          <p:spPr bwMode="auto">
            <a:xfrm>
              <a:off x="6026151" y="3044826"/>
              <a:ext cx="20638" cy="11113"/>
            </a:xfrm>
            <a:custGeom>
              <a:avLst/>
              <a:gdLst>
                <a:gd name="T0" fmla="*/ 42 w 557"/>
                <a:gd name="T1" fmla="*/ 297 h 297"/>
                <a:gd name="T2" fmla="*/ 0 w 557"/>
                <a:gd name="T3" fmla="*/ 102 h 297"/>
                <a:gd name="T4" fmla="*/ 98 w 557"/>
                <a:gd name="T5" fmla="*/ 80 h 297"/>
                <a:gd name="T6" fmla="*/ 424 w 557"/>
                <a:gd name="T7" fmla="*/ 17 h 297"/>
                <a:gd name="T8" fmla="*/ 522 w 557"/>
                <a:gd name="T9" fmla="*/ 0 h 297"/>
                <a:gd name="T10" fmla="*/ 557 w 557"/>
                <a:gd name="T11" fmla="*/ 197 h 297"/>
                <a:gd name="T12" fmla="*/ 458 w 557"/>
                <a:gd name="T13" fmla="*/ 214 h 297"/>
                <a:gd name="T14" fmla="*/ 140 w 557"/>
                <a:gd name="T15" fmla="*/ 276 h 297"/>
                <a:gd name="T16" fmla="*/ 42 w 557"/>
                <a:gd name="T17"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297">
                  <a:moveTo>
                    <a:pt x="42" y="297"/>
                  </a:moveTo>
                  <a:lnTo>
                    <a:pt x="0" y="102"/>
                  </a:lnTo>
                  <a:lnTo>
                    <a:pt x="98" y="80"/>
                  </a:lnTo>
                  <a:cubicBezTo>
                    <a:pt x="202" y="58"/>
                    <a:pt x="312" y="37"/>
                    <a:pt x="424" y="17"/>
                  </a:cubicBezTo>
                  <a:lnTo>
                    <a:pt x="522" y="0"/>
                  </a:lnTo>
                  <a:lnTo>
                    <a:pt x="557" y="197"/>
                  </a:lnTo>
                  <a:lnTo>
                    <a:pt x="458" y="214"/>
                  </a:lnTo>
                  <a:cubicBezTo>
                    <a:pt x="349" y="233"/>
                    <a:pt x="242" y="254"/>
                    <a:pt x="140" y="276"/>
                  </a:cubicBezTo>
                  <a:lnTo>
                    <a:pt x="42" y="29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2357">
              <a:extLst>
                <a:ext uri="{FF2B5EF4-FFF2-40B4-BE49-F238E27FC236}">
                  <a16:creationId xmlns:a16="http://schemas.microsoft.com/office/drawing/2014/main" id="{2085ABEB-1555-84A9-D227-5D450E1BE16D}"/>
                </a:ext>
              </a:extLst>
            </p:cNvPr>
            <p:cNvSpPr>
              <a:spLocks/>
            </p:cNvSpPr>
            <p:nvPr/>
          </p:nvSpPr>
          <p:spPr bwMode="auto">
            <a:xfrm>
              <a:off x="6002338" y="3049588"/>
              <a:ext cx="20638" cy="12700"/>
            </a:xfrm>
            <a:custGeom>
              <a:avLst/>
              <a:gdLst>
                <a:gd name="T0" fmla="*/ 63 w 602"/>
                <a:gd name="T1" fmla="*/ 351 h 351"/>
                <a:gd name="T2" fmla="*/ 0 w 602"/>
                <a:gd name="T3" fmla="*/ 161 h 351"/>
                <a:gd name="T4" fmla="*/ 95 w 602"/>
                <a:gd name="T5" fmla="*/ 131 h 351"/>
                <a:gd name="T6" fmla="*/ 456 w 602"/>
                <a:gd name="T7" fmla="*/ 25 h 351"/>
                <a:gd name="T8" fmla="*/ 553 w 602"/>
                <a:gd name="T9" fmla="*/ 0 h 351"/>
                <a:gd name="T10" fmla="*/ 602 w 602"/>
                <a:gd name="T11" fmla="*/ 194 h 351"/>
                <a:gd name="T12" fmla="*/ 505 w 602"/>
                <a:gd name="T13" fmla="*/ 219 h 351"/>
                <a:gd name="T14" fmla="*/ 158 w 602"/>
                <a:gd name="T15" fmla="*/ 320 h 351"/>
                <a:gd name="T16" fmla="*/ 63 w 602"/>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351">
                  <a:moveTo>
                    <a:pt x="63" y="351"/>
                  </a:moveTo>
                  <a:lnTo>
                    <a:pt x="0" y="161"/>
                  </a:lnTo>
                  <a:lnTo>
                    <a:pt x="95" y="131"/>
                  </a:lnTo>
                  <a:cubicBezTo>
                    <a:pt x="207" y="93"/>
                    <a:pt x="329" y="57"/>
                    <a:pt x="456" y="25"/>
                  </a:cubicBezTo>
                  <a:lnTo>
                    <a:pt x="553" y="0"/>
                  </a:lnTo>
                  <a:lnTo>
                    <a:pt x="602" y="194"/>
                  </a:lnTo>
                  <a:lnTo>
                    <a:pt x="505" y="219"/>
                  </a:lnTo>
                  <a:cubicBezTo>
                    <a:pt x="383" y="251"/>
                    <a:pt x="265" y="285"/>
                    <a:pt x="158" y="320"/>
                  </a:cubicBezTo>
                  <a:lnTo>
                    <a:pt x="63" y="35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358">
              <a:extLst>
                <a:ext uri="{FF2B5EF4-FFF2-40B4-BE49-F238E27FC236}">
                  <a16:creationId xmlns:a16="http://schemas.microsoft.com/office/drawing/2014/main" id="{D416CEDA-9F63-C779-5F32-1019AD1F3C37}"/>
                </a:ext>
              </a:extLst>
            </p:cNvPr>
            <p:cNvSpPr>
              <a:spLocks/>
            </p:cNvSpPr>
            <p:nvPr/>
          </p:nvSpPr>
          <p:spPr bwMode="auto">
            <a:xfrm>
              <a:off x="5967413" y="3054351"/>
              <a:ext cx="41275" cy="53975"/>
            </a:xfrm>
            <a:custGeom>
              <a:avLst/>
              <a:gdLst>
                <a:gd name="T0" fmla="*/ 537 w 1137"/>
                <a:gd name="T1" fmla="*/ 1477 h 1477"/>
                <a:gd name="T2" fmla="*/ 488 w 1137"/>
                <a:gd name="T3" fmla="*/ 1464 h 1477"/>
                <a:gd name="T4" fmla="*/ 0 w 1137"/>
                <a:gd name="T5" fmla="*/ 850 h 1477"/>
                <a:gd name="T6" fmla="*/ 987 w 1137"/>
                <a:gd name="T7" fmla="*/ 20 h 1477"/>
                <a:gd name="T8" fmla="*/ 1117 w 1137"/>
                <a:gd name="T9" fmla="*/ 77 h 1477"/>
                <a:gd name="T10" fmla="*/ 1060 w 1137"/>
                <a:gd name="T11" fmla="*/ 207 h 1477"/>
                <a:gd name="T12" fmla="*/ 200 w 1137"/>
                <a:gd name="T13" fmla="*/ 850 h 1477"/>
                <a:gd name="T14" fmla="*/ 586 w 1137"/>
                <a:gd name="T15" fmla="*/ 1290 h 1477"/>
                <a:gd name="T16" fmla="*/ 624 w 1137"/>
                <a:gd name="T17" fmla="*/ 1427 h 1477"/>
                <a:gd name="T18" fmla="*/ 537 w 1137"/>
                <a:gd name="T19" fmla="*/ 1477 h 1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7" h="1477">
                  <a:moveTo>
                    <a:pt x="537" y="1477"/>
                  </a:moveTo>
                  <a:cubicBezTo>
                    <a:pt x="520" y="1477"/>
                    <a:pt x="503" y="1473"/>
                    <a:pt x="488" y="1464"/>
                  </a:cubicBezTo>
                  <a:cubicBezTo>
                    <a:pt x="164" y="1282"/>
                    <a:pt x="0" y="1075"/>
                    <a:pt x="0" y="850"/>
                  </a:cubicBezTo>
                  <a:cubicBezTo>
                    <a:pt x="0" y="436"/>
                    <a:pt x="756" y="111"/>
                    <a:pt x="987" y="20"/>
                  </a:cubicBezTo>
                  <a:cubicBezTo>
                    <a:pt x="1039" y="0"/>
                    <a:pt x="1097" y="26"/>
                    <a:pt x="1117" y="77"/>
                  </a:cubicBezTo>
                  <a:cubicBezTo>
                    <a:pt x="1137" y="129"/>
                    <a:pt x="1111" y="187"/>
                    <a:pt x="1060" y="207"/>
                  </a:cubicBezTo>
                  <a:cubicBezTo>
                    <a:pt x="553" y="404"/>
                    <a:pt x="200" y="668"/>
                    <a:pt x="200" y="850"/>
                  </a:cubicBezTo>
                  <a:cubicBezTo>
                    <a:pt x="200" y="1034"/>
                    <a:pt x="410" y="1191"/>
                    <a:pt x="586" y="1290"/>
                  </a:cubicBezTo>
                  <a:cubicBezTo>
                    <a:pt x="634" y="1318"/>
                    <a:pt x="651" y="1379"/>
                    <a:pt x="624" y="1427"/>
                  </a:cubicBezTo>
                  <a:cubicBezTo>
                    <a:pt x="606" y="1459"/>
                    <a:pt x="572" y="1477"/>
                    <a:pt x="537" y="14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2359">
              <a:extLst>
                <a:ext uri="{FF2B5EF4-FFF2-40B4-BE49-F238E27FC236}">
                  <a16:creationId xmlns:a16="http://schemas.microsoft.com/office/drawing/2014/main" id="{90C36B66-C656-F284-619E-9C3169AD247F}"/>
                </a:ext>
              </a:extLst>
            </p:cNvPr>
            <p:cNvSpPr>
              <a:spLocks/>
            </p:cNvSpPr>
            <p:nvPr/>
          </p:nvSpPr>
          <p:spPr bwMode="auto">
            <a:xfrm>
              <a:off x="5994401" y="3105151"/>
              <a:ext cx="9525" cy="9525"/>
            </a:xfrm>
            <a:custGeom>
              <a:avLst/>
              <a:gdLst>
                <a:gd name="T0" fmla="*/ 142 w 255"/>
                <a:gd name="T1" fmla="*/ 226 h 226"/>
                <a:gd name="T2" fmla="*/ 110 w 255"/>
                <a:gd name="T3" fmla="*/ 221 h 226"/>
                <a:gd name="T4" fmla="*/ 78 w 255"/>
                <a:gd name="T5" fmla="*/ 207 h 226"/>
                <a:gd name="T6" fmla="*/ 77 w 255"/>
                <a:gd name="T7" fmla="*/ 207 h 226"/>
                <a:gd name="T8" fmla="*/ 20 w 255"/>
                <a:gd name="T9" fmla="*/ 77 h 226"/>
                <a:gd name="T10" fmla="*/ 149 w 255"/>
                <a:gd name="T11" fmla="*/ 20 h 226"/>
                <a:gd name="T12" fmla="*/ 175 w 255"/>
                <a:gd name="T13" fmla="*/ 32 h 226"/>
                <a:gd name="T14" fmla="*/ 176 w 255"/>
                <a:gd name="T15" fmla="*/ 32 h 226"/>
                <a:gd name="T16" fmla="*/ 237 w 255"/>
                <a:gd name="T17" fmla="*/ 160 h 226"/>
                <a:gd name="T18" fmla="*/ 142 w 255"/>
                <a:gd name="T1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26">
                  <a:moveTo>
                    <a:pt x="142" y="226"/>
                  </a:moveTo>
                  <a:cubicBezTo>
                    <a:pt x="132" y="226"/>
                    <a:pt x="120" y="225"/>
                    <a:pt x="110" y="221"/>
                  </a:cubicBezTo>
                  <a:cubicBezTo>
                    <a:pt x="102" y="219"/>
                    <a:pt x="91" y="214"/>
                    <a:pt x="78" y="207"/>
                  </a:cubicBezTo>
                  <a:lnTo>
                    <a:pt x="77" y="207"/>
                  </a:lnTo>
                  <a:cubicBezTo>
                    <a:pt x="25" y="187"/>
                    <a:pt x="0" y="129"/>
                    <a:pt x="20" y="77"/>
                  </a:cubicBezTo>
                  <a:cubicBezTo>
                    <a:pt x="39" y="26"/>
                    <a:pt x="98" y="0"/>
                    <a:pt x="149" y="20"/>
                  </a:cubicBezTo>
                  <a:cubicBezTo>
                    <a:pt x="155" y="22"/>
                    <a:pt x="165" y="26"/>
                    <a:pt x="175" y="32"/>
                  </a:cubicBezTo>
                  <a:lnTo>
                    <a:pt x="176" y="32"/>
                  </a:lnTo>
                  <a:cubicBezTo>
                    <a:pt x="228" y="51"/>
                    <a:pt x="255" y="108"/>
                    <a:pt x="237" y="160"/>
                  </a:cubicBezTo>
                  <a:cubicBezTo>
                    <a:pt x="222" y="201"/>
                    <a:pt x="184" y="226"/>
                    <a:pt x="142"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2360">
              <a:extLst>
                <a:ext uri="{FF2B5EF4-FFF2-40B4-BE49-F238E27FC236}">
                  <a16:creationId xmlns:a16="http://schemas.microsoft.com/office/drawing/2014/main" id="{01E3AB21-87C9-08A3-BD42-528D4D3D01A9}"/>
                </a:ext>
              </a:extLst>
            </p:cNvPr>
            <p:cNvSpPr>
              <a:spLocks/>
            </p:cNvSpPr>
            <p:nvPr/>
          </p:nvSpPr>
          <p:spPr bwMode="auto">
            <a:xfrm>
              <a:off x="6007101" y="3057526"/>
              <a:ext cx="247650" cy="73025"/>
            </a:xfrm>
            <a:custGeom>
              <a:avLst/>
              <a:gdLst>
                <a:gd name="T0" fmla="*/ 2828 w 6773"/>
                <a:gd name="T1" fmla="*/ 2021 h 2021"/>
                <a:gd name="T2" fmla="*/ 83 w 6773"/>
                <a:gd name="T3" fmla="*/ 1684 h 2021"/>
                <a:gd name="T4" fmla="*/ 16 w 6773"/>
                <a:gd name="T5" fmla="*/ 1560 h 2021"/>
                <a:gd name="T6" fmla="*/ 139 w 6773"/>
                <a:gd name="T7" fmla="*/ 1493 h 2021"/>
                <a:gd name="T8" fmla="*/ 2828 w 6773"/>
                <a:gd name="T9" fmla="*/ 1821 h 2021"/>
                <a:gd name="T10" fmla="*/ 5519 w 6773"/>
                <a:gd name="T11" fmla="*/ 1492 h 2021"/>
                <a:gd name="T12" fmla="*/ 6573 w 6773"/>
                <a:gd name="T13" fmla="*/ 784 h 2021"/>
                <a:gd name="T14" fmla="*/ 5897 w 6773"/>
                <a:gd name="T15" fmla="*/ 206 h 2021"/>
                <a:gd name="T16" fmla="*/ 5842 w 6773"/>
                <a:gd name="T17" fmla="*/ 75 h 2021"/>
                <a:gd name="T18" fmla="*/ 5973 w 6773"/>
                <a:gd name="T19" fmla="*/ 20 h 2021"/>
                <a:gd name="T20" fmla="*/ 6773 w 6773"/>
                <a:gd name="T21" fmla="*/ 784 h 2021"/>
                <a:gd name="T22" fmla="*/ 5575 w 6773"/>
                <a:gd name="T23" fmla="*/ 1684 h 2021"/>
                <a:gd name="T24" fmla="*/ 2828 w 6773"/>
                <a:gd name="T25" fmla="*/ 2021 h 2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73" h="2021">
                  <a:moveTo>
                    <a:pt x="2828" y="2021"/>
                  </a:moveTo>
                  <a:cubicBezTo>
                    <a:pt x="1793" y="2021"/>
                    <a:pt x="818" y="1902"/>
                    <a:pt x="83" y="1684"/>
                  </a:cubicBezTo>
                  <a:cubicBezTo>
                    <a:pt x="30" y="1669"/>
                    <a:pt x="0" y="1613"/>
                    <a:pt x="16" y="1560"/>
                  </a:cubicBezTo>
                  <a:cubicBezTo>
                    <a:pt x="31" y="1508"/>
                    <a:pt x="87" y="1477"/>
                    <a:pt x="139" y="1493"/>
                  </a:cubicBezTo>
                  <a:cubicBezTo>
                    <a:pt x="857" y="1705"/>
                    <a:pt x="1811" y="1821"/>
                    <a:pt x="2828" y="1821"/>
                  </a:cubicBezTo>
                  <a:cubicBezTo>
                    <a:pt x="3846" y="1821"/>
                    <a:pt x="4801" y="1705"/>
                    <a:pt x="5519" y="1492"/>
                  </a:cubicBezTo>
                  <a:cubicBezTo>
                    <a:pt x="6179" y="1297"/>
                    <a:pt x="6573" y="1032"/>
                    <a:pt x="6573" y="784"/>
                  </a:cubicBezTo>
                  <a:cubicBezTo>
                    <a:pt x="6573" y="588"/>
                    <a:pt x="6333" y="382"/>
                    <a:pt x="5897" y="206"/>
                  </a:cubicBezTo>
                  <a:cubicBezTo>
                    <a:pt x="5846" y="185"/>
                    <a:pt x="5822" y="126"/>
                    <a:pt x="5842" y="75"/>
                  </a:cubicBezTo>
                  <a:cubicBezTo>
                    <a:pt x="5863" y="25"/>
                    <a:pt x="5922" y="0"/>
                    <a:pt x="5973" y="20"/>
                  </a:cubicBezTo>
                  <a:cubicBezTo>
                    <a:pt x="6496" y="232"/>
                    <a:pt x="6773" y="497"/>
                    <a:pt x="6773" y="784"/>
                  </a:cubicBezTo>
                  <a:cubicBezTo>
                    <a:pt x="6773" y="1141"/>
                    <a:pt x="6359" y="1452"/>
                    <a:pt x="5575" y="1684"/>
                  </a:cubicBezTo>
                  <a:cubicBezTo>
                    <a:pt x="4841" y="1902"/>
                    <a:pt x="3865" y="2021"/>
                    <a:pt x="2828" y="20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2361">
              <a:extLst>
                <a:ext uri="{FF2B5EF4-FFF2-40B4-BE49-F238E27FC236}">
                  <a16:creationId xmlns:a16="http://schemas.microsoft.com/office/drawing/2014/main" id="{21113EE0-D2BD-680F-70F5-250B8B51B9CE}"/>
                </a:ext>
              </a:extLst>
            </p:cNvPr>
            <p:cNvSpPr>
              <a:spLocks/>
            </p:cNvSpPr>
            <p:nvPr/>
          </p:nvSpPr>
          <p:spPr bwMode="auto">
            <a:xfrm>
              <a:off x="6202363" y="3051176"/>
              <a:ext cx="19050" cy="11113"/>
            </a:xfrm>
            <a:custGeom>
              <a:avLst/>
              <a:gdLst>
                <a:gd name="T0" fmla="*/ 392 w 505"/>
                <a:gd name="T1" fmla="*/ 300 h 300"/>
                <a:gd name="T2" fmla="*/ 360 w 505"/>
                <a:gd name="T3" fmla="*/ 294 h 300"/>
                <a:gd name="T4" fmla="*/ 84 w 505"/>
                <a:gd name="T5" fmla="*/ 207 h 300"/>
                <a:gd name="T6" fmla="*/ 16 w 505"/>
                <a:gd name="T7" fmla="*/ 84 h 300"/>
                <a:gd name="T8" fmla="*/ 139 w 505"/>
                <a:gd name="T9" fmla="*/ 15 h 300"/>
                <a:gd name="T10" fmla="*/ 426 w 505"/>
                <a:gd name="T11" fmla="*/ 105 h 300"/>
                <a:gd name="T12" fmla="*/ 487 w 505"/>
                <a:gd name="T13" fmla="*/ 232 h 300"/>
                <a:gd name="T14" fmla="*/ 392 w 505"/>
                <a:gd name="T15" fmla="*/ 300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5" h="300">
                  <a:moveTo>
                    <a:pt x="392" y="300"/>
                  </a:moveTo>
                  <a:cubicBezTo>
                    <a:pt x="381" y="300"/>
                    <a:pt x="371" y="298"/>
                    <a:pt x="360" y="294"/>
                  </a:cubicBezTo>
                  <a:cubicBezTo>
                    <a:pt x="274" y="264"/>
                    <a:pt x="181" y="235"/>
                    <a:pt x="84" y="207"/>
                  </a:cubicBezTo>
                  <a:cubicBezTo>
                    <a:pt x="31" y="193"/>
                    <a:pt x="0" y="137"/>
                    <a:pt x="16" y="84"/>
                  </a:cubicBezTo>
                  <a:cubicBezTo>
                    <a:pt x="31" y="31"/>
                    <a:pt x="86" y="0"/>
                    <a:pt x="139" y="15"/>
                  </a:cubicBezTo>
                  <a:cubicBezTo>
                    <a:pt x="239" y="44"/>
                    <a:pt x="335" y="74"/>
                    <a:pt x="426" y="105"/>
                  </a:cubicBezTo>
                  <a:cubicBezTo>
                    <a:pt x="478" y="123"/>
                    <a:pt x="505" y="180"/>
                    <a:pt x="487" y="232"/>
                  </a:cubicBezTo>
                  <a:cubicBezTo>
                    <a:pt x="473" y="273"/>
                    <a:pt x="434" y="300"/>
                    <a:pt x="392" y="3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2362">
              <a:extLst>
                <a:ext uri="{FF2B5EF4-FFF2-40B4-BE49-F238E27FC236}">
                  <a16:creationId xmlns:a16="http://schemas.microsoft.com/office/drawing/2014/main" id="{F5B0EF08-A72A-C227-6056-61DF0F4EAFAC}"/>
                </a:ext>
              </a:extLst>
            </p:cNvPr>
            <p:cNvSpPr>
              <a:spLocks/>
            </p:cNvSpPr>
            <p:nvPr/>
          </p:nvSpPr>
          <p:spPr bwMode="auto">
            <a:xfrm>
              <a:off x="6181726" y="3046413"/>
              <a:ext cx="19050" cy="9525"/>
            </a:xfrm>
            <a:custGeom>
              <a:avLst/>
              <a:gdLst>
                <a:gd name="T0" fmla="*/ 462 w 507"/>
                <a:gd name="T1" fmla="*/ 295 h 295"/>
                <a:gd name="T2" fmla="*/ 365 w 507"/>
                <a:gd name="T3" fmla="*/ 272 h 295"/>
                <a:gd name="T4" fmla="*/ 98 w 507"/>
                <a:gd name="T5" fmla="*/ 215 h 295"/>
                <a:gd name="T6" fmla="*/ 0 w 507"/>
                <a:gd name="T7" fmla="*/ 196 h 295"/>
                <a:gd name="T8" fmla="*/ 38 w 507"/>
                <a:gd name="T9" fmla="*/ 0 h 295"/>
                <a:gd name="T10" fmla="*/ 136 w 507"/>
                <a:gd name="T11" fmla="*/ 19 h 295"/>
                <a:gd name="T12" fmla="*/ 410 w 507"/>
                <a:gd name="T13" fmla="*/ 77 h 295"/>
                <a:gd name="T14" fmla="*/ 507 w 507"/>
                <a:gd name="T15" fmla="*/ 101 h 295"/>
                <a:gd name="T16" fmla="*/ 462 w 507"/>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95">
                  <a:moveTo>
                    <a:pt x="462" y="295"/>
                  </a:moveTo>
                  <a:lnTo>
                    <a:pt x="365" y="272"/>
                  </a:lnTo>
                  <a:cubicBezTo>
                    <a:pt x="279" y="252"/>
                    <a:pt x="189" y="233"/>
                    <a:pt x="98" y="215"/>
                  </a:cubicBezTo>
                  <a:lnTo>
                    <a:pt x="0" y="196"/>
                  </a:lnTo>
                  <a:lnTo>
                    <a:pt x="38" y="0"/>
                  </a:lnTo>
                  <a:lnTo>
                    <a:pt x="136" y="19"/>
                  </a:lnTo>
                  <a:cubicBezTo>
                    <a:pt x="230" y="37"/>
                    <a:pt x="322" y="57"/>
                    <a:pt x="410" y="77"/>
                  </a:cubicBezTo>
                  <a:lnTo>
                    <a:pt x="507" y="101"/>
                  </a:lnTo>
                  <a:lnTo>
                    <a:pt x="462"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2363">
              <a:extLst>
                <a:ext uri="{FF2B5EF4-FFF2-40B4-BE49-F238E27FC236}">
                  <a16:creationId xmlns:a16="http://schemas.microsoft.com/office/drawing/2014/main" id="{4E0652A5-D6EA-DDC4-AD65-72EA96CABCAC}"/>
                </a:ext>
              </a:extLst>
            </p:cNvPr>
            <p:cNvSpPr>
              <a:spLocks/>
            </p:cNvSpPr>
            <p:nvPr/>
          </p:nvSpPr>
          <p:spPr bwMode="auto">
            <a:xfrm>
              <a:off x="6165851" y="3043238"/>
              <a:ext cx="12700" cy="9525"/>
            </a:xfrm>
            <a:custGeom>
              <a:avLst/>
              <a:gdLst>
                <a:gd name="T0" fmla="*/ 312 w 340"/>
                <a:gd name="T1" fmla="*/ 240 h 240"/>
                <a:gd name="T2" fmla="*/ 213 w 340"/>
                <a:gd name="T3" fmla="*/ 227 h 240"/>
                <a:gd name="T4" fmla="*/ 100 w 340"/>
                <a:gd name="T5" fmla="*/ 211 h 240"/>
                <a:gd name="T6" fmla="*/ 0 w 340"/>
                <a:gd name="T7" fmla="*/ 199 h 240"/>
                <a:gd name="T8" fmla="*/ 26 w 340"/>
                <a:gd name="T9" fmla="*/ 0 h 240"/>
                <a:gd name="T10" fmla="*/ 125 w 340"/>
                <a:gd name="T11" fmla="*/ 13 h 240"/>
                <a:gd name="T12" fmla="*/ 241 w 340"/>
                <a:gd name="T13" fmla="*/ 29 h 240"/>
                <a:gd name="T14" fmla="*/ 340 w 340"/>
                <a:gd name="T15" fmla="*/ 42 h 240"/>
                <a:gd name="T16" fmla="*/ 312 w 340"/>
                <a:gd name="T1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 h="240">
                  <a:moveTo>
                    <a:pt x="312" y="240"/>
                  </a:moveTo>
                  <a:lnTo>
                    <a:pt x="213" y="227"/>
                  </a:lnTo>
                  <a:lnTo>
                    <a:pt x="100" y="211"/>
                  </a:lnTo>
                  <a:lnTo>
                    <a:pt x="0" y="199"/>
                  </a:lnTo>
                  <a:lnTo>
                    <a:pt x="26" y="0"/>
                  </a:lnTo>
                  <a:lnTo>
                    <a:pt x="125" y="13"/>
                  </a:lnTo>
                  <a:cubicBezTo>
                    <a:pt x="164" y="18"/>
                    <a:pt x="203" y="23"/>
                    <a:pt x="241" y="29"/>
                  </a:cubicBezTo>
                  <a:lnTo>
                    <a:pt x="340" y="42"/>
                  </a:lnTo>
                  <a:lnTo>
                    <a:pt x="312"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364">
              <a:extLst>
                <a:ext uri="{FF2B5EF4-FFF2-40B4-BE49-F238E27FC236}">
                  <a16:creationId xmlns:a16="http://schemas.microsoft.com/office/drawing/2014/main" id="{80194413-AB7B-7ECA-C8EF-FB5D9F9D4BAA}"/>
                </a:ext>
              </a:extLst>
            </p:cNvPr>
            <p:cNvSpPr>
              <a:spLocks/>
            </p:cNvSpPr>
            <p:nvPr/>
          </p:nvSpPr>
          <p:spPr bwMode="auto">
            <a:xfrm>
              <a:off x="6108701" y="3024188"/>
              <a:ext cx="26988" cy="46038"/>
            </a:xfrm>
            <a:custGeom>
              <a:avLst/>
              <a:gdLst>
                <a:gd name="T0" fmla="*/ 16 w 757"/>
                <a:gd name="T1" fmla="*/ 1245 h 1245"/>
                <a:gd name="T2" fmla="*/ 0 w 757"/>
                <a:gd name="T3" fmla="*/ 1046 h 1245"/>
                <a:gd name="T4" fmla="*/ 100 w 757"/>
                <a:gd name="T5" fmla="*/ 1037 h 1245"/>
                <a:gd name="T6" fmla="*/ 464 w 757"/>
                <a:gd name="T7" fmla="*/ 864 h 1245"/>
                <a:gd name="T8" fmla="*/ 418 w 757"/>
                <a:gd name="T9" fmla="*/ 188 h 1245"/>
                <a:gd name="T10" fmla="*/ 373 w 757"/>
                <a:gd name="T11" fmla="*/ 71 h 1245"/>
                <a:gd name="T12" fmla="*/ 560 w 757"/>
                <a:gd name="T13" fmla="*/ 0 h 1245"/>
                <a:gd name="T14" fmla="*/ 604 w 757"/>
                <a:gd name="T15" fmla="*/ 115 h 1245"/>
                <a:gd name="T16" fmla="*/ 633 w 757"/>
                <a:gd name="T17" fmla="*/ 971 h 1245"/>
                <a:gd name="T18" fmla="*/ 116 w 757"/>
                <a:gd name="T19" fmla="*/ 1237 h 1245"/>
                <a:gd name="T20" fmla="*/ 16 w 757"/>
                <a:gd name="T21" fmla="*/ 1245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7" h="1245">
                  <a:moveTo>
                    <a:pt x="16" y="1245"/>
                  </a:moveTo>
                  <a:lnTo>
                    <a:pt x="0" y="1046"/>
                  </a:lnTo>
                  <a:lnTo>
                    <a:pt x="100" y="1037"/>
                  </a:lnTo>
                  <a:cubicBezTo>
                    <a:pt x="278" y="1023"/>
                    <a:pt x="401" y="965"/>
                    <a:pt x="464" y="864"/>
                  </a:cubicBezTo>
                  <a:cubicBezTo>
                    <a:pt x="551" y="726"/>
                    <a:pt x="535" y="492"/>
                    <a:pt x="418" y="188"/>
                  </a:cubicBezTo>
                  <a:lnTo>
                    <a:pt x="373" y="71"/>
                  </a:lnTo>
                  <a:lnTo>
                    <a:pt x="560" y="0"/>
                  </a:lnTo>
                  <a:lnTo>
                    <a:pt x="604" y="115"/>
                  </a:lnTo>
                  <a:cubicBezTo>
                    <a:pt x="748" y="486"/>
                    <a:pt x="757" y="774"/>
                    <a:pt x="633" y="971"/>
                  </a:cubicBezTo>
                  <a:cubicBezTo>
                    <a:pt x="534" y="1128"/>
                    <a:pt x="361" y="1217"/>
                    <a:pt x="116" y="1237"/>
                  </a:cubicBezTo>
                  <a:lnTo>
                    <a:pt x="16" y="124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2365">
              <a:extLst>
                <a:ext uri="{FF2B5EF4-FFF2-40B4-BE49-F238E27FC236}">
                  <a16:creationId xmlns:a16="http://schemas.microsoft.com/office/drawing/2014/main" id="{C835169E-64B7-6960-65B8-4EF154ED96C9}"/>
                </a:ext>
              </a:extLst>
            </p:cNvPr>
            <p:cNvSpPr>
              <a:spLocks/>
            </p:cNvSpPr>
            <p:nvPr/>
          </p:nvSpPr>
          <p:spPr bwMode="auto">
            <a:xfrm>
              <a:off x="6116638" y="3009901"/>
              <a:ext cx="11113" cy="12700"/>
            </a:xfrm>
            <a:custGeom>
              <a:avLst/>
              <a:gdLst>
                <a:gd name="T0" fmla="*/ 109 w 293"/>
                <a:gd name="T1" fmla="*/ 328 h 328"/>
                <a:gd name="T2" fmla="*/ 70 w 293"/>
                <a:gd name="T3" fmla="*/ 237 h 328"/>
                <a:gd name="T4" fmla="*/ 42 w 293"/>
                <a:gd name="T5" fmla="*/ 175 h 328"/>
                <a:gd name="T6" fmla="*/ 0 w 293"/>
                <a:gd name="T7" fmla="*/ 85 h 328"/>
                <a:gd name="T8" fmla="*/ 181 w 293"/>
                <a:gd name="T9" fmla="*/ 0 h 328"/>
                <a:gd name="T10" fmla="*/ 223 w 293"/>
                <a:gd name="T11" fmla="*/ 91 h 328"/>
                <a:gd name="T12" fmla="*/ 253 w 293"/>
                <a:gd name="T13" fmla="*/ 157 h 328"/>
                <a:gd name="T14" fmla="*/ 293 w 293"/>
                <a:gd name="T15" fmla="*/ 249 h 328"/>
                <a:gd name="T16" fmla="*/ 109 w 293"/>
                <a:gd name="T1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3" h="328">
                  <a:moveTo>
                    <a:pt x="109" y="328"/>
                  </a:moveTo>
                  <a:lnTo>
                    <a:pt x="70" y="237"/>
                  </a:lnTo>
                  <a:cubicBezTo>
                    <a:pt x="61" y="217"/>
                    <a:pt x="52" y="196"/>
                    <a:pt x="42" y="175"/>
                  </a:cubicBezTo>
                  <a:lnTo>
                    <a:pt x="0" y="85"/>
                  </a:lnTo>
                  <a:lnTo>
                    <a:pt x="181" y="0"/>
                  </a:lnTo>
                  <a:lnTo>
                    <a:pt x="223" y="91"/>
                  </a:lnTo>
                  <a:cubicBezTo>
                    <a:pt x="233" y="113"/>
                    <a:pt x="244" y="135"/>
                    <a:pt x="253" y="157"/>
                  </a:cubicBezTo>
                  <a:lnTo>
                    <a:pt x="293" y="249"/>
                  </a:lnTo>
                  <a:lnTo>
                    <a:pt x="109" y="32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4" name="Inequality" descr="{&quot;Key&quot;:&quot;POWER_USER_SHAPE_ICON&quot;,&quot;Value&quot;:&quot;POWER_USER_SHAPE_ICON_STYLE_1&quot;}">
            <a:extLst>
              <a:ext uri="{FF2B5EF4-FFF2-40B4-BE49-F238E27FC236}">
                <a16:creationId xmlns:a16="http://schemas.microsoft.com/office/drawing/2014/main" id="{4A7A7863-DF94-E9A3-F466-1902401E879F}"/>
              </a:ext>
            </a:extLst>
          </p:cNvPr>
          <p:cNvGrpSpPr>
            <a:grpSpLocks noChangeAspect="1"/>
          </p:cNvGrpSpPr>
          <p:nvPr/>
        </p:nvGrpSpPr>
        <p:grpSpPr>
          <a:xfrm>
            <a:off x="3695908" y="5691134"/>
            <a:ext cx="555805" cy="548887"/>
            <a:chOff x="2948138" y="1672435"/>
            <a:chExt cx="815565" cy="805414"/>
          </a:xfrm>
        </p:grpSpPr>
        <p:sp>
          <p:nvSpPr>
            <p:cNvPr id="65" name="Freeform: Shape 892">
              <a:extLst>
                <a:ext uri="{FF2B5EF4-FFF2-40B4-BE49-F238E27FC236}">
                  <a16:creationId xmlns:a16="http://schemas.microsoft.com/office/drawing/2014/main" id="{5BD3368A-7C90-8ECB-C589-FA04F4D9E060}"/>
                </a:ext>
              </a:extLst>
            </p:cNvPr>
            <p:cNvSpPr/>
            <p:nvPr/>
          </p:nvSpPr>
          <p:spPr>
            <a:xfrm>
              <a:off x="3244196" y="2317703"/>
              <a:ext cx="282610" cy="160146"/>
            </a:xfrm>
            <a:custGeom>
              <a:avLst/>
              <a:gdLst>
                <a:gd name="connsiteX0" fmla="*/ 142900 w 282609"/>
                <a:gd name="connsiteY0" fmla="*/ 0 h 160145"/>
                <a:gd name="connsiteX1" fmla="*/ 0 w 282609"/>
                <a:gd name="connsiteY1" fmla="*/ 164479 h 160145"/>
                <a:gd name="connsiteX2" fmla="*/ 285785 w 282609"/>
                <a:gd name="connsiteY2" fmla="*/ 164466 h 160145"/>
              </a:gdLst>
              <a:ahLst/>
              <a:cxnLst>
                <a:cxn ang="0">
                  <a:pos x="connsiteX0" y="connsiteY0"/>
                </a:cxn>
                <a:cxn ang="0">
                  <a:pos x="connsiteX1" y="connsiteY1"/>
                </a:cxn>
                <a:cxn ang="0">
                  <a:pos x="connsiteX2" y="connsiteY2"/>
                </a:cxn>
              </a:cxnLst>
              <a:rect l="l" t="t" r="r" b="b"/>
              <a:pathLst>
                <a:path w="282609" h="160145">
                  <a:moveTo>
                    <a:pt x="142900" y="0"/>
                  </a:moveTo>
                  <a:lnTo>
                    <a:pt x="0" y="164479"/>
                  </a:lnTo>
                  <a:lnTo>
                    <a:pt x="285785" y="164466"/>
                  </a:lnTo>
                  <a:close/>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Shape 893">
              <a:extLst>
                <a:ext uri="{FF2B5EF4-FFF2-40B4-BE49-F238E27FC236}">
                  <a16:creationId xmlns:a16="http://schemas.microsoft.com/office/drawing/2014/main" id="{0C8370C3-7DE4-263C-1F65-C11977DD3BBF}"/>
                </a:ext>
              </a:extLst>
            </p:cNvPr>
            <p:cNvSpPr/>
            <p:nvPr/>
          </p:nvSpPr>
          <p:spPr>
            <a:xfrm>
              <a:off x="2997590" y="2153035"/>
              <a:ext cx="763047" cy="188407"/>
            </a:xfrm>
            <a:custGeom>
              <a:avLst/>
              <a:gdLst>
                <a:gd name="connsiteX0" fmla="*/ 768660 w 763046"/>
                <a:gd name="connsiteY0" fmla="*/ 0 h 188406"/>
                <a:gd name="connsiteX1" fmla="*/ 0 w 763046"/>
                <a:gd name="connsiteY1" fmla="*/ 191434 h 188406"/>
              </a:gdLst>
              <a:ahLst/>
              <a:cxnLst>
                <a:cxn ang="0">
                  <a:pos x="connsiteX0" y="connsiteY0"/>
                </a:cxn>
                <a:cxn ang="0">
                  <a:pos x="connsiteX1" y="connsiteY1"/>
                </a:cxn>
              </a:cxnLst>
              <a:rect l="l" t="t" r="r" b="b"/>
              <a:pathLst>
                <a:path w="763046" h="188406">
                  <a:moveTo>
                    <a:pt x="768660" y="0"/>
                  </a:moveTo>
                  <a:lnTo>
                    <a:pt x="0" y="19143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Shape 894">
              <a:extLst>
                <a:ext uri="{FF2B5EF4-FFF2-40B4-BE49-F238E27FC236}">
                  <a16:creationId xmlns:a16="http://schemas.microsoft.com/office/drawing/2014/main" id="{5760ACF8-93EB-9CEE-E541-51DAB3DD3DEE}"/>
                </a:ext>
              </a:extLst>
            </p:cNvPr>
            <p:cNvSpPr/>
            <p:nvPr/>
          </p:nvSpPr>
          <p:spPr>
            <a:xfrm>
              <a:off x="3523705" y="1935137"/>
              <a:ext cx="18841" cy="160146"/>
            </a:xfrm>
            <a:custGeom>
              <a:avLst/>
              <a:gdLst>
                <a:gd name="connsiteX0" fmla="*/ 22178 w 18840"/>
                <a:gd name="connsiteY0" fmla="*/ 167217 h 160145"/>
                <a:gd name="connsiteX1" fmla="*/ 0 w 18840"/>
                <a:gd name="connsiteY1" fmla="*/ 0 h 160145"/>
              </a:gdLst>
              <a:ahLst/>
              <a:cxnLst>
                <a:cxn ang="0">
                  <a:pos x="connsiteX0" y="connsiteY0"/>
                </a:cxn>
                <a:cxn ang="0">
                  <a:pos x="connsiteX1" y="connsiteY1"/>
                </a:cxn>
              </a:cxnLst>
              <a:rect l="l" t="t" r="r" b="b"/>
              <a:pathLst>
                <a:path w="18840" h="160145">
                  <a:moveTo>
                    <a:pt x="22178" y="167217"/>
                  </a:moveTo>
                  <a:cubicBezTo>
                    <a:pt x="22178" y="87446"/>
                    <a:pt x="0" y="0"/>
                    <a:pt x="0" y="0"/>
                  </a:cubicBez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Shape 895">
              <a:extLst>
                <a:ext uri="{FF2B5EF4-FFF2-40B4-BE49-F238E27FC236}">
                  <a16:creationId xmlns:a16="http://schemas.microsoft.com/office/drawing/2014/main" id="{F751E7B0-9BAD-18F6-0C14-5552AE0438A3}"/>
                </a:ext>
              </a:extLst>
            </p:cNvPr>
            <p:cNvSpPr/>
            <p:nvPr/>
          </p:nvSpPr>
          <p:spPr>
            <a:xfrm>
              <a:off x="3658009" y="1935137"/>
              <a:ext cx="18841" cy="160146"/>
            </a:xfrm>
            <a:custGeom>
              <a:avLst/>
              <a:gdLst>
                <a:gd name="connsiteX0" fmla="*/ 0 w 18840"/>
                <a:gd name="connsiteY0" fmla="*/ 167217 h 160145"/>
                <a:gd name="connsiteX1" fmla="*/ 22177 w 18840"/>
                <a:gd name="connsiteY1" fmla="*/ 0 h 160145"/>
              </a:gdLst>
              <a:ahLst/>
              <a:cxnLst>
                <a:cxn ang="0">
                  <a:pos x="connsiteX0" y="connsiteY0"/>
                </a:cxn>
                <a:cxn ang="0">
                  <a:pos x="connsiteX1" y="connsiteY1"/>
                </a:cxn>
              </a:cxnLst>
              <a:rect l="l" t="t" r="r" b="b"/>
              <a:pathLst>
                <a:path w="18840" h="160145">
                  <a:moveTo>
                    <a:pt x="0" y="167217"/>
                  </a:moveTo>
                  <a:cubicBezTo>
                    <a:pt x="0" y="87446"/>
                    <a:pt x="22177" y="0"/>
                    <a:pt x="22177" y="0"/>
                  </a:cubicBez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Shape 896">
              <a:extLst>
                <a:ext uri="{FF2B5EF4-FFF2-40B4-BE49-F238E27FC236}">
                  <a16:creationId xmlns:a16="http://schemas.microsoft.com/office/drawing/2014/main" id="{66FBEB0E-3333-E930-C174-FDCA486E2401}"/>
                </a:ext>
              </a:extLst>
            </p:cNvPr>
            <p:cNvSpPr/>
            <p:nvPr/>
          </p:nvSpPr>
          <p:spPr>
            <a:xfrm>
              <a:off x="3534965" y="1992249"/>
              <a:ext cx="131885" cy="18841"/>
            </a:xfrm>
            <a:custGeom>
              <a:avLst/>
              <a:gdLst>
                <a:gd name="connsiteX0" fmla="*/ 0 w 131884"/>
                <a:gd name="connsiteY0" fmla="*/ 0 h 18840"/>
                <a:gd name="connsiteX1" fmla="*/ 66974 w 131884"/>
                <a:gd name="connsiteY1" fmla="*/ 22559 h 18840"/>
                <a:gd name="connsiteX2" fmla="*/ 133956 w 131884"/>
                <a:gd name="connsiteY2" fmla="*/ 0 h 18840"/>
              </a:gdLst>
              <a:ahLst/>
              <a:cxnLst>
                <a:cxn ang="0">
                  <a:pos x="connsiteX0" y="connsiteY0"/>
                </a:cxn>
                <a:cxn ang="0">
                  <a:pos x="connsiteX1" y="connsiteY1"/>
                </a:cxn>
                <a:cxn ang="0">
                  <a:pos x="connsiteX2" y="connsiteY2"/>
                </a:cxn>
              </a:cxnLst>
              <a:rect l="l" t="t" r="r" b="b"/>
              <a:pathLst>
                <a:path w="131884" h="18840">
                  <a:moveTo>
                    <a:pt x="0" y="0"/>
                  </a:moveTo>
                  <a:cubicBezTo>
                    <a:pt x="13386" y="13478"/>
                    <a:pt x="38339" y="22559"/>
                    <a:pt x="66974" y="22559"/>
                  </a:cubicBezTo>
                  <a:cubicBezTo>
                    <a:pt x="95616" y="22559"/>
                    <a:pt x="120566" y="13478"/>
                    <a:pt x="133956" y="0"/>
                  </a:cubicBez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Shape 897">
              <a:extLst>
                <a:ext uri="{FF2B5EF4-FFF2-40B4-BE49-F238E27FC236}">
                  <a16:creationId xmlns:a16="http://schemas.microsoft.com/office/drawing/2014/main" id="{555B83B0-90A3-BCE5-5509-D7725806AD68}"/>
                </a:ext>
              </a:extLst>
            </p:cNvPr>
            <p:cNvSpPr/>
            <p:nvPr/>
          </p:nvSpPr>
          <p:spPr>
            <a:xfrm>
              <a:off x="3432544" y="1775293"/>
              <a:ext cx="226088" cy="320291"/>
            </a:xfrm>
            <a:custGeom>
              <a:avLst/>
              <a:gdLst>
                <a:gd name="connsiteX0" fmla="*/ 4362 w 226087"/>
                <a:gd name="connsiteY0" fmla="*/ 327061 h 320291"/>
                <a:gd name="connsiteX1" fmla="*/ 0 w 226087"/>
                <a:gd name="connsiteY1" fmla="*/ 243459 h 320291"/>
                <a:gd name="connsiteX2" fmla="*/ 91161 w 226087"/>
                <a:gd name="connsiteY2" fmla="*/ 159844 h 320291"/>
                <a:gd name="connsiteX3" fmla="*/ 127048 w 226087"/>
                <a:gd name="connsiteY3" fmla="*/ 150386 h 320291"/>
                <a:gd name="connsiteX4" fmla="*/ 125645 w 226087"/>
                <a:gd name="connsiteY4" fmla="*/ 113747 h 320291"/>
                <a:gd name="connsiteX5" fmla="*/ 107755 w 226087"/>
                <a:gd name="connsiteY5" fmla="*/ 0 h 320291"/>
                <a:gd name="connsiteX6" fmla="*/ 234556 w 226087"/>
                <a:gd name="connsiteY6" fmla="*/ 12322 h 32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087" h="320291">
                  <a:moveTo>
                    <a:pt x="4362" y="327061"/>
                  </a:moveTo>
                  <a:lnTo>
                    <a:pt x="0" y="243459"/>
                  </a:lnTo>
                  <a:cubicBezTo>
                    <a:pt x="0" y="200427"/>
                    <a:pt x="43001" y="175746"/>
                    <a:pt x="91161" y="159844"/>
                  </a:cubicBezTo>
                  <a:cubicBezTo>
                    <a:pt x="100558" y="156742"/>
                    <a:pt x="127048" y="150386"/>
                    <a:pt x="127048" y="150386"/>
                  </a:cubicBezTo>
                  <a:cubicBezTo>
                    <a:pt x="127434" y="140878"/>
                    <a:pt x="127017" y="124964"/>
                    <a:pt x="125645" y="113747"/>
                  </a:cubicBezTo>
                  <a:cubicBezTo>
                    <a:pt x="96962" y="75086"/>
                    <a:pt x="99168" y="20398"/>
                    <a:pt x="107755" y="0"/>
                  </a:cubicBezTo>
                  <a:cubicBezTo>
                    <a:pt x="128214" y="12510"/>
                    <a:pt x="179035" y="26189"/>
                    <a:pt x="234556" y="12322"/>
                  </a:cubicBez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Shape 898">
              <a:extLst>
                <a:ext uri="{FF2B5EF4-FFF2-40B4-BE49-F238E27FC236}">
                  <a16:creationId xmlns:a16="http://schemas.microsoft.com/office/drawing/2014/main" id="{4ADF38B1-7622-97AD-6316-8BAEB101086D}"/>
                </a:ext>
              </a:extLst>
            </p:cNvPr>
            <p:cNvSpPr/>
            <p:nvPr/>
          </p:nvSpPr>
          <p:spPr>
            <a:xfrm>
              <a:off x="3622398" y="1762506"/>
              <a:ext cx="141305" cy="339132"/>
            </a:xfrm>
            <a:custGeom>
              <a:avLst/>
              <a:gdLst>
                <a:gd name="connsiteX0" fmla="*/ 144587 w 141304"/>
                <a:gd name="connsiteY0" fmla="*/ 339848 h 339131"/>
                <a:gd name="connsiteX1" fmla="*/ 148953 w 141304"/>
                <a:gd name="connsiteY1" fmla="*/ 256246 h 339131"/>
                <a:gd name="connsiteX2" fmla="*/ 57787 w 141304"/>
                <a:gd name="connsiteY2" fmla="*/ 172631 h 339131"/>
                <a:gd name="connsiteX3" fmla="*/ 21883 w 141304"/>
                <a:gd name="connsiteY3" fmla="*/ 163148 h 339131"/>
                <a:gd name="connsiteX4" fmla="*/ 23212 w 141304"/>
                <a:gd name="connsiteY4" fmla="*/ 127225 h 339131"/>
                <a:gd name="connsiteX5" fmla="*/ 44701 w 141304"/>
                <a:gd name="connsiteY5" fmla="*/ 25108 h 339131"/>
                <a:gd name="connsiteX6" fmla="*/ 0 w 141304"/>
                <a:gd name="connsiteY6" fmla="*/ 0 h 3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304" h="339131">
                  <a:moveTo>
                    <a:pt x="144587" y="339848"/>
                  </a:moveTo>
                  <a:lnTo>
                    <a:pt x="148953" y="256246"/>
                  </a:lnTo>
                  <a:cubicBezTo>
                    <a:pt x="148953" y="213213"/>
                    <a:pt x="109482" y="186158"/>
                    <a:pt x="57787" y="172631"/>
                  </a:cubicBezTo>
                  <a:cubicBezTo>
                    <a:pt x="48804" y="170282"/>
                    <a:pt x="21883" y="163148"/>
                    <a:pt x="21883" y="163148"/>
                  </a:cubicBezTo>
                  <a:cubicBezTo>
                    <a:pt x="21490" y="153828"/>
                    <a:pt x="21892" y="138115"/>
                    <a:pt x="23212" y="127225"/>
                  </a:cubicBezTo>
                  <a:cubicBezTo>
                    <a:pt x="52970" y="86768"/>
                    <a:pt x="54888" y="47755"/>
                    <a:pt x="44701" y="25108"/>
                  </a:cubicBezTo>
                  <a:cubicBezTo>
                    <a:pt x="22363" y="18024"/>
                    <a:pt x="0" y="0"/>
                    <a:pt x="0" y="0"/>
                  </a:cubicBez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Shape 899">
              <a:extLst>
                <a:ext uri="{FF2B5EF4-FFF2-40B4-BE49-F238E27FC236}">
                  <a16:creationId xmlns:a16="http://schemas.microsoft.com/office/drawing/2014/main" id="{F6CEFD17-7318-D3E0-2BF5-44E41607FAC7}"/>
                </a:ext>
              </a:extLst>
            </p:cNvPr>
            <p:cNvSpPr/>
            <p:nvPr/>
          </p:nvSpPr>
          <p:spPr>
            <a:xfrm>
              <a:off x="3491301" y="1672435"/>
              <a:ext cx="216668" cy="273190"/>
            </a:xfrm>
            <a:custGeom>
              <a:avLst/>
              <a:gdLst>
                <a:gd name="connsiteX0" fmla="*/ 218318 w 216667"/>
                <a:gd name="connsiteY0" fmla="*/ 272750 h 273189"/>
                <a:gd name="connsiteX1" fmla="*/ 221173 w 216667"/>
                <a:gd name="connsiteY1" fmla="*/ 119199 h 273189"/>
                <a:gd name="connsiteX2" fmla="*/ 110638 w 216667"/>
                <a:gd name="connsiteY2" fmla="*/ 0 h 273189"/>
                <a:gd name="connsiteX3" fmla="*/ 61 w 216667"/>
                <a:gd name="connsiteY3" fmla="*/ 119299 h 273189"/>
                <a:gd name="connsiteX4" fmla="*/ 449 w 216667"/>
                <a:gd name="connsiteY4" fmla="*/ 274873 h 27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667" h="273189">
                  <a:moveTo>
                    <a:pt x="218318" y="272750"/>
                  </a:moveTo>
                  <a:cubicBezTo>
                    <a:pt x="190518" y="254387"/>
                    <a:pt x="222606" y="182139"/>
                    <a:pt x="221173" y="119199"/>
                  </a:cubicBezTo>
                  <a:cubicBezTo>
                    <a:pt x="221242" y="58130"/>
                    <a:pt x="174691" y="0"/>
                    <a:pt x="110638" y="0"/>
                  </a:cubicBezTo>
                  <a:cubicBezTo>
                    <a:pt x="47270" y="0"/>
                    <a:pt x="61" y="58218"/>
                    <a:pt x="61" y="119299"/>
                  </a:cubicBezTo>
                  <a:cubicBezTo>
                    <a:pt x="-1474" y="183194"/>
                    <a:pt x="26924" y="257866"/>
                    <a:pt x="449" y="274873"/>
                  </a:cubicBez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Shape 900">
              <a:extLst>
                <a:ext uri="{FF2B5EF4-FFF2-40B4-BE49-F238E27FC236}">
                  <a16:creationId xmlns:a16="http://schemas.microsoft.com/office/drawing/2014/main" id="{64C260AD-1CCE-F3C1-12CE-BD78FDA49E3C}"/>
                </a:ext>
              </a:extLst>
            </p:cNvPr>
            <p:cNvSpPr/>
            <p:nvPr/>
          </p:nvSpPr>
          <p:spPr>
            <a:xfrm>
              <a:off x="3107009" y="2003375"/>
              <a:ext cx="65942" cy="131885"/>
            </a:xfrm>
            <a:custGeom>
              <a:avLst/>
              <a:gdLst>
                <a:gd name="connsiteX0" fmla="*/ 56329 w 65942"/>
                <a:gd name="connsiteY0" fmla="*/ 132290 h 131884"/>
                <a:gd name="connsiteX1" fmla="*/ 51688 w 65942"/>
                <a:gd name="connsiteY1" fmla="*/ 50283 h 131884"/>
                <a:gd name="connsiteX2" fmla="*/ 65544 w 65942"/>
                <a:gd name="connsiteY2" fmla="*/ 33577 h 131884"/>
                <a:gd name="connsiteX3" fmla="*/ 65775 w 65942"/>
                <a:gd name="connsiteY3" fmla="*/ 22361 h 131884"/>
                <a:gd name="connsiteX4" fmla="*/ 39947 w 65942"/>
                <a:gd name="connsiteY4" fmla="*/ 2440 h 131884"/>
                <a:gd name="connsiteX5" fmla="*/ 28142 w 65942"/>
                <a:gd name="connsiteY5" fmla="*/ 2440 h 131884"/>
                <a:gd name="connsiteX6" fmla="*/ 2286 w 65942"/>
                <a:gd name="connsiteY6" fmla="*/ 22361 h 131884"/>
                <a:gd name="connsiteX7" fmla="*/ 2551 w 65942"/>
                <a:gd name="connsiteY7" fmla="*/ 33577 h 131884"/>
                <a:gd name="connsiteX8" fmla="*/ 16386 w 65942"/>
                <a:gd name="connsiteY8" fmla="*/ 50257 h 131884"/>
                <a:gd name="connsiteX9" fmla="*/ 13933 w 65942"/>
                <a:gd name="connsiteY9" fmla="*/ 135932 h 13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42" h="131884">
                  <a:moveTo>
                    <a:pt x="56329" y="132290"/>
                  </a:moveTo>
                  <a:lnTo>
                    <a:pt x="51688" y="50283"/>
                  </a:lnTo>
                  <a:lnTo>
                    <a:pt x="65544" y="33577"/>
                  </a:lnTo>
                  <a:cubicBezTo>
                    <a:pt x="68792" y="30538"/>
                    <a:pt x="68925" y="25513"/>
                    <a:pt x="65775" y="22361"/>
                  </a:cubicBezTo>
                  <a:lnTo>
                    <a:pt x="39947" y="2440"/>
                  </a:lnTo>
                  <a:cubicBezTo>
                    <a:pt x="36704" y="-813"/>
                    <a:pt x="31381" y="-813"/>
                    <a:pt x="28142" y="2440"/>
                  </a:cubicBezTo>
                  <a:lnTo>
                    <a:pt x="2286" y="22361"/>
                  </a:lnTo>
                  <a:cubicBezTo>
                    <a:pt x="-865" y="25513"/>
                    <a:pt x="-742" y="30538"/>
                    <a:pt x="2551" y="33577"/>
                  </a:cubicBezTo>
                  <a:lnTo>
                    <a:pt x="16386" y="50257"/>
                  </a:lnTo>
                  <a:lnTo>
                    <a:pt x="13933" y="135932"/>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Shape 901">
              <a:extLst>
                <a:ext uri="{FF2B5EF4-FFF2-40B4-BE49-F238E27FC236}">
                  <a16:creationId xmlns:a16="http://schemas.microsoft.com/office/drawing/2014/main" id="{79C1E14E-9EF7-7051-C62E-4CB96FDD1B9F}"/>
                </a:ext>
              </a:extLst>
            </p:cNvPr>
            <p:cNvSpPr/>
            <p:nvPr/>
          </p:nvSpPr>
          <p:spPr>
            <a:xfrm>
              <a:off x="3031837" y="1769628"/>
              <a:ext cx="197827" cy="160146"/>
            </a:xfrm>
            <a:custGeom>
              <a:avLst/>
              <a:gdLst>
                <a:gd name="connsiteX0" fmla="*/ 202439 w 197826"/>
                <a:gd name="connsiteY0" fmla="*/ 101011 h 160145"/>
                <a:gd name="connsiteX1" fmla="*/ 101220 w 197826"/>
                <a:gd name="connsiteY1" fmla="*/ 0 h 160145"/>
                <a:gd name="connsiteX2" fmla="*/ 0 w 197826"/>
                <a:gd name="connsiteY2" fmla="*/ 101011 h 160145"/>
                <a:gd name="connsiteX3" fmla="*/ 23517 w 197826"/>
                <a:gd name="connsiteY3" fmla="*/ 162130 h 160145"/>
                <a:gd name="connsiteX4" fmla="*/ 26666 w 197826"/>
                <a:gd name="connsiteY4" fmla="*/ 108811 h 160145"/>
                <a:gd name="connsiteX5" fmla="*/ 74455 w 197826"/>
                <a:gd name="connsiteY5" fmla="*/ 92646 h 160145"/>
                <a:gd name="connsiteX6" fmla="*/ 169330 w 197826"/>
                <a:gd name="connsiteY6" fmla="*/ 94316 h 160145"/>
                <a:gd name="connsiteX7" fmla="*/ 179746 w 197826"/>
                <a:gd name="connsiteY7" fmla="*/ 161201 h 160145"/>
                <a:gd name="connsiteX8" fmla="*/ 202439 w 197826"/>
                <a:gd name="connsiteY8" fmla="*/ 101011 h 160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826" h="160145">
                  <a:moveTo>
                    <a:pt x="202439" y="101011"/>
                  </a:moveTo>
                  <a:cubicBezTo>
                    <a:pt x="202439" y="48320"/>
                    <a:pt x="157114" y="0"/>
                    <a:pt x="101220" y="0"/>
                  </a:cubicBezTo>
                  <a:cubicBezTo>
                    <a:pt x="45331" y="0"/>
                    <a:pt x="0" y="48320"/>
                    <a:pt x="0" y="101011"/>
                  </a:cubicBezTo>
                  <a:cubicBezTo>
                    <a:pt x="0" y="124286"/>
                    <a:pt x="8861" y="145576"/>
                    <a:pt x="23517" y="162130"/>
                  </a:cubicBezTo>
                  <a:cubicBezTo>
                    <a:pt x="20538" y="146844"/>
                    <a:pt x="18797" y="123821"/>
                    <a:pt x="26666" y="108811"/>
                  </a:cubicBezTo>
                  <a:cubicBezTo>
                    <a:pt x="32990" y="96741"/>
                    <a:pt x="46690" y="83376"/>
                    <a:pt x="74455" y="92646"/>
                  </a:cubicBezTo>
                  <a:cubicBezTo>
                    <a:pt x="97367" y="100295"/>
                    <a:pt x="134024" y="117503"/>
                    <a:pt x="169330" y="94316"/>
                  </a:cubicBezTo>
                  <a:cubicBezTo>
                    <a:pt x="183750" y="118131"/>
                    <a:pt x="182729" y="137123"/>
                    <a:pt x="179746" y="161201"/>
                  </a:cubicBezTo>
                  <a:cubicBezTo>
                    <a:pt x="193926" y="144784"/>
                    <a:pt x="202439" y="123846"/>
                    <a:pt x="202439" y="101011"/>
                  </a:cubicBezTo>
                  <a:close/>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Shape 902">
              <a:extLst>
                <a:ext uri="{FF2B5EF4-FFF2-40B4-BE49-F238E27FC236}">
                  <a16:creationId xmlns:a16="http://schemas.microsoft.com/office/drawing/2014/main" id="{9A1CDA6D-EB2B-CB68-6F7C-D0ED17DF6B57}"/>
                </a:ext>
              </a:extLst>
            </p:cNvPr>
            <p:cNvSpPr/>
            <p:nvPr/>
          </p:nvSpPr>
          <p:spPr>
            <a:xfrm>
              <a:off x="3125338" y="2023160"/>
              <a:ext cx="197827" cy="188407"/>
            </a:xfrm>
            <a:custGeom>
              <a:avLst/>
              <a:gdLst>
                <a:gd name="connsiteX0" fmla="*/ 200030 w 197826"/>
                <a:gd name="connsiteY0" fmla="*/ 191710 h 188406"/>
                <a:gd name="connsiteX1" fmla="*/ 200030 w 197826"/>
                <a:gd name="connsiteY1" fmla="*/ 111813 h 188406"/>
                <a:gd name="connsiteX2" fmla="*/ 112043 w 197826"/>
                <a:gd name="connsiteY2" fmla="*/ 3002 h 188406"/>
                <a:gd name="connsiteX3" fmla="*/ 102118 w 197826"/>
                <a:gd name="connsiteY3" fmla="*/ 0 h 188406"/>
                <a:gd name="connsiteX4" fmla="*/ 0 w 197826"/>
                <a:gd name="connsiteY4" fmla="*/ 180117 h 18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26" h="188406">
                  <a:moveTo>
                    <a:pt x="200030" y="191710"/>
                  </a:moveTo>
                  <a:lnTo>
                    <a:pt x="200030" y="111813"/>
                  </a:lnTo>
                  <a:cubicBezTo>
                    <a:pt x="200030" y="54914"/>
                    <a:pt x="164910" y="20360"/>
                    <a:pt x="112043" y="3002"/>
                  </a:cubicBezTo>
                  <a:cubicBezTo>
                    <a:pt x="108805" y="1947"/>
                    <a:pt x="105484" y="942"/>
                    <a:pt x="102118" y="0"/>
                  </a:cubicBezTo>
                  <a:lnTo>
                    <a:pt x="0" y="180117"/>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Shape 903">
              <a:extLst>
                <a:ext uri="{FF2B5EF4-FFF2-40B4-BE49-F238E27FC236}">
                  <a16:creationId xmlns:a16="http://schemas.microsoft.com/office/drawing/2014/main" id="{E1E3AA33-1258-7E11-8332-753C52FB6EDE}"/>
                </a:ext>
              </a:extLst>
            </p:cNvPr>
            <p:cNvSpPr/>
            <p:nvPr/>
          </p:nvSpPr>
          <p:spPr>
            <a:xfrm>
              <a:off x="2948138" y="2020661"/>
              <a:ext cx="188407" cy="188407"/>
            </a:xfrm>
            <a:custGeom>
              <a:avLst/>
              <a:gdLst>
                <a:gd name="connsiteX0" fmla="*/ 192901 w 188406"/>
                <a:gd name="connsiteY0" fmla="*/ 154933 h 188406"/>
                <a:gd name="connsiteX1" fmla="*/ 107726 w 188406"/>
                <a:gd name="connsiteY1" fmla="*/ 0 h 188406"/>
                <a:gd name="connsiteX2" fmla="*/ 98481 w 188406"/>
                <a:gd name="connsiteY2" fmla="*/ 2336 h 188406"/>
                <a:gd name="connsiteX3" fmla="*/ 0 w 188406"/>
                <a:gd name="connsiteY3" fmla="*/ 114313 h 188406"/>
                <a:gd name="connsiteX4" fmla="*/ 0 w 188406"/>
                <a:gd name="connsiteY4" fmla="*/ 194210 h 188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06" h="188406">
                  <a:moveTo>
                    <a:pt x="192901" y="154933"/>
                  </a:moveTo>
                  <a:lnTo>
                    <a:pt x="107726" y="0"/>
                  </a:lnTo>
                  <a:cubicBezTo>
                    <a:pt x="104605" y="729"/>
                    <a:pt x="101519" y="1507"/>
                    <a:pt x="98481" y="2336"/>
                  </a:cubicBezTo>
                  <a:cubicBezTo>
                    <a:pt x="39820" y="18464"/>
                    <a:pt x="0" y="53721"/>
                    <a:pt x="0" y="114313"/>
                  </a:cubicBezTo>
                  <a:lnTo>
                    <a:pt x="0" y="194210"/>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9" name="Carbon_footprint" descr="{&quot;Key&quot;:&quot;POWER_USER_SHAPE_ICON&quot;,&quot;Value&quot;:&quot;POWER_USER_SHAPE_ICON_STYLE_1&quot;}">
            <a:extLst>
              <a:ext uri="{FF2B5EF4-FFF2-40B4-BE49-F238E27FC236}">
                <a16:creationId xmlns:a16="http://schemas.microsoft.com/office/drawing/2014/main" id="{918184F2-4727-F3BB-8FCA-E57B0FFF390B}"/>
              </a:ext>
            </a:extLst>
          </p:cNvPr>
          <p:cNvGrpSpPr>
            <a:grpSpLocks noChangeAspect="1"/>
          </p:cNvGrpSpPr>
          <p:nvPr>
            <p:custDataLst>
              <p:tags r:id="rId3"/>
            </p:custDataLst>
          </p:nvPr>
        </p:nvGrpSpPr>
        <p:grpSpPr>
          <a:xfrm>
            <a:off x="4888944" y="4049409"/>
            <a:ext cx="540285" cy="312151"/>
            <a:chOff x="1192247" y="2204563"/>
            <a:chExt cx="772930" cy="446562"/>
          </a:xfrm>
          <a:solidFill>
            <a:schemeClr val="bg1"/>
          </a:solidFill>
        </p:grpSpPr>
        <p:grpSp>
          <p:nvGrpSpPr>
            <p:cNvPr id="82" name="Steps">
              <a:extLst>
                <a:ext uri="{FF2B5EF4-FFF2-40B4-BE49-F238E27FC236}">
                  <a16:creationId xmlns:a16="http://schemas.microsoft.com/office/drawing/2014/main" id="{846C3F5E-56DB-7569-313F-73249071F9F2}"/>
                </a:ext>
              </a:extLst>
            </p:cNvPr>
            <p:cNvGrpSpPr>
              <a:grpSpLocks noChangeAspect="1"/>
            </p:cNvGrpSpPr>
            <p:nvPr>
              <p:custDataLst>
                <p:tags r:id="rId5"/>
              </p:custDataLst>
            </p:nvPr>
          </p:nvGrpSpPr>
          <p:grpSpPr bwMode="auto">
            <a:xfrm>
              <a:off x="1192247" y="2204563"/>
              <a:ext cx="198873" cy="446562"/>
              <a:chOff x="2585" y="1309"/>
              <a:chExt cx="1100" cy="2470"/>
            </a:xfrm>
            <a:grpFill/>
          </p:grpSpPr>
          <p:sp>
            <p:nvSpPr>
              <p:cNvPr id="85" name="Freeform 52">
                <a:extLst>
                  <a:ext uri="{FF2B5EF4-FFF2-40B4-BE49-F238E27FC236}">
                    <a16:creationId xmlns:a16="http://schemas.microsoft.com/office/drawing/2014/main" id="{D8C7BB57-F0E8-57C4-B7A9-195D7911B35A}"/>
                  </a:ext>
                </a:extLst>
              </p:cNvPr>
              <p:cNvSpPr>
                <a:spLocks/>
              </p:cNvSpPr>
              <p:nvPr/>
            </p:nvSpPr>
            <p:spPr bwMode="auto">
              <a:xfrm>
                <a:off x="2883" y="2987"/>
                <a:ext cx="802" cy="792"/>
              </a:xfrm>
              <a:custGeom>
                <a:avLst/>
                <a:gdLst>
                  <a:gd name="T0" fmla="*/ 136 w 202"/>
                  <a:gd name="T1" fmla="*/ 0 h 199"/>
                  <a:gd name="T2" fmla="*/ 0 w 202"/>
                  <a:gd name="T3" fmla="*/ 39 h 199"/>
                  <a:gd name="T4" fmla="*/ 125 w 202"/>
                  <a:gd name="T5" fmla="*/ 179 h 199"/>
                  <a:gd name="T6" fmla="*/ 136 w 202"/>
                  <a:gd name="T7" fmla="*/ 1 h 199"/>
                  <a:gd name="T8" fmla="*/ 136 w 202"/>
                  <a:gd name="T9" fmla="*/ 0 h 199"/>
                </a:gdLst>
                <a:ahLst/>
                <a:cxnLst>
                  <a:cxn ang="0">
                    <a:pos x="T0" y="T1"/>
                  </a:cxn>
                  <a:cxn ang="0">
                    <a:pos x="T2" y="T3"/>
                  </a:cxn>
                  <a:cxn ang="0">
                    <a:pos x="T4" y="T5"/>
                  </a:cxn>
                  <a:cxn ang="0">
                    <a:pos x="T6" y="T7"/>
                  </a:cxn>
                  <a:cxn ang="0">
                    <a:pos x="T8" y="T9"/>
                  </a:cxn>
                </a:cxnLst>
                <a:rect l="0" t="0" r="r" b="b"/>
                <a:pathLst>
                  <a:path w="202" h="199">
                    <a:moveTo>
                      <a:pt x="136" y="0"/>
                    </a:moveTo>
                    <a:lnTo>
                      <a:pt x="0" y="39"/>
                    </a:lnTo>
                    <a:cubicBezTo>
                      <a:pt x="7" y="128"/>
                      <a:pt x="51" y="199"/>
                      <a:pt x="125" y="179"/>
                    </a:cubicBezTo>
                    <a:cubicBezTo>
                      <a:pt x="202" y="158"/>
                      <a:pt x="166" y="53"/>
                      <a:pt x="136" y="1"/>
                    </a:cubicBezTo>
                    <a:cubicBezTo>
                      <a:pt x="136" y="1"/>
                      <a:pt x="136" y="1"/>
                      <a:pt x="136" y="0"/>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54">
                <a:extLst>
                  <a:ext uri="{FF2B5EF4-FFF2-40B4-BE49-F238E27FC236}">
                    <a16:creationId xmlns:a16="http://schemas.microsoft.com/office/drawing/2014/main" id="{457CAA46-4D41-666C-9BA5-DDFE67CD8491}"/>
                  </a:ext>
                </a:extLst>
              </p:cNvPr>
              <p:cNvSpPr>
                <a:spLocks/>
              </p:cNvSpPr>
              <p:nvPr/>
            </p:nvSpPr>
            <p:spPr bwMode="auto">
              <a:xfrm>
                <a:off x="2585" y="1309"/>
                <a:ext cx="933" cy="1634"/>
              </a:xfrm>
              <a:custGeom>
                <a:avLst/>
                <a:gdLst>
                  <a:gd name="T0" fmla="*/ 208 w 235"/>
                  <a:gd name="T1" fmla="*/ 283 h 411"/>
                  <a:gd name="T2" fmla="*/ 210 w 235"/>
                  <a:gd name="T3" fmla="*/ 125 h 411"/>
                  <a:gd name="T4" fmla="*/ 99 w 235"/>
                  <a:gd name="T5" fmla="*/ 5 h 411"/>
                  <a:gd name="T6" fmla="*/ 7 w 235"/>
                  <a:gd name="T7" fmla="*/ 136 h 411"/>
                  <a:gd name="T8" fmla="*/ 70 w 235"/>
                  <a:gd name="T9" fmla="*/ 411 h 411"/>
                  <a:gd name="T10" fmla="*/ 195 w 235"/>
                  <a:gd name="T11" fmla="*/ 375 h 411"/>
                  <a:gd name="T12" fmla="*/ 208 w 235"/>
                  <a:gd name="T13" fmla="*/ 283 h 411"/>
                </a:gdLst>
                <a:ahLst/>
                <a:cxnLst>
                  <a:cxn ang="0">
                    <a:pos x="T0" y="T1"/>
                  </a:cxn>
                  <a:cxn ang="0">
                    <a:pos x="T2" y="T3"/>
                  </a:cxn>
                  <a:cxn ang="0">
                    <a:pos x="T4" y="T5"/>
                  </a:cxn>
                  <a:cxn ang="0">
                    <a:pos x="T6" y="T7"/>
                  </a:cxn>
                  <a:cxn ang="0">
                    <a:pos x="T8" y="T9"/>
                  </a:cxn>
                  <a:cxn ang="0">
                    <a:pos x="T10" y="T11"/>
                  </a:cxn>
                  <a:cxn ang="0">
                    <a:pos x="T12" y="T13"/>
                  </a:cxn>
                </a:cxnLst>
                <a:rect l="0" t="0" r="r" b="b"/>
                <a:pathLst>
                  <a:path w="235" h="411">
                    <a:moveTo>
                      <a:pt x="208" y="283"/>
                    </a:moveTo>
                    <a:cubicBezTo>
                      <a:pt x="217" y="256"/>
                      <a:pt x="235" y="211"/>
                      <a:pt x="210" y="125"/>
                    </a:cubicBezTo>
                    <a:cubicBezTo>
                      <a:pt x="185" y="38"/>
                      <a:pt x="149" y="5"/>
                      <a:pt x="99" y="5"/>
                    </a:cubicBezTo>
                    <a:cubicBezTo>
                      <a:pt x="99" y="5"/>
                      <a:pt x="13" y="0"/>
                      <a:pt x="7" y="136"/>
                    </a:cubicBezTo>
                    <a:cubicBezTo>
                      <a:pt x="0" y="287"/>
                      <a:pt x="53" y="324"/>
                      <a:pt x="70" y="411"/>
                    </a:cubicBezTo>
                    <a:lnTo>
                      <a:pt x="195" y="375"/>
                    </a:lnTo>
                    <a:cubicBezTo>
                      <a:pt x="191" y="337"/>
                      <a:pt x="201" y="302"/>
                      <a:pt x="208" y="283"/>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4" name="Freeform 8">
              <a:extLst>
                <a:ext uri="{FF2B5EF4-FFF2-40B4-BE49-F238E27FC236}">
                  <a16:creationId xmlns:a16="http://schemas.microsoft.com/office/drawing/2014/main" id="{F8B95730-0814-1008-C26F-C670130A8395}"/>
                </a:ext>
              </a:extLst>
            </p:cNvPr>
            <p:cNvSpPr>
              <a:spLocks noChangeAspect="1" noEditPoints="1"/>
            </p:cNvSpPr>
            <p:nvPr/>
          </p:nvSpPr>
          <p:spPr bwMode="auto">
            <a:xfrm>
              <a:off x="1491879" y="2355825"/>
              <a:ext cx="473298" cy="189858"/>
            </a:xfrm>
            <a:custGeom>
              <a:avLst/>
              <a:gdLst>
                <a:gd name="T0" fmla="*/ 618 w 1405"/>
                <a:gd name="T1" fmla="*/ 123 h 564"/>
                <a:gd name="T2" fmla="*/ 568 w 1405"/>
                <a:gd name="T3" fmla="*/ 280 h 564"/>
                <a:gd name="T4" fmla="*/ 616 w 1405"/>
                <a:gd name="T5" fmla="*/ 443 h 564"/>
                <a:gd name="T6" fmla="*/ 778 w 1405"/>
                <a:gd name="T7" fmla="*/ 457 h 564"/>
                <a:gd name="T8" fmla="*/ 851 w 1405"/>
                <a:gd name="T9" fmla="*/ 319 h 564"/>
                <a:gd name="T10" fmla="*/ 824 w 1405"/>
                <a:gd name="T11" fmla="*/ 142 h 564"/>
                <a:gd name="T12" fmla="*/ 712 w 1405"/>
                <a:gd name="T13" fmla="*/ 90 h 564"/>
                <a:gd name="T14" fmla="*/ 353 w 1405"/>
                <a:gd name="T15" fmla="*/ 21 h 564"/>
                <a:gd name="T16" fmla="*/ 397 w 1405"/>
                <a:gd name="T17" fmla="*/ 52 h 564"/>
                <a:gd name="T18" fmla="*/ 403 w 1405"/>
                <a:gd name="T19" fmla="*/ 106 h 564"/>
                <a:gd name="T20" fmla="*/ 380 w 1405"/>
                <a:gd name="T21" fmla="*/ 138 h 564"/>
                <a:gd name="T22" fmla="*/ 309 w 1405"/>
                <a:gd name="T23" fmla="*/ 100 h 564"/>
                <a:gd name="T24" fmla="*/ 177 w 1405"/>
                <a:gd name="T25" fmla="*/ 123 h 564"/>
                <a:gd name="T26" fmla="*/ 121 w 1405"/>
                <a:gd name="T27" fmla="*/ 282 h 564"/>
                <a:gd name="T28" fmla="*/ 179 w 1405"/>
                <a:gd name="T29" fmla="*/ 443 h 564"/>
                <a:gd name="T30" fmla="*/ 313 w 1405"/>
                <a:gd name="T31" fmla="*/ 463 h 564"/>
                <a:gd name="T32" fmla="*/ 384 w 1405"/>
                <a:gd name="T33" fmla="*/ 426 h 564"/>
                <a:gd name="T34" fmla="*/ 403 w 1405"/>
                <a:gd name="T35" fmla="*/ 440 h 564"/>
                <a:gd name="T36" fmla="*/ 401 w 1405"/>
                <a:gd name="T37" fmla="*/ 503 h 564"/>
                <a:gd name="T38" fmla="*/ 359 w 1405"/>
                <a:gd name="T39" fmla="*/ 539 h 564"/>
                <a:gd name="T40" fmla="*/ 244 w 1405"/>
                <a:gd name="T41" fmla="*/ 564 h 564"/>
                <a:gd name="T42" fmla="*/ 121 w 1405"/>
                <a:gd name="T43" fmla="*/ 535 h 564"/>
                <a:gd name="T44" fmla="*/ 38 w 1405"/>
                <a:gd name="T45" fmla="*/ 455 h 564"/>
                <a:gd name="T46" fmla="*/ 2 w 1405"/>
                <a:gd name="T47" fmla="*/ 322 h 564"/>
                <a:gd name="T48" fmla="*/ 19 w 1405"/>
                <a:gd name="T49" fmla="*/ 165 h 564"/>
                <a:gd name="T50" fmla="*/ 88 w 1405"/>
                <a:gd name="T51" fmla="*/ 58 h 564"/>
                <a:gd name="T52" fmla="*/ 200 w 1405"/>
                <a:gd name="T53" fmla="*/ 4 h 564"/>
                <a:gd name="T54" fmla="*/ 1254 w 1405"/>
                <a:gd name="T55" fmla="*/ 2 h 564"/>
                <a:gd name="T56" fmla="*/ 1373 w 1405"/>
                <a:gd name="T57" fmla="*/ 84 h 564"/>
                <a:gd name="T58" fmla="*/ 1371 w 1405"/>
                <a:gd name="T59" fmla="*/ 221 h 564"/>
                <a:gd name="T60" fmla="*/ 1279 w 1405"/>
                <a:gd name="T61" fmla="*/ 355 h 564"/>
                <a:gd name="T62" fmla="*/ 1394 w 1405"/>
                <a:gd name="T63" fmla="*/ 466 h 564"/>
                <a:gd name="T64" fmla="*/ 1402 w 1405"/>
                <a:gd name="T65" fmla="*/ 545 h 564"/>
                <a:gd name="T66" fmla="*/ 1048 w 1405"/>
                <a:gd name="T67" fmla="*/ 547 h 564"/>
                <a:gd name="T68" fmla="*/ 1041 w 1405"/>
                <a:gd name="T69" fmla="*/ 495 h 564"/>
                <a:gd name="T70" fmla="*/ 1162 w 1405"/>
                <a:gd name="T71" fmla="*/ 334 h 564"/>
                <a:gd name="T72" fmla="*/ 1242 w 1405"/>
                <a:gd name="T73" fmla="*/ 217 h 564"/>
                <a:gd name="T74" fmla="*/ 1242 w 1405"/>
                <a:gd name="T75" fmla="*/ 129 h 564"/>
                <a:gd name="T76" fmla="*/ 1181 w 1405"/>
                <a:gd name="T77" fmla="*/ 100 h 564"/>
                <a:gd name="T78" fmla="*/ 1091 w 1405"/>
                <a:gd name="T79" fmla="*/ 127 h 564"/>
                <a:gd name="T80" fmla="*/ 1054 w 1405"/>
                <a:gd name="T81" fmla="*/ 129 h 564"/>
                <a:gd name="T82" fmla="*/ 1050 w 1405"/>
                <a:gd name="T83" fmla="*/ 73 h 564"/>
                <a:gd name="T84" fmla="*/ 1083 w 1405"/>
                <a:gd name="T85" fmla="*/ 33 h 564"/>
                <a:gd name="T86" fmla="*/ 1189 w 1405"/>
                <a:gd name="T87" fmla="*/ 0 h 564"/>
                <a:gd name="T88" fmla="*/ 774 w 1405"/>
                <a:gd name="T89" fmla="*/ 4 h 564"/>
                <a:gd name="T90" fmla="*/ 887 w 1405"/>
                <a:gd name="T91" fmla="*/ 50 h 564"/>
                <a:gd name="T92" fmla="*/ 952 w 1405"/>
                <a:gd name="T93" fmla="*/ 152 h 564"/>
                <a:gd name="T94" fmla="*/ 968 w 1405"/>
                <a:gd name="T95" fmla="*/ 309 h 564"/>
                <a:gd name="T96" fmla="*/ 931 w 1405"/>
                <a:gd name="T97" fmla="*/ 447 h 564"/>
                <a:gd name="T98" fmla="*/ 843 w 1405"/>
                <a:gd name="T99" fmla="*/ 534 h 564"/>
                <a:gd name="T100" fmla="*/ 707 w 1405"/>
                <a:gd name="T101" fmla="*/ 564 h 564"/>
                <a:gd name="T102" fmla="*/ 572 w 1405"/>
                <a:gd name="T103" fmla="*/ 537 h 564"/>
                <a:gd name="T104" fmla="*/ 488 w 1405"/>
                <a:gd name="T105" fmla="*/ 459 h 564"/>
                <a:gd name="T106" fmla="*/ 453 w 1405"/>
                <a:gd name="T107" fmla="*/ 321 h 564"/>
                <a:gd name="T108" fmla="*/ 469 w 1405"/>
                <a:gd name="T109" fmla="*/ 165 h 564"/>
                <a:gd name="T110" fmla="*/ 538 w 1405"/>
                <a:gd name="T111" fmla="*/ 58 h 564"/>
                <a:gd name="T112" fmla="*/ 655 w 1405"/>
                <a:gd name="T113" fmla="*/ 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5" h="564">
                  <a:moveTo>
                    <a:pt x="712" y="90"/>
                  </a:moveTo>
                  <a:lnTo>
                    <a:pt x="693" y="92"/>
                  </a:lnTo>
                  <a:lnTo>
                    <a:pt x="674" y="94"/>
                  </a:lnTo>
                  <a:lnTo>
                    <a:pt x="643" y="106"/>
                  </a:lnTo>
                  <a:lnTo>
                    <a:pt x="618" y="123"/>
                  </a:lnTo>
                  <a:lnTo>
                    <a:pt x="599" y="146"/>
                  </a:lnTo>
                  <a:lnTo>
                    <a:pt x="586" y="175"/>
                  </a:lnTo>
                  <a:lnTo>
                    <a:pt x="576" y="207"/>
                  </a:lnTo>
                  <a:lnTo>
                    <a:pt x="570" y="242"/>
                  </a:lnTo>
                  <a:lnTo>
                    <a:pt x="568" y="280"/>
                  </a:lnTo>
                  <a:lnTo>
                    <a:pt x="570" y="322"/>
                  </a:lnTo>
                  <a:lnTo>
                    <a:pt x="576" y="361"/>
                  </a:lnTo>
                  <a:lnTo>
                    <a:pt x="586" y="393"/>
                  </a:lnTo>
                  <a:lnTo>
                    <a:pt x="599" y="420"/>
                  </a:lnTo>
                  <a:lnTo>
                    <a:pt x="616" y="443"/>
                  </a:lnTo>
                  <a:lnTo>
                    <a:pt x="641" y="459"/>
                  </a:lnTo>
                  <a:lnTo>
                    <a:pt x="672" y="470"/>
                  </a:lnTo>
                  <a:lnTo>
                    <a:pt x="709" y="472"/>
                  </a:lnTo>
                  <a:lnTo>
                    <a:pt x="747" y="468"/>
                  </a:lnTo>
                  <a:lnTo>
                    <a:pt x="778" y="457"/>
                  </a:lnTo>
                  <a:lnTo>
                    <a:pt x="803" y="440"/>
                  </a:lnTo>
                  <a:lnTo>
                    <a:pt x="822" y="416"/>
                  </a:lnTo>
                  <a:lnTo>
                    <a:pt x="837" y="388"/>
                  </a:lnTo>
                  <a:lnTo>
                    <a:pt x="847" y="355"/>
                  </a:lnTo>
                  <a:lnTo>
                    <a:pt x="851" y="319"/>
                  </a:lnTo>
                  <a:lnTo>
                    <a:pt x="853" y="282"/>
                  </a:lnTo>
                  <a:lnTo>
                    <a:pt x="851" y="240"/>
                  </a:lnTo>
                  <a:lnTo>
                    <a:pt x="847" y="203"/>
                  </a:lnTo>
                  <a:lnTo>
                    <a:pt x="837" y="171"/>
                  </a:lnTo>
                  <a:lnTo>
                    <a:pt x="824" y="142"/>
                  </a:lnTo>
                  <a:lnTo>
                    <a:pt x="805" y="121"/>
                  </a:lnTo>
                  <a:lnTo>
                    <a:pt x="780" y="104"/>
                  </a:lnTo>
                  <a:lnTo>
                    <a:pt x="749" y="94"/>
                  </a:lnTo>
                  <a:lnTo>
                    <a:pt x="712" y="90"/>
                  </a:lnTo>
                  <a:lnTo>
                    <a:pt x="712" y="90"/>
                  </a:lnTo>
                  <a:close/>
                  <a:moveTo>
                    <a:pt x="253" y="0"/>
                  </a:moveTo>
                  <a:lnTo>
                    <a:pt x="277" y="0"/>
                  </a:lnTo>
                  <a:lnTo>
                    <a:pt x="298" y="4"/>
                  </a:lnTo>
                  <a:lnTo>
                    <a:pt x="336" y="13"/>
                  </a:lnTo>
                  <a:lnTo>
                    <a:pt x="353" y="21"/>
                  </a:lnTo>
                  <a:lnTo>
                    <a:pt x="369" y="27"/>
                  </a:lnTo>
                  <a:lnTo>
                    <a:pt x="382" y="35"/>
                  </a:lnTo>
                  <a:lnTo>
                    <a:pt x="390" y="42"/>
                  </a:lnTo>
                  <a:lnTo>
                    <a:pt x="394" y="46"/>
                  </a:lnTo>
                  <a:lnTo>
                    <a:pt x="397" y="52"/>
                  </a:lnTo>
                  <a:lnTo>
                    <a:pt x="399" y="61"/>
                  </a:lnTo>
                  <a:lnTo>
                    <a:pt x="401" y="75"/>
                  </a:lnTo>
                  <a:lnTo>
                    <a:pt x="403" y="84"/>
                  </a:lnTo>
                  <a:lnTo>
                    <a:pt x="403" y="94"/>
                  </a:lnTo>
                  <a:lnTo>
                    <a:pt x="403" y="106"/>
                  </a:lnTo>
                  <a:lnTo>
                    <a:pt x="401" y="115"/>
                  </a:lnTo>
                  <a:lnTo>
                    <a:pt x="399" y="131"/>
                  </a:lnTo>
                  <a:lnTo>
                    <a:pt x="394" y="138"/>
                  </a:lnTo>
                  <a:lnTo>
                    <a:pt x="388" y="140"/>
                  </a:lnTo>
                  <a:lnTo>
                    <a:pt x="380" y="138"/>
                  </a:lnTo>
                  <a:lnTo>
                    <a:pt x="371" y="134"/>
                  </a:lnTo>
                  <a:lnTo>
                    <a:pt x="361" y="125"/>
                  </a:lnTo>
                  <a:lnTo>
                    <a:pt x="346" y="117"/>
                  </a:lnTo>
                  <a:lnTo>
                    <a:pt x="328" y="108"/>
                  </a:lnTo>
                  <a:lnTo>
                    <a:pt x="309" y="100"/>
                  </a:lnTo>
                  <a:lnTo>
                    <a:pt x="286" y="96"/>
                  </a:lnTo>
                  <a:lnTo>
                    <a:pt x="259" y="94"/>
                  </a:lnTo>
                  <a:lnTo>
                    <a:pt x="229" y="96"/>
                  </a:lnTo>
                  <a:lnTo>
                    <a:pt x="200" y="106"/>
                  </a:lnTo>
                  <a:lnTo>
                    <a:pt x="177" y="123"/>
                  </a:lnTo>
                  <a:lnTo>
                    <a:pt x="157" y="144"/>
                  </a:lnTo>
                  <a:lnTo>
                    <a:pt x="142" y="171"/>
                  </a:lnTo>
                  <a:lnTo>
                    <a:pt x="131" y="203"/>
                  </a:lnTo>
                  <a:lnTo>
                    <a:pt x="123" y="242"/>
                  </a:lnTo>
                  <a:lnTo>
                    <a:pt x="121" y="282"/>
                  </a:lnTo>
                  <a:lnTo>
                    <a:pt x="123" y="328"/>
                  </a:lnTo>
                  <a:lnTo>
                    <a:pt x="131" y="367"/>
                  </a:lnTo>
                  <a:lnTo>
                    <a:pt x="142" y="399"/>
                  </a:lnTo>
                  <a:lnTo>
                    <a:pt x="159" y="424"/>
                  </a:lnTo>
                  <a:lnTo>
                    <a:pt x="179" y="443"/>
                  </a:lnTo>
                  <a:lnTo>
                    <a:pt x="204" y="459"/>
                  </a:lnTo>
                  <a:lnTo>
                    <a:pt x="230" y="466"/>
                  </a:lnTo>
                  <a:lnTo>
                    <a:pt x="261" y="470"/>
                  </a:lnTo>
                  <a:lnTo>
                    <a:pt x="290" y="468"/>
                  </a:lnTo>
                  <a:lnTo>
                    <a:pt x="313" y="463"/>
                  </a:lnTo>
                  <a:lnTo>
                    <a:pt x="332" y="455"/>
                  </a:lnTo>
                  <a:lnTo>
                    <a:pt x="349" y="447"/>
                  </a:lnTo>
                  <a:lnTo>
                    <a:pt x="363" y="440"/>
                  </a:lnTo>
                  <a:lnTo>
                    <a:pt x="374" y="432"/>
                  </a:lnTo>
                  <a:lnTo>
                    <a:pt x="384" y="426"/>
                  </a:lnTo>
                  <a:lnTo>
                    <a:pt x="390" y="424"/>
                  </a:lnTo>
                  <a:lnTo>
                    <a:pt x="397" y="426"/>
                  </a:lnTo>
                  <a:lnTo>
                    <a:pt x="399" y="430"/>
                  </a:lnTo>
                  <a:lnTo>
                    <a:pt x="401" y="434"/>
                  </a:lnTo>
                  <a:lnTo>
                    <a:pt x="403" y="440"/>
                  </a:lnTo>
                  <a:lnTo>
                    <a:pt x="403" y="447"/>
                  </a:lnTo>
                  <a:lnTo>
                    <a:pt x="405" y="459"/>
                  </a:lnTo>
                  <a:lnTo>
                    <a:pt x="405" y="472"/>
                  </a:lnTo>
                  <a:lnTo>
                    <a:pt x="403" y="489"/>
                  </a:lnTo>
                  <a:lnTo>
                    <a:pt x="401" y="503"/>
                  </a:lnTo>
                  <a:lnTo>
                    <a:pt x="399" y="512"/>
                  </a:lnTo>
                  <a:lnTo>
                    <a:pt x="392" y="520"/>
                  </a:lnTo>
                  <a:lnTo>
                    <a:pt x="386" y="526"/>
                  </a:lnTo>
                  <a:lnTo>
                    <a:pt x="374" y="534"/>
                  </a:lnTo>
                  <a:lnTo>
                    <a:pt x="359" y="539"/>
                  </a:lnTo>
                  <a:lnTo>
                    <a:pt x="342" y="547"/>
                  </a:lnTo>
                  <a:lnTo>
                    <a:pt x="321" y="553"/>
                  </a:lnTo>
                  <a:lnTo>
                    <a:pt x="298" y="558"/>
                  </a:lnTo>
                  <a:lnTo>
                    <a:pt x="273" y="562"/>
                  </a:lnTo>
                  <a:lnTo>
                    <a:pt x="244" y="564"/>
                  </a:lnTo>
                  <a:lnTo>
                    <a:pt x="217" y="562"/>
                  </a:lnTo>
                  <a:lnTo>
                    <a:pt x="190" y="558"/>
                  </a:lnTo>
                  <a:lnTo>
                    <a:pt x="167" y="553"/>
                  </a:lnTo>
                  <a:lnTo>
                    <a:pt x="142" y="547"/>
                  </a:lnTo>
                  <a:lnTo>
                    <a:pt x="121" y="535"/>
                  </a:lnTo>
                  <a:lnTo>
                    <a:pt x="102" y="524"/>
                  </a:lnTo>
                  <a:lnTo>
                    <a:pt x="83" y="511"/>
                  </a:lnTo>
                  <a:lnTo>
                    <a:pt x="65" y="495"/>
                  </a:lnTo>
                  <a:lnTo>
                    <a:pt x="52" y="476"/>
                  </a:lnTo>
                  <a:lnTo>
                    <a:pt x="38" y="455"/>
                  </a:lnTo>
                  <a:lnTo>
                    <a:pt x="27" y="434"/>
                  </a:lnTo>
                  <a:lnTo>
                    <a:pt x="17" y="409"/>
                  </a:lnTo>
                  <a:lnTo>
                    <a:pt x="10" y="382"/>
                  </a:lnTo>
                  <a:lnTo>
                    <a:pt x="6" y="353"/>
                  </a:lnTo>
                  <a:lnTo>
                    <a:pt x="2" y="322"/>
                  </a:lnTo>
                  <a:lnTo>
                    <a:pt x="0" y="290"/>
                  </a:lnTo>
                  <a:lnTo>
                    <a:pt x="2" y="255"/>
                  </a:lnTo>
                  <a:lnTo>
                    <a:pt x="6" y="223"/>
                  </a:lnTo>
                  <a:lnTo>
                    <a:pt x="12" y="194"/>
                  </a:lnTo>
                  <a:lnTo>
                    <a:pt x="19" y="165"/>
                  </a:lnTo>
                  <a:lnTo>
                    <a:pt x="29" y="140"/>
                  </a:lnTo>
                  <a:lnTo>
                    <a:pt x="42" y="115"/>
                  </a:lnTo>
                  <a:lnTo>
                    <a:pt x="56" y="94"/>
                  </a:lnTo>
                  <a:lnTo>
                    <a:pt x="71" y="75"/>
                  </a:lnTo>
                  <a:lnTo>
                    <a:pt x="88" y="58"/>
                  </a:lnTo>
                  <a:lnTo>
                    <a:pt x="108" y="42"/>
                  </a:lnTo>
                  <a:lnTo>
                    <a:pt x="129" y="29"/>
                  </a:lnTo>
                  <a:lnTo>
                    <a:pt x="152" y="19"/>
                  </a:lnTo>
                  <a:lnTo>
                    <a:pt x="175" y="12"/>
                  </a:lnTo>
                  <a:lnTo>
                    <a:pt x="200" y="4"/>
                  </a:lnTo>
                  <a:lnTo>
                    <a:pt x="227" y="2"/>
                  </a:lnTo>
                  <a:lnTo>
                    <a:pt x="253" y="0"/>
                  </a:lnTo>
                  <a:lnTo>
                    <a:pt x="253" y="0"/>
                  </a:lnTo>
                  <a:close/>
                  <a:moveTo>
                    <a:pt x="1215" y="0"/>
                  </a:moveTo>
                  <a:lnTo>
                    <a:pt x="1254" y="2"/>
                  </a:lnTo>
                  <a:lnTo>
                    <a:pt x="1288" y="10"/>
                  </a:lnTo>
                  <a:lnTo>
                    <a:pt x="1319" y="23"/>
                  </a:lnTo>
                  <a:lnTo>
                    <a:pt x="1342" y="40"/>
                  </a:lnTo>
                  <a:lnTo>
                    <a:pt x="1361" y="61"/>
                  </a:lnTo>
                  <a:lnTo>
                    <a:pt x="1373" y="84"/>
                  </a:lnTo>
                  <a:lnTo>
                    <a:pt x="1380" y="113"/>
                  </a:lnTo>
                  <a:lnTo>
                    <a:pt x="1384" y="142"/>
                  </a:lnTo>
                  <a:lnTo>
                    <a:pt x="1382" y="169"/>
                  </a:lnTo>
                  <a:lnTo>
                    <a:pt x="1379" y="194"/>
                  </a:lnTo>
                  <a:lnTo>
                    <a:pt x="1371" y="221"/>
                  </a:lnTo>
                  <a:lnTo>
                    <a:pt x="1357" y="250"/>
                  </a:lnTo>
                  <a:lnTo>
                    <a:pt x="1338" y="280"/>
                  </a:lnTo>
                  <a:lnTo>
                    <a:pt x="1313" y="315"/>
                  </a:lnTo>
                  <a:lnTo>
                    <a:pt x="1296" y="334"/>
                  </a:lnTo>
                  <a:lnTo>
                    <a:pt x="1279" y="355"/>
                  </a:lnTo>
                  <a:lnTo>
                    <a:pt x="1258" y="376"/>
                  </a:lnTo>
                  <a:lnTo>
                    <a:pt x="1235" y="399"/>
                  </a:lnTo>
                  <a:lnTo>
                    <a:pt x="1171" y="464"/>
                  </a:lnTo>
                  <a:lnTo>
                    <a:pt x="1386" y="464"/>
                  </a:lnTo>
                  <a:lnTo>
                    <a:pt x="1394" y="466"/>
                  </a:lnTo>
                  <a:lnTo>
                    <a:pt x="1400" y="476"/>
                  </a:lnTo>
                  <a:lnTo>
                    <a:pt x="1404" y="489"/>
                  </a:lnTo>
                  <a:lnTo>
                    <a:pt x="1405" y="509"/>
                  </a:lnTo>
                  <a:lnTo>
                    <a:pt x="1405" y="530"/>
                  </a:lnTo>
                  <a:lnTo>
                    <a:pt x="1402" y="545"/>
                  </a:lnTo>
                  <a:lnTo>
                    <a:pt x="1396" y="553"/>
                  </a:lnTo>
                  <a:lnTo>
                    <a:pt x="1388" y="555"/>
                  </a:lnTo>
                  <a:lnTo>
                    <a:pt x="1075" y="555"/>
                  </a:lnTo>
                  <a:lnTo>
                    <a:pt x="1058" y="553"/>
                  </a:lnTo>
                  <a:lnTo>
                    <a:pt x="1048" y="547"/>
                  </a:lnTo>
                  <a:lnTo>
                    <a:pt x="1045" y="541"/>
                  </a:lnTo>
                  <a:lnTo>
                    <a:pt x="1041" y="532"/>
                  </a:lnTo>
                  <a:lnTo>
                    <a:pt x="1041" y="522"/>
                  </a:lnTo>
                  <a:lnTo>
                    <a:pt x="1039" y="509"/>
                  </a:lnTo>
                  <a:lnTo>
                    <a:pt x="1041" y="495"/>
                  </a:lnTo>
                  <a:lnTo>
                    <a:pt x="1041" y="484"/>
                  </a:lnTo>
                  <a:lnTo>
                    <a:pt x="1045" y="466"/>
                  </a:lnTo>
                  <a:lnTo>
                    <a:pt x="1054" y="451"/>
                  </a:lnTo>
                  <a:lnTo>
                    <a:pt x="1068" y="436"/>
                  </a:lnTo>
                  <a:lnTo>
                    <a:pt x="1162" y="334"/>
                  </a:lnTo>
                  <a:lnTo>
                    <a:pt x="1189" y="305"/>
                  </a:lnTo>
                  <a:lnTo>
                    <a:pt x="1208" y="280"/>
                  </a:lnTo>
                  <a:lnTo>
                    <a:pt x="1223" y="257"/>
                  </a:lnTo>
                  <a:lnTo>
                    <a:pt x="1235" y="236"/>
                  </a:lnTo>
                  <a:lnTo>
                    <a:pt x="1242" y="217"/>
                  </a:lnTo>
                  <a:lnTo>
                    <a:pt x="1248" y="200"/>
                  </a:lnTo>
                  <a:lnTo>
                    <a:pt x="1252" y="167"/>
                  </a:lnTo>
                  <a:lnTo>
                    <a:pt x="1250" y="154"/>
                  </a:lnTo>
                  <a:lnTo>
                    <a:pt x="1248" y="140"/>
                  </a:lnTo>
                  <a:lnTo>
                    <a:pt x="1242" y="129"/>
                  </a:lnTo>
                  <a:lnTo>
                    <a:pt x="1235" y="119"/>
                  </a:lnTo>
                  <a:lnTo>
                    <a:pt x="1225" y="111"/>
                  </a:lnTo>
                  <a:lnTo>
                    <a:pt x="1212" y="104"/>
                  </a:lnTo>
                  <a:lnTo>
                    <a:pt x="1198" y="100"/>
                  </a:lnTo>
                  <a:lnTo>
                    <a:pt x="1181" y="100"/>
                  </a:lnTo>
                  <a:lnTo>
                    <a:pt x="1158" y="100"/>
                  </a:lnTo>
                  <a:lnTo>
                    <a:pt x="1137" y="106"/>
                  </a:lnTo>
                  <a:lnTo>
                    <a:pt x="1119" y="111"/>
                  </a:lnTo>
                  <a:lnTo>
                    <a:pt x="1104" y="119"/>
                  </a:lnTo>
                  <a:lnTo>
                    <a:pt x="1091" y="127"/>
                  </a:lnTo>
                  <a:lnTo>
                    <a:pt x="1079" y="134"/>
                  </a:lnTo>
                  <a:lnTo>
                    <a:pt x="1071" y="138"/>
                  </a:lnTo>
                  <a:lnTo>
                    <a:pt x="1064" y="140"/>
                  </a:lnTo>
                  <a:lnTo>
                    <a:pt x="1058" y="138"/>
                  </a:lnTo>
                  <a:lnTo>
                    <a:pt x="1054" y="129"/>
                  </a:lnTo>
                  <a:lnTo>
                    <a:pt x="1052" y="123"/>
                  </a:lnTo>
                  <a:lnTo>
                    <a:pt x="1050" y="113"/>
                  </a:lnTo>
                  <a:lnTo>
                    <a:pt x="1050" y="102"/>
                  </a:lnTo>
                  <a:lnTo>
                    <a:pt x="1050" y="90"/>
                  </a:lnTo>
                  <a:lnTo>
                    <a:pt x="1050" y="73"/>
                  </a:lnTo>
                  <a:lnTo>
                    <a:pt x="1052" y="61"/>
                  </a:lnTo>
                  <a:lnTo>
                    <a:pt x="1056" y="54"/>
                  </a:lnTo>
                  <a:lnTo>
                    <a:pt x="1064" y="44"/>
                  </a:lnTo>
                  <a:lnTo>
                    <a:pt x="1069" y="38"/>
                  </a:lnTo>
                  <a:lnTo>
                    <a:pt x="1083" y="33"/>
                  </a:lnTo>
                  <a:lnTo>
                    <a:pt x="1098" y="25"/>
                  </a:lnTo>
                  <a:lnTo>
                    <a:pt x="1117" y="17"/>
                  </a:lnTo>
                  <a:lnTo>
                    <a:pt x="1139" y="10"/>
                  </a:lnTo>
                  <a:lnTo>
                    <a:pt x="1164" y="4"/>
                  </a:lnTo>
                  <a:lnTo>
                    <a:pt x="1189" y="0"/>
                  </a:lnTo>
                  <a:lnTo>
                    <a:pt x="1215" y="0"/>
                  </a:lnTo>
                  <a:lnTo>
                    <a:pt x="1215" y="0"/>
                  </a:lnTo>
                  <a:close/>
                  <a:moveTo>
                    <a:pt x="716" y="0"/>
                  </a:moveTo>
                  <a:lnTo>
                    <a:pt x="747" y="0"/>
                  </a:lnTo>
                  <a:lnTo>
                    <a:pt x="774" y="4"/>
                  </a:lnTo>
                  <a:lnTo>
                    <a:pt x="801" y="8"/>
                  </a:lnTo>
                  <a:lnTo>
                    <a:pt x="826" y="15"/>
                  </a:lnTo>
                  <a:lnTo>
                    <a:pt x="849" y="25"/>
                  </a:lnTo>
                  <a:lnTo>
                    <a:pt x="870" y="37"/>
                  </a:lnTo>
                  <a:lnTo>
                    <a:pt x="887" y="50"/>
                  </a:lnTo>
                  <a:lnTo>
                    <a:pt x="904" y="65"/>
                  </a:lnTo>
                  <a:lnTo>
                    <a:pt x="920" y="84"/>
                  </a:lnTo>
                  <a:lnTo>
                    <a:pt x="933" y="106"/>
                  </a:lnTo>
                  <a:lnTo>
                    <a:pt x="945" y="127"/>
                  </a:lnTo>
                  <a:lnTo>
                    <a:pt x="952" y="152"/>
                  </a:lnTo>
                  <a:lnTo>
                    <a:pt x="960" y="180"/>
                  </a:lnTo>
                  <a:lnTo>
                    <a:pt x="966" y="209"/>
                  </a:lnTo>
                  <a:lnTo>
                    <a:pt x="968" y="242"/>
                  </a:lnTo>
                  <a:lnTo>
                    <a:pt x="970" y="274"/>
                  </a:lnTo>
                  <a:lnTo>
                    <a:pt x="968" y="309"/>
                  </a:lnTo>
                  <a:lnTo>
                    <a:pt x="966" y="340"/>
                  </a:lnTo>
                  <a:lnTo>
                    <a:pt x="960" y="368"/>
                  </a:lnTo>
                  <a:lnTo>
                    <a:pt x="952" y="397"/>
                  </a:lnTo>
                  <a:lnTo>
                    <a:pt x="943" y="422"/>
                  </a:lnTo>
                  <a:lnTo>
                    <a:pt x="931" y="447"/>
                  </a:lnTo>
                  <a:lnTo>
                    <a:pt x="918" y="468"/>
                  </a:lnTo>
                  <a:lnTo>
                    <a:pt x="902" y="487"/>
                  </a:lnTo>
                  <a:lnTo>
                    <a:pt x="885" y="505"/>
                  </a:lnTo>
                  <a:lnTo>
                    <a:pt x="864" y="520"/>
                  </a:lnTo>
                  <a:lnTo>
                    <a:pt x="843" y="534"/>
                  </a:lnTo>
                  <a:lnTo>
                    <a:pt x="820" y="545"/>
                  </a:lnTo>
                  <a:lnTo>
                    <a:pt x="795" y="553"/>
                  </a:lnTo>
                  <a:lnTo>
                    <a:pt x="766" y="558"/>
                  </a:lnTo>
                  <a:lnTo>
                    <a:pt x="737" y="562"/>
                  </a:lnTo>
                  <a:lnTo>
                    <a:pt x="707" y="564"/>
                  </a:lnTo>
                  <a:lnTo>
                    <a:pt x="676" y="562"/>
                  </a:lnTo>
                  <a:lnTo>
                    <a:pt x="647" y="560"/>
                  </a:lnTo>
                  <a:lnTo>
                    <a:pt x="620" y="555"/>
                  </a:lnTo>
                  <a:lnTo>
                    <a:pt x="595" y="547"/>
                  </a:lnTo>
                  <a:lnTo>
                    <a:pt x="572" y="537"/>
                  </a:lnTo>
                  <a:lnTo>
                    <a:pt x="551" y="526"/>
                  </a:lnTo>
                  <a:lnTo>
                    <a:pt x="532" y="512"/>
                  </a:lnTo>
                  <a:lnTo>
                    <a:pt x="517" y="497"/>
                  </a:lnTo>
                  <a:lnTo>
                    <a:pt x="501" y="478"/>
                  </a:lnTo>
                  <a:lnTo>
                    <a:pt x="488" y="459"/>
                  </a:lnTo>
                  <a:lnTo>
                    <a:pt x="476" y="436"/>
                  </a:lnTo>
                  <a:lnTo>
                    <a:pt x="469" y="411"/>
                  </a:lnTo>
                  <a:lnTo>
                    <a:pt x="461" y="382"/>
                  </a:lnTo>
                  <a:lnTo>
                    <a:pt x="457" y="353"/>
                  </a:lnTo>
                  <a:lnTo>
                    <a:pt x="453" y="321"/>
                  </a:lnTo>
                  <a:lnTo>
                    <a:pt x="453" y="286"/>
                  </a:lnTo>
                  <a:lnTo>
                    <a:pt x="453" y="253"/>
                  </a:lnTo>
                  <a:lnTo>
                    <a:pt x="457" y="223"/>
                  </a:lnTo>
                  <a:lnTo>
                    <a:pt x="463" y="194"/>
                  </a:lnTo>
                  <a:lnTo>
                    <a:pt x="469" y="165"/>
                  </a:lnTo>
                  <a:lnTo>
                    <a:pt x="478" y="140"/>
                  </a:lnTo>
                  <a:lnTo>
                    <a:pt x="490" y="117"/>
                  </a:lnTo>
                  <a:lnTo>
                    <a:pt x="503" y="96"/>
                  </a:lnTo>
                  <a:lnTo>
                    <a:pt x="520" y="77"/>
                  </a:lnTo>
                  <a:lnTo>
                    <a:pt x="538" y="58"/>
                  </a:lnTo>
                  <a:lnTo>
                    <a:pt x="557" y="42"/>
                  </a:lnTo>
                  <a:lnTo>
                    <a:pt x="578" y="31"/>
                  </a:lnTo>
                  <a:lnTo>
                    <a:pt x="603" y="19"/>
                  </a:lnTo>
                  <a:lnTo>
                    <a:pt x="628" y="10"/>
                  </a:lnTo>
                  <a:lnTo>
                    <a:pt x="655" y="4"/>
                  </a:lnTo>
                  <a:lnTo>
                    <a:pt x="685" y="0"/>
                  </a:lnTo>
                  <a:lnTo>
                    <a:pt x="716" y="0"/>
                  </a:lnTo>
                  <a:lnTo>
                    <a:pt x="716"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7" name="Gas" descr="{&quot;Key&quot;:&quot;POWER_USER_SHAPE_ICON&quot;,&quot;Value&quot;:&quot;POWER_USER_SHAPE_ICON_STYLE_1&quot;}">
            <a:extLst>
              <a:ext uri="{FF2B5EF4-FFF2-40B4-BE49-F238E27FC236}">
                <a16:creationId xmlns:a16="http://schemas.microsoft.com/office/drawing/2014/main" id="{8A80D7D0-1B9F-A2A3-DA61-D54C21E1B510}"/>
              </a:ext>
            </a:extLst>
          </p:cNvPr>
          <p:cNvGrpSpPr>
            <a:grpSpLocks noChangeAspect="1"/>
          </p:cNvGrpSpPr>
          <p:nvPr/>
        </p:nvGrpSpPr>
        <p:grpSpPr>
          <a:xfrm>
            <a:off x="4976944" y="4883689"/>
            <a:ext cx="393338" cy="402808"/>
            <a:chOff x="1571525" y="1606876"/>
            <a:chExt cx="2597780" cy="2660324"/>
          </a:xfrm>
          <a:solidFill>
            <a:schemeClr val="bg1"/>
          </a:solidFill>
        </p:grpSpPr>
        <p:sp>
          <p:nvSpPr>
            <p:cNvPr id="88" name="Gas">
              <a:extLst>
                <a:ext uri="{FF2B5EF4-FFF2-40B4-BE49-F238E27FC236}">
                  <a16:creationId xmlns:a16="http://schemas.microsoft.com/office/drawing/2014/main" id="{14096281-0861-7327-DAEA-16F2F34DE622}"/>
                </a:ext>
              </a:extLst>
            </p:cNvPr>
            <p:cNvSpPr>
              <a:spLocks noChangeAspect="1" noEditPoints="1"/>
            </p:cNvSpPr>
            <p:nvPr>
              <p:custDataLst>
                <p:tags r:id="rId4"/>
              </p:custDataLst>
            </p:nvPr>
          </p:nvSpPr>
          <p:spPr bwMode="auto">
            <a:xfrm>
              <a:off x="1743434" y="1606876"/>
              <a:ext cx="2425871" cy="2494730"/>
            </a:xfrm>
            <a:custGeom>
              <a:avLst/>
              <a:gdLst>
                <a:gd name="T0" fmla="*/ 1146 w 1216"/>
                <a:gd name="T1" fmla="*/ 214 h 1250"/>
                <a:gd name="T2" fmla="*/ 1198 w 1216"/>
                <a:gd name="T3" fmla="*/ 165 h 1250"/>
                <a:gd name="T4" fmla="*/ 1216 w 1216"/>
                <a:gd name="T5" fmla="*/ 149 h 1250"/>
                <a:gd name="T6" fmla="*/ 1163 w 1216"/>
                <a:gd name="T7" fmla="*/ 90 h 1250"/>
                <a:gd name="T8" fmla="*/ 1145 w 1216"/>
                <a:gd name="T9" fmla="*/ 106 h 1250"/>
                <a:gd name="T10" fmla="*/ 1007 w 1216"/>
                <a:gd name="T11" fmla="*/ 293 h 1250"/>
                <a:gd name="T12" fmla="*/ 987 w 1216"/>
                <a:gd name="T13" fmla="*/ 533 h 1250"/>
                <a:gd name="T14" fmla="*/ 1015 w 1216"/>
                <a:gd name="T15" fmla="*/ 722 h 1250"/>
                <a:gd name="T16" fmla="*/ 1023 w 1216"/>
                <a:gd name="T17" fmla="*/ 744 h 1250"/>
                <a:gd name="T18" fmla="*/ 1076 w 1216"/>
                <a:gd name="T19" fmla="*/ 982 h 1250"/>
                <a:gd name="T20" fmla="*/ 925 w 1216"/>
                <a:gd name="T21" fmla="*/ 1171 h 1250"/>
                <a:gd name="T22" fmla="*/ 778 w 1216"/>
                <a:gd name="T23" fmla="*/ 990 h 1250"/>
                <a:gd name="T24" fmla="*/ 806 w 1216"/>
                <a:gd name="T25" fmla="*/ 801 h 1250"/>
                <a:gd name="T26" fmla="*/ 840 w 1216"/>
                <a:gd name="T27" fmla="*/ 618 h 1250"/>
                <a:gd name="T28" fmla="*/ 811 w 1216"/>
                <a:gd name="T29" fmla="*/ 469 h 1250"/>
                <a:gd name="T30" fmla="*/ 674 w 1216"/>
                <a:gd name="T31" fmla="*/ 430 h 1250"/>
                <a:gd name="T32" fmla="*/ 662 w 1216"/>
                <a:gd name="T33" fmla="*/ 430 h 1250"/>
                <a:gd name="T34" fmla="*/ 662 w 1216"/>
                <a:gd name="T35" fmla="*/ 57 h 1250"/>
                <a:gd name="T36" fmla="*/ 605 w 1216"/>
                <a:gd name="T37" fmla="*/ 0 h 1250"/>
                <a:gd name="T38" fmla="*/ 57 w 1216"/>
                <a:gd name="T39" fmla="*/ 0 h 1250"/>
                <a:gd name="T40" fmla="*/ 0 w 1216"/>
                <a:gd name="T41" fmla="*/ 57 h 1250"/>
                <a:gd name="T42" fmla="*/ 0 w 1216"/>
                <a:gd name="T43" fmla="*/ 1227 h 1250"/>
                <a:gd name="T44" fmla="*/ 662 w 1216"/>
                <a:gd name="T45" fmla="*/ 1227 h 1250"/>
                <a:gd name="T46" fmla="*/ 662 w 1216"/>
                <a:gd name="T47" fmla="*/ 509 h 1250"/>
                <a:gd name="T48" fmla="*/ 674 w 1216"/>
                <a:gd name="T49" fmla="*/ 509 h 1250"/>
                <a:gd name="T50" fmla="*/ 752 w 1216"/>
                <a:gd name="T51" fmla="*/ 522 h 1250"/>
                <a:gd name="T52" fmla="*/ 761 w 1216"/>
                <a:gd name="T53" fmla="*/ 609 h 1250"/>
                <a:gd name="T54" fmla="*/ 729 w 1216"/>
                <a:gd name="T55" fmla="*/ 784 h 1250"/>
                <a:gd name="T56" fmla="*/ 699 w 1216"/>
                <a:gd name="T57" fmla="*/ 993 h 1250"/>
                <a:gd name="T58" fmla="*/ 925 w 1216"/>
                <a:gd name="T59" fmla="*/ 1250 h 1250"/>
                <a:gd name="T60" fmla="*/ 1156 w 1216"/>
                <a:gd name="T61" fmla="*/ 982 h 1250"/>
                <a:gd name="T62" fmla="*/ 1097 w 1216"/>
                <a:gd name="T63" fmla="*/ 714 h 1250"/>
                <a:gd name="T64" fmla="*/ 1089 w 1216"/>
                <a:gd name="T65" fmla="*/ 694 h 1250"/>
                <a:gd name="T66" fmla="*/ 1067 w 1216"/>
                <a:gd name="T67" fmla="*/ 545 h 1250"/>
                <a:gd name="T68" fmla="*/ 1137 w 1216"/>
                <a:gd name="T69" fmla="*/ 544 h 1250"/>
                <a:gd name="T70" fmla="*/ 1198 w 1216"/>
                <a:gd name="T71" fmla="*/ 494 h 1250"/>
                <a:gd name="T72" fmla="*/ 1202 w 1216"/>
                <a:gd name="T73" fmla="*/ 406 h 1250"/>
                <a:gd name="T74" fmla="*/ 1202 w 1216"/>
                <a:gd name="T75" fmla="*/ 394 h 1250"/>
                <a:gd name="T76" fmla="*/ 1146 w 1216"/>
                <a:gd name="T77" fmla="*/ 214 h 1250"/>
                <a:gd name="T78" fmla="*/ 580 w 1216"/>
                <a:gd name="T79" fmla="*/ 437 h 1250"/>
                <a:gd name="T80" fmla="*/ 83 w 1216"/>
                <a:gd name="T81" fmla="*/ 437 h 1250"/>
                <a:gd name="T82" fmla="*/ 83 w 1216"/>
                <a:gd name="T83" fmla="*/ 112 h 1250"/>
                <a:gd name="T84" fmla="*/ 580 w 1216"/>
                <a:gd name="T85" fmla="*/ 112 h 1250"/>
                <a:gd name="T86" fmla="*/ 580 w 1216"/>
                <a:gd name="T87" fmla="*/ 437 h 1250"/>
                <a:gd name="T88" fmla="*/ 1122 w 1216"/>
                <a:gd name="T89" fmla="*/ 406 h 1250"/>
                <a:gd name="T90" fmla="*/ 1122 w 1216"/>
                <a:gd name="T91" fmla="*/ 465 h 1250"/>
                <a:gd name="T92" fmla="*/ 1066 w 1216"/>
                <a:gd name="T93" fmla="*/ 466 h 1250"/>
                <a:gd name="T94" fmla="*/ 1084 w 1216"/>
                <a:gd name="T95" fmla="*/ 313 h 1250"/>
                <a:gd name="T96" fmla="*/ 1097 w 1216"/>
                <a:gd name="T97" fmla="*/ 277 h 1250"/>
                <a:gd name="T98" fmla="*/ 1122 w 1216"/>
                <a:gd name="T99" fmla="*/ 394 h 1250"/>
                <a:gd name="T100" fmla="*/ 1122 w 1216"/>
                <a:gd name="T101" fmla="*/ 406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16" h="1250">
                  <a:moveTo>
                    <a:pt x="1146" y="214"/>
                  </a:moveTo>
                  <a:cubicBezTo>
                    <a:pt x="1160" y="200"/>
                    <a:pt x="1178" y="184"/>
                    <a:pt x="1198" y="165"/>
                  </a:cubicBezTo>
                  <a:lnTo>
                    <a:pt x="1216" y="149"/>
                  </a:lnTo>
                  <a:lnTo>
                    <a:pt x="1163" y="90"/>
                  </a:lnTo>
                  <a:lnTo>
                    <a:pt x="1145" y="106"/>
                  </a:lnTo>
                  <a:cubicBezTo>
                    <a:pt x="1072" y="172"/>
                    <a:pt x="1028" y="212"/>
                    <a:pt x="1007" y="293"/>
                  </a:cubicBezTo>
                  <a:cubicBezTo>
                    <a:pt x="986" y="374"/>
                    <a:pt x="985" y="456"/>
                    <a:pt x="987" y="533"/>
                  </a:cubicBezTo>
                  <a:cubicBezTo>
                    <a:pt x="989" y="612"/>
                    <a:pt x="992" y="664"/>
                    <a:pt x="1015" y="722"/>
                  </a:cubicBezTo>
                  <a:lnTo>
                    <a:pt x="1023" y="744"/>
                  </a:lnTo>
                  <a:cubicBezTo>
                    <a:pt x="1044" y="797"/>
                    <a:pt x="1076" y="878"/>
                    <a:pt x="1076" y="982"/>
                  </a:cubicBezTo>
                  <a:cubicBezTo>
                    <a:pt x="1076" y="1107"/>
                    <a:pt x="1025" y="1171"/>
                    <a:pt x="925" y="1171"/>
                  </a:cubicBezTo>
                  <a:cubicBezTo>
                    <a:pt x="833" y="1171"/>
                    <a:pt x="784" y="1110"/>
                    <a:pt x="778" y="990"/>
                  </a:cubicBezTo>
                  <a:cubicBezTo>
                    <a:pt x="776" y="936"/>
                    <a:pt x="791" y="871"/>
                    <a:pt x="806" y="801"/>
                  </a:cubicBezTo>
                  <a:cubicBezTo>
                    <a:pt x="820" y="743"/>
                    <a:pt x="833" y="682"/>
                    <a:pt x="840" y="618"/>
                  </a:cubicBezTo>
                  <a:cubicBezTo>
                    <a:pt x="848" y="547"/>
                    <a:pt x="838" y="499"/>
                    <a:pt x="811" y="469"/>
                  </a:cubicBezTo>
                  <a:cubicBezTo>
                    <a:pt x="776" y="430"/>
                    <a:pt x="722" y="430"/>
                    <a:pt x="674" y="430"/>
                  </a:cubicBezTo>
                  <a:lnTo>
                    <a:pt x="662" y="430"/>
                  </a:lnTo>
                  <a:lnTo>
                    <a:pt x="662" y="57"/>
                  </a:lnTo>
                  <a:cubicBezTo>
                    <a:pt x="662" y="26"/>
                    <a:pt x="636" y="0"/>
                    <a:pt x="605" y="0"/>
                  </a:cubicBezTo>
                  <a:lnTo>
                    <a:pt x="57" y="0"/>
                  </a:lnTo>
                  <a:cubicBezTo>
                    <a:pt x="26" y="0"/>
                    <a:pt x="0" y="26"/>
                    <a:pt x="0" y="57"/>
                  </a:cubicBezTo>
                  <a:lnTo>
                    <a:pt x="0" y="1227"/>
                  </a:lnTo>
                  <a:lnTo>
                    <a:pt x="662" y="1227"/>
                  </a:lnTo>
                  <a:lnTo>
                    <a:pt x="662" y="509"/>
                  </a:lnTo>
                  <a:lnTo>
                    <a:pt x="674" y="509"/>
                  </a:lnTo>
                  <a:cubicBezTo>
                    <a:pt x="707" y="509"/>
                    <a:pt x="740" y="509"/>
                    <a:pt x="752" y="522"/>
                  </a:cubicBezTo>
                  <a:cubicBezTo>
                    <a:pt x="758" y="529"/>
                    <a:pt x="767" y="549"/>
                    <a:pt x="761" y="609"/>
                  </a:cubicBezTo>
                  <a:cubicBezTo>
                    <a:pt x="755" y="669"/>
                    <a:pt x="742" y="727"/>
                    <a:pt x="729" y="784"/>
                  </a:cubicBezTo>
                  <a:cubicBezTo>
                    <a:pt x="712" y="858"/>
                    <a:pt x="696" y="929"/>
                    <a:pt x="699" y="993"/>
                  </a:cubicBezTo>
                  <a:cubicBezTo>
                    <a:pt x="707" y="1157"/>
                    <a:pt x="789" y="1250"/>
                    <a:pt x="925" y="1250"/>
                  </a:cubicBezTo>
                  <a:cubicBezTo>
                    <a:pt x="1070" y="1250"/>
                    <a:pt x="1156" y="1150"/>
                    <a:pt x="1156" y="982"/>
                  </a:cubicBezTo>
                  <a:cubicBezTo>
                    <a:pt x="1156" y="863"/>
                    <a:pt x="1119" y="770"/>
                    <a:pt x="1097" y="714"/>
                  </a:cubicBezTo>
                  <a:lnTo>
                    <a:pt x="1089" y="694"/>
                  </a:lnTo>
                  <a:cubicBezTo>
                    <a:pt x="1073" y="652"/>
                    <a:pt x="1069" y="613"/>
                    <a:pt x="1067" y="545"/>
                  </a:cubicBezTo>
                  <a:cubicBezTo>
                    <a:pt x="1093" y="545"/>
                    <a:pt x="1123" y="544"/>
                    <a:pt x="1137" y="544"/>
                  </a:cubicBezTo>
                  <a:cubicBezTo>
                    <a:pt x="1169" y="544"/>
                    <a:pt x="1191" y="526"/>
                    <a:pt x="1198" y="494"/>
                  </a:cubicBezTo>
                  <a:cubicBezTo>
                    <a:pt x="1202" y="475"/>
                    <a:pt x="1202" y="450"/>
                    <a:pt x="1202" y="406"/>
                  </a:cubicBezTo>
                  <a:lnTo>
                    <a:pt x="1202" y="394"/>
                  </a:lnTo>
                  <a:cubicBezTo>
                    <a:pt x="1202" y="276"/>
                    <a:pt x="1178" y="242"/>
                    <a:pt x="1146" y="214"/>
                  </a:cubicBezTo>
                  <a:close/>
                  <a:moveTo>
                    <a:pt x="580" y="437"/>
                  </a:moveTo>
                  <a:lnTo>
                    <a:pt x="83" y="437"/>
                  </a:lnTo>
                  <a:lnTo>
                    <a:pt x="83" y="112"/>
                  </a:lnTo>
                  <a:lnTo>
                    <a:pt x="580" y="112"/>
                  </a:lnTo>
                  <a:lnTo>
                    <a:pt x="580" y="437"/>
                  </a:lnTo>
                  <a:close/>
                  <a:moveTo>
                    <a:pt x="1122" y="406"/>
                  </a:moveTo>
                  <a:cubicBezTo>
                    <a:pt x="1122" y="429"/>
                    <a:pt x="1122" y="451"/>
                    <a:pt x="1122" y="465"/>
                  </a:cubicBezTo>
                  <a:cubicBezTo>
                    <a:pt x="1106" y="465"/>
                    <a:pt x="1085" y="466"/>
                    <a:pt x="1066" y="466"/>
                  </a:cubicBezTo>
                  <a:cubicBezTo>
                    <a:pt x="1067" y="415"/>
                    <a:pt x="1071" y="363"/>
                    <a:pt x="1084" y="313"/>
                  </a:cubicBezTo>
                  <a:cubicBezTo>
                    <a:pt x="1087" y="300"/>
                    <a:pt x="1092" y="288"/>
                    <a:pt x="1097" y="277"/>
                  </a:cubicBezTo>
                  <a:cubicBezTo>
                    <a:pt x="1111" y="291"/>
                    <a:pt x="1122" y="311"/>
                    <a:pt x="1122" y="394"/>
                  </a:cubicBezTo>
                  <a:lnTo>
                    <a:pt x="1122" y="406"/>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Rectangle 193">
              <a:extLst>
                <a:ext uri="{FF2B5EF4-FFF2-40B4-BE49-F238E27FC236}">
                  <a16:creationId xmlns:a16="http://schemas.microsoft.com/office/drawing/2014/main" id="{7DCA868B-C3CE-6D3E-2684-14E23F632B64}"/>
                </a:ext>
              </a:extLst>
            </p:cNvPr>
            <p:cNvSpPr/>
            <p:nvPr/>
          </p:nvSpPr>
          <p:spPr>
            <a:xfrm>
              <a:off x="1647181" y="3936013"/>
              <a:ext cx="1513113" cy="165594"/>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Rectangle 194">
              <a:extLst>
                <a:ext uri="{FF2B5EF4-FFF2-40B4-BE49-F238E27FC236}">
                  <a16:creationId xmlns:a16="http://schemas.microsoft.com/office/drawing/2014/main" id="{E1818976-5A5C-658F-99E3-56299076EBC5}"/>
                </a:ext>
              </a:extLst>
            </p:cNvPr>
            <p:cNvSpPr/>
            <p:nvPr/>
          </p:nvSpPr>
          <p:spPr>
            <a:xfrm>
              <a:off x="1571525" y="4101606"/>
              <a:ext cx="1664424" cy="165594"/>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Rectangle 195">
              <a:extLst>
                <a:ext uri="{FF2B5EF4-FFF2-40B4-BE49-F238E27FC236}">
                  <a16:creationId xmlns:a16="http://schemas.microsoft.com/office/drawing/2014/main" id="{06C6BE82-0003-18FE-AE07-80824414CF06}"/>
                </a:ext>
              </a:extLst>
            </p:cNvPr>
            <p:cNvSpPr/>
            <p:nvPr/>
          </p:nvSpPr>
          <p:spPr>
            <a:xfrm>
              <a:off x="2030194" y="1990352"/>
              <a:ext cx="204467" cy="93475"/>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Rectangle 196">
              <a:extLst>
                <a:ext uri="{FF2B5EF4-FFF2-40B4-BE49-F238E27FC236}">
                  <a16:creationId xmlns:a16="http://schemas.microsoft.com/office/drawing/2014/main" id="{FC763D87-2016-0730-7EC8-2C274E51A44E}"/>
                </a:ext>
              </a:extLst>
            </p:cNvPr>
            <p:cNvSpPr/>
            <p:nvPr/>
          </p:nvSpPr>
          <p:spPr>
            <a:xfrm>
              <a:off x="2309594" y="1990352"/>
              <a:ext cx="204467" cy="93475"/>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Rectangle 197">
              <a:extLst>
                <a:ext uri="{FF2B5EF4-FFF2-40B4-BE49-F238E27FC236}">
                  <a16:creationId xmlns:a16="http://schemas.microsoft.com/office/drawing/2014/main" id="{22865812-F75C-3239-4E98-62DA36978318}"/>
                </a:ext>
              </a:extLst>
            </p:cNvPr>
            <p:cNvSpPr/>
            <p:nvPr/>
          </p:nvSpPr>
          <p:spPr>
            <a:xfrm>
              <a:off x="2588994" y="1990352"/>
              <a:ext cx="204467" cy="93475"/>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7" name="Inhaltsplatzhalter 96">
            <a:extLst>
              <a:ext uri="{FF2B5EF4-FFF2-40B4-BE49-F238E27FC236}">
                <a16:creationId xmlns:a16="http://schemas.microsoft.com/office/drawing/2014/main" id="{5D7F3E85-BF2E-21C7-AD83-B9413B311598}"/>
              </a:ext>
            </a:extLst>
          </p:cNvPr>
          <p:cNvSpPr>
            <a:spLocks noGrp="1"/>
          </p:cNvSpPr>
          <p:nvPr>
            <p:ph idx="10"/>
          </p:nvPr>
        </p:nvSpPr>
        <p:spPr/>
        <p:txBody>
          <a:bodyPr/>
          <a:lstStyle/>
          <a:p>
            <a:r>
              <a:rPr lang="en-US"/>
              <a:t>ESG Communication Frameworks</a:t>
            </a:r>
          </a:p>
        </p:txBody>
      </p:sp>
      <p:pic>
        <p:nvPicPr>
          <p:cNvPr id="98" name="Inhaltsplatzhalter 94" descr="Marke Kreuz mit einfarbiger Füllung">
            <a:extLst>
              <a:ext uri="{FF2B5EF4-FFF2-40B4-BE49-F238E27FC236}">
                <a16:creationId xmlns:a16="http://schemas.microsoft.com/office/drawing/2014/main" id="{947A177F-3265-36C3-2320-94232DB3E50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80148" y="5685871"/>
            <a:ext cx="570162" cy="570162"/>
          </a:xfrm>
          <a:prstGeom prst="rect">
            <a:avLst/>
          </a:prstGeom>
        </p:spPr>
      </p:pic>
      <p:sp>
        <p:nvSpPr>
          <p:cNvPr id="102" name="Textfeld 101">
            <a:extLst>
              <a:ext uri="{FF2B5EF4-FFF2-40B4-BE49-F238E27FC236}">
                <a16:creationId xmlns:a16="http://schemas.microsoft.com/office/drawing/2014/main" id="{5664F3D2-7AAD-6EF1-0B37-6AFAD411F579}"/>
              </a:ext>
            </a:extLst>
          </p:cNvPr>
          <p:cNvSpPr txBox="1"/>
          <p:nvPr/>
        </p:nvSpPr>
        <p:spPr>
          <a:xfrm>
            <a:off x="425592" y="3176860"/>
            <a:ext cx="8563379" cy="307777"/>
          </a:xfrm>
          <a:prstGeom prst="rect">
            <a:avLst/>
          </a:prstGeom>
          <a:noFill/>
        </p:spPr>
        <p:txBody>
          <a:bodyPr wrap="square">
            <a:spAutoFit/>
          </a:bodyPr>
          <a:lstStyle/>
          <a:p>
            <a:r>
              <a:rPr lang="en-US" sz="1400" b="1" i="0">
                <a:effectLst/>
              </a:rPr>
              <a:t>The SASB standards are guidelines for reporting sustainability impacts relevant to financial performance.</a:t>
            </a:r>
            <a:endParaRPr lang="en-US" sz="1400" b="1"/>
          </a:p>
        </p:txBody>
      </p:sp>
      <p:grpSp>
        <p:nvGrpSpPr>
          <p:cNvPr id="17" name="Signing2" descr="{&quot;Key&quot;:&quot;POWER_USER_SHAPE_ICON&quot;,&quot;Value&quot;:&quot;POWER_USER_SHAPE_ICON_STYLE_1&quot;}">
            <a:extLst>
              <a:ext uri="{FF2B5EF4-FFF2-40B4-BE49-F238E27FC236}">
                <a16:creationId xmlns:a16="http://schemas.microsoft.com/office/drawing/2014/main" id="{678BC1FF-4742-E9FC-0B5F-9FEFA19BFE66}"/>
              </a:ext>
            </a:extLst>
          </p:cNvPr>
          <p:cNvGrpSpPr>
            <a:grpSpLocks noChangeAspect="1"/>
          </p:cNvGrpSpPr>
          <p:nvPr/>
        </p:nvGrpSpPr>
        <p:grpSpPr>
          <a:xfrm>
            <a:off x="4680237" y="5784131"/>
            <a:ext cx="278964" cy="820738"/>
            <a:chOff x="5751513" y="5765800"/>
            <a:chExt cx="676275" cy="820738"/>
          </a:xfrm>
        </p:grpSpPr>
        <p:sp>
          <p:nvSpPr>
            <p:cNvPr id="69" name="Line 259">
              <a:extLst>
                <a:ext uri="{FF2B5EF4-FFF2-40B4-BE49-F238E27FC236}">
                  <a16:creationId xmlns:a16="http://schemas.microsoft.com/office/drawing/2014/main" id="{BF9851A3-72DB-EF0A-4757-1E9168E8A7F0}"/>
                </a:ext>
              </a:extLst>
            </p:cNvPr>
            <p:cNvSpPr>
              <a:spLocks noChangeShapeType="1"/>
            </p:cNvSpPr>
            <p:nvPr/>
          </p:nvSpPr>
          <p:spPr bwMode="auto">
            <a:xfrm>
              <a:off x="5759450" y="6411913"/>
              <a:ext cx="658813"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260">
              <a:extLst>
                <a:ext uri="{FF2B5EF4-FFF2-40B4-BE49-F238E27FC236}">
                  <a16:creationId xmlns:a16="http://schemas.microsoft.com/office/drawing/2014/main" id="{E0F7681E-1AB6-8F3C-A029-889F38A2A1B4}"/>
                </a:ext>
              </a:extLst>
            </p:cNvPr>
            <p:cNvSpPr>
              <a:spLocks/>
            </p:cNvSpPr>
            <p:nvPr/>
          </p:nvSpPr>
          <p:spPr bwMode="auto">
            <a:xfrm>
              <a:off x="5945188" y="6461125"/>
              <a:ext cx="276225" cy="125413"/>
            </a:xfrm>
            <a:custGeom>
              <a:avLst/>
              <a:gdLst>
                <a:gd name="T0" fmla="*/ 368 w 368"/>
                <a:gd name="T1" fmla="*/ 166 h 166"/>
                <a:gd name="T2" fmla="*/ 0 w 368"/>
                <a:gd name="T3" fmla="*/ 166 h 166"/>
                <a:gd name="T4" fmla="*/ 76 w 368"/>
                <a:gd name="T5" fmla="*/ 0 h 166"/>
                <a:gd name="T6" fmla="*/ 292 w 368"/>
                <a:gd name="T7" fmla="*/ 0 h 166"/>
                <a:gd name="T8" fmla="*/ 368 w 368"/>
                <a:gd name="T9" fmla="*/ 166 h 166"/>
              </a:gdLst>
              <a:ahLst/>
              <a:cxnLst>
                <a:cxn ang="0">
                  <a:pos x="T0" y="T1"/>
                </a:cxn>
                <a:cxn ang="0">
                  <a:pos x="T2" y="T3"/>
                </a:cxn>
                <a:cxn ang="0">
                  <a:pos x="T4" y="T5"/>
                </a:cxn>
                <a:cxn ang="0">
                  <a:pos x="T6" y="T7"/>
                </a:cxn>
                <a:cxn ang="0">
                  <a:pos x="T8" y="T9"/>
                </a:cxn>
              </a:cxnLst>
              <a:rect l="0" t="0" r="r" b="b"/>
              <a:pathLst>
                <a:path w="368" h="166">
                  <a:moveTo>
                    <a:pt x="368" y="166"/>
                  </a:moveTo>
                  <a:lnTo>
                    <a:pt x="0" y="166"/>
                  </a:lnTo>
                  <a:lnTo>
                    <a:pt x="76" y="0"/>
                  </a:lnTo>
                  <a:lnTo>
                    <a:pt x="292" y="0"/>
                  </a:lnTo>
                  <a:lnTo>
                    <a:pt x="368" y="166"/>
                  </a:lnTo>
                  <a:close/>
                </a:path>
              </a:pathLst>
            </a:cu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Line 261">
              <a:extLst>
                <a:ext uri="{FF2B5EF4-FFF2-40B4-BE49-F238E27FC236}">
                  <a16:creationId xmlns:a16="http://schemas.microsoft.com/office/drawing/2014/main" id="{02AFC817-4FEF-4AFE-23B5-40B946CCE093}"/>
                </a:ext>
              </a:extLst>
            </p:cNvPr>
            <p:cNvSpPr>
              <a:spLocks noChangeShapeType="1"/>
            </p:cNvSpPr>
            <p:nvPr/>
          </p:nvSpPr>
          <p:spPr bwMode="auto">
            <a:xfrm flipV="1">
              <a:off x="5902325" y="6477000"/>
              <a:ext cx="44450" cy="63500"/>
            </a:xfrm>
            <a:prstGeom prst="line">
              <a:avLst/>
            </a:prstGeom>
            <a:noFill/>
            <a:ln w="19050" cap="rnd">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262">
              <a:extLst>
                <a:ext uri="{FF2B5EF4-FFF2-40B4-BE49-F238E27FC236}">
                  <a16:creationId xmlns:a16="http://schemas.microsoft.com/office/drawing/2014/main" id="{61511BD9-F654-61FB-ABB6-93B78FD88C47}"/>
                </a:ext>
              </a:extLst>
            </p:cNvPr>
            <p:cNvSpPr>
              <a:spLocks/>
            </p:cNvSpPr>
            <p:nvPr/>
          </p:nvSpPr>
          <p:spPr bwMode="auto">
            <a:xfrm>
              <a:off x="5751513" y="5989638"/>
              <a:ext cx="303213" cy="419100"/>
            </a:xfrm>
            <a:custGeom>
              <a:avLst/>
              <a:gdLst>
                <a:gd name="T0" fmla="*/ 73 w 403"/>
                <a:gd name="T1" fmla="*/ 559 h 559"/>
                <a:gd name="T2" fmla="*/ 73 w 403"/>
                <a:gd name="T3" fmla="*/ 458 h 559"/>
                <a:gd name="T4" fmla="*/ 0 w 403"/>
                <a:gd name="T5" fmla="*/ 393 h 559"/>
                <a:gd name="T6" fmla="*/ 0 w 403"/>
                <a:gd name="T7" fmla="*/ 169 h 559"/>
                <a:gd name="T8" fmla="*/ 144 w 403"/>
                <a:gd name="T9" fmla="*/ 0 h 559"/>
                <a:gd name="T10" fmla="*/ 219 w 403"/>
                <a:gd name="T11" fmla="*/ 63 h 559"/>
                <a:gd name="T12" fmla="*/ 293 w 403"/>
                <a:gd name="T13" fmla="*/ 0 h 559"/>
                <a:gd name="T14" fmla="*/ 403 w 403"/>
                <a:gd name="T15" fmla="*/ 45 h 5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3" h="559">
                  <a:moveTo>
                    <a:pt x="73" y="559"/>
                  </a:moveTo>
                  <a:lnTo>
                    <a:pt x="73" y="458"/>
                  </a:lnTo>
                  <a:cubicBezTo>
                    <a:pt x="25" y="458"/>
                    <a:pt x="0" y="429"/>
                    <a:pt x="0" y="393"/>
                  </a:cubicBezTo>
                  <a:lnTo>
                    <a:pt x="0" y="169"/>
                  </a:lnTo>
                  <a:cubicBezTo>
                    <a:pt x="0" y="54"/>
                    <a:pt x="49" y="7"/>
                    <a:pt x="144" y="0"/>
                  </a:cubicBezTo>
                  <a:lnTo>
                    <a:pt x="219" y="63"/>
                  </a:lnTo>
                  <a:lnTo>
                    <a:pt x="293" y="0"/>
                  </a:lnTo>
                  <a:cubicBezTo>
                    <a:pt x="327" y="3"/>
                    <a:pt x="373" y="16"/>
                    <a:pt x="403" y="45"/>
                  </a:cubicBezTo>
                </a:path>
              </a:pathLst>
            </a:cu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Oval 263">
              <a:extLst>
                <a:ext uri="{FF2B5EF4-FFF2-40B4-BE49-F238E27FC236}">
                  <a16:creationId xmlns:a16="http://schemas.microsoft.com/office/drawing/2014/main" id="{239100D1-0BF6-6CD2-351D-83C8C65D1118}"/>
                </a:ext>
              </a:extLst>
            </p:cNvPr>
            <p:cNvSpPr>
              <a:spLocks noChangeArrowheads="1"/>
            </p:cNvSpPr>
            <p:nvPr/>
          </p:nvSpPr>
          <p:spPr bwMode="auto">
            <a:xfrm>
              <a:off x="5822950" y="5765800"/>
              <a:ext cx="185738" cy="185738"/>
            </a:xfrm>
            <a:prstGeom prst="ellipse">
              <a:avLst/>
            </a:pr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Oval 264">
              <a:extLst>
                <a:ext uri="{FF2B5EF4-FFF2-40B4-BE49-F238E27FC236}">
                  <a16:creationId xmlns:a16="http://schemas.microsoft.com/office/drawing/2014/main" id="{BD2CD835-398E-5D3C-85B3-495CCBC84A1B}"/>
                </a:ext>
              </a:extLst>
            </p:cNvPr>
            <p:cNvSpPr>
              <a:spLocks noChangeArrowheads="1"/>
            </p:cNvSpPr>
            <p:nvPr/>
          </p:nvSpPr>
          <p:spPr bwMode="auto">
            <a:xfrm>
              <a:off x="6170613" y="5765800"/>
              <a:ext cx="184150" cy="185738"/>
            </a:xfrm>
            <a:prstGeom prst="ellipse">
              <a:avLst/>
            </a:pr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Oval 265">
              <a:extLst>
                <a:ext uri="{FF2B5EF4-FFF2-40B4-BE49-F238E27FC236}">
                  <a16:creationId xmlns:a16="http://schemas.microsoft.com/office/drawing/2014/main" id="{82DD8E04-F3FB-2E02-B847-022850EF6F69}"/>
                </a:ext>
              </a:extLst>
            </p:cNvPr>
            <p:cNvSpPr>
              <a:spLocks noChangeArrowheads="1"/>
            </p:cNvSpPr>
            <p:nvPr/>
          </p:nvSpPr>
          <p:spPr bwMode="auto">
            <a:xfrm>
              <a:off x="5994400" y="6016625"/>
              <a:ext cx="184150" cy="184150"/>
            </a:xfrm>
            <a:prstGeom prst="ellipse">
              <a:avLst/>
            </a:pr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266">
              <a:extLst>
                <a:ext uri="{FF2B5EF4-FFF2-40B4-BE49-F238E27FC236}">
                  <a16:creationId xmlns:a16="http://schemas.microsoft.com/office/drawing/2014/main" id="{2E2FC8BB-118E-822C-334E-CF56BE3645C6}"/>
                </a:ext>
              </a:extLst>
            </p:cNvPr>
            <p:cNvSpPr>
              <a:spLocks/>
            </p:cNvSpPr>
            <p:nvPr/>
          </p:nvSpPr>
          <p:spPr bwMode="auto">
            <a:xfrm>
              <a:off x="5926138" y="6229350"/>
              <a:ext cx="320675" cy="179388"/>
            </a:xfrm>
            <a:custGeom>
              <a:avLst/>
              <a:gdLst>
                <a:gd name="T0" fmla="*/ 428 w 428"/>
                <a:gd name="T1" fmla="*/ 240 h 240"/>
                <a:gd name="T2" fmla="*/ 428 w 428"/>
                <a:gd name="T3" fmla="*/ 151 h 240"/>
                <a:gd name="T4" fmla="*/ 291 w 428"/>
                <a:gd name="T5" fmla="*/ 2 h 240"/>
                <a:gd name="T6" fmla="*/ 214 w 428"/>
                <a:gd name="T7" fmla="*/ 63 h 240"/>
                <a:gd name="T8" fmla="*/ 135 w 428"/>
                <a:gd name="T9" fmla="*/ 0 h 240"/>
                <a:gd name="T10" fmla="*/ 0 w 428"/>
                <a:gd name="T11" fmla="*/ 151 h 240"/>
                <a:gd name="T12" fmla="*/ 0 w 428"/>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428" h="240">
                  <a:moveTo>
                    <a:pt x="428" y="240"/>
                  </a:moveTo>
                  <a:lnTo>
                    <a:pt x="428" y="151"/>
                  </a:lnTo>
                  <a:cubicBezTo>
                    <a:pt x="428" y="73"/>
                    <a:pt x="371" y="22"/>
                    <a:pt x="291" y="2"/>
                  </a:cubicBezTo>
                  <a:lnTo>
                    <a:pt x="214" y="63"/>
                  </a:lnTo>
                  <a:lnTo>
                    <a:pt x="135" y="0"/>
                  </a:lnTo>
                  <a:cubicBezTo>
                    <a:pt x="56" y="16"/>
                    <a:pt x="0" y="59"/>
                    <a:pt x="0" y="151"/>
                  </a:cubicBezTo>
                  <a:lnTo>
                    <a:pt x="0" y="240"/>
                  </a:lnTo>
                </a:path>
              </a:pathLst>
            </a:cu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Freeform 267">
              <a:extLst>
                <a:ext uri="{FF2B5EF4-FFF2-40B4-BE49-F238E27FC236}">
                  <a16:creationId xmlns:a16="http://schemas.microsoft.com/office/drawing/2014/main" id="{62E189D0-395B-AF7C-EA3F-57757DEAABD8}"/>
                </a:ext>
              </a:extLst>
            </p:cNvPr>
            <p:cNvSpPr>
              <a:spLocks/>
            </p:cNvSpPr>
            <p:nvPr/>
          </p:nvSpPr>
          <p:spPr bwMode="auto">
            <a:xfrm>
              <a:off x="6124575" y="5989638"/>
              <a:ext cx="303213" cy="419100"/>
            </a:xfrm>
            <a:custGeom>
              <a:avLst/>
              <a:gdLst>
                <a:gd name="T0" fmla="*/ 330 w 404"/>
                <a:gd name="T1" fmla="*/ 559 h 559"/>
                <a:gd name="T2" fmla="*/ 330 w 404"/>
                <a:gd name="T3" fmla="*/ 458 h 559"/>
                <a:gd name="T4" fmla="*/ 403 w 404"/>
                <a:gd name="T5" fmla="*/ 393 h 559"/>
                <a:gd name="T6" fmla="*/ 404 w 404"/>
                <a:gd name="T7" fmla="*/ 169 h 559"/>
                <a:gd name="T8" fmla="*/ 260 w 404"/>
                <a:gd name="T9" fmla="*/ 0 h 559"/>
                <a:gd name="T10" fmla="*/ 185 w 404"/>
                <a:gd name="T11" fmla="*/ 63 h 559"/>
                <a:gd name="T12" fmla="*/ 110 w 404"/>
                <a:gd name="T13" fmla="*/ 0 h 559"/>
                <a:gd name="T14" fmla="*/ 0 w 404"/>
                <a:gd name="T15" fmla="*/ 45 h 5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4" h="559">
                  <a:moveTo>
                    <a:pt x="330" y="559"/>
                  </a:moveTo>
                  <a:lnTo>
                    <a:pt x="330" y="458"/>
                  </a:lnTo>
                  <a:cubicBezTo>
                    <a:pt x="378" y="458"/>
                    <a:pt x="403" y="429"/>
                    <a:pt x="403" y="393"/>
                  </a:cubicBezTo>
                  <a:lnTo>
                    <a:pt x="404" y="169"/>
                  </a:lnTo>
                  <a:cubicBezTo>
                    <a:pt x="404" y="54"/>
                    <a:pt x="354" y="7"/>
                    <a:pt x="260" y="0"/>
                  </a:cubicBezTo>
                  <a:lnTo>
                    <a:pt x="185" y="63"/>
                  </a:lnTo>
                  <a:lnTo>
                    <a:pt x="110" y="0"/>
                  </a:lnTo>
                  <a:cubicBezTo>
                    <a:pt x="76" y="3"/>
                    <a:pt x="30" y="16"/>
                    <a:pt x="0" y="45"/>
                  </a:cubicBezTo>
                </a:path>
              </a:pathLst>
            </a:cu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4" name="World3" descr="{&quot;Key&quot;:&quot;POWER_USER_SHAPE_ICON&quot;,&quot;Value&quot;:&quot;POWER_USER_SHAPE_ICON_STYLE_1&quot;}">
            <a:extLst>
              <a:ext uri="{FF2B5EF4-FFF2-40B4-BE49-F238E27FC236}">
                <a16:creationId xmlns:a16="http://schemas.microsoft.com/office/drawing/2014/main" id="{B3D6FA05-AB05-71AA-104D-4F18A1FF1223}"/>
              </a:ext>
            </a:extLst>
          </p:cNvPr>
          <p:cNvGrpSpPr>
            <a:grpSpLocks noChangeAspect="1"/>
          </p:cNvGrpSpPr>
          <p:nvPr/>
        </p:nvGrpSpPr>
        <p:grpSpPr>
          <a:xfrm>
            <a:off x="4638333" y="2075033"/>
            <a:ext cx="338555" cy="338555"/>
            <a:chOff x="6043409" y="2915897"/>
            <a:chExt cx="3129310" cy="3129311"/>
          </a:xfrm>
          <a:solidFill>
            <a:schemeClr val="accent3"/>
          </a:solidFill>
        </p:grpSpPr>
        <p:sp>
          <p:nvSpPr>
            <p:cNvPr id="105" name="Freeform: Shape 2986">
              <a:extLst>
                <a:ext uri="{FF2B5EF4-FFF2-40B4-BE49-F238E27FC236}">
                  <a16:creationId xmlns:a16="http://schemas.microsoft.com/office/drawing/2014/main" id="{A2ECB355-1505-0E5F-7A26-EFED231ED790}"/>
                </a:ext>
              </a:extLst>
            </p:cNvPr>
            <p:cNvSpPr>
              <a:spLocks/>
            </p:cNvSpPr>
            <p:nvPr/>
          </p:nvSpPr>
          <p:spPr bwMode="auto">
            <a:xfrm>
              <a:off x="6043409" y="2915897"/>
              <a:ext cx="3129310" cy="3129311"/>
            </a:xfrm>
            <a:custGeom>
              <a:avLst/>
              <a:gdLst>
                <a:gd name="connsiteX0" fmla="*/ 1564655 w 3129310"/>
                <a:gd name="connsiteY0" fmla="*/ 0 h 3129311"/>
                <a:gd name="connsiteX1" fmla="*/ 2670876 w 3129310"/>
                <a:gd name="connsiteY1" fmla="*/ 457068 h 3129311"/>
                <a:gd name="connsiteX2" fmla="*/ 3129310 w 3129310"/>
                <a:gd name="connsiteY2" fmla="*/ 1563653 h 3129311"/>
                <a:gd name="connsiteX3" fmla="*/ 2670876 w 3129310"/>
                <a:gd name="connsiteY3" fmla="*/ 2670239 h 3129311"/>
                <a:gd name="connsiteX4" fmla="*/ 1564655 w 3129310"/>
                <a:gd name="connsiteY4" fmla="*/ 3129311 h 3129311"/>
                <a:gd name="connsiteX5" fmla="*/ 458434 w 3129310"/>
                <a:gd name="connsiteY5" fmla="*/ 2670239 h 3129311"/>
                <a:gd name="connsiteX6" fmla="*/ 0 w 3129310"/>
                <a:gd name="connsiteY6" fmla="*/ 1563653 h 3129311"/>
                <a:gd name="connsiteX7" fmla="*/ 356902 w 3129310"/>
                <a:gd name="connsiteY7" fmla="*/ 568093 h 3129311"/>
                <a:gd name="connsiteX8" fmla="*/ 412585 w 3129310"/>
                <a:gd name="connsiteY8" fmla="*/ 507204 h 3129311"/>
                <a:gd name="connsiteX9" fmla="*/ 450009 w 3129310"/>
                <a:gd name="connsiteY9" fmla="*/ 564824 h 3129311"/>
                <a:gd name="connsiteX10" fmla="*/ 407608 w 3129310"/>
                <a:gd name="connsiteY10" fmla="*/ 611425 h 3129311"/>
                <a:gd name="connsiteX11" fmla="*/ 65776 w 3129310"/>
                <a:gd name="connsiteY11" fmla="*/ 1563653 h 3129311"/>
                <a:gd name="connsiteX12" fmla="*/ 504278 w 3129310"/>
                <a:gd name="connsiteY12" fmla="*/ 2624131 h 3129311"/>
                <a:gd name="connsiteX13" fmla="*/ 1564655 w 3129310"/>
                <a:gd name="connsiteY13" fmla="*/ 3061152 h 3129311"/>
                <a:gd name="connsiteX14" fmla="*/ 2625033 w 3129310"/>
                <a:gd name="connsiteY14" fmla="*/ 2624131 h 3129311"/>
                <a:gd name="connsiteX15" fmla="*/ 3063535 w 3129310"/>
                <a:gd name="connsiteY15" fmla="*/ 1563653 h 3129311"/>
                <a:gd name="connsiteX16" fmla="*/ 2625033 w 3129310"/>
                <a:gd name="connsiteY16" fmla="*/ 505180 h 3129311"/>
                <a:gd name="connsiteX17" fmla="*/ 1564655 w 3129310"/>
                <a:gd name="connsiteY17" fmla="*/ 66155 h 3129311"/>
                <a:gd name="connsiteX18" fmla="*/ 849598 w 3129310"/>
                <a:gd name="connsiteY18" fmla="*/ 247340 h 3129311"/>
                <a:gd name="connsiteX19" fmla="*/ 781477 w 3129310"/>
                <a:gd name="connsiteY19" fmla="*/ 288721 h 3129311"/>
                <a:gd name="connsiteX20" fmla="*/ 768506 w 3129310"/>
                <a:gd name="connsiteY20" fmla="*/ 250138 h 3129311"/>
                <a:gd name="connsiteX21" fmla="*/ 754903 w 3129310"/>
                <a:gd name="connsiteY21" fmla="*/ 226967 h 3129311"/>
                <a:gd name="connsiteX22" fmla="*/ 818785 w 3129310"/>
                <a:gd name="connsiteY22" fmla="*/ 188233 h 3129311"/>
                <a:gd name="connsiteX23" fmla="*/ 1564655 w 3129310"/>
                <a:gd name="connsiteY23" fmla="*/ 0 h 31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29310" h="3129311">
                  <a:moveTo>
                    <a:pt x="1564655" y="0"/>
                  </a:moveTo>
                  <a:cubicBezTo>
                    <a:pt x="1997178" y="0"/>
                    <a:pt x="2387843" y="174408"/>
                    <a:pt x="2670876" y="457068"/>
                  </a:cubicBezTo>
                  <a:cubicBezTo>
                    <a:pt x="2953909" y="739728"/>
                    <a:pt x="3129310" y="1132646"/>
                    <a:pt x="3129310" y="1563653"/>
                  </a:cubicBezTo>
                  <a:cubicBezTo>
                    <a:pt x="3129310" y="1996665"/>
                    <a:pt x="2953909" y="2387578"/>
                    <a:pt x="2670876" y="2670239"/>
                  </a:cubicBezTo>
                  <a:cubicBezTo>
                    <a:pt x="2387843" y="2952899"/>
                    <a:pt x="1997178" y="3129311"/>
                    <a:pt x="1564655" y="3129311"/>
                  </a:cubicBezTo>
                  <a:cubicBezTo>
                    <a:pt x="1132133" y="3129311"/>
                    <a:pt x="741467" y="2952899"/>
                    <a:pt x="458434" y="2670239"/>
                  </a:cubicBezTo>
                  <a:cubicBezTo>
                    <a:pt x="173408" y="2387578"/>
                    <a:pt x="0" y="1996665"/>
                    <a:pt x="0" y="1563653"/>
                  </a:cubicBezTo>
                  <a:cubicBezTo>
                    <a:pt x="0" y="1186522"/>
                    <a:pt x="132765" y="838553"/>
                    <a:pt x="356902" y="568093"/>
                  </a:cubicBezTo>
                  <a:lnTo>
                    <a:pt x="412585" y="507204"/>
                  </a:lnTo>
                  <a:lnTo>
                    <a:pt x="450009" y="564824"/>
                  </a:lnTo>
                  <a:lnTo>
                    <a:pt x="407608" y="611425"/>
                  </a:lnTo>
                  <a:cubicBezTo>
                    <a:pt x="193963" y="870127"/>
                    <a:pt x="65776" y="1202309"/>
                    <a:pt x="65776" y="1563653"/>
                  </a:cubicBezTo>
                  <a:cubicBezTo>
                    <a:pt x="65776" y="1978623"/>
                    <a:pt x="233204" y="2351494"/>
                    <a:pt x="504278" y="2624131"/>
                  </a:cubicBezTo>
                  <a:cubicBezTo>
                    <a:pt x="775352" y="2894763"/>
                    <a:pt x="1150071" y="3061152"/>
                    <a:pt x="1564655" y="3061152"/>
                  </a:cubicBezTo>
                  <a:cubicBezTo>
                    <a:pt x="1979239" y="3061152"/>
                    <a:pt x="2353959" y="2894763"/>
                    <a:pt x="2625033" y="2624131"/>
                  </a:cubicBezTo>
                  <a:cubicBezTo>
                    <a:pt x="2896107" y="2351494"/>
                    <a:pt x="3063535" y="1978623"/>
                    <a:pt x="3063535" y="1563653"/>
                  </a:cubicBezTo>
                  <a:cubicBezTo>
                    <a:pt x="3063535" y="1150689"/>
                    <a:pt x="2896107" y="775813"/>
                    <a:pt x="2625033" y="505180"/>
                  </a:cubicBezTo>
                  <a:cubicBezTo>
                    <a:pt x="2353959" y="234548"/>
                    <a:pt x="1979239" y="66155"/>
                    <a:pt x="1564655" y="66155"/>
                  </a:cubicBezTo>
                  <a:cubicBezTo>
                    <a:pt x="1305540" y="66155"/>
                    <a:pt x="1061997" y="131933"/>
                    <a:pt x="849598" y="247340"/>
                  </a:cubicBezTo>
                  <a:lnTo>
                    <a:pt x="781477" y="288721"/>
                  </a:lnTo>
                  <a:lnTo>
                    <a:pt x="768506" y="250138"/>
                  </a:lnTo>
                  <a:lnTo>
                    <a:pt x="754903" y="226967"/>
                  </a:lnTo>
                  <a:lnTo>
                    <a:pt x="818785" y="188233"/>
                  </a:lnTo>
                  <a:cubicBezTo>
                    <a:pt x="1040353" y="68128"/>
                    <a:pt x="1294329" y="0"/>
                    <a:pt x="1564655" y="0"/>
                  </a:cubicBez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Shape 2987">
              <a:extLst>
                <a:ext uri="{FF2B5EF4-FFF2-40B4-BE49-F238E27FC236}">
                  <a16:creationId xmlns:a16="http://schemas.microsoft.com/office/drawing/2014/main" id="{385147C6-7DDC-B254-059D-A3B700846642}"/>
                </a:ext>
              </a:extLst>
            </p:cNvPr>
            <p:cNvSpPr>
              <a:spLocks/>
            </p:cNvSpPr>
            <p:nvPr/>
          </p:nvSpPr>
          <p:spPr bwMode="auto">
            <a:xfrm>
              <a:off x="7877824" y="3347525"/>
              <a:ext cx="1171563" cy="1819006"/>
            </a:xfrm>
            <a:custGeom>
              <a:avLst/>
              <a:gdLst>
                <a:gd name="connsiteX0" fmla="*/ 416162 w 1171563"/>
                <a:gd name="connsiteY0" fmla="*/ 0 h 1819006"/>
                <a:gd name="connsiteX1" fmla="*/ 664675 w 1171563"/>
                <a:gd name="connsiteY1" fmla="*/ 44024 h 1819006"/>
                <a:gd name="connsiteX2" fmla="*/ 777097 w 1171563"/>
                <a:gd name="connsiteY2" fmla="*/ 86048 h 1819006"/>
                <a:gd name="connsiteX3" fmla="*/ 783014 w 1171563"/>
                <a:gd name="connsiteY3" fmla="*/ 90050 h 1819006"/>
                <a:gd name="connsiteX4" fmla="*/ 786959 w 1171563"/>
                <a:gd name="connsiteY4" fmla="*/ 92051 h 1819006"/>
                <a:gd name="connsiteX5" fmla="*/ 870401 w 1171563"/>
                <a:gd name="connsiteY5" fmla="*/ 183570 h 1819006"/>
                <a:gd name="connsiteX6" fmla="*/ 793895 w 1171563"/>
                <a:gd name="connsiteY6" fmla="*/ 169574 h 1819006"/>
                <a:gd name="connsiteX7" fmla="*/ 770707 w 1171563"/>
                <a:gd name="connsiteY7" fmla="*/ 173858 h 1819006"/>
                <a:gd name="connsiteX8" fmla="*/ 743357 w 1171563"/>
                <a:gd name="connsiteY8" fmla="*/ 144002 h 1819006"/>
                <a:gd name="connsiteX9" fmla="*/ 743568 w 1171563"/>
                <a:gd name="connsiteY9" fmla="*/ 144080 h 1819006"/>
                <a:gd name="connsiteX10" fmla="*/ 749485 w 1171563"/>
                <a:gd name="connsiteY10" fmla="*/ 146081 h 1819006"/>
                <a:gd name="connsiteX11" fmla="*/ 749485 w 1171563"/>
                <a:gd name="connsiteY11" fmla="*/ 148082 h 1819006"/>
                <a:gd name="connsiteX12" fmla="*/ 765263 w 1171563"/>
                <a:gd name="connsiteY12" fmla="*/ 118065 h 1819006"/>
                <a:gd name="connsiteX13" fmla="*/ 741595 w 1171563"/>
                <a:gd name="connsiteY13" fmla="*/ 142079 h 1819006"/>
                <a:gd name="connsiteX14" fmla="*/ 743357 w 1171563"/>
                <a:gd name="connsiteY14" fmla="*/ 144002 h 1819006"/>
                <a:gd name="connsiteX15" fmla="*/ 721872 w 1171563"/>
                <a:gd name="connsiteY15" fmla="*/ 136075 h 1819006"/>
                <a:gd name="connsiteX16" fmla="*/ 644951 w 1171563"/>
                <a:gd name="connsiteY16" fmla="*/ 106059 h 1819006"/>
                <a:gd name="connsiteX17" fmla="*/ 416162 w 1171563"/>
                <a:gd name="connsiteY17" fmla="*/ 66037 h 1819006"/>
                <a:gd name="connsiteX18" fmla="*/ 274154 w 1171563"/>
                <a:gd name="connsiteY18" fmla="*/ 96053 h 1819006"/>
                <a:gd name="connsiteX19" fmla="*/ 175537 w 1171563"/>
                <a:gd name="connsiteY19" fmla="*/ 198110 h 1819006"/>
                <a:gd name="connsiteX20" fmla="*/ 67059 w 1171563"/>
                <a:gd name="connsiteY20" fmla="*/ 658364 h 1819006"/>
                <a:gd name="connsiteX21" fmla="*/ 76921 w 1171563"/>
                <a:gd name="connsiteY21" fmla="*/ 766424 h 1819006"/>
                <a:gd name="connsiteX22" fmla="*/ 96644 w 1171563"/>
                <a:gd name="connsiteY22" fmla="*/ 816452 h 1819006"/>
                <a:gd name="connsiteX23" fmla="*/ 110451 w 1171563"/>
                <a:gd name="connsiteY23" fmla="*/ 826457 h 1819006"/>
                <a:gd name="connsiteX24" fmla="*/ 140036 w 1171563"/>
                <a:gd name="connsiteY24" fmla="*/ 840465 h 1819006"/>
                <a:gd name="connsiteX25" fmla="*/ 222873 w 1171563"/>
                <a:gd name="connsiteY25" fmla="*/ 876485 h 1819006"/>
                <a:gd name="connsiteX26" fmla="*/ 433912 w 1171563"/>
                <a:gd name="connsiteY26" fmla="*/ 960531 h 1819006"/>
                <a:gd name="connsiteX27" fmla="*/ 548307 w 1171563"/>
                <a:gd name="connsiteY27" fmla="*/ 1020565 h 1819006"/>
                <a:gd name="connsiteX28" fmla="*/ 589726 w 1171563"/>
                <a:gd name="connsiteY28" fmla="*/ 1062588 h 1819006"/>
                <a:gd name="connsiteX29" fmla="*/ 599588 w 1171563"/>
                <a:gd name="connsiteY29" fmla="*/ 1094606 h 1819006"/>
                <a:gd name="connsiteX30" fmla="*/ 601560 w 1171563"/>
                <a:gd name="connsiteY30" fmla="*/ 1118619 h 1819006"/>
                <a:gd name="connsiteX31" fmla="*/ 607477 w 1171563"/>
                <a:gd name="connsiteY31" fmla="*/ 1158641 h 1819006"/>
                <a:gd name="connsiteX32" fmla="*/ 629173 w 1171563"/>
                <a:gd name="connsiteY32" fmla="*/ 1270703 h 1819006"/>
                <a:gd name="connsiteX33" fmla="*/ 704121 w 1171563"/>
                <a:gd name="connsiteY33" fmla="*/ 1552859 h 1819006"/>
                <a:gd name="connsiteX34" fmla="*/ 765263 w 1171563"/>
                <a:gd name="connsiteY34" fmla="*/ 1702942 h 1819006"/>
                <a:gd name="connsiteX35" fmla="*/ 796821 w 1171563"/>
                <a:gd name="connsiteY35" fmla="*/ 1746966 h 1819006"/>
                <a:gd name="connsiteX36" fmla="*/ 802103 w 1171563"/>
                <a:gd name="connsiteY36" fmla="*/ 1752325 h 1819006"/>
                <a:gd name="connsiteX37" fmla="*/ 800765 w 1171563"/>
                <a:gd name="connsiteY37" fmla="*/ 1752970 h 1819006"/>
                <a:gd name="connsiteX38" fmla="*/ 808655 w 1171563"/>
                <a:gd name="connsiteY38" fmla="*/ 1784987 h 1819006"/>
                <a:gd name="connsiteX39" fmla="*/ 802738 w 1171563"/>
                <a:gd name="connsiteY39" fmla="*/ 1752970 h 1819006"/>
                <a:gd name="connsiteX40" fmla="*/ 802103 w 1171563"/>
                <a:gd name="connsiteY40" fmla="*/ 1752325 h 1819006"/>
                <a:gd name="connsiteX41" fmla="*/ 810627 w 1171563"/>
                <a:gd name="connsiteY41" fmla="*/ 1748217 h 1819006"/>
                <a:gd name="connsiteX42" fmla="*/ 826406 w 1171563"/>
                <a:gd name="connsiteY42" fmla="*/ 1738962 h 1819006"/>
                <a:gd name="connsiteX43" fmla="*/ 863880 w 1171563"/>
                <a:gd name="connsiteY43" fmla="*/ 1702942 h 1819006"/>
                <a:gd name="connsiteX44" fmla="*/ 952635 w 1171563"/>
                <a:gd name="connsiteY44" fmla="*/ 1584877 h 1819006"/>
                <a:gd name="connsiteX45" fmla="*/ 1084780 w 1171563"/>
                <a:gd name="connsiteY45" fmla="*/ 1328735 h 1819006"/>
                <a:gd name="connsiteX46" fmla="*/ 1092670 w 1171563"/>
                <a:gd name="connsiteY46" fmla="*/ 1294716 h 1819006"/>
                <a:gd name="connsiteX47" fmla="*/ 1094642 w 1171563"/>
                <a:gd name="connsiteY47" fmla="*/ 1262699 h 1819006"/>
                <a:gd name="connsiteX48" fmla="*/ 1098587 w 1171563"/>
                <a:gd name="connsiteY48" fmla="*/ 1210670 h 1819006"/>
                <a:gd name="connsiteX49" fmla="*/ 1104504 w 1171563"/>
                <a:gd name="connsiteY49" fmla="*/ 1062588 h 1819006"/>
                <a:gd name="connsiteX50" fmla="*/ 1041389 w 1171563"/>
                <a:gd name="connsiteY50" fmla="*/ 622344 h 1819006"/>
                <a:gd name="connsiteX51" fmla="*/ 993991 w 1171563"/>
                <a:gd name="connsiteY51" fmla="*/ 499745 h 1819006"/>
                <a:gd name="connsiteX52" fmla="*/ 983308 w 1171563"/>
                <a:gd name="connsiteY52" fmla="*/ 479260 h 1819006"/>
                <a:gd name="connsiteX53" fmla="*/ 983446 w 1171563"/>
                <a:gd name="connsiteY53" fmla="*/ 479008 h 1819006"/>
                <a:gd name="connsiteX54" fmla="*/ 1008076 w 1171563"/>
                <a:gd name="connsiteY54" fmla="*/ 420315 h 1819006"/>
                <a:gd name="connsiteX55" fmla="*/ 1013066 w 1171563"/>
                <a:gd name="connsiteY55" fmla="*/ 394207 h 1819006"/>
                <a:gd name="connsiteX56" fmla="*/ 1053223 w 1171563"/>
                <a:gd name="connsiteY56" fmla="*/ 472230 h 1819006"/>
                <a:gd name="connsiteX57" fmla="*/ 1102532 w 1171563"/>
                <a:gd name="connsiteY57" fmla="*/ 602333 h 1819006"/>
                <a:gd name="connsiteX58" fmla="*/ 1171563 w 1171563"/>
                <a:gd name="connsiteY58" fmla="*/ 1062588 h 1819006"/>
                <a:gd name="connsiteX59" fmla="*/ 1159729 w 1171563"/>
                <a:gd name="connsiteY59" fmla="*/ 1266701 h 1819006"/>
                <a:gd name="connsiteX60" fmla="*/ 1159729 w 1171563"/>
                <a:gd name="connsiteY60" fmla="*/ 1294716 h 1819006"/>
                <a:gd name="connsiteX61" fmla="*/ 1153812 w 1171563"/>
                <a:gd name="connsiteY61" fmla="*/ 1330736 h 1819006"/>
                <a:gd name="connsiteX62" fmla="*/ 1140006 w 1171563"/>
                <a:gd name="connsiteY62" fmla="*/ 1370758 h 1819006"/>
                <a:gd name="connsiteX63" fmla="*/ 1098587 w 1171563"/>
                <a:gd name="connsiteY63" fmla="*/ 1466811 h 1819006"/>
                <a:gd name="connsiteX64" fmla="*/ 968413 w 1171563"/>
                <a:gd name="connsiteY64" fmla="*/ 1680930 h 1819006"/>
                <a:gd name="connsiteX65" fmla="*/ 871769 w 1171563"/>
                <a:gd name="connsiteY65" fmla="*/ 1786988 h 1819006"/>
                <a:gd name="connsiteX66" fmla="*/ 814572 w 1171563"/>
                <a:gd name="connsiteY66" fmla="*/ 1817005 h 1819006"/>
                <a:gd name="connsiteX67" fmla="*/ 802738 w 1171563"/>
                <a:gd name="connsiteY67" fmla="*/ 1819006 h 1819006"/>
                <a:gd name="connsiteX68" fmla="*/ 769208 w 1171563"/>
                <a:gd name="connsiteY68" fmla="*/ 1809001 h 1819006"/>
                <a:gd name="connsiteX69" fmla="*/ 743568 w 1171563"/>
                <a:gd name="connsiteY69" fmla="*/ 1786988 h 1819006"/>
                <a:gd name="connsiteX70" fmla="*/ 702149 w 1171563"/>
                <a:gd name="connsiteY70" fmla="*/ 1724954 h 1819006"/>
                <a:gd name="connsiteX71" fmla="*/ 633117 w 1171563"/>
                <a:gd name="connsiteY71" fmla="*/ 1540852 h 1819006"/>
                <a:gd name="connsiteX72" fmla="*/ 540418 w 1171563"/>
                <a:gd name="connsiteY72" fmla="*/ 1154639 h 1819006"/>
                <a:gd name="connsiteX73" fmla="*/ 535980 w 1171563"/>
                <a:gd name="connsiteY73" fmla="*/ 1120870 h 1819006"/>
                <a:gd name="connsiteX74" fmla="*/ 534714 w 1171563"/>
                <a:gd name="connsiteY74" fmla="*/ 1098391 h 1819006"/>
                <a:gd name="connsiteX75" fmla="*/ 534614 w 1171563"/>
                <a:gd name="connsiteY75" fmla="*/ 1096607 h 1819006"/>
                <a:gd name="connsiteX76" fmla="*/ 534612 w 1171563"/>
                <a:gd name="connsiteY76" fmla="*/ 1096579 h 1819006"/>
                <a:gd name="connsiteX77" fmla="*/ 534501 w 1171563"/>
                <a:gd name="connsiteY77" fmla="*/ 1094606 h 1819006"/>
                <a:gd name="connsiteX78" fmla="*/ 534501 w 1171563"/>
                <a:gd name="connsiteY78" fmla="*/ 1096607 h 1819006"/>
                <a:gd name="connsiteX79" fmla="*/ 534501 w 1171563"/>
                <a:gd name="connsiteY79" fmla="*/ 1098608 h 1819006"/>
                <a:gd name="connsiteX80" fmla="*/ 532529 w 1171563"/>
                <a:gd name="connsiteY80" fmla="*/ 1094606 h 1819006"/>
                <a:gd name="connsiteX81" fmla="*/ 516750 w 1171563"/>
                <a:gd name="connsiteY81" fmla="*/ 1078597 h 1819006"/>
                <a:gd name="connsiteX82" fmla="*/ 441802 w 1171563"/>
                <a:gd name="connsiteY82" fmla="*/ 1036573 h 1819006"/>
                <a:gd name="connsiteX83" fmla="*/ 222873 w 1171563"/>
                <a:gd name="connsiteY83" fmla="*/ 948525 h 1819006"/>
                <a:gd name="connsiteX84" fmla="*/ 98617 w 1171563"/>
                <a:gd name="connsiteY84" fmla="*/ 894495 h 1819006"/>
                <a:gd name="connsiteX85" fmla="*/ 51281 w 1171563"/>
                <a:gd name="connsiteY85" fmla="*/ 862477 h 1819006"/>
                <a:gd name="connsiteX86" fmla="*/ 11834 w 1171563"/>
                <a:gd name="connsiteY86" fmla="*/ 780432 h 1819006"/>
                <a:gd name="connsiteX87" fmla="*/ 0 w 1171563"/>
                <a:gd name="connsiteY87" fmla="*/ 658364 h 1819006"/>
                <a:gd name="connsiteX88" fmla="*/ 116368 w 1171563"/>
                <a:gd name="connsiteY88" fmla="*/ 170094 h 1819006"/>
                <a:gd name="connsiteX89" fmla="*/ 244569 w 1171563"/>
                <a:gd name="connsiteY89" fmla="*/ 36020 h 1819006"/>
                <a:gd name="connsiteX90" fmla="*/ 416162 w 1171563"/>
                <a:gd name="connsiteY90" fmla="*/ 0 h 1819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171563" h="1819006">
                  <a:moveTo>
                    <a:pt x="416162" y="0"/>
                  </a:moveTo>
                  <a:cubicBezTo>
                    <a:pt x="506889" y="0"/>
                    <a:pt x="595643" y="22012"/>
                    <a:pt x="664675" y="44024"/>
                  </a:cubicBezTo>
                  <a:cubicBezTo>
                    <a:pt x="731734" y="66037"/>
                    <a:pt x="777097" y="86048"/>
                    <a:pt x="777097" y="86048"/>
                  </a:cubicBezTo>
                  <a:lnTo>
                    <a:pt x="783014" y="90050"/>
                  </a:lnTo>
                  <a:lnTo>
                    <a:pt x="786959" y="92051"/>
                  </a:lnTo>
                  <a:lnTo>
                    <a:pt x="870401" y="183570"/>
                  </a:lnTo>
                  <a:lnTo>
                    <a:pt x="793895" y="169574"/>
                  </a:lnTo>
                  <a:lnTo>
                    <a:pt x="770707" y="173858"/>
                  </a:lnTo>
                  <a:lnTo>
                    <a:pt x="743357" y="144002"/>
                  </a:lnTo>
                  <a:lnTo>
                    <a:pt x="743568" y="144080"/>
                  </a:lnTo>
                  <a:lnTo>
                    <a:pt x="749485" y="146081"/>
                  </a:lnTo>
                  <a:lnTo>
                    <a:pt x="749485" y="148082"/>
                  </a:lnTo>
                  <a:lnTo>
                    <a:pt x="765263" y="118065"/>
                  </a:lnTo>
                  <a:lnTo>
                    <a:pt x="741595" y="142079"/>
                  </a:lnTo>
                  <a:lnTo>
                    <a:pt x="743357" y="144002"/>
                  </a:lnTo>
                  <a:lnTo>
                    <a:pt x="721872" y="136075"/>
                  </a:lnTo>
                  <a:cubicBezTo>
                    <a:pt x="702149" y="128071"/>
                    <a:pt x="676509" y="118065"/>
                    <a:pt x="644951" y="106059"/>
                  </a:cubicBezTo>
                  <a:cubicBezTo>
                    <a:pt x="579864" y="86048"/>
                    <a:pt x="495055" y="66037"/>
                    <a:pt x="416162" y="66037"/>
                  </a:cubicBezTo>
                  <a:cubicBezTo>
                    <a:pt x="364881" y="66037"/>
                    <a:pt x="315573" y="74041"/>
                    <a:pt x="274154" y="96053"/>
                  </a:cubicBezTo>
                  <a:cubicBezTo>
                    <a:pt x="232735" y="116064"/>
                    <a:pt x="199205" y="146081"/>
                    <a:pt x="175537" y="198110"/>
                  </a:cubicBezTo>
                  <a:cubicBezTo>
                    <a:pt x="96644" y="366203"/>
                    <a:pt x="67059" y="536297"/>
                    <a:pt x="67059" y="658364"/>
                  </a:cubicBezTo>
                  <a:cubicBezTo>
                    <a:pt x="67059" y="702389"/>
                    <a:pt x="71004" y="738409"/>
                    <a:pt x="76921" y="766424"/>
                  </a:cubicBezTo>
                  <a:cubicBezTo>
                    <a:pt x="82838" y="794440"/>
                    <a:pt x="92700" y="812449"/>
                    <a:pt x="96644" y="816452"/>
                  </a:cubicBezTo>
                  <a:cubicBezTo>
                    <a:pt x="98617" y="818453"/>
                    <a:pt x="104534" y="822455"/>
                    <a:pt x="110451" y="826457"/>
                  </a:cubicBezTo>
                  <a:cubicBezTo>
                    <a:pt x="118340" y="830459"/>
                    <a:pt x="128202" y="836463"/>
                    <a:pt x="140036" y="840465"/>
                  </a:cubicBezTo>
                  <a:cubicBezTo>
                    <a:pt x="161731" y="852472"/>
                    <a:pt x="191316" y="864478"/>
                    <a:pt x="222873" y="876485"/>
                  </a:cubicBezTo>
                  <a:cubicBezTo>
                    <a:pt x="287960" y="902499"/>
                    <a:pt x="366853" y="930515"/>
                    <a:pt x="433912" y="960531"/>
                  </a:cubicBezTo>
                  <a:cubicBezTo>
                    <a:pt x="479276" y="980543"/>
                    <a:pt x="518722" y="1000554"/>
                    <a:pt x="548307" y="1020565"/>
                  </a:cubicBezTo>
                  <a:cubicBezTo>
                    <a:pt x="566058" y="1032571"/>
                    <a:pt x="579864" y="1044578"/>
                    <a:pt x="589726" y="1062588"/>
                  </a:cubicBezTo>
                  <a:cubicBezTo>
                    <a:pt x="595643" y="1070592"/>
                    <a:pt x="599588" y="1082599"/>
                    <a:pt x="599588" y="1094606"/>
                  </a:cubicBezTo>
                  <a:cubicBezTo>
                    <a:pt x="599588" y="1098608"/>
                    <a:pt x="599588" y="1106612"/>
                    <a:pt x="601560" y="1118619"/>
                  </a:cubicBezTo>
                  <a:cubicBezTo>
                    <a:pt x="603532" y="1128624"/>
                    <a:pt x="605505" y="1142632"/>
                    <a:pt x="607477" y="1158641"/>
                  </a:cubicBezTo>
                  <a:cubicBezTo>
                    <a:pt x="613394" y="1188658"/>
                    <a:pt x="621283" y="1228680"/>
                    <a:pt x="629173" y="1270703"/>
                  </a:cubicBezTo>
                  <a:cubicBezTo>
                    <a:pt x="648896" y="1358752"/>
                    <a:pt x="676509" y="1462809"/>
                    <a:pt x="704121" y="1552859"/>
                  </a:cubicBezTo>
                  <a:cubicBezTo>
                    <a:pt x="723844" y="1612892"/>
                    <a:pt x="745540" y="1664921"/>
                    <a:pt x="765263" y="1702942"/>
                  </a:cubicBezTo>
                  <a:cubicBezTo>
                    <a:pt x="777097" y="1722953"/>
                    <a:pt x="788931" y="1738962"/>
                    <a:pt x="796821" y="1746966"/>
                  </a:cubicBezTo>
                  <a:lnTo>
                    <a:pt x="802103" y="1752325"/>
                  </a:lnTo>
                  <a:lnTo>
                    <a:pt x="800765" y="1752970"/>
                  </a:lnTo>
                  <a:lnTo>
                    <a:pt x="808655" y="1784987"/>
                  </a:lnTo>
                  <a:lnTo>
                    <a:pt x="802738" y="1752970"/>
                  </a:lnTo>
                  <a:lnTo>
                    <a:pt x="802103" y="1752325"/>
                  </a:lnTo>
                  <a:lnTo>
                    <a:pt x="810627" y="1748217"/>
                  </a:lnTo>
                  <a:cubicBezTo>
                    <a:pt x="815065" y="1745966"/>
                    <a:pt x="820489" y="1742964"/>
                    <a:pt x="826406" y="1738962"/>
                  </a:cubicBezTo>
                  <a:cubicBezTo>
                    <a:pt x="838240" y="1730957"/>
                    <a:pt x="850074" y="1716950"/>
                    <a:pt x="863880" y="1702942"/>
                  </a:cubicBezTo>
                  <a:cubicBezTo>
                    <a:pt x="893465" y="1672925"/>
                    <a:pt x="923050" y="1630902"/>
                    <a:pt x="952635" y="1584877"/>
                  </a:cubicBezTo>
                  <a:cubicBezTo>
                    <a:pt x="1011804" y="1494827"/>
                    <a:pt x="1067030" y="1388768"/>
                    <a:pt x="1084780" y="1328735"/>
                  </a:cubicBezTo>
                  <a:cubicBezTo>
                    <a:pt x="1090698" y="1312726"/>
                    <a:pt x="1092670" y="1298718"/>
                    <a:pt x="1092670" y="1294716"/>
                  </a:cubicBezTo>
                  <a:cubicBezTo>
                    <a:pt x="1092670" y="1286712"/>
                    <a:pt x="1094642" y="1276706"/>
                    <a:pt x="1094642" y="1262699"/>
                  </a:cubicBezTo>
                  <a:cubicBezTo>
                    <a:pt x="1096614" y="1248691"/>
                    <a:pt x="1098587" y="1230681"/>
                    <a:pt x="1098587" y="1210670"/>
                  </a:cubicBezTo>
                  <a:cubicBezTo>
                    <a:pt x="1102532" y="1172649"/>
                    <a:pt x="1104504" y="1122621"/>
                    <a:pt x="1104504" y="1062588"/>
                  </a:cubicBezTo>
                  <a:cubicBezTo>
                    <a:pt x="1104504" y="942521"/>
                    <a:pt x="1092670" y="784434"/>
                    <a:pt x="1041389" y="622344"/>
                  </a:cubicBezTo>
                  <a:cubicBezTo>
                    <a:pt x="1028076" y="581822"/>
                    <a:pt x="1012420" y="540799"/>
                    <a:pt x="993991" y="499745"/>
                  </a:cubicBezTo>
                  <a:lnTo>
                    <a:pt x="983308" y="479260"/>
                  </a:lnTo>
                  <a:lnTo>
                    <a:pt x="983446" y="479008"/>
                  </a:lnTo>
                  <a:cubicBezTo>
                    <a:pt x="993638" y="458368"/>
                    <a:pt x="1002131" y="438524"/>
                    <a:pt x="1008076" y="420315"/>
                  </a:cubicBezTo>
                  <a:lnTo>
                    <a:pt x="1013066" y="394207"/>
                  </a:lnTo>
                  <a:lnTo>
                    <a:pt x="1053223" y="472230"/>
                  </a:lnTo>
                  <a:cubicBezTo>
                    <a:pt x="1072454" y="515785"/>
                    <a:pt x="1088726" y="559309"/>
                    <a:pt x="1102532" y="602333"/>
                  </a:cubicBezTo>
                  <a:cubicBezTo>
                    <a:pt x="1157757" y="774428"/>
                    <a:pt x="1171563" y="936518"/>
                    <a:pt x="1171563" y="1062588"/>
                  </a:cubicBezTo>
                  <a:cubicBezTo>
                    <a:pt x="1171563" y="1154639"/>
                    <a:pt x="1163674" y="1226679"/>
                    <a:pt x="1159729" y="1266701"/>
                  </a:cubicBezTo>
                  <a:cubicBezTo>
                    <a:pt x="1159729" y="1280708"/>
                    <a:pt x="1159729" y="1290714"/>
                    <a:pt x="1159729" y="1294716"/>
                  </a:cubicBezTo>
                  <a:cubicBezTo>
                    <a:pt x="1159729" y="1306723"/>
                    <a:pt x="1155784" y="1318730"/>
                    <a:pt x="1153812" y="1330736"/>
                  </a:cubicBezTo>
                  <a:cubicBezTo>
                    <a:pt x="1149867" y="1342743"/>
                    <a:pt x="1145923" y="1354749"/>
                    <a:pt x="1140006" y="1370758"/>
                  </a:cubicBezTo>
                  <a:cubicBezTo>
                    <a:pt x="1130144" y="1398774"/>
                    <a:pt x="1114366" y="1430791"/>
                    <a:pt x="1098587" y="1466811"/>
                  </a:cubicBezTo>
                  <a:cubicBezTo>
                    <a:pt x="1063085" y="1536850"/>
                    <a:pt x="1015749" y="1614893"/>
                    <a:pt x="968413" y="1680930"/>
                  </a:cubicBezTo>
                  <a:cubicBezTo>
                    <a:pt x="934884" y="1724954"/>
                    <a:pt x="903326" y="1760974"/>
                    <a:pt x="871769" y="1786988"/>
                  </a:cubicBezTo>
                  <a:cubicBezTo>
                    <a:pt x="854018" y="1800996"/>
                    <a:pt x="836267" y="1813003"/>
                    <a:pt x="814572" y="1817005"/>
                  </a:cubicBezTo>
                  <a:cubicBezTo>
                    <a:pt x="810627" y="1819006"/>
                    <a:pt x="806682" y="1819006"/>
                    <a:pt x="802738" y="1819006"/>
                  </a:cubicBezTo>
                  <a:cubicBezTo>
                    <a:pt x="790904" y="1819006"/>
                    <a:pt x="779070" y="1815004"/>
                    <a:pt x="769208" y="1809001"/>
                  </a:cubicBezTo>
                  <a:cubicBezTo>
                    <a:pt x="759346" y="1802997"/>
                    <a:pt x="751457" y="1794993"/>
                    <a:pt x="743568" y="1786988"/>
                  </a:cubicBezTo>
                  <a:cubicBezTo>
                    <a:pt x="729761" y="1770980"/>
                    <a:pt x="715955" y="1750969"/>
                    <a:pt x="702149" y="1724954"/>
                  </a:cubicBezTo>
                  <a:cubicBezTo>
                    <a:pt x="678481" y="1676928"/>
                    <a:pt x="654813" y="1610891"/>
                    <a:pt x="633117" y="1540852"/>
                  </a:cubicBezTo>
                  <a:cubicBezTo>
                    <a:pt x="589726" y="1400775"/>
                    <a:pt x="554224" y="1242687"/>
                    <a:pt x="540418" y="1154639"/>
                  </a:cubicBezTo>
                  <a:cubicBezTo>
                    <a:pt x="538446" y="1141631"/>
                    <a:pt x="536966" y="1130625"/>
                    <a:pt x="535980" y="1120870"/>
                  </a:cubicBezTo>
                  <a:lnTo>
                    <a:pt x="534714" y="1098391"/>
                  </a:lnTo>
                  <a:lnTo>
                    <a:pt x="534614" y="1096607"/>
                  </a:lnTo>
                  <a:lnTo>
                    <a:pt x="534612" y="1096579"/>
                  </a:lnTo>
                  <a:lnTo>
                    <a:pt x="534501" y="1094606"/>
                  </a:lnTo>
                  <a:lnTo>
                    <a:pt x="534501" y="1096607"/>
                  </a:lnTo>
                  <a:lnTo>
                    <a:pt x="534501" y="1098608"/>
                  </a:lnTo>
                  <a:lnTo>
                    <a:pt x="532529" y="1094606"/>
                  </a:lnTo>
                  <a:cubicBezTo>
                    <a:pt x="530556" y="1090603"/>
                    <a:pt x="524639" y="1084600"/>
                    <a:pt x="516750" y="1078597"/>
                  </a:cubicBezTo>
                  <a:cubicBezTo>
                    <a:pt x="498999" y="1066590"/>
                    <a:pt x="473359" y="1052582"/>
                    <a:pt x="441802" y="1036573"/>
                  </a:cubicBezTo>
                  <a:cubicBezTo>
                    <a:pt x="378687" y="1008558"/>
                    <a:pt x="295849" y="976540"/>
                    <a:pt x="222873" y="948525"/>
                  </a:cubicBezTo>
                  <a:cubicBezTo>
                    <a:pt x="175537" y="928514"/>
                    <a:pt x="130174" y="912505"/>
                    <a:pt x="98617" y="894495"/>
                  </a:cubicBezTo>
                  <a:cubicBezTo>
                    <a:pt x="78893" y="884489"/>
                    <a:pt x="63115" y="876485"/>
                    <a:pt x="51281" y="862477"/>
                  </a:cubicBezTo>
                  <a:cubicBezTo>
                    <a:pt x="31558" y="842466"/>
                    <a:pt x="19724" y="814451"/>
                    <a:pt x="11834" y="780432"/>
                  </a:cubicBezTo>
                  <a:cubicBezTo>
                    <a:pt x="3945" y="746413"/>
                    <a:pt x="0" y="704390"/>
                    <a:pt x="0" y="658364"/>
                  </a:cubicBezTo>
                  <a:cubicBezTo>
                    <a:pt x="0" y="526291"/>
                    <a:pt x="33530" y="348193"/>
                    <a:pt x="116368" y="170094"/>
                  </a:cubicBezTo>
                  <a:cubicBezTo>
                    <a:pt x="145953" y="106059"/>
                    <a:pt x="191316" y="62034"/>
                    <a:pt x="244569" y="36020"/>
                  </a:cubicBezTo>
                  <a:cubicBezTo>
                    <a:pt x="297822" y="8005"/>
                    <a:pt x="356992" y="0"/>
                    <a:pt x="416162" y="0"/>
                  </a:cubicBez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Shape 2988">
              <a:extLst>
                <a:ext uri="{FF2B5EF4-FFF2-40B4-BE49-F238E27FC236}">
                  <a16:creationId xmlns:a16="http://schemas.microsoft.com/office/drawing/2014/main" id="{1A27C771-C3C4-F9BB-9B1C-B140129A5C15}"/>
                </a:ext>
              </a:extLst>
            </p:cNvPr>
            <p:cNvSpPr>
              <a:spLocks/>
            </p:cNvSpPr>
            <p:nvPr/>
          </p:nvSpPr>
          <p:spPr bwMode="auto">
            <a:xfrm>
              <a:off x="6120481" y="3131711"/>
              <a:ext cx="1156152" cy="1449038"/>
            </a:xfrm>
            <a:custGeom>
              <a:avLst/>
              <a:gdLst>
                <a:gd name="connsiteX0" fmla="*/ 754794 w 1156152"/>
                <a:gd name="connsiteY0" fmla="*/ 0 h 1449038"/>
                <a:gd name="connsiteX1" fmla="*/ 786743 w 1156152"/>
                <a:gd name="connsiteY1" fmla="*/ 7973 h 1449038"/>
                <a:gd name="connsiteX2" fmla="*/ 808708 w 1156152"/>
                <a:gd name="connsiteY2" fmla="*/ 19932 h 1449038"/>
                <a:gd name="connsiteX3" fmla="*/ 804714 w 1156152"/>
                <a:gd name="connsiteY3" fmla="*/ 45843 h 1449038"/>
                <a:gd name="connsiteX4" fmla="*/ 802717 w 1156152"/>
                <a:gd name="connsiteY4" fmla="*/ 49829 h 1449038"/>
                <a:gd name="connsiteX5" fmla="*/ 800720 w 1156152"/>
                <a:gd name="connsiteY5" fmla="*/ 61789 h 1449038"/>
                <a:gd name="connsiteX6" fmla="*/ 792733 w 1156152"/>
                <a:gd name="connsiteY6" fmla="*/ 101652 h 1449038"/>
                <a:gd name="connsiteX7" fmla="*/ 782749 w 1156152"/>
                <a:gd name="connsiteY7" fmla="*/ 209283 h 1449038"/>
                <a:gd name="connsiteX8" fmla="*/ 783997 w 1156152"/>
                <a:gd name="connsiteY8" fmla="*/ 235444 h 1449038"/>
                <a:gd name="connsiteX9" fmla="*/ 786672 w 1156152"/>
                <a:gd name="connsiteY9" fmla="*/ 250738 h 1449038"/>
                <a:gd name="connsiteX10" fmla="*/ 782749 w 1156152"/>
                <a:gd name="connsiteY10" fmla="*/ 251140 h 1449038"/>
                <a:gd name="connsiteX11" fmla="*/ 784746 w 1156152"/>
                <a:gd name="connsiteY11" fmla="*/ 253133 h 1449038"/>
                <a:gd name="connsiteX12" fmla="*/ 788739 w 1156152"/>
                <a:gd name="connsiteY12" fmla="*/ 255126 h 1449038"/>
                <a:gd name="connsiteX13" fmla="*/ 786743 w 1156152"/>
                <a:gd name="connsiteY13" fmla="*/ 251140 h 1449038"/>
                <a:gd name="connsiteX14" fmla="*/ 786672 w 1156152"/>
                <a:gd name="connsiteY14" fmla="*/ 250738 h 1449038"/>
                <a:gd name="connsiteX15" fmla="*/ 792484 w 1156152"/>
                <a:gd name="connsiteY15" fmla="*/ 250144 h 1449038"/>
                <a:gd name="connsiteX16" fmla="*/ 812701 w 1156152"/>
                <a:gd name="connsiteY16" fmla="*/ 243167 h 1449038"/>
                <a:gd name="connsiteX17" fmla="*/ 866615 w 1156152"/>
                <a:gd name="connsiteY17" fmla="*/ 221243 h 1449038"/>
                <a:gd name="connsiteX18" fmla="*/ 1004395 w 1156152"/>
                <a:gd name="connsiteY18" fmla="*/ 183372 h 1449038"/>
                <a:gd name="connsiteX19" fmla="*/ 1082270 w 1156152"/>
                <a:gd name="connsiteY19" fmla="*/ 207290 h 1449038"/>
                <a:gd name="connsiteX20" fmla="*/ 1138181 w 1156152"/>
                <a:gd name="connsiteY20" fmla="*/ 283031 h 1449038"/>
                <a:gd name="connsiteX21" fmla="*/ 1156152 w 1156152"/>
                <a:gd name="connsiteY21" fmla="*/ 382690 h 1449038"/>
                <a:gd name="connsiteX22" fmla="*/ 1130194 w 1156152"/>
                <a:gd name="connsiteY22" fmla="*/ 500287 h 1449038"/>
                <a:gd name="connsiteX23" fmla="*/ 1062302 w 1156152"/>
                <a:gd name="connsiteY23" fmla="*/ 613898 h 1449038"/>
                <a:gd name="connsiteX24" fmla="*/ 830672 w 1156152"/>
                <a:gd name="connsiteY24" fmla="*/ 857065 h 1449038"/>
                <a:gd name="connsiteX25" fmla="*/ 650960 w 1156152"/>
                <a:gd name="connsiteY25" fmla="*/ 1022499 h 1449038"/>
                <a:gd name="connsiteX26" fmla="*/ 495209 w 1156152"/>
                <a:gd name="connsiteY26" fmla="*/ 1130130 h 1449038"/>
                <a:gd name="connsiteX27" fmla="*/ 395368 w 1156152"/>
                <a:gd name="connsiteY27" fmla="*/ 1156042 h 1449038"/>
                <a:gd name="connsiteX28" fmla="*/ 344699 w 1156152"/>
                <a:gd name="connsiteY28" fmla="*/ 1148567 h 1449038"/>
                <a:gd name="connsiteX29" fmla="*/ 302765 w 1156152"/>
                <a:gd name="connsiteY29" fmla="*/ 1129445 h 1449038"/>
                <a:gd name="connsiteX30" fmla="*/ 301518 w 1156152"/>
                <a:gd name="connsiteY30" fmla="*/ 1118171 h 1449038"/>
                <a:gd name="connsiteX31" fmla="*/ 301518 w 1156152"/>
                <a:gd name="connsiteY31" fmla="*/ 1112192 h 1449038"/>
                <a:gd name="connsiteX32" fmla="*/ 301518 w 1156152"/>
                <a:gd name="connsiteY32" fmla="*/ 1110198 h 1449038"/>
                <a:gd name="connsiteX33" fmla="*/ 295528 w 1156152"/>
                <a:gd name="connsiteY33" fmla="*/ 1116178 h 1449038"/>
                <a:gd name="connsiteX34" fmla="*/ 285544 w 1156152"/>
                <a:gd name="connsiteY34" fmla="*/ 1120164 h 1449038"/>
                <a:gd name="connsiteX35" fmla="*/ 295528 w 1156152"/>
                <a:gd name="connsiteY35" fmla="*/ 1126144 h 1449038"/>
                <a:gd name="connsiteX36" fmla="*/ 302765 w 1156152"/>
                <a:gd name="connsiteY36" fmla="*/ 1129445 h 1449038"/>
                <a:gd name="connsiteX37" fmla="*/ 305762 w 1156152"/>
                <a:gd name="connsiteY37" fmla="*/ 1156540 h 1449038"/>
                <a:gd name="connsiteX38" fmla="*/ 317493 w 1156152"/>
                <a:gd name="connsiteY38" fmla="*/ 1209857 h 1449038"/>
                <a:gd name="connsiteX39" fmla="*/ 347445 w 1156152"/>
                <a:gd name="connsiteY39" fmla="*/ 1325461 h 1449038"/>
                <a:gd name="connsiteX40" fmla="*/ 357429 w 1156152"/>
                <a:gd name="connsiteY40" fmla="*/ 1389243 h 1449038"/>
                <a:gd name="connsiteX41" fmla="*/ 353435 w 1156152"/>
                <a:gd name="connsiteY41" fmla="*/ 1415154 h 1449038"/>
                <a:gd name="connsiteX42" fmla="*/ 333467 w 1156152"/>
                <a:gd name="connsiteY42" fmla="*/ 1441065 h 1449038"/>
                <a:gd name="connsiteX43" fmla="*/ 309506 w 1156152"/>
                <a:gd name="connsiteY43" fmla="*/ 1449038 h 1449038"/>
                <a:gd name="connsiteX44" fmla="*/ 291534 w 1156152"/>
                <a:gd name="connsiteY44" fmla="*/ 1445052 h 1449038"/>
                <a:gd name="connsiteX45" fmla="*/ 251598 w 1156152"/>
                <a:gd name="connsiteY45" fmla="*/ 1421134 h 1449038"/>
                <a:gd name="connsiteX46" fmla="*/ 207668 w 1156152"/>
                <a:gd name="connsiteY46" fmla="*/ 1383263 h 1449038"/>
                <a:gd name="connsiteX47" fmla="*/ 113818 w 1156152"/>
                <a:gd name="connsiteY47" fmla="*/ 1265666 h 1449038"/>
                <a:gd name="connsiteX48" fmla="*/ 0 w 1156152"/>
                <a:gd name="connsiteY48" fmla="*/ 930813 h 1449038"/>
                <a:gd name="connsiteX49" fmla="*/ 21965 w 1156152"/>
                <a:gd name="connsiteY49" fmla="*/ 805243 h 1449038"/>
                <a:gd name="connsiteX50" fmla="*/ 231630 w 1156152"/>
                <a:gd name="connsiteY50" fmla="*/ 448464 h 1449038"/>
                <a:gd name="connsiteX51" fmla="*/ 347939 w 1156152"/>
                <a:gd name="connsiteY51" fmla="*/ 310521 h 1449038"/>
                <a:gd name="connsiteX52" fmla="*/ 376795 w 1156152"/>
                <a:gd name="connsiteY52" fmla="*/ 354949 h 1449038"/>
                <a:gd name="connsiteX53" fmla="*/ 385910 w 1156152"/>
                <a:gd name="connsiteY53" fmla="*/ 367820 h 1449038"/>
                <a:gd name="connsiteX54" fmla="*/ 321143 w 1156152"/>
                <a:gd name="connsiteY54" fmla="*/ 441208 h 1449038"/>
                <a:gd name="connsiteX55" fmla="*/ 83866 w 1156152"/>
                <a:gd name="connsiteY55" fmla="*/ 827168 h 1449038"/>
                <a:gd name="connsiteX56" fmla="*/ 67892 w 1156152"/>
                <a:gd name="connsiteY56" fmla="*/ 930813 h 1449038"/>
                <a:gd name="connsiteX57" fmla="*/ 117812 w 1156152"/>
                <a:gd name="connsiteY57" fmla="*/ 1134117 h 1449038"/>
                <a:gd name="connsiteX58" fmla="*/ 223643 w 1156152"/>
                <a:gd name="connsiteY58" fmla="*/ 1301543 h 1449038"/>
                <a:gd name="connsiteX59" fmla="*/ 259086 w 1156152"/>
                <a:gd name="connsiteY59" fmla="*/ 1341407 h 1449038"/>
                <a:gd name="connsiteX60" fmla="*/ 286698 w 1156152"/>
                <a:gd name="connsiteY60" fmla="*/ 1365152 h 1449038"/>
                <a:gd name="connsiteX61" fmla="*/ 289537 w 1156152"/>
                <a:gd name="connsiteY61" fmla="*/ 1389243 h 1449038"/>
                <a:gd name="connsiteX62" fmla="*/ 289537 w 1156152"/>
                <a:gd name="connsiteY62" fmla="*/ 1395222 h 1449038"/>
                <a:gd name="connsiteX63" fmla="*/ 295528 w 1156152"/>
                <a:gd name="connsiteY63" fmla="*/ 1387250 h 1449038"/>
                <a:gd name="connsiteX64" fmla="*/ 309506 w 1156152"/>
                <a:gd name="connsiteY64" fmla="*/ 1381270 h 1449038"/>
                <a:gd name="connsiteX65" fmla="*/ 313499 w 1156152"/>
                <a:gd name="connsiteY65" fmla="*/ 1381270 h 1449038"/>
                <a:gd name="connsiteX66" fmla="*/ 291534 w 1156152"/>
                <a:gd name="connsiteY66" fmla="*/ 1369311 h 1449038"/>
                <a:gd name="connsiteX67" fmla="*/ 286698 w 1156152"/>
                <a:gd name="connsiteY67" fmla="*/ 1365152 h 1449038"/>
                <a:gd name="connsiteX68" fmla="*/ 285544 w 1156152"/>
                <a:gd name="connsiteY68" fmla="*/ 1355359 h 1449038"/>
                <a:gd name="connsiteX69" fmla="*/ 273563 w 1156152"/>
                <a:gd name="connsiteY69" fmla="*/ 1303536 h 1449038"/>
                <a:gd name="connsiteX70" fmla="*/ 243611 w 1156152"/>
                <a:gd name="connsiteY70" fmla="*/ 1187932 h 1449038"/>
                <a:gd name="connsiteX71" fmla="*/ 233627 w 1156152"/>
                <a:gd name="connsiteY71" fmla="*/ 1118171 h 1449038"/>
                <a:gd name="connsiteX72" fmla="*/ 237620 w 1156152"/>
                <a:gd name="connsiteY72" fmla="*/ 1090267 h 1449038"/>
                <a:gd name="connsiteX73" fmla="*/ 259585 w 1156152"/>
                <a:gd name="connsiteY73" fmla="*/ 1060369 h 1449038"/>
                <a:gd name="connsiteX74" fmla="*/ 285544 w 1156152"/>
                <a:gd name="connsiteY74" fmla="*/ 1054390 h 1449038"/>
                <a:gd name="connsiteX75" fmla="*/ 331470 w 1156152"/>
                <a:gd name="connsiteY75" fmla="*/ 1070335 h 1449038"/>
                <a:gd name="connsiteX76" fmla="*/ 395368 w 1156152"/>
                <a:gd name="connsiteY76" fmla="*/ 1088274 h 1449038"/>
                <a:gd name="connsiteX77" fmla="*/ 467253 w 1156152"/>
                <a:gd name="connsiteY77" fmla="*/ 1070335 h 1449038"/>
                <a:gd name="connsiteX78" fmla="*/ 557110 w 1156152"/>
                <a:gd name="connsiteY78" fmla="*/ 1014526 h 1449038"/>
                <a:gd name="connsiteX79" fmla="*/ 784746 w 1156152"/>
                <a:gd name="connsiteY79" fmla="*/ 807236 h 1449038"/>
                <a:gd name="connsiteX80" fmla="*/ 964459 w 1156152"/>
                <a:gd name="connsiteY80" fmla="*/ 627850 h 1449038"/>
                <a:gd name="connsiteX81" fmla="*/ 1070289 w 1156152"/>
                <a:gd name="connsiteY81" fmla="*/ 474376 h 1449038"/>
                <a:gd name="connsiteX82" fmla="*/ 1090258 w 1156152"/>
                <a:gd name="connsiteY82" fmla="*/ 382690 h 1449038"/>
                <a:gd name="connsiteX83" fmla="*/ 1076280 w 1156152"/>
                <a:gd name="connsiteY83" fmla="*/ 306949 h 1449038"/>
                <a:gd name="connsiteX84" fmla="*/ 1044331 w 1156152"/>
                <a:gd name="connsiteY84" fmla="*/ 261106 h 1449038"/>
                <a:gd name="connsiteX85" fmla="*/ 1004395 w 1156152"/>
                <a:gd name="connsiteY85" fmla="*/ 251140 h 1449038"/>
                <a:gd name="connsiteX86" fmla="*/ 922526 w 1156152"/>
                <a:gd name="connsiteY86" fmla="*/ 269079 h 1449038"/>
                <a:gd name="connsiteX87" fmla="*/ 836663 w 1156152"/>
                <a:gd name="connsiteY87" fmla="*/ 304956 h 1449038"/>
                <a:gd name="connsiteX88" fmla="*/ 782749 w 1156152"/>
                <a:gd name="connsiteY88" fmla="*/ 318908 h 1449038"/>
                <a:gd name="connsiteX89" fmla="*/ 764778 w 1156152"/>
                <a:gd name="connsiteY89" fmla="*/ 316915 h 1449038"/>
                <a:gd name="connsiteX90" fmla="*/ 736822 w 1156152"/>
                <a:gd name="connsiteY90" fmla="*/ 294990 h 1449038"/>
                <a:gd name="connsiteX91" fmla="*/ 722845 w 1156152"/>
                <a:gd name="connsiteY91" fmla="*/ 269079 h 1449038"/>
                <a:gd name="connsiteX92" fmla="*/ 714858 w 1156152"/>
                <a:gd name="connsiteY92" fmla="*/ 209283 h 1449038"/>
                <a:gd name="connsiteX93" fmla="*/ 726838 w 1156152"/>
                <a:gd name="connsiteY93" fmla="*/ 89693 h 1449038"/>
                <a:gd name="connsiteX94" fmla="*/ 729730 w 1156152"/>
                <a:gd name="connsiteY94" fmla="*/ 74737 h 1449038"/>
                <a:gd name="connsiteX95" fmla="*/ 737821 w 1156152"/>
                <a:gd name="connsiteY95" fmla="*/ 71256 h 1449038"/>
                <a:gd name="connsiteX96" fmla="*/ 754794 w 1156152"/>
                <a:gd name="connsiteY96" fmla="*/ 67768 h 1449038"/>
                <a:gd name="connsiteX97" fmla="*/ 756791 w 1156152"/>
                <a:gd name="connsiteY97" fmla="*/ 67768 h 1449038"/>
                <a:gd name="connsiteX98" fmla="*/ 770768 w 1156152"/>
                <a:gd name="connsiteY98" fmla="*/ 37870 h 1449038"/>
                <a:gd name="connsiteX99" fmla="*/ 738819 w 1156152"/>
                <a:gd name="connsiteY99" fmla="*/ 29898 h 1449038"/>
                <a:gd name="connsiteX100" fmla="*/ 735075 w 1156152"/>
                <a:gd name="connsiteY100" fmla="*/ 47089 h 1449038"/>
                <a:gd name="connsiteX101" fmla="*/ 729730 w 1156152"/>
                <a:gd name="connsiteY101" fmla="*/ 74737 h 1449038"/>
                <a:gd name="connsiteX102" fmla="*/ 708867 w 1156152"/>
                <a:gd name="connsiteY102" fmla="*/ 83713 h 1449038"/>
                <a:gd name="connsiteX103" fmla="*/ 705867 w 1156152"/>
                <a:gd name="connsiteY103" fmla="*/ 85454 h 1449038"/>
                <a:gd name="connsiteX104" fmla="*/ 704539 w 1156152"/>
                <a:gd name="connsiteY104" fmla="*/ 73305 h 1449038"/>
                <a:gd name="connsiteX105" fmla="*/ 691434 w 1156152"/>
                <a:gd name="connsiteY105" fmla="*/ 34324 h 1449038"/>
                <a:gd name="connsiteX106" fmla="*/ 684324 w 1156152"/>
                <a:gd name="connsiteY106" fmla="*/ 22213 h 144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56152" h="1449038">
                  <a:moveTo>
                    <a:pt x="754794" y="0"/>
                  </a:moveTo>
                  <a:cubicBezTo>
                    <a:pt x="764778" y="0"/>
                    <a:pt x="776759" y="1993"/>
                    <a:pt x="786743" y="7973"/>
                  </a:cubicBezTo>
                  <a:lnTo>
                    <a:pt x="808708" y="19932"/>
                  </a:lnTo>
                  <a:lnTo>
                    <a:pt x="804714" y="45843"/>
                  </a:lnTo>
                  <a:lnTo>
                    <a:pt x="802717" y="49829"/>
                  </a:lnTo>
                  <a:cubicBezTo>
                    <a:pt x="802717" y="51823"/>
                    <a:pt x="800720" y="55809"/>
                    <a:pt x="800720" y="61789"/>
                  </a:cubicBezTo>
                  <a:cubicBezTo>
                    <a:pt x="798724" y="71754"/>
                    <a:pt x="796727" y="85707"/>
                    <a:pt x="792733" y="101652"/>
                  </a:cubicBezTo>
                  <a:cubicBezTo>
                    <a:pt x="786743" y="133543"/>
                    <a:pt x="782749" y="175400"/>
                    <a:pt x="782749" y="209283"/>
                  </a:cubicBezTo>
                  <a:cubicBezTo>
                    <a:pt x="782749" y="219249"/>
                    <a:pt x="783248" y="228219"/>
                    <a:pt x="783997" y="235444"/>
                  </a:cubicBezTo>
                  <a:lnTo>
                    <a:pt x="786672" y="250738"/>
                  </a:lnTo>
                  <a:lnTo>
                    <a:pt x="782749" y="251140"/>
                  </a:lnTo>
                  <a:lnTo>
                    <a:pt x="784746" y="253133"/>
                  </a:lnTo>
                  <a:lnTo>
                    <a:pt x="788739" y="255126"/>
                  </a:lnTo>
                  <a:lnTo>
                    <a:pt x="786743" y="251140"/>
                  </a:lnTo>
                  <a:lnTo>
                    <a:pt x="786672" y="250738"/>
                  </a:lnTo>
                  <a:lnTo>
                    <a:pt x="792484" y="250144"/>
                  </a:lnTo>
                  <a:cubicBezTo>
                    <a:pt x="797725" y="248649"/>
                    <a:pt x="804714" y="246157"/>
                    <a:pt x="812701" y="243167"/>
                  </a:cubicBezTo>
                  <a:cubicBezTo>
                    <a:pt x="826679" y="237188"/>
                    <a:pt x="846647" y="229215"/>
                    <a:pt x="866615" y="221243"/>
                  </a:cubicBezTo>
                  <a:cubicBezTo>
                    <a:pt x="906551" y="203304"/>
                    <a:pt x="954475" y="183372"/>
                    <a:pt x="1004395" y="183372"/>
                  </a:cubicBezTo>
                  <a:cubicBezTo>
                    <a:pt x="1030353" y="183372"/>
                    <a:pt x="1058309" y="189352"/>
                    <a:pt x="1082270" y="207290"/>
                  </a:cubicBezTo>
                  <a:cubicBezTo>
                    <a:pt x="1106232" y="223236"/>
                    <a:pt x="1126200" y="249147"/>
                    <a:pt x="1138181" y="283031"/>
                  </a:cubicBezTo>
                  <a:cubicBezTo>
                    <a:pt x="1150162" y="316915"/>
                    <a:pt x="1156152" y="348806"/>
                    <a:pt x="1156152" y="382690"/>
                  </a:cubicBezTo>
                  <a:cubicBezTo>
                    <a:pt x="1156152" y="422553"/>
                    <a:pt x="1148165" y="462417"/>
                    <a:pt x="1130194" y="500287"/>
                  </a:cubicBezTo>
                  <a:cubicBezTo>
                    <a:pt x="1114219" y="538157"/>
                    <a:pt x="1090258" y="576028"/>
                    <a:pt x="1062302" y="613898"/>
                  </a:cubicBezTo>
                  <a:cubicBezTo>
                    <a:pt x="1002398" y="689639"/>
                    <a:pt x="922526" y="769366"/>
                    <a:pt x="830672" y="857065"/>
                  </a:cubicBezTo>
                  <a:cubicBezTo>
                    <a:pt x="764778" y="918854"/>
                    <a:pt x="704874" y="976656"/>
                    <a:pt x="650960" y="1022499"/>
                  </a:cubicBezTo>
                  <a:cubicBezTo>
                    <a:pt x="595049" y="1070335"/>
                    <a:pt x="545129" y="1108205"/>
                    <a:pt x="495209" y="1130130"/>
                  </a:cubicBezTo>
                  <a:cubicBezTo>
                    <a:pt x="463260" y="1146076"/>
                    <a:pt x="429314" y="1156042"/>
                    <a:pt x="395368" y="1156042"/>
                  </a:cubicBezTo>
                  <a:cubicBezTo>
                    <a:pt x="378396" y="1156042"/>
                    <a:pt x="361423" y="1153550"/>
                    <a:pt x="344699" y="1148567"/>
                  </a:cubicBezTo>
                  <a:lnTo>
                    <a:pt x="302765" y="1129445"/>
                  </a:lnTo>
                  <a:lnTo>
                    <a:pt x="301518" y="1118171"/>
                  </a:lnTo>
                  <a:cubicBezTo>
                    <a:pt x="301518" y="1116178"/>
                    <a:pt x="301518" y="1112192"/>
                    <a:pt x="301518" y="1112192"/>
                  </a:cubicBezTo>
                  <a:lnTo>
                    <a:pt x="301518" y="1110198"/>
                  </a:lnTo>
                  <a:cubicBezTo>
                    <a:pt x="301518" y="1110198"/>
                    <a:pt x="299521" y="1114185"/>
                    <a:pt x="295528" y="1116178"/>
                  </a:cubicBezTo>
                  <a:cubicBezTo>
                    <a:pt x="293531" y="1120164"/>
                    <a:pt x="287541" y="1120164"/>
                    <a:pt x="285544" y="1120164"/>
                  </a:cubicBezTo>
                  <a:cubicBezTo>
                    <a:pt x="285544" y="1120164"/>
                    <a:pt x="289537" y="1122158"/>
                    <a:pt x="295528" y="1126144"/>
                  </a:cubicBezTo>
                  <a:lnTo>
                    <a:pt x="302765" y="1129445"/>
                  </a:lnTo>
                  <a:lnTo>
                    <a:pt x="305762" y="1156540"/>
                  </a:lnTo>
                  <a:cubicBezTo>
                    <a:pt x="308507" y="1172485"/>
                    <a:pt x="312501" y="1190922"/>
                    <a:pt x="317493" y="1209857"/>
                  </a:cubicBezTo>
                  <a:cubicBezTo>
                    <a:pt x="327477" y="1247728"/>
                    <a:pt x="339458" y="1289584"/>
                    <a:pt x="347445" y="1325461"/>
                  </a:cubicBezTo>
                  <a:cubicBezTo>
                    <a:pt x="353435" y="1349379"/>
                    <a:pt x="357429" y="1371304"/>
                    <a:pt x="357429" y="1389243"/>
                  </a:cubicBezTo>
                  <a:cubicBezTo>
                    <a:pt x="357429" y="1397216"/>
                    <a:pt x="355432" y="1405188"/>
                    <a:pt x="353435" y="1415154"/>
                  </a:cubicBezTo>
                  <a:cubicBezTo>
                    <a:pt x="351438" y="1423127"/>
                    <a:pt x="345448" y="1433093"/>
                    <a:pt x="333467" y="1441065"/>
                  </a:cubicBezTo>
                  <a:cubicBezTo>
                    <a:pt x="327477" y="1445052"/>
                    <a:pt x="317493" y="1449038"/>
                    <a:pt x="309506" y="1449038"/>
                  </a:cubicBezTo>
                  <a:cubicBezTo>
                    <a:pt x="303515" y="1449038"/>
                    <a:pt x="297525" y="1447045"/>
                    <a:pt x="291534" y="1445052"/>
                  </a:cubicBezTo>
                  <a:cubicBezTo>
                    <a:pt x="277557" y="1439072"/>
                    <a:pt x="265576" y="1433093"/>
                    <a:pt x="251598" y="1421134"/>
                  </a:cubicBezTo>
                  <a:cubicBezTo>
                    <a:pt x="237620" y="1411168"/>
                    <a:pt x="221646" y="1399209"/>
                    <a:pt x="207668" y="1383263"/>
                  </a:cubicBezTo>
                  <a:cubicBezTo>
                    <a:pt x="177716" y="1353366"/>
                    <a:pt x="143770" y="1313502"/>
                    <a:pt x="113818" y="1265666"/>
                  </a:cubicBezTo>
                  <a:cubicBezTo>
                    <a:pt x="53914" y="1171987"/>
                    <a:pt x="0" y="1052396"/>
                    <a:pt x="0" y="930813"/>
                  </a:cubicBezTo>
                  <a:cubicBezTo>
                    <a:pt x="0" y="888956"/>
                    <a:pt x="5991" y="845106"/>
                    <a:pt x="21965" y="805243"/>
                  </a:cubicBezTo>
                  <a:cubicBezTo>
                    <a:pt x="63898" y="689639"/>
                    <a:pt x="141774" y="564069"/>
                    <a:pt x="231630" y="448464"/>
                  </a:cubicBezTo>
                  <a:lnTo>
                    <a:pt x="347939" y="310521"/>
                  </a:lnTo>
                  <a:lnTo>
                    <a:pt x="376795" y="354949"/>
                  </a:lnTo>
                  <a:lnTo>
                    <a:pt x="385910" y="367820"/>
                  </a:lnTo>
                  <a:lnTo>
                    <a:pt x="321143" y="441208"/>
                  </a:lnTo>
                  <a:cubicBezTo>
                    <a:pt x="217902" y="567058"/>
                    <a:pt x="127297" y="706082"/>
                    <a:pt x="83866" y="827168"/>
                  </a:cubicBezTo>
                  <a:cubicBezTo>
                    <a:pt x="71885" y="861052"/>
                    <a:pt x="67892" y="894936"/>
                    <a:pt x="67892" y="930813"/>
                  </a:cubicBezTo>
                  <a:cubicBezTo>
                    <a:pt x="67892" y="998581"/>
                    <a:pt x="85863" y="1068342"/>
                    <a:pt x="117812" y="1134117"/>
                  </a:cubicBezTo>
                  <a:cubicBezTo>
                    <a:pt x="145767" y="1197898"/>
                    <a:pt x="185703" y="1257693"/>
                    <a:pt x="223643" y="1301543"/>
                  </a:cubicBezTo>
                  <a:cubicBezTo>
                    <a:pt x="235624" y="1316492"/>
                    <a:pt x="247604" y="1329946"/>
                    <a:pt x="259086" y="1341407"/>
                  </a:cubicBezTo>
                  <a:lnTo>
                    <a:pt x="286698" y="1365152"/>
                  </a:lnTo>
                  <a:lnTo>
                    <a:pt x="289537" y="1389243"/>
                  </a:lnTo>
                  <a:lnTo>
                    <a:pt x="289537" y="1395222"/>
                  </a:lnTo>
                  <a:cubicBezTo>
                    <a:pt x="289537" y="1395222"/>
                    <a:pt x="291534" y="1391236"/>
                    <a:pt x="295528" y="1387250"/>
                  </a:cubicBezTo>
                  <a:cubicBezTo>
                    <a:pt x="299521" y="1383263"/>
                    <a:pt x="305512" y="1381270"/>
                    <a:pt x="309506" y="1381270"/>
                  </a:cubicBezTo>
                  <a:lnTo>
                    <a:pt x="313499" y="1381270"/>
                  </a:lnTo>
                  <a:cubicBezTo>
                    <a:pt x="309506" y="1381270"/>
                    <a:pt x="301518" y="1377284"/>
                    <a:pt x="291534" y="1369311"/>
                  </a:cubicBezTo>
                  <a:lnTo>
                    <a:pt x="286698" y="1365152"/>
                  </a:lnTo>
                  <a:lnTo>
                    <a:pt x="285544" y="1355359"/>
                  </a:lnTo>
                  <a:cubicBezTo>
                    <a:pt x="283547" y="1341407"/>
                    <a:pt x="279553" y="1323468"/>
                    <a:pt x="273563" y="1303536"/>
                  </a:cubicBezTo>
                  <a:cubicBezTo>
                    <a:pt x="263579" y="1267659"/>
                    <a:pt x="251598" y="1225803"/>
                    <a:pt x="243611" y="1187932"/>
                  </a:cubicBezTo>
                  <a:cubicBezTo>
                    <a:pt x="237620" y="1162021"/>
                    <a:pt x="233627" y="1140096"/>
                    <a:pt x="233627" y="1118171"/>
                  </a:cubicBezTo>
                  <a:cubicBezTo>
                    <a:pt x="233627" y="1110198"/>
                    <a:pt x="235624" y="1100233"/>
                    <a:pt x="237620" y="1090267"/>
                  </a:cubicBezTo>
                  <a:cubicBezTo>
                    <a:pt x="241614" y="1080301"/>
                    <a:pt x="247604" y="1068342"/>
                    <a:pt x="259585" y="1060369"/>
                  </a:cubicBezTo>
                  <a:cubicBezTo>
                    <a:pt x="267573" y="1056383"/>
                    <a:pt x="277557" y="1054390"/>
                    <a:pt x="285544" y="1054390"/>
                  </a:cubicBezTo>
                  <a:cubicBezTo>
                    <a:pt x="303515" y="1054390"/>
                    <a:pt x="317493" y="1060369"/>
                    <a:pt x="331470" y="1070335"/>
                  </a:cubicBezTo>
                  <a:cubicBezTo>
                    <a:pt x="353435" y="1084287"/>
                    <a:pt x="373403" y="1088274"/>
                    <a:pt x="395368" y="1088274"/>
                  </a:cubicBezTo>
                  <a:cubicBezTo>
                    <a:pt x="417333" y="1088274"/>
                    <a:pt x="441295" y="1082294"/>
                    <a:pt x="467253" y="1070335"/>
                  </a:cubicBezTo>
                  <a:cubicBezTo>
                    <a:pt x="495209" y="1058376"/>
                    <a:pt x="525161" y="1038444"/>
                    <a:pt x="557110" y="1014526"/>
                  </a:cubicBezTo>
                  <a:cubicBezTo>
                    <a:pt x="621008" y="964697"/>
                    <a:pt x="696886" y="892942"/>
                    <a:pt x="784746" y="807236"/>
                  </a:cubicBezTo>
                  <a:cubicBezTo>
                    <a:pt x="854634" y="741461"/>
                    <a:pt x="914538" y="683659"/>
                    <a:pt x="964459" y="627850"/>
                  </a:cubicBezTo>
                  <a:cubicBezTo>
                    <a:pt x="1012382" y="574034"/>
                    <a:pt x="1048325" y="522212"/>
                    <a:pt x="1070289" y="474376"/>
                  </a:cubicBezTo>
                  <a:cubicBezTo>
                    <a:pt x="1084267" y="442485"/>
                    <a:pt x="1090258" y="412587"/>
                    <a:pt x="1090258" y="382690"/>
                  </a:cubicBezTo>
                  <a:cubicBezTo>
                    <a:pt x="1090258" y="356778"/>
                    <a:pt x="1086264" y="332860"/>
                    <a:pt x="1076280" y="306949"/>
                  </a:cubicBezTo>
                  <a:cubicBezTo>
                    <a:pt x="1066296" y="283031"/>
                    <a:pt x="1056312" y="269079"/>
                    <a:pt x="1044331" y="261106"/>
                  </a:cubicBezTo>
                  <a:cubicBezTo>
                    <a:pt x="1034347" y="253133"/>
                    <a:pt x="1020369" y="251140"/>
                    <a:pt x="1004395" y="251140"/>
                  </a:cubicBezTo>
                  <a:cubicBezTo>
                    <a:pt x="980433" y="249147"/>
                    <a:pt x="950481" y="259113"/>
                    <a:pt x="922526" y="269079"/>
                  </a:cubicBezTo>
                  <a:cubicBezTo>
                    <a:pt x="892574" y="281038"/>
                    <a:pt x="862621" y="294990"/>
                    <a:pt x="836663" y="304956"/>
                  </a:cubicBezTo>
                  <a:cubicBezTo>
                    <a:pt x="818692" y="312929"/>
                    <a:pt x="802717" y="316915"/>
                    <a:pt x="782749" y="318908"/>
                  </a:cubicBezTo>
                  <a:cubicBezTo>
                    <a:pt x="776759" y="318908"/>
                    <a:pt x="770768" y="316915"/>
                    <a:pt x="764778" y="316915"/>
                  </a:cubicBezTo>
                  <a:cubicBezTo>
                    <a:pt x="752797" y="312929"/>
                    <a:pt x="742813" y="304956"/>
                    <a:pt x="736822" y="294990"/>
                  </a:cubicBezTo>
                  <a:cubicBezTo>
                    <a:pt x="728835" y="287017"/>
                    <a:pt x="724842" y="277051"/>
                    <a:pt x="722845" y="269079"/>
                  </a:cubicBezTo>
                  <a:cubicBezTo>
                    <a:pt x="716854" y="249147"/>
                    <a:pt x="714858" y="229215"/>
                    <a:pt x="714858" y="209283"/>
                  </a:cubicBezTo>
                  <a:cubicBezTo>
                    <a:pt x="714858" y="169420"/>
                    <a:pt x="722845" y="125570"/>
                    <a:pt x="726838" y="89693"/>
                  </a:cubicBezTo>
                  <a:lnTo>
                    <a:pt x="729730" y="74737"/>
                  </a:lnTo>
                  <a:lnTo>
                    <a:pt x="737821" y="71256"/>
                  </a:lnTo>
                  <a:cubicBezTo>
                    <a:pt x="745808" y="68765"/>
                    <a:pt x="751799" y="67768"/>
                    <a:pt x="754794" y="67768"/>
                  </a:cubicBezTo>
                  <a:lnTo>
                    <a:pt x="756791" y="67768"/>
                  </a:lnTo>
                  <a:lnTo>
                    <a:pt x="770768" y="37870"/>
                  </a:lnTo>
                  <a:lnTo>
                    <a:pt x="738819" y="29898"/>
                  </a:lnTo>
                  <a:cubicBezTo>
                    <a:pt x="738819" y="29898"/>
                    <a:pt x="737322" y="36376"/>
                    <a:pt x="735075" y="47089"/>
                  </a:cubicBezTo>
                  <a:lnTo>
                    <a:pt x="729730" y="74737"/>
                  </a:lnTo>
                  <a:lnTo>
                    <a:pt x="708867" y="83713"/>
                  </a:lnTo>
                  <a:lnTo>
                    <a:pt x="705867" y="85454"/>
                  </a:lnTo>
                  <a:lnTo>
                    <a:pt x="704539" y="73305"/>
                  </a:lnTo>
                  <a:cubicBezTo>
                    <a:pt x="701541" y="59786"/>
                    <a:pt x="697121" y="46746"/>
                    <a:pt x="691434" y="34324"/>
                  </a:cubicBezTo>
                  <a:lnTo>
                    <a:pt x="684324" y="22213"/>
                  </a:ln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Shape 2989">
              <a:extLst>
                <a:ext uri="{FF2B5EF4-FFF2-40B4-BE49-F238E27FC236}">
                  <a16:creationId xmlns:a16="http://schemas.microsoft.com/office/drawing/2014/main" id="{F6F3DB38-1C97-51A6-4030-575CA637D2ED}"/>
                </a:ext>
              </a:extLst>
            </p:cNvPr>
            <p:cNvSpPr>
              <a:spLocks/>
            </p:cNvSpPr>
            <p:nvPr/>
          </p:nvSpPr>
          <p:spPr bwMode="auto">
            <a:xfrm>
              <a:off x="6382546" y="4627001"/>
              <a:ext cx="1171563" cy="1294885"/>
            </a:xfrm>
            <a:custGeom>
              <a:avLst/>
              <a:gdLst>
                <a:gd name="connsiteX0" fmla="*/ 253042 w 1171563"/>
                <a:gd name="connsiteY0" fmla="*/ 0 h 1294885"/>
                <a:gd name="connsiteX1" fmla="*/ 500106 w 1171563"/>
                <a:gd name="connsiteY1" fmla="*/ 21780 h 1294885"/>
                <a:gd name="connsiteX2" fmla="*/ 611684 w 1171563"/>
                <a:gd name="connsiteY2" fmla="*/ 57419 h 1294885"/>
                <a:gd name="connsiteX3" fmla="*/ 709314 w 1171563"/>
                <a:gd name="connsiteY3" fmla="*/ 142556 h 1294885"/>
                <a:gd name="connsiteX4" fmla="*/ 730117 w 1171563"/>
                <a:gd name="connsiteY4" fmla="*/ 170025 h 1294885"/>
                <a:gd name="connsiteX5" fmla="*/ 713016 w 1171563"/>
                <a:gd name="connsiteY5" fmla="*/ 198649 h 1294885"/>
                <a:gd name="connsiteX6" fmla="*/ 700100 w 1171563"/>
                <a:gd name="connsiteY6" fmla="*/ 236386 h 1294885"/>
                <a:gd name="connsiteX7" fmla="*/ 650537 w 1171563"/>
                <a:gd name="connsiteY7" fmla="*/ 174483 h 1294885"/>
                <a:gd name="connsiteX8" fmla="*/ 577812 w 1171563"/>
                <a:gd name="connsiteY8" fmla="*/ 114837 h 1294885"/>
                <a:gd name="connsiteX9" fmla="*/ 498114 w 1171563"/>
                <a:gd name="connsiteY9" fmla="*/ 89098 h 1294885"/>
                <a:gd name="connsiteX10" fmla="*/ 253042 w 1171563"/>
                <a:gd name="connsiteY10" fmla="*/ 65338 h 1294885"/>
                <a:gd name="connsiteX11" fmla="*/ 201238 w 1171563"/>
                <a:gd name="connsiteY11" fmla="*/ 73258 h 1294885"/>
                <a:gd name="connsiteX12" fmla="*/ 159397 w 1171563"/>
                <a:gd name="connsiteY12" fmla="*/ 95038 h 1294885"/>
                <a:gd name="connsiteX13" fmla="*/ 89910 w 1171563"/>
                <a:gd name="connsiteY13" fmla="*/ 187755 h 1294885"/>
                <a:gd name="connsiteX14" fmla="*/ 70263 w 1171563"/>
                <a:gd name="connsiteY14" fmla="*/ 226686 h 1294885"/>
                <a:gd name="connsiteX15" fmla="*/ 69736 w 1171563"/>
                <a:gd name="connsiteY15" fmla="*/ 225714 h 1294885"/>
                <a:gd name="connsiteX16" fmla="*/ 65751 w 1171563"/>
                <a:gd name="connsiteY16" fmla="*/ 217794 h 1294885"/>
                <a:gd name="connsiteX17" fmla="*/ 67744 w 1171563"/>
                <a:gd name="connsiteY17" fmla="*/ 225714 h 1294885"/>
                <a:gd name="connsiteX18" fmla="*/ 43834 w 1171563"/>
                <a:gd name="connsiteY18" fmla="*/ 225714 h 1294885"/>
                <a:gd name="connsiteX19" fmla="*/ 33872 w 1171563"/>
                <a:gd name="connsiteY19" fmla="*/ 225714 h 1294885"/>
                <a:gd name="connsiteX20" fmla="*/ 63759 w 1171563"/>
                <a:gd name="connsiteY20" fmla="*/ 239574 h 1294885"/>
                <a:gd name="connsiteX21" fmla="*/ 70263 w 1171563"/>
                <a:gd name="connsiteY21" fmla="*/ 226686 h 1294885"/>
                <a:gd name="connsiteX22" fmla="*/ 83683 w 1171563"/>
                <a:gd name="connsiteY22" fmla="*/ 251453 h 1294885"/>
                <a:gd name="connsiteX23" fmla="*/ 135487 w 1171563"/>
                <a:gd name="connsiteY23" fmla="*/ 336591 h 1294885"/>
                <a:gd name="connsiteX24" fmla="*/ 259019 w 1171563"/>
                <a:gd name="connsiteY24" fmla="*/ 586064 h 1294885"/>
                <a:gd name="connsiteX25" fmla="*/ 296876 w 1171563"/>
                <a:gd name="connsiteY25" fmla="*/ 758320 h 1294885"/>
                <a:gd name="connsiteX26" fmla="*/ 292891 w 1171563"/>
                <a:gd name="connsiteY26" fmla="*/ 797919 h 1294885"/>
                <a:gd name="connsiteX27" fmla="*/ 280936 w 1171563"/>
                <a:gd name="connsiteY27" fmla="*/ 881076 h 1294885"/>
                <a:gd name="connsiteX28" fmla="*/ 282929 w 1171563"/>
                <a:gd name="connsiteY28" fmla="*/ 888996 h 1294885"/>
                <a:gd name="connsiteX29" fmla="*/ 282929 w 1171563"/>
                <a:gd name="connsiteY29" fmla="*/ 890976 h 1294885"/>
                <a:gd name="connsiteX30" fmla="*/ 314808 w 1171563"/>
                <a:gd name="connsiteY30" fmla="*/ 904836 h 1294885"/>
                <a:gd name="connsiteX31" fmla="*/ 528001 w 1171563"/>
                <a:gd name="connsiteY31" fmla="*/ 1005813 h 1294885"/>
                <a:gd name="connsiteX32" fmla="*/ 938446 w 1171563"/>
                <a:gd name="connsiteY32" fmla="*/ 1209747 h 1294885"/>
                <a:gd name="connsiteX33" fmla="*/ 1044046 w 1171563"/>
                <a:gd name="connsiteY33" fmla="*/ 1229547 h 1294885"/>
                <a:gd name="connsiteX34" fmla="*/ 1083895 w 1171563"/>
                <a:gd name="connsiteY34" fmla="*/ 1221627 h 1294885"/>
                <a:gd name="connsiteX35" fmla="*/ 1099835 w 1171563"/>
                <a:gd name="connsiteY35" fmla="*/ 1203808 h 1294885"/>
                <a:gd name="connsiteX36" fmla="*/ 1103820 w 1171563"/>
                <a:gd name="connsiteY36" fmla="*/ 1174108 h 1294885"/>
                <a:gd name="connsiteX37" fmla="*/ 1081903 w 1171563"/>
                <a:gd name="connsiteY37" fmla="*/ 1073131 h 1294885"/>
                <a:gd name="connsiteX38" fmla="*/ 1007435 w 1171563"/>
                <a:gd name="connsiteY38" fmla="*/ 871672 h 1294885"/>
                <a:gd name="connsiteX39" fmla="*/ 941059 w 1171563"/>
                <a:gd name="connsiteY39" fmla="*/ 702615 h 1294885"/>
                <a:gd name="connsiteX40" fmla="*/ 946443 w 1171563"/>
                <a:gd name="connsiteY40" fmla="*/ 709104 h 1294885"/>
                <a:gd name="connsiteX41" fmla="*/ 984025 w 1171563"/>
                <a:gd name="connsiteY41" fmla="*/ 660441 h 1294885"/>
                <a:gd name="connsiteX42" fmla="*/ 991422 w 1171563"/>
                <a:gd name="connsiteY42" fmla="*/ 650358 h 1294885"/>
                <a:gd name="connsiteX43" fmla="*/ 1026363 w 1171563"/>
                <a:gd name="connsiteY43" fmla="*/ 734561 h 1294885"/>
                <a:gd name="connsiteX44" fmla="*/ 1143669 w 1171563"/>
                <a:gd name="connsiteY44" fmla="*/ 1051352 h 1294885"/>
                <a:gd name="connsiteX45" fmla="*/ 1171563 w 1171563"/>
                <a:gd name="connsiteY45" fmla="*/ 1174108 h 1294885"/>
                <a:gd name="connsiteX46" fmla="*/ 1161601 w 1171563"/>
                <a:gd name="connsiteY46" fmla="*/ 1227567 h 1294885"/>
                <a:gd name="connsiteX47" fmla="*/ 1135699 w 1171563"/>
                <a:gd name="connsiteY47" fmla="*/ 1267166 h 1294885"/>
                <a:gd name="connsiteX48" fmla="*/ 1044046 w 1171563"/>
                <a:gd name="connsiteY48" fmla="*/ 1294885 h 1294885"/>
                <a:gd name="connsiteX49" fmla="*/ 918522 w 1171563"/>
                <a:gd name="connsiteY49" fmla="*/ 1271126 h 1294885"/>
                <a:gd name="connsiteX50" fmla="*/ 775065 w 1171563"/>
                <a:gd name="connsiteY50" fmla="*/ 1215687 h 1294885"/>
                <a:gd name="connsiteX51" fmla="*/ 492136 w 1171563"/>
                <a:gd name="connsiteY51" fmla="*/ 1063231 h 1294885"/>
                <a:gd name="connsiteX52" fmla="*/ 354657 w 1171563"/>
                <a:gd name="connsiteY52" fmla="*/ 991953 h 1294885"/>
                <a:gd name="connsiteX53" fmla="*/ 272966 w 1171563"/>
                <a:gd name="connsiteY53" fmla="*/ 960274 h 1294885"/>
                <a:gd name="connsiteX54" fmla="*/ 235110 w 1171563"/>
                <a:gd name="connsiteY54" fmla="*/ 936515 h 1294885"/>
                <a:gd name="connsiteX55" fmla="*/ 219170 w 1171563"/>
                <a:gd name="connsiteY55" fmla="*/ 912756 h 1294885"/>
                <a:gd name="connsiteX56" fmla="*/ 215185 w 1171563"/>
                <a:gd name="connsiteY56" fmla="*/ 881076 h 1294885"/>
                <a:gd name="connsiteX57" fmla="*/ 229132 w 1171563"/>
                <a:gd name="connsiteY57" fmla="*/ 786039 h 1294885"/>
                <a:gd name="connsiteX58" fmla="*/ 231125 w 1171563"/>
                <a:gd name="connsiteY58" fmla="*/ 758320 h 1294885"/>
                <a:gd name="connsiteX59" fmla="*/ 171351 w 1171563"/>
                <a:gd name="connsiteY59" fmla="*/ 548445 h 1294885"/>
                <a:gd name="connsiteX60" fmla="*/ 61766 w 1171563"/>
                <a:gd name="connsiteY60" fmla="*/ 340551 h 1294885"/>
                <a:gd name="connsiteX61" fmla="*/ 9963 w 1171563"/>
                <a:gd name="connsiteY61" fmla="*/ 255413 h 1294885"/>
                <a:gd name="connsiteX62" fmla="*/ 3985 w 1171563"/>
                <a:gd name="connsiteY62" fmla="*/ 239574 h 1294885"/>
                <a:gd name="connsiteX63" fmla="*/ 0 w 1171563"/>
                <a:gd name="connsiteY63" fmla="*/ 225714 h 1294885"/>
                <a:gd name="connsiteX64" fmla="*/ 0 w 1171563"/>
                <a:gd name="connsiteY64" fmla="*/ 217794 h 1294885"/>
                <a:gd name="connsiteX65" fmla="*/ 3985 w 1171563"/>
                <a:gd name="connsiteY65" fmla="*/ 211855 h 1294885"/>
                <a:gd name="connsiteX66" fmla="*/ 87668 w 1171563"/>
                <a:gd name="connsiteY66" fmla="*/ 75238 h 1294885"/>
                <a:gd name="connsiteX67" fmla="*/ 181314 w 1171563"/>
                <a:gd name="connsiteY67" fmla="*/ 9900 h 1294885"/>
                <a:gd name="connsiteX68" fmla="*/ 253042 w 1171563"/>
                <a:gd name="connsiteY68" fmla="*/ 0 h 129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71563" h="1294885">
                  <a:moveTo>
                    <a:pt x="253042" y="0"/>
                  </a:moveTo>
                  <a:cubicBezTo>
                    <a:pt x="320785" y="0"/>
                    <a:pt x="396499" y="17820"/>
                    <a:pt x="500106" y="21780"/>
                  </a:cubicBezTo>
                  <a:cubicBezTo>
                    <a:pt x="539955" y="23760"/>
                    <a:pt x="577812" y="37619"/>
                    <a:pt x="611684" y="57419"/>
                  </a:cubicBezTo>
                  <a:cubicBezTo>
                    <a:pt x="645555" y="79198"/>
                    <a:pt x="679427" y="106917"/>
                    <a:pt x="709314" y="142556"/>
                  </a:cubicBezTo>
                  <a:lnTo>
                    <a:pt x="730117" y="170025"/>
                  </a:lnTo>
                  <a:lnTo>
                    <a:pt x="713016" y="198649"/>
                  </a:lnTo>
                  <a:lnTo>
                    <a:pt x="700100" y="236386"/>
                  </a:lnTo>
                  <a:lnTo>
                    <a:pt x="650537" y="174483"/>
                  </a:lnTo>
                  <a:cubicBezTo>
                    <a:pt x="626129" y="148991"/>
                    <a:pt x="601721" y="128697"/>
                    <a:pt x="577812" y="114837"/>
                  </a:cubicBezTo>
                  <a:cubicBezTo>
                    <a:pt x="549918" y="98998"/>
                    <a:pt x="524016" y="89098"/>
                    <a:pt x="498114" y="89098"/>
                  </a:cubicBezTo>
                  <a:cubicBezTo>
                    <a:pt x="386536" y="83158"/>
                    <a:pt x="308831" y="65338"/>
                    <a:pt x="253042" y="65338"/>
                  </a:cubicBezTo>
                  <a:cubicBezTo>
                    <a:pt x="233117" y="65338"/>
                    <a:pt x="217178" y="67318"/>
                    <a:pt x="201238" y="73258"/>
                  </a:cubicBezTo>
                  <a:cubicBezTo>
                    <a:pt x="187291" y="77218"/>
                    <a:pt x="173344" y="85138"/>
                    <a:pt x="159397" y="95038"/>
                  </a:cubicBezTo>
                  <a:cubicBezTo>
                    <a:pt x="138476" y="112857"/>
                    <a:pt x="115313" y="141814"/>
                    <a:pt x="89910" y="187755"/>
                  </a:cubicBezTo>
                  <a:lnTo>
                    <a:pt x="70263" y="226686"/>
                  </a:lnTo>
                  <a:lnTo>
                    <a:pt x="69736" y="225714"/>
                  </a:lnTo>
                  <a:lnTo>
                    <a:pt x="65751" y="217794"/>
                  </a:lnTo>
                  <a:cubicBezTo>
                    <a:pt x="65751" y="219774"/>
                    <a:pt x="67744" y="219774"/>
                    <a:pt x="67744" y="225714"/>
                  </a:cubicBezTo>
                  <a:lnTo>
                    <a:pt x="43834" y="225714"/>
                  </a:lnTo>
                  <a:lnTo>
                    <a:pt x="33872" y="225714"/>
                  </a:lnTo>
                  <a:lnTo>
                    <a:pt x="63759" y="239574"/>
                  </a:lnTo>
                  <a:lnTo>
                    <a:pt x="70263" y="226686"/>
                  </a:lnTo>
                  <a:lnTo>
                    <a:pt x="83683" y="251453"/>
                  </a:lnTo>
                  <a:cubicBezTo>
                    <a:pt x="97630" y="273233"/>
                    <a:pt x="115563" y="302932"/>
                    <a:pt x="135487" y="336591"/>
                  </a:cubicBezTo>
                  <a:cubicBezTo>
                    <a:pt x="175336" y="407869"/>
                    <a:pt x="225148" y="496967"/>
                    <a:pt x="259019" y="586064"/>
                  </a:cubicBezTo>
                  <a:cubicBezTo>
                    <a:pt x="280936" y="645463"/>
                    <a:pt x="296876" y="702881"/>
                    <a:pt x="296876" y="758320"/>
                  </a:cubicBezTo>
                  <a:cubicBezTo>
                    <a:pt x="296876" y="772179"/>
                    <a:pt x="296876" y="786039"/>
                    <a:pt x="292891" y="797919"/>
                  </a:cubicBezTo>
                  <a:cubicBezTo>
                    <a:pt x="286914" y="841477"/>
                    <a:pt x="280936" y="869197"/>
                    <a:pt x="280936" y="881076"/>
                  </a:cubicBezTo>
                  <a:cubicBezTo>
                    <a:pt x="280936" y="885036"/>
                    <a:pt x="280936" y="887016"/>
                    <a:pt x="282929" y="888996"/>
                  </a:cubicBezTo>
                  <a:lnTo>
                    <a:pt x="282929" y="890976"/>
                  </a:lnTo>
                  <a:cubicBezTo>
                    <a:pt x="282929" y="892956"/>
                    <a:pt x="294883" y="898896"/>
                    <a:pt x="314808" y="904836"/>
                  </a:cubicBezTo>
                  <a:cubicBezTo>
                    <a:pt x="352665" y="918695"/>
                    <a:pt x="422400" y="944435"/>
                    <a:pt x="528001" y="1005813"/>
                  </a:cubicBezTo>
                  <a:cubicBezTo>
                    <a:pt x="647548" y="1079071"/>
                    <a:pt x="812921" y="1170149"/>
                    <a:pt x="938446" y="1209747"/>
                  </a:cubicBezTo>
                  <a:cubicBezTo>
                    <a:pt x="980288" y="1221627"/>
                    <a:pt x="1018144" y="1229547"/>
                    <a:pt x="1044046" y="1229547"/>
                  </a:cubicBezTo>
                  <a:cubicBezTo>
                    <a:pt x="1061978" y="1229547"/>
                    <a:pt x="1075925" y="1225587"/>
                    <a:pt x="1083895" y="1221627"/>
                  </a:cubicBezTo>
                  <a:cubicBezTo>
                    <a:pt x="1091865" y="1217667"/>
                    <a:pt x="1095850" y="1213707"/>
                    <a:pt x="1099835" y="1203808"/>
                  </a:cubicBezTo>
                  <a:cubicBezTo>
                    <a:pt x="1103820" y="1195888"/>
                    <a:pt x="1103820" y="1187968"/>
                    <a:pt x="1103820" y="1174108"/>
                  </a:cubicBezTo>
                  <a:cubicBezTo>
                    <a:pt x="1105812" y="1152329"/>
                    <a:pt x="1097842" y="1118670"/>
                    <a:pt x="1081903" y="1073131"/>
                  </a:cubicBezTo>
                  <a:cubicBezTo>
                    <a:pt x="1058989" y="1010763"/>
                    <a:pt x="1034084" y="942455"/>
                    <a:pt x="1007435" y="871672"/>
                  </a:cubicBezTo>
                  <a:lnTo>
                    <a:pt x="941059" y="702615"/>
                  </a:lnTo>
                  <a:lnTo>
                    <a:pt x="946443" y="709104"/>
                  </a:lnTo>
                  <a:cubicBezTo>
                    <a:pt x="946443" y="709104"/>
                    <a:pt x="961476" y="690418"/>
                    <a:pt x="984025" y="660441"/>
                  </a:cubicBezTo>
                  <a:lnTo>
                    <a:pt x="991422" y="650358"/>
                  </a:lnTo>
                  <a:lnTo>
                    <a:pt x="1026363" y="734561"/>
                  </a:lnTo>
                  <a:cubicBezTo>
                    <a:pt x="1070446" y="846428"/>
                    <a:pt x="1109797" y="956314"/>
                    <a:pt x="1143669" y="1051352"/>
                  </a:cubicBezTo>
                  <a:cubicBezTo>
                    <a:pt x="1161601" y="1098870"/>
                    <a:pt x="1171563" y="1140449"/>
                    <a:pt x="1171563" y="1174108"/>
                  </a:cubicBezTo>
                  <a:cubicBezTo>
                    <a:pt x="1171563" y="1193908"/>
                    <a:pt x="1167578" y="1211727"/>
                    <a:pt x="1161601" y="1227567"/>
                  </a:cubicBezTo>
                  <a:cubicBezTo>
                    <a:pt x="1155624" y="1241427"/>
                    <a:pt x="1147654" y="1257266"/>
                    <a:pt x="1135699" y="1267166"/>
                  </a:cubicBezTo>
                  <a:cubicBezTo>
                    <a:pt x="1109797" y="1288945"/>
                    <a:pt x="1077918" y="1294885"/>
                    <a:pt x="1044046" y="1294885"/>
                  </a:cubicBezTo>
                  <a:cubicBezTo>
                    <a:pt x="1006190" y="1294885"/>
                    <a:pt x="964348" y="1286965"/>
                    <a:pt x="918522" y="1271126"/>
                  </a:cubicBezTo>
                  <a:cubicBezTo>
                    <a:pt x="872695" y="1257266"/>
                    <a:pt x="824876" y="1237467"/>
                    <a:pt x="775065" y="1215687"/>
                  </a:cubicBezTo>
                  <a:cubicBezTo>
                    <a:pt x="675442" y="1170149"/>
                    <a:pt x="573827" y="1112730"/>
                    <a:pt x="492136" y="1063231"/>
                  </a:cubicBezTo>
                  <a:cubicBezTo>
                    <a:pt x="436348" y="1027592"/>
                    <a:pt x="390521" y="1005813"/>
                    <a:pt x="354657" y="991953"/>
                  </a:cubicBezTo>
                  <a:cubicBezTo>
                    <a:pt x="318793" y="976114"/>
                    <a:pt x="294883" y="968194"/>
                    <a:pt x="272966" y="960274"/>
                  </a:cubicBezTo>
                  <a:cubicBezTo>
                    <a:pt x="259019" y="954334"/>
                    <a:pt x="247065" y="948395"/>
                    <a:pt x="235110" y="936515"/>
                  </a:cubicBezTo>
                  <a:cubicBezTo>
                    <a:pt x="229132" y="930575"/>
                    <a:pt x="223155" y="920675"/>
                    <a:pt x="219170" y="912756"/>
                  </a:cubicBezTo>
                  <a:cubicBezTo>
                    <a:pt x="217178" y="902856"/>
                    <a:pt x="215185" y="892956"/>
                    <a:pt x="215185" y="881076"/>
                  </a:cubicBezTo>
                  <a:cubicBezTo>
                    <a:pt x="215185" y="857317"/>
                    <a:pt x="221163" y="829598"/>
                    <a:pt x="229132" y="786039"/>
                  </a:cubicBezTo>
                  <a:cubicBezTo>
                    <a:pt x="229132" y="778119"/>
                    <a:pt x="231125" y="768219"/>
                    <a:pt x="231125" y="758320"/>
                  </a:cubicBezTo>
                  <a:cubicBezTo>
                    <a:pt x="231125" y="700901"/>
                    <a:pt x="205223" y="623683"/>
                    <a:pt x="171351" y="548445"/>
                  </a:cubicBezTo>
                  <a:cubicBezTo>
                    <a:pt x="137480" y="473207"/>
                    <a:pt x="93646" y="397969"/>
                    <a:pt x="61766" y="340551"/>
                  </a:cubicBezTo>
                  <a:cubicBezTo>
                    <a:pt x="37857" y="302932"/>
                    <a:pt x="19925" y="273233"/>
                    <a:pt x="9963" y="255413"/>
                  </a:cubicBezTo>
                  <a:cubicBezTo>
                    <a:pt x="7970" y="249473"/>
                    <a:pt x="5978" y="245514"/>
                    <a:pt x="3985" y="239574"/>
                  </a:cubicBezTo>
                  <a:cubicBezTo>
                    <a:pt x="1993" y="237594"/>
                    <a:pt x="1993" y="233634"/>
                    <a:pt x="0" y="225714"/>
                  </a:cubicBezTo>
                  <a:lnTo>
                    <a:pt x="0" y="217794"/>
                  </a:lnTo>
                  <a:lnTo>
                    <a:pt x="3985" y="211855"/>
                  </a:lnTo>
                  <a:cubicBezTo>
                    <a:pt x="31880" y="150476"/>
                    <a:pt x="59774" y="106917"/>
                    <a:pt x="87668" y="75238"/>
                  </a:cubicBezTo>
                  <a:cubicBezTo>
                    <a:pt x="115563" y="41579"/>
                    <a:pt x="147442" y="19800"/>
                    <a:pt x="181314" y="9900"/>
                  </a:cubicBezTo>
                  <a:cubicBezTo>
                    <a:pt x="205223" y="1980"/>
                    <a:pt x="229132" y="0"/>
                    <a:pt x="253042" y="0"/>
                  </a:cubicBez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2539">
              <a:extLst>
                <a:ext uri="{FF2B5EF4-FFF2-40B4-BE49-F238E27FC236}">
                  <a16:creationId xmlns:a16="http://schemas.microsoft.com/office/drawing/2014/main" id="{EC7161EE-4867-9990-8B01-DCD1B5E78BE0}"/>
                </a:ext>
              </a:extLst>
            </p:cNvPr>
            <p:cNvSpPr>
              <a:spLocks/>
            </p:cNvSpPr>
            <p:nvPr/>
          </p:nvSpPr>
          <p:spPr bwMode="auto">
            <a:xfrm>
              <a:off x="7338294" y="2946728"/>
              <a:ext cx="986579" cy="308306"/>
            </a:xfrm>
            <a:custGeom>
              <a:avLst/>
              <a:gdLst>
                <a:gd name="T0" fmla="*/ 34 w 491"/>
                <a:gd name="T1" fmla="*/ 17 h 152"/>
                <a:gd name="T2" fmla="*/ 6 w 491"/>
                <a:gd name="T3" fmla="*/ 76 h 152"/>
                <a:gd name="T4" fmla="*/ 2 w 491"/>
                <a:gd name="T5" fmla="*/ 124 h 152"/>
                <a:gd name="T6" fmla="*/ 48 w 491"/>
                <a:gd name="T7" fmla="*/ 152 h 152"/>
                <a:gd name="T8" fmla="*/ 61 w 491"/>
                <a:gd name="T9" fmla="*/ 151 h 152"/>
                <a:gd name="T10" fmla="*/ 304 w 491"/>
                <a:gd name="T11" fmla="*/ 152 h 152"/>
                <a:gd name="T12" fmla="*/ 449 w 491"/>
                <a:gd name="T13" fmla="*/ 128 h 152"/>
                <a:gd name="T14" fmla="*/ 486 w 491"/>
                <a:gd name="T15" fmla="*/ 103 h 152"/>
                <a:gd name="T16" fmla="*/ 485 w 491"/>
                <a:gd name="T17" fmla="*/ 71 h 152"/>
                <a:gd name="T18" fmla="*/ 380 w 491"/>
                <a:gd name="T19" fmla="*/ 25 h 152"/>
                <a:gd name="T20" fmla="*/ 46 w 491"/>
                <a:gd name="T21" fmla="*/ 10 h 152"/>
                <a:gd name="T22" fmla="*/ 34 w 491"/>
                <a:gd name="T23" fmla="*/ 17 h 152"/>
                <a:gd name="T24" fmla="*/ 50 w 491"/>
                <a:gd name="T25" fmla="*/ 43 h 152"/>
                <a:gd name="T26" fmla="*/ 370 w 491"/>
                <a:gd name="T27" fmla="*/ 57 h 152"/>
                <a:gd name="T28" fmla="*/ 459 w 491"/>
                <a:gd name="T29" fmla="*/ 93 h 152"/>
                <a:gd name="T30" fmla="*/ 459 w 491"/>
                <a:gd name="T31" fmla="*/ 93 h 152"/>
                <a:gd name="T32" fmla="*/ 458 w 491"/>
                <a:gd name="T33" fmla="*/ 87 h 152"/>
                <a:gd name="T34" fmla="*/ 465 w 491"/>
                <a:gd name="T35" fmla="*/ 87 h 152"/>
                <a:gd name="T36" fmla="*/ 465 w 491"/>
                <a:gd name="T37" fmla="*/ 87 h 152"/>
                <a:gd name="T38" fmla="*/ 458 w 491"/>
                <a:gd name="T39" fmla="*/ 87 h 152"/>
                <a:gd name="T40" fmla="*/ 458 w 491"/>
                <a:gd name="T41" fmla="*/ 85 h 152"/>
                <a:gd name="T42" fmla="*/ 458 w 491"/>
                <a:gd name="T43" fmla="*/ 84 h 152"/>
                <a:gd name="T44" fmla="*/ 461 w 491"/>
                <a:gd name="T45" fmla="*/ 86 h 152"/>
                <a:gd name="T46" fmla="*/ 450 w 491"/>
                <a:gd name="T47" fmla="*/ 90 h 152"/>
                <a:gd name="T48" fmla="*/ 365 w 491"/>
                <a:gd name="T49" fmla="*/ 116 h 152"/>
                <a:gd name="T50" fmla="*/ 131 w 491"/>
                <a:gd name="T51" fmla="*/ 115 h 152"/>
                <a:gd name="T52" fmla="*/ 57 w 491"/>
                <a:gd name="T53" fmla="*/ 118 h 152"/>
                <a:gd name="T54" fmla="*/ 38 w 491"/>
                <a:gd name="T55" fmla="*/ 118 h 152"/>
                <a:gd name="T56" fmla="*/ 33 w 491"/>
                <a:gd name="T57" fmla="*/ 107 h 152"/>
                <a:gd name="T58" fmla="*/ 53 w 491"/>
                <a:gd name="T59" fmla="*/ 51 h 152"/>
                <a:gd name="T60" fmla="*/ 61 w 491"/>
                <a:gd name="T61" fmla="*/ 37 h 152"/>
                <a:gd name="T62" fmla="*/ 62 w 491"/>
                <a:gd name="T63" fmla="*/ 36 h 152"/>
                <a:gd name="T64" fmla="*/ 50 w 491"/>
                <a:gd name="T65"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1" h="152">
                  <a:moveTo>
                    <a:pt x="48" y="26"/>
                  </a:moveTo>
                  <a:lnTo>
                    <a:pt x="34" y="17"/>
                  </a:lnTo>
                  <a:cubicBezTo>
                    <a:pt x="34" y="18"/>
                    <a:pt x="26" y="30"/>
                    <a:pt x="17" y="47"/>
                  </a:cubicBezTo>
                  <a:cubicBezTo>
                    <a:pt x="13" y="56"/>
                    <a:pt x="9" y="66"/>
                    <a:pt x="6" y="76"/>
                  </a:cubicBezTo>
                  <a:cubicBezTo>
                    <a:pt x="2" y="86"/>
                    <a:pt x="0" y="96"/>
                    <a:pt x="0" y="107"/>
                  </a:cubicBezTo>
                  <a:cubicBezTo>
                    <a:pt x="0" y="113"/>
                    <a:pt x="0" y="118"/>
                    <a:pt x="2" y="124"/>
                  </a:cubicBezTo>
                  <a:cubicBezTo>
                    <a:pt x="5" y="132"/>
                    <a:pt x="11" y="140"/>
                    <a:pt x="19" y="145"/>
                  </a:cubicBezTo>
                  <a:cubicBezTo>
                    <a:pt x="27" y="150"/>
                    <a:pt x="37" y="152"/>
                    <a:pt x="48" y="152"/>
                  </a:cubicBezTo>
                  <a:cubicBezTo>
                    <a:pt x="52" y="152"/>
                    <a:pt x="57" y="152"/>
                    <a:pt x="61" y="151"/>
                  </a:cubicBezTo>
                  <a:lnTo>
                    <a:pt x="61" y="151"/>
                  </a:lnTo>
                  <a:cubicBezTo>
                    <a:pt x="81" y="149"/>
                    <a:pt x="105" y="148"/>
                    <a:pt x="131" y="148"/>
                  </a:cubicBezTo>
                  <a:cubicBezTo>
                    <a:pt x="187" y="148"/>
                    <a:pt x="251" y="152"/>
                    <a:pt x="304" y="152"/>
                  </a:cubicBezTo>
                  <a:cubicBezTo>
                    <a:pt x="329" y="152"/>
                    <a:pt x="351" y="151"/>
                    <a:pt x="370" y="148"/>
                  </a:cubicBezTo>
                  <a:cubicBezTo>
                    <a:pt x="400" y="144"/>
                    <a:pt x="428" y="137"/>
                    <a:pt x="449" y="128"/>
                  </a:cubicBezTo>
                  <a:cubicBezTo>
                    <a:pt x="460" y="123"/>
                    <a:pt x="469" y="119"/>
                    <a:pt x="476" y="113"/>
                  </a:cubicBezTo>
                  <a:cubicBezTo>
                    <a:pt x="479" y="110"/>
                    <a:pt x="483" y="107"/>
                    <a:pt x="486" y="103"/>
                  </a:cubicBezTo>
                  <a:cubicBezTo>
                    <a:pt x="489" y="99"/>
                    <a:pt x="491" y="94"/>
                    <a:pt x="491" y="87"/>
                  </a:cubicBezTo>
                  <a:cubicBezTo>
                    <a:pt x="491" y="81"/>
                    <a:pt x="488" y="75"/>
                    <a:pt x="485" y="71"/>
                  </a:cubicBezTo>
                  <a:cubicBezTo>
                    <a:pt x="481" y="67"/>
                    <a:pt x="477" y="64"/>
                    <a:pt x="472" y="61"/>
                  </a:cubicBezTo>
                  <a:cubicBezTo>
                    <a:pt x="459" y="55"/>
                    <a:pt x="428" y="39"/>
                    <a:pt x="380" y="25"/>
                  </a:cubicBezTo>
                  <a:cubicBezTo>
                    <a:pt x="332" y="12"/>
                    <a:pt x="267" y="0"/>
                    <a:pt x="184" y="0"/>
                  </a:cubicBezTo>
                  <a:cubicBezTo>
                    <a:pt x="142" y="0"/>
                    <a:pt x="96" y="3"/>
                    <a:pt x="46" y="10"/>
                  </a:cubicBezTo>
                  <a:lnTo>
                    <a:pt x="38" y="11"/>
                  </a:lnTo>
                  <a:lnTo>
                    <a:pt x="34" y="17"/>
                  </a:lnTo>
                  <a:lnTo>
                    <a:pt x="48" y="26"/>
                  </a:lnTo>
                  <a:lnTo>
                    <a:pt x="50" y="43"/>
                  </a:lnTo>
                  <a:cubicBezTo>
                    <a:pt x="99" y="36"/>
                    <a:pt x="144" y="33"/>
                    <a:pt x="184" y="33"/>
                  </a:cubicBezTo>
                  <a:cubicBezTo>
                    <a:pt x="263" y="33"/>
                    <a:pt x="325" y="44"/>
                    <a:pt x="370" y="57"/>
                  </a:cubicBezTo>
                  <a:cubicBezTo>
                    <a:pt x="416" y="70"/>
                    <a:pt x="444" y="85"/>
                    <a:pt x="457" y="91"/>
                  </a:cubicBezTo>
                  <a:lnTo>
                    <a:pt x="459" y="93"/>
                  </a:lnTo>
                  <a:lnTo>
                    <a:pt x="459" y="93"/>
                  </a:lnTo>
                  <a:lnTo>
                    <a:pt x="459" y="93"/>
                  </a:lnTo>
                  <a:lnTo>
                    <a:pt x="465" y="87"/>
                  </a:lnTo>
                  <a:lnTo>
                    <a:pt x="458" y="87"/>
                  </a:lnTo>
                  <a:cubicBezTo>
                    <a:pt x="458" y="90"/>
                    <a:pt x="459" y="93"/>
                    <a:pt x="459" y="93"/>
                  </a:cubicBezTo>
                  <a:lnTo>
                    <a:pt x="465" y="87"/>
                  </a:lnTo>
                  <a:lnTo>
                    <a:pt x="458" y="87"/>
                  </a:lnTo>
                  <a:lnTo>
                    <a:pt x="465" y="87"/>
                  </a:lnTo>
                  <a:lnTo>
                    <a:pt x="458" y="85"/>
                  </a:lnTo>
                  <a:lnTo>
                    <a:pt x="458" y="87"/>
                  </a:lnTo>
                  <a:lnTo>
                    <a:pt x="465" y="87"/>
                  </a:lnTo>
                  <a:lnTo>
                    <a:pt x="458" y="85"/>
                  </a:lnTo>
                  <a:lnTo>
                    <a:pt x="461" y="86"/>
                  </a:lnTo>
                  <a:lnTo>
                    <a:pt x="458" y="84"/>
                  </a:lnTo>
                  <a:lnTo>
                    <a:pt x="458" y="85"/>
                  </a:lnTo>
                  <a:lnTo>
                    <a:pt x="461" y="86"/>
                  </a:lnTo>
                  <a:lnTo>
                    <a:pt x="458" y="84"/>
                  </a:lnTo>
                  <a:cubicBezTo>
                    <a:pt x="458" y="84"/>
                    <a:pt x="455" y="87"/>
                    <a:pt x="450" y="90"/>
                  </a:cubicBezTo>
                  <a:cubicBezTo>
                    <a:pt x="443" y="95"/>
                    <a:pt x="430" y="100"/>
                    <a:pt x="415" y="104"/>
                  </a:cubicBezTo>
                  <a:cubicBezTo>
                    <a:pt x="401" y="109"/>
                    <a:pt x="383" y="113"/>
                    <a:pt x="365" y="116"/>
                  </a:cubicBezTo>
                  <a:cubicBezTo>
                    <a:pt x="349" y="118"/>
                    <a:pt x="328" y="119"/>
                    <a:pt x="304" y="119"/>
                  </a:cubicBezTo>
                  <a:cubicBezTo>
                    <a:pt x="253" y="119"/>
                    <a:pt x="189" y="115"/>
                    <a:pt x="131" y="115"/>
                  </a:cubicBezTo>
                  <a:cubicBezTo>
                    <a:pt x="104" y="115"/>
                    <a:pt x="79" y="115"/>
                    <a:pt x="57" y="118"/>
                  </a:cubicBezTo>
                  <a:lnTo>
                    <a:pt x="57" y="118"/>
                  </a:lnTo>
                  <a:cubicBezTo>
                    <a:pt x="54" y="119"/>
                    <a:pt x="51" y="119"/>
                    <a:pt x="48" y="119"/>
                  </a:cubicBezTo>
                  <a:cubicBezTo>
                    <a:pt x="44" y="119"/>
                    <a:pt x="41" y="118"/>
                    <a:pt x="38" y="118"/>
                  </a:cubicBezTo>
                  <a:cubicBezTo>
                    <a:pt x="36" y="117"/>
                    <a:pt x="35" y="116"/>
                    <a:pt x="35" y="115"/>
                  </a:cubicBezTo>
                  <a:cubicBezTo>
                    <a:pt x="34" y="114"/>
                    <a:pt x="33" y="111"/>
                    <a:pt x="33" y="107"/>
                  </a:cubicBezTo>
                  <a:cubicBezTo>
                    <a:pt x="33" y="102"/>
                    <a:pt x="35" y="94"/>
                    <a:pt x="37" y="86"/>
                  </a:cubicBezTo>
                  <a:cubicBezTo>
                    <a:pt x="41" y="74"/>
                    <a:pt x="47" y="61"/>
                    <a:pt x="53" y="51"/>
                  </a:cubicBezTo>
                  <a:cubicBezTo>
                    <a:pt x="55" y="47"/>
                    <a:pt x="58" y="43"/>
                    <a:pt x="59" y="40"/>
                  </a:cubicBezTo>
                  <a:lnTo>
                    <a:pt x="61" y="37"/>
                  </a:lnTo>
                  <a:lnTo>
                    <a:pt x="62" y="36"/>
                  </a:lnTo>
                  <a:lnTo>
                    <a:pt x="62" y="36"/>
                  </a:lnTo>
                  <a:lnTo>
                    <a:pt x="48" y="26"/>
                  </a:lnTo>
                  <a:lnTo>
                    <a:pt x="50" y="43"/>
                  </a:lnTo>
                  <a:lnTo>
                    <a:pt x="48" y="26"/>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Shape 2991">
              <a:extLst>
                <a:ext uri="{FF2B5EF4-FFF2-40B4-BE49-F238E27FC236}">
                  <a16:creationId xmlns:a16="http://schemas.microsoft.com/office/drawing/2014/main" id="{7FF70216-CB07-FA5A-67F8-E5316D1F1E67}"/>
                </a:ext>
              </a:extLst>
            </p:cNvPr>
            <p:cNvSpPr>
              <a:spLocks/>
            </p:cNvSpPr>
            <p:nvPr/>
          </p:nvSpPr>
          <p:spPr bwMode="auto">
            <a:xfrm>
              <a:off x="8047398" y="4164541"/>
              <a:ext cx="571542" cy="616612"/>
            </a:xfrm>
            <a:custGeom>
              <a:avLst/>
              <a:gdLst>
                <a:gd name="connsiteX0" fmla="*/ 509625 w 571542"/>
                <a:gd name="connsiteY0" fmla="*/ 250293 h 616612"/>
                <a:gd name="connsiteX1" fmla="*/ 513990 w 571542"/>
                <a:gd name="connsiteY1" fmla="*/ 256767 h 616612"/>
                <a:gd name="connsiteX2" fmla="*/ 553189 w 571542"/>
                <a:gd name="connsiteY2" fmla="*/ 283196 h 616612"/>
                <a:gd name="connsiteX3" fmla="*/ 571542 w 571542"/>
                <a:gd name="connsiteY3" fmla="*/ 286901 h 616612"/>
                <a:gd name="connsiteX4" fmla="*/ 184984 w 571542"/>
                <a:gd name="connsiteY4" fmla="*/ 616612 h 616612"/>
                <a:gd name="connsiteX5" fmla="*/ 138738 w 571542"/>
                <a:gd name="connsiteY5" fmla="*/ 554951 h 616612"/>
                <a:gd name="connsiteX6" fmla="*/ 15416 w 571542"/>
                <a:gd name="connsiteY6" fmla="*/ 0 h 616612"/>
                <a:gd name="connsiteX7" fmla="*/ 491119 w 571542"/>
                <a:gd name="connsiteY7" fmla="*/ 116283 h 616612"/>
                <a:gd name="connsiteX8" fmla="*/ 487560 w 571542"/>
                <a:gd name="connsiteY8" fmla="*/ 121562 h 616612"/>
                <a:gd name="connsiteX9" fmla="*/ 477869 w 571542"/>
                <a:gd name="connsiteY9" fmla="*/ 169564 h 616612"/>
                <a:gd name="connsiteX10" fmla="*/ 479639 w 571542"/>
                <a:gd name="connsiteY10" fmla="*/ 178330 h 616612"/>
                <a:gd name="connsiteX11" fmla="*/ 0 w 571542"/>
                <a:gd name="connsiteY11" fmla="*/ 61661 h 61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42" h="616612">
                  <a:moveTo>
                    <a:pt x="509625" y="250293"/>
                  </a:moveTo>
                  <a:lnTo>
                    <a:pt x="513990" y="256767"/>
                  </a:lnTo>
                  <a:cubicBezTo>
                    <a:pt x="525148" y="267925"/>
                    <a:pt x="538435" y="276955"/>
                    <a:pt x="553189" y="283196"/>
                  </a:cubicBezTo>
                  <a:lnTo>
                    <a:pt x="571542" y="286901"/>
                  </a:lnTo>
                  <a:lnTo>
                    <a:pt x="184984" y="616612"/>
                  </a:lnTo>
                  <a:lnTo>
                    <a:pt x="138738" y="554951"/>
                  </a:lnTo>
                  <a:close/>
                  <a:moveTo>
                    <a:pt x="15416" y="0"/>
                  </a:moveTo>
                  <a:lnTo>
                    <a:pt x="491119" y="116283"/>
                  </a:lnTo>
                  <a:lnTo>
                    <a:pt x="487560" y="121562"/>
                  </a:lnTo>
                  <a:cubicBezTo>
                    <a:pt x="481320" y="136316"/>
                    <a:pt x="477869" y="152537"/>
                    <a:pt x="477869" y="169564"/>
                  </a:cubicBezTo>
                  <a:lnTo>
                    <a:pt x="479639" y="178330"/>
                  </a:lnTo>
                  <a:lnTo>
                    <a:pt x="0" y="61661"/>
                  </a:ln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Line 2541">
              <a:extLst>
                <a:ext uri="{FF2B5EF4-FFF2-40B4-BE49-F238E27FC236}">
                  <a16:creationId xmlns:a16="http://schemas.microsoft.com/office/drawing/2014/main" id="{AD3882FE-0A39-1044-FBA9-AB58128AD813}"/>
                </a:ext>
              </a:extLst>
            </p:cNvPr>
            <p:cNvSpPr>
              <a:spLocks noChangeShapeType="1"/>
            </p:cNvSpPr>
            <p:nvPr/>
          </p:nvSpPr>
          <p:spPr bwMode="auto">
            <a:xfrm>
              <a:off x="7168721" y="3979558"/>
              <a:ext cx="786185" cy="200404"/>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2542">
              <a:extLst>
                <a:ext uri="{FF2B5EF4-FFF2-40B4-BE49-F238E27FC236}">
                  <a16:creationId xmlns:a16="http://schemas.microsoft.com/office/drawing/2014/main" id="{860444D7-6722-EFCF-69A4-9E103625F970}"/>
                </a:ext>
              </a:extLst>
            </p:cNvPr>
            <p:cNvSpPr>
              <a:spLocks/>
            </p:cNvSpPr>
            <p:nvPr/>
          </p:nvSpPr>
          <p:spPr bwMode="auto">
            <a:xfrm>
              <a:off x="7153310" y="3948727"/>
              <a:ext cx="801595" cy="262065"/>
            </a:xfrm>
            <a:custGeom>
              <a:avLst/>
              <a:gdLst>
                <a:gd name="T0" fmla="*/ 0 w 403"/>
                <a:gd name="T1" fmla="*/ 33 h 128"/>
                <a:gd name="T2" fmla="*/ 395 w 403"/>
                <a:gd name="T3" fmla="*/ 128 h 128"/>
                <a:gd name="T4" fmla="*/ 403 w 403"/>
                <a:gd name="T5" fmla="*/ 95 h 128"/>
                <a:gd name="T6" fmla="*/ 7 w 403"/>
                <a:gd name="T7" fmla="*/ 0 h 128"/>
              </a:gdLst>
              <a:ahLst/>
              <a:cxnLst>
                <a:cxn ang="0">
                  <a:pos x="T0" y="T1"/>
                </a:cxn>
                <a:cxn ang="0">
                  <a:pos x="T2" y="T3"/>
                </a:cxn>
                <a:cxn ang="0">
                  <a:pos x="T4" y="T5"/>
                </a:cxn>
                <a:cxn ang="0">
                  <a:pos x="T6" y="T7"/>
                </a:cxn>
              </a:cxnLst>
              <a:rect l="0" t="0" r="r" b="b"/>
              <a:pathLst>
                <a:path w="403" h="128">
                  <a:moveTo>
                    <a:pt x="0" y="33"/>
                  </a:moveTo>
                  <a:lnTo>
                    <a:pt x="395" y="128"/>
                  </a:lnTo>
                  <a:lnTo>
                    <a:pt x="403" y="95"/>
                  </a:lnTo>
                  <a:lnTo>
                    <a:pt x="7" y="0"/>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Line 2543">
              <a:extLst>
                <a:ext uri="{FF2B5EF4-FFF2-40B4-BE49-F238E27FC236}">
                  <a16:creationId xmlns:a16="http://schemas.microsoft.com/office/drawing/2014/main" id="{D67FB347-AAF8-1F3B-3A09-AD3CA240E573}"/>
                </a:ext>
              </a:extLst>
            </p:cNvPr>
            <p:cNvSpPr>
              <a:spLocks noChangeShapeType="1"/>
            </p:cNvSpPr>
            <p:nvPr/>
          </p:nvSpPr>
          <p:spPr bwMode="auto">
            <a:xfrm>
              <a:off x="6983737" y="3948727"/>
              <a:ext cx="92492" cy="15420"/>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2544">
              <a:extLst>
                <a:ext uri="{FF2B5EF4-FFF2-40B4-BE49-F238E27FC236}">
                  <a16:creationId xmlns:a16="http://schemas.microsoft.com/office/drawing/2014/main" id="{339F9019-6FCC-5D6D-DC57-C0FE7B8823F9}"/>
                </a:ext>
              </a:extLst>
            </p:cNvPr>
            <p:cNvSpPr>
              <a:spLocks/>
            </p:cNvSpPr>
            <p:nvPr/>
          </p:nvSpPr>
          <p:spPr bwMode="auto">
            <a:xfrm>
              <a:off x="6968327" y="3902476"/>
              <a:ext cx="123322" cy="92492"/>
            </a:xfrm>
            <a:custGeom>
              <a:avLst/>
              <a:gdLst>
                <a:gd name="T0" fmla="*/ 0 w 59"/>
                <a:gd name="T1" fmla="*/ 32 h 44"/>
                <a:gd name="T2" fmla="*/ 51 w 59"/>
                <a:gd name="T3" fmla="*/ 44 h 44"/>
                <a:gd name="T4" fmla="*/ 59 w 59"/>
                <a:gd name="T5" fmla="*/ 12 h 44"/>
                <a:gd name="T6" fmla="*/ 8 w 59"/>
                <a:gd name="T7" fmla="*/ 0 h 44"/>
              </a:gdLst>
              <a:ahLst/>
              <a:cxnLst>
                <a:cxn ang="0">
                  <a:pos x="T0" y="T1"/>
                </a:cxn>
                <a:cxn ang="0">
                  <a:pos x="T2" y="T3"/>
                </a:cxn>
                <a:cxn ang="0">
                  <a:pos x="T4" y="T5"/>
                </a:cxn>
                <a:cxn ang="0">
                  <a:pos x="T6" y="T7"/>
                </a:cxn>
              </a:cxnLst>
              <a:rect l="0" t="0" r="r" b="b"/>
              <a:pathLst>
                <a:path w="59" h="44">
                  <a:moveTo>
                    <a:pt x="0" y="32"/>
                  </a:moveTo>
                  <a:lnTo>
                    <a:pt x="51" y="44"/>
                  </a:lnTo>
                  <a:lnTo>
                    <a:pt x="59" y="12"/>
                  </a:lnTo>
                  <a:lnTo>
                    <a:pt x="8" y="0"/>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Line 2545">
              <a:extLst>
                <a:ext uri="{FF2B5EF4-FFF2-40B4-BE49-F238E27FC236}">
                  <a16:creationId xmlns:a16="http://schemas.microsoft.com/office/drawing/2014/main" id="{6EC1F1C4-DDA5-62ED-F63C-87A838659F83}"/>
                </a:ext>
              </a:extLst>
            </p:cNvPr>
            <p:cNvSpPr>
              <a:spLocks noChangeShapeType="1"/>
            </p:cNvSpPr>
            <p:nvPr/>
          </p:nvSpPr>
          <p:spPr bwMode="auto">
            <a:xfrm flipV="1">
              <a:off x="7584939" y="4796564"/>
              <a:ext cx="570371" cy="462459"/>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2546">
              <a:extLst>
                <a:ext uri="{FF2B5EF4-FFF2-40B4-BE49-F238E27FC236}">
                  <a16:creationId xmlns:a16="http://schemas.microsoft.com/office/drawing/2014/main" id="{9F060389-AABB-D522-3C1B-6AFF3DA85150}"/>
                </a:ext>
              </a:extLst>
            </p:cNvPr>
            <p:cNvSpPr>
              <a:spLocks/>
            </p:cNvSpPr>
            <p:nvPr/>
          </p:nvSpPr>
          <p:spPr bwMode="auto">
            <a:xfrm>
              <a:off x="7569518" y="4781154"/>
              <a:ext cx="601201" cy="508710"/>
            </a:xfrm>
            <a:custGeom>
              <a:avLst/>
              <a:gdLst>
                <a:gd name="T0" fmla="*/ 22 w 303"/>
                <a:gd name="T1" fmla="*/ 258 h 258"/>
                <a:gd name="T2" fmla="*/ 303 w 303"/>
                <a:gd name="T3" fmla="*/ 26 h 258"/>
                <a:gd name="T4" fmla="*/ 282 w 303"/>
                <a:gd name="T5" fmla="*/ 0 h 258"/>
                <a:gd name="T6" fmla="*/ 0 w 303"/>
                <a:gd name="T7" fmla="*/ 233 h 258"/>
              </a:gdLst>
              <a:ahLst/>
              <a:cxnLst>
                <a:cxn ang="0">
                  <a:pos x="T0" y="T1"/>
                </a:cxn>
                <a:cxn ang="0">
                  <a:pos x="T2" y="T3"/>
                </a:cxn>
                <a:cxn ang="0">
                  <a:pos x="T4" y="T5"/>
                </a:cxn>
                <a:cxn ang="0">
                  <a:pos x="T6" y="T7"/>
                </a:cxn>
              </a:cxnLst>
              <a:rect l="0" t="0" r="r" b="b"/>
              <a:pathLst>
                <a:path w="303" h="258">
                  <a:moveTo>
                    <a:pt x="22" y="258"/>
                  </a:moveTo>
                  <a:lnTo>
                    <a:pt x="303" y="26"/>
                  </a:lnTo>
                  <a:lnTo>
                    <a:pt x="282" y="0"/>
                  </a:lnTo>
                  <a:lnTo>
                    <a:pt x="0" y="233"/>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Line 2547">
              <a:extLst>
                <a:ext uri="{FF2B5EF4-FFF2-40B4-BE49-F238E27FC236}">
                  <a16:creationId xmlns:a16="http://schemas.microsoft.com/office/drawing/2014/main" id="{043487CB-1F43-A901-1CCE-16CA086A2CB5}"/>
                </a:ext>
              </a:extLst>
            </p:cNvPr>
            <p:cNvSpPr>
              <a:spLocks noChangeShapeType="1"/>
            </p:cNvSpPr>
            <p:nvPr/>
          </p:nvSpPr>
          <p:spPr bwMode="auto">
            <a:xfrm flipV="1">
              <a:off x="7461616" y="5305274"/>
              <a:ext cx="61661" cy="61661"/>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2548">
              <a:extLst>
                <a:ext uri="{FF2B5EF4-FFF2-40B4-BE49-F238E27FC236}">
                  <a16:creationId xmlns:a16="http://schemas.microsoft.com/office/drawing/2014/main" id="{56E6F0B4-513E-3947-938D-6EFCC0AA2941}"/>
                </a:ext>
              </a:extLst>
            </p:cNvPr>
            <p:cNvSpPr>
              <a:spLocks/>
            </p:cNvSpPr>
            <p:nvPr/>
          </p:nvSpPr>
          <p:spPr bwMode="auto">
            <a:xfrm>
              <a:off x="7430786" y="5289854"/>
              <a:ext cx="123322" cy="107912"/>
            </a:xfrm>
            <a:custGeom>
              <a:avLst/>
              <a:gdLst>
                <a:gd name="T0" fmla="*/ 21 w 58"/>
                <a:gd name="T1" fmla="*/ 56 h 56"/>
                <a:gd name="T2" fmla="*/ 58 w 58"/>
                <a:gd name="T3" fmla="*/ 26 h 56"/>
                <a:gd name="T4" fmla="*/ 37 w 58"/>
                <a:gd name="T5" fmla="*/ 0 h 56"/>
                <a:gd name="T6" fmla="*/ 0 w 58"/>
                <a:gd name="T7" fmla="*/ 31 h 56"/>
              </a:gdLst>
              <a:ahLst/>
              <a:cxnLst>
                <a:cxn ang="0">
                  <a:pos x="T0" y="T1"/>
                </a:cxn>
                <a:cxn ang="0">
                  <a:pos x="T2" y="T3"/>
                </a:cxn>
                <a:cxn ang="0">
                  <a:pos x="T4" y="T5"/>
                </a:cxn>
                <a:cxn ang="0">
                  <a:pos x="T6" y="T7"/>
                </a:cxn>
              </a:cxnLst>
              <a:rect l="0" t="0" r="r" b="b"/>
              <a:pathLst>
                <a:path w="58" h="56">
                  <a:moveTo>
                    <a:pt x="21" y="56"/>
                  </a:moveTo>
                  <a:lnTo>
                    <a:pt x="58" y="26"/>
                  </a:lnTo>
                  <a:lnTo>
                    <a:pt x="37" y="0"/>
                  </a:lnTo>
                  <a:lnTo>
                    <a:pt x="0" y="31"/>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Shape 3000">
              <a:extLst>
                <a:ext uri="{FF2B5EF4-FFF2-40B4-BE49-F238E27FC236}">
                  <a16:creationId xmlns:a16="http://schemas.microsoft.com/office/drawing/2014/main" id="{9036DF6E-D784-AEDF-ADB3-7560435F9F02}"/>
                </a:ext>
              </a:extLst>
            </p:cNvPr>
            <p:cNvSpPr>
              <a:spLocks/>
            </p:cNvSpPr>
            <p:nvPr/>
          </p:nvSpPr>
          <p:spPr bwMode="auto">
            <a:xfrm>
              <a:off x="6652288" y="3855394"/>
              <a:ext cx="269799" cy="540382"/>
            </a:xfrm>
            <a:custGeom>
              <a:avLst/>
              <a:gdLst>
                <a:gd name="connsiteX0" fmla="*/ 0 w 269799"/>
                <a:gd name="connsiteY0" fmla="*/ 100959 h 540382"/>
                <a:gd name="connsiteX1" fmla="*/ 38565 w 269799"/>
                <a:gd name="connsiteY1" fmla="*/ 108745 h 540382"/>
                <a:gd name="connsiteX2" fmla="*/ 71712 w 269799"/>
                <a:gd name="connsiteY2" fmla="*/ 102053 h 540382"/>
                <a:gd name="connsiteX3" fmla="*/ 208137 w 269799"/>
                <a:gd name="connsiteY3" fmla="*/ 524967 h 540382"/>
                <a:gd name="connsiteX4" fmla="*/ 146475 w 269799"/>
                <a:gd name="connsiteY4" fmla="*/ 540382 h 540382"/>
                <a:gd name="connsiteX5" fmla="*/ 158945 w 269799"/>
                <a:gd name="connsiteY5" fmla="*/ 0 h 540382"/>
                <a:gd name="connsiteX6" fmla="*/ 269799 w 269799"/>
                <a:gd name="connsiteY6" fmla="*/ 31673 h 540382"/>
                <a:gd name="connsiteX7" fmla="*/ 254384 w 269799"/>
                <a:gd name="connsiteY7" fmla="*/ 93334 h 540382"/>
                <a:gd name="connsiteX8" fmla="*/ 131001 w 269799"/>
                <a:gd name="connsiteY8" fmla="*/ 64862 h 540382"/>
                <a:gd name="connsiteX9" fmla="*/ 152197 w 269799"/>
                <a:gd name="connsiteY9" fmla="*/ 33425 h 54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799" h="540382">
                  <a:moveTo>
                    <a:pt x="0" y="100959"/>
                  </a:moveTo>
                  <a:lnTo>
                    <a:pt x="38565" y="108745"/>
                  </a:lnTo>
                  <a:lnTo>
                    <a:pt x="71712" y="102053"/>
                  </a:lnTo>
                  <a:lnTo>
                    <a:pt x="208137" y="524967"/>
                  </a:lnTo>
                  <a:lnTo>
                    <a:pt x="146475" y="540382"/>
                  </a:lnTo>
                  <a:close/>
                  <a:moveTo>
                    <a:pt x="158945" y="0"/>
                  </a:moveTo>
                  <a:lnTo>
                    <a:pt x="269799" y="31673"/>
                  </a:lnTo>
                  <a:lnTo>
                    <a:pt x="254384" y="93334"/>
                  </a:lnTo>
                  <a:lnTo>
                    <a:pt x="131001" y="64862"/>
                  </a:lnTo>
                  <a:lnTo>
                    <a:pt x="152197" y="33425"/>
                  </a:ln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Line 2550">
              <a:extLst>
                <a:ext uri="{FF2B5EF4-FFF2-40B4-BE49-F238E27FC236}">
                  <a16:creationId xmlns:a16="http://schemas.microsoft.com/office/drawing/2014/main" id="{CCCC6F21-8FDE-73CF-811C-AD50E96C9603}"/>
                </a:ext>
              </a:extLst>
            </p:cNvPr>
            <p:cNvSpPr>
              <a:spLocks noChangeShapeType="1"/>
            </p:cNvSpPr>
            <p:nvPr/>
          </p:nvSpPr>
          <p:spPr bwMode="auto">
            <a:xfrm flipH="1" flipV="1">
              <a:off x="6860415" y="4472847"/>
              <a:ext cx="215814" cy="647443"/>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2551">
              <a:extLst>
                <a:ext uri="{FF2B5EF4-FFF2-40B4-BE49-F238E27FC236}">
                  <a16:creationId xmlns:a16="http://schemas.microsoft.com/office/drawing/2014/main" id="{33C54C5F-A99E-EE96-845B-800A1ACBCD80}"/>
                </a:ext>
              </a:extLst>
            </p:cNvPr>
            <p:cNvSpPr>
              <a:spLocks/>
            </p:cNvSpPr>
            <p:nvPr/>
          </p:nvSpPr>
          <p:spPr bwMode="auto">
            <a:xfrm>
              <a:off x="6829584" y="4457427"/>
              <a:ext cx="292895" cy="678273"/>
            </a:xfrm>
            <a:custGeom>
              <a:avLst/>
              <a:gdLst>
                <a:gd name="T0" fmla="*/ 143 w 143"/>
                <a:gd name="T1" fmla="*/ 328 h 339"/>
                <a:gd name="T2" fmla="*/ 32 w 143"/>
                <a:gd name="T3" fmla="*/ 0 h 339"/>
                <a:gd name="T4" fmla="*/ 0 w 143"/>
                <a:gd name="T5" fmla="*/ 11 h 339"/>
                <a:gd name="T6" fmla="*/ 111 w 143"/>
                <a:gd name="T7" fmla="*/ 339 h 339"/>
              </a:gdLst>
              <a:ahLst/>
              <a:cxnLst>
                <a:cxn ang="0">
                  <a:pos x="T0" y="T1"/>
                </a:cxn>
                <a:cxn ang="0">
                  <a:pos x="T2" y="T3"/>
                </a:cxn>
                <a:cxn ang="0">
                  <a:pos x="T4" y="T5"/>
                </a:cxn>
                <a:cxn ang="0">
                  <a:pos x="T6" y="T7"/>
                </a:cxn>
              </a:cxnLst>
              <a:rect l="0" t="0" r="r" b="b"/>
              <a:pathLst>
                <a:path w="143" h="339">
                  <a:moveTo>
                    <a:pt x="143" y="328"/>
                  </a:moveTo>
                  <a:lnTo>
                    <a:pt x="32" y="0"/>
                  </a:lnTo>
                  <a:lnTo>
                    <a:pt x="0" y="11"/>
                  </a:lnTo>
                  <a:lnTo>
                    <a:pt x="111" y="339"/>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Line 2552">
              <a:extLst>
                <a:ext uri="{FF2B5EF4-FFF2-40B4-BE49-F238E27FC236}">
                  <a16:creationId xmlns:a16="http://schemas.microsoft.com/office/drawing/2014/main" id="{DD5B068C-8E0F-D0A4-C3D1-B85AE9DF6CBC}"/>
                </a:ext>
              </a:extLst>
            </p:cNvPr>
            <p:cNvSpPr>
              <a:spLocks noChangeShapeType="1"/>
            </p:cNvSpPr>
            <p:nvPr/>
          </p:nvSpPr>
          <p:spPr bwMode="auto">
            <a:xfrm flipH="1" flipV="1">
              <a:off x="7107060" y="5181951"/>
              <a:ext cx="30831" cy="92492"/>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2553">
              <a:extLst>
                <a:ext uri="{FF2B5EF4-FFF2-40B4-BE49-F238E27FC236}">
                  <a16:creationId xmlns:a16="http://schemas.microsoft.com/office/drawing/2014/main" id="{680D2DD5-0C7B-C26C-98C1-2557EA41786C}"/>
                </a:ext>
              </a:extLst>
            </p:cNvPr>
            <p:cNvSpPr>
              <a:spLocks/>
            </p:cNvSpPr>
            <p:nvPr/>
          </p:nvSpPr>
          <p:spPr bwMode="auto">
            <a:xfrm>
              <a:off x="7076229" y="5181951"/>
              <a:ext cx="92492" cy="107912"/>
            </a:xfrm>
            <a:custGeom>
              <a:avLst/>
              <a:gdLst>
                <a:gd name="T0" fmla="*/ 46 w 46"/>
                <a:gd name="T1" fmla="*/ 42 h 53"/>
                <a:gd name="T2" fmla="*/ 32 w 46"/>
                <a:gd name="T3" fmla="*/ 0 h 53"/>
                <a:gd name="T4" fmla="*/ 0 w 46"/>
                <a:gd name="T5" fmla="*/ 11 h 53"/>
                <a:gd name="T6" fmla="*/ 15 w 46"/>
                <a:gd name="T7" fmla="*/ 53 h 53"/>
              </a:gdLst>
              <a:ahLst/>
              <a:cxnLst>
                <a:cxn ang="0">
                  <a:pos x="T0" y="T1"/>
                </a:cxn>
                <a:cxn ang="0">
                  <a:pos x="T2" y="T3"/>
                </a:cxn>
                <a:cxn ang="0">
                  <a:pos x="T4" y="T5"/>
                </a:cxn>
                <a:cxn ang="0">
                  <a:pos x="T6" y="T7"/>
                </a:cxn>
              </a:cxnLst>
              <a:rect l="0" t="0" r="r" b="b"/>
              <a:pathLst>
                <a:path w="46" h="53">
                  <a:moveTo>
                    <a:pt x="46" y="42"/>
                  </a:moveTo>
                  <a:lnTo>
                    <a:pt x="32" y="0"/>
                  </a:lnTo>
                  <a:lnTo>
                    <a:pt x="0" y="11"/>
                  </a:lnTo>
                  <a:lnTo>
                    <a:pt x="15" y="53"/>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Shape 3005">
              <a:extLst>
                <a:ext uri="{FF2B5EF4-FFF2-40B4-BE49-F238E27FC236}">
                  <a16:creationId xmlns:a16="http://schemas.microsoft.com/office/drawing/2014/main" id="{E55A2E59-4356-575B-434A-12AE6CE67E77}"/>
                </a:ext>
              </a:extLst>
            </p:cNvPr>
            <p:cNvSpPr>
              <a:spLocks/>
            </p:cNvSpPr>
            <p:nvPr/>
          </p:nvSpPr>
          <p:spPr bwMode="auto">
            <a:xfrm>
              <a:off x="7122480" y="5336104"/>
              <a:ext cx="308306" cy="177305"/>
            </a:xfrm>
            <a:custGeom>
              <a:avLst/>
              <a:gdLst>
                <a:gd name="connsiteX0" fmla="*/ 262060 w 308306"/>
                <a:gd name="connsiteY0" fmla="*/ 46247 h 177305"/>
                <a:gd name="connsiteX1" fmla="*/ 308306 w 308306"/>
                <a:gd name="connsiteY1" fmla="*/ 107909 h 177305"/>
                <a:gd name="connsiteX2" fmla="*/ 211154 w 308306"/>
                <a:gd name="connsiteY2" fmla="*/ 177305 h 177305"/>
                <a:gd name="connsiteX3" fmla="*/ 206124 w 308306"/>
                <a:gd name="connsiteY3" fmla="*/ 152393 h 177305"/>
                <a:gd name="connsiteX4" fmla="*/ 179695 w 308306"/>
                <a:gd name="connsiteY4" fmla="*/ 113193 h 177305"/>
                <a:gd name="connsiteX5" fmla="*/ 177710 w 308306"/>
                <a:gd name="connsiteY5" fmla="*/ 111855 h 177305"/>
                <a:gd name="connsiteX6" fmla="*/ 61661 w 308306"/>
                <a:gd name="connsiteY6" fmla="*/ 0 h 177305"/>
                <a:gd name="connsiteX7" fmla="*/ 92490 w 308306"/>
                <a:gd name="connsiteY7" fmla="*/ 77073 h 177305"/>
                <a:gd name="connsiteX8" fmla="*/ 44490 w 308306"/>
                <a:gd name="connsiteY8" fmla="*/ 86764 h 177305"/>
                <a:gd name="connsiteX9" fmla="*/ 30334 w 308306"/>
                <a:gd name="connsiteY9" fmla="*/ 96308 h 177305"/>
                <a:gd name="connsiteX10" fmla="*/ 0 w 308306"/>
                <a:gd name="connsiteY10" fmla="*/ 15416 h 17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8306" h="177305">
                  <a:moveTo>
                    <a:pt x="262060" y="46247"/>
                  </a:moveTo>
                  <a:lnTo>
                    <a:pt x="308306" y="107909"/>
                  </a:lnTo>
                  <a:lnTo>
                    <a:pt x="211154" y="177305"/>
                  </a:lnTo>
                  <a:lnTo>
                    <a:pt x="206124" y="152393"/>
                  </a:lnTo>
                  <a:cubicBezTo>
                    <a:pt x="199883" y="137638"/>
                    <a:pt x="190853" y="124351"/>
                    <a:pt x="179695" y="113193"/>
                  </a:cubicBezTo>
                  <a:lnTo>
                    <a:pt x="177710" y="111855"/>
                  </a:lnTo>
                  <a:close/>
                  <a:moveTo>
                    <a:pt x="61661" y="0"/>
                  </a:moveTo>
                  <a:lnTo>
                    <a:pt x="92490" y="77073"/>
                  </a:lnTo>
                  <a:lnTo>
                    <a:pt x="44490" y="86764"/>
                  </a:lnTo>
                  <a:lnTo>
                    <a:pt x="30334" y="96308"/>
                  </a:lnTo>
                  <a:lnTo>
                    <a:pt x="0" y="15416"/>
                  </a:ln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2556">
              <a:extLst>
                <a:ext uri="{FF2B5EF4-FFF2-40B4-BE49-F238E27FC236}">
                  <a16:creationId xmlns:a16="http://schemas.microsoft.com/office/drawing/2014/main" id="{A24F5B3C-CD53-0F04-23A1-976A03BDA63D}"/>
                </a:ext>
              </a:extLst>
            </p:cNvPr>
            <p:cNvSpPr>
              <a:spLocks/>
            </p:cNvSpPr>
            <p:nvPr/>
          </p:nvSpPr>
          <p:spPr bwMode="auto">
            <a:xfrm>
              <a:off x="6536698" y="3686662"/>
              <a:ext cx="308306" cy="308306"/>
            </a:xfrm>
            <a:custGeom>
              <a:avLst/>
              <a:gdLst>
                <a:gd name="T0" fmla="*/ 140 w 157"/>
                <a:gd name="T1" fmla="*/ 79 h 157"/>
                <a:gd name="T2" fmla="*/ 123 w 157"/>
                <a:gd name="T3" fmla="*/ 79 h 157"/>
                <a:gd name="T4" fmla="*/ 78 w 157"/>
                <a:gd name="T5" fmla="*/ 124 h 157"/>
                <a:gd name="T6" fmla="*/ 33 w 157"/>
                <a:gd name="T7" fmla="*/ 79 h 157"/>
                <a:gd name="T8" fmla="*/ 78 w 157"/>
                <a:gd name="T9" fmla="*/ 34 h 157"/>
                <a:gd name="T10" fmla="*/ 123 w 157"/>
                <a:gd name="T11" fmla="*/ 79 h 157"/>
                <a:gd name="T12" fmla="*/ 140 w 157"/>
                <a:gd name="T13" fmla="*/ 79 h 157"/>
                <a:gd name="T14" fmla="*/ 157 w 157"/>
                <a:gd name="T15" fmla="*/ 79 h 157"/>
                <a:gd name="T16" fmla="*/ 78 w 157"/>
                <a:gd name="T17" fmla="*/ 0 h 157"/>
                <a:gd name="T18" fmla="*/ 0 w 157"/>
                <a:gd name="T19" fmla="*/ 79 h 157"/>
                <a:gd name="T20" fmla="*/ 78 w 157"/>
                <a:gd name="T21" fmla="*/ 157 h 157"/>
                <a:gd name="T22" fmla="*/ 157 w 157"/>
                <a:gd name="T23" fmla="*/ 79 h 157"/>
                <a:gd name="T24" fmla="*/ 140 w 157"/>
                <a:gd name="T25"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7">
                  <a:moveTo>
                    <a:pt x="140" y="79"/>
                  </a:moveTo>
                  <a:lnTo>
                    <a:pt x="123" y="79"/>
                  </a:lnTo>
                  <a:cubicBezTo>
                    <a:pt x="123" y="104"/>
                    <a:pt x="103" y="124"/>
                    <a:pt x="78" y="124"/>
                  </a:cubicBezTo>
                  <a:cubicBezTo>
                    <a:pt x="53" y="124"/>
                    <a:pt x="33" y="104"/>
                    <a:pt x="33" y="79"/>
                  </a:cubicBezTo>
                  <a:cubicBezTo>
                    <a:pt x="33" y="54"/>
                    <a:pt x="53" y="34"/>
                    <a:pt x="78" y="34"/>
                  </a:cubicBezTo>
                  <a:cubicBezTo>
                    <a:pt x="103" y="34"/>
                    <a:pt x="123" y="54"/>
                    <a:pt x="123" y="79"/>
                  </a:cubicBezTo>
                  <a:lnTo>
                    <a:pt x="140" y="79"/>
                  </a:lnTo>
                  <a:lnTo>
                    <a:pt x="157" y="79"/>
                  </a:lnTo>
                  <a:cubicBezTo>
                    <a:pt x="157" y="35"/>
                    <a:pt x="121" y="0"/>
                    <a:pt x="78" y="0"/>
                  </a:cubicBezTo>
                  <a:cubicBezTo>
                    <a:pt x="35" y="0"/>
                    <a:pt x="0" y="35"/>
                    <a:pt x="0" y="79"/>
                  </a:cubicBezTo>
                  <a:cubicBezTo>
                    <a:pt x="0" y="122"/>
                    <a:pt x="35" y="157"/>
                    <a:pt x="78" y="157"/>
                  </a:cubicBezTo>
                  <a:cubicBezTo>
                    <a:pt x="121" y="157"/>
                    <a:pt x="157" y="122"/>
                    <a:pt x="157" y="79"/>
                  </a:cubicBezTo>
                  <a:lnTo>
                    <a:pt x="140" y="79"/>
                  </a:lnTo>
                  <a:close/>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2558">
              <a:extLst>
                <a:ext uri="{FF2B5EF4-FFF2-40B4-BE49-F238E27FC236}">
                  <a16:creationId xmlns:a16="http://schemas.microsoft.com/office/drawing/2014/main" id="{F187BC8F-02BF-3E22-0BE5-70EBC46DD7EB}"/>
                </a:ext>
              </a:extLst>
            </p:cNvPr>
            <p:cNvSpPr>
              <a:spLocks/>
            </p:cNvSpPr>
            <p:nvPr/>
          </p:nvSpPr>
          <p:spPr bwMode="auto">
            <a:xfrm>
              <a:off x="8494436" y="4179952"/>
              <a:ext cx="308306" cy="308306"/>
            </a:xfrm>
            <a:custGeom>
              <a:avLst/>
              <a:gdLst>
                <a:gd name="T0" fmla="*/ 140 w 157"/>
                <a:gd name="T1" fmla="*/ 78 h 157"/>
                <a:gd name="T2" fmla="*/ 124 w 157"/>
                <a:gd name="T3" fmla="*/ 78 h 157"/>
                <a:gd name="T4" fmla="*/ 78 w 157"/>
                <a:gd name="T5" fmla="*/ 123 h 157"/>
                <a:gd name="T6" fmla="*/ 33 w 157"/>
                <a:gd name="T7" fmla="*/ 78 h 157"/>
                <a:gd name="T8" fmla="*/ 78 w 157"/>
                <a:gd name="T9" fmla="*/ 33 h 157"/>
                <a:gd name="T10" fmla="*/ 124 w 157"/>
                <a:gd name="T11" fmla="*/ 78 h 157"/>
                <a:gd name="T12" fmla="*/ 140 w 157"/>
                <a:gd name="T13" fmla="*/ 78 h 157"/>
                <a:gd name="T14" fmla="*/ 157 w 157"/>
                <a:gd name="T15" fmla="*/ 78 h 157"/>
                <a:gd name="T16" fmla="*/ 78 w 157"/>
                <a:gd name="T17" fmla="*/ 0 h 157"/>
                <a:gd name="T18" fmla="*/ 0 w 157"/>
                <a:gd name="T19" fmla="*/ 78 h 157"/>
                <a:gd name="T20" fmla="*/ 78 w 157"/>
                <a:gd name="T21" fmla="*/ 157 h 157"/>
                <a:gd name="T22" fmla="*/ 157 w 157"/>
                <a:gd name="T23" fmla="*/ 78 h 157"/>
                <a:gd name="T24" fmla="*/ 140 w 157"/>
                <a:gd name="T25"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7">
                  <a:moveTo>
                    <a:pt x="140" y="78"/>
                  </a:moveTo>
                  <a:lnTo>
                    <a:pt x="124" y="78"/>
                  </a:lnTo>
                  <a:cubicBezTo>
                    <a:pt x="124" y="103"/>
                    <a:pt x="103" y="123"/>
                    <a:pt x="78" y="123"/>
                  </a:cubicBezTo>
                  <a:cubicBezTo>
                    <a:pt x="54" y="123"/>
                    <a:pt x="33" y="103"/>
                    <a:pt x="33" y="78"/>
                  </a:cubicBezTo>
                  <a:cubicBezTo>
                    <a:pt x="33" y="53"/>
                    <a:pt x="54" y="33"/>
                    <a:pt x="78" y="33"/>
                  </a:cubicBezTo>
                  <a:cubicBezTo>
                    <a:pt x="103" y="33"/>
                    <a:pt x="124" y="53"/>
                    <a:pt x="124" y="78"/>
                  </a:cubicBezTo>
                  <a:lnTo>
                    <a:pt x="140" y="78"/>
                  </a:lnTo>
                  <a:lnTo>
                    <a:pt x="157" y="78"/>
                  </a:lnTo>
                  <a:cubicBezTo>
                    <a:pt x="157" y="35"/>
                    <a:pt x="122" y="0"/>
                    <a:pt x="78" y="0"/>
                  </a:cubicBezTo>
                  <a:cubicBezTo>
                    <a:pt x="35" y="0"/>
                    <a:pt x="0" y="35"/>
                    <a:pt x="0" y="78"/>
                  </a:cubicBezTo>
                  <a:cubicBezTo>
                    <a:pt x="0" y="122"/>
                    <a:pt x="35" y="157"/>
                    <a:pt x="78" y="157"/>
                  </a:cubicBezTo>
                  <a:cubicBezTo>
                    <a:pt x="122" y="157"/>
                    <a:pt x="157" y="122"/>
                    <a:pt x="157" y="78"/>
                  </a:cubicBezTo>
                  <a:lnTo>
                    <a:pt x="140" y="78"/>
                  </a:lnTo>
                  <a:close/>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2560">
              <a:extLst>
                <a:ext uri="{FF2B5EF4-FFF2-40B4-BE49-F238E27FC236}">
                  <a16:creationId xmlns:a16="http://schemas.microsoft.com/office/drawing/2014/main" id="{C4063AE9-7F3F-9CB8-5417-69FBA79EA59D}"/>
                </a:ext>
              </a:extLst>
            </p:cNvPr>
            <p:cNvSpPr>
              <a:spLocks/>
            </p:cNvSpPr>
            <p:nvPr/>
          </p:nvSpPr>
          <p:spPr bwMode="auto">
            <a:xfrm>
              <a:off x="7060819" y="5382346"/>
              <a:ext cx="308306" cy="308306"/>
            </a:xfrm>
            <a:custGeom>
              <a:avLst/>
              <a:gdLst>
                <a:gd name="T0" fmla="*/ 141 w 157"/>
                <a:gd name="T1" fmla="*/ 78 h 156"/>
                <a:gd name="T2" fmla="*/ 124 w 157"/>
                <a:gd name="T3" fmla="*/ 78 h 156"/>
                <a:gd name="T4" fmla="*/ 79 w 157"/>
                <a:gd name="T5" fmla="*/ 123 h 156"/>
                <a:gd name="T6" fmla="*/ 34 w 157"/>
                <a:gd name="T7" fmla="*/ 78 h 156"/>
                <a:gd name="T8" fmla="*/ 79 w 157"/>
                <a:gd name="T9" fmla="*/ 33 h 156"/>
                <a:gd name="T10" fmla="*/ 124 w 157"/>
                <a:gd name="T11" fmla="*/ 78 h 156"/>
                <a:gd name="T12" fmla="*/ 141 w 157"/>
                <a:gd name="T13" fmla="*/ 78 h 156"/>
                <a:gd name="T14" fmla="*/ 157 w 157"/>
                <a:gd name="T15" fmla="*/ 78 h 156"/>
                <a:gd name="T16" fmla="*/ 79 w 157"/>
                <a:gd name="T17" fmla="*/ 0 h 156"/>
                <a:gd name="T18" fmla="*/ 0 w 157"/>
                <a:gd name="T19" fmla="*/ 78 h 156"/>
                <a:gd name="T20" fmla="*/ 79 w 157"/>
                <a:gd name="T21" fmla="*/ 156 h 156"/>
                <a:gd name="T22" fmla="*/ 157 w 157"/>
                <a:gd name="T23" fmla="*/ 78 h 156"/>
                <a:gd name="T24" fmla="*/ 141 w 157"/>
                <a:gd name="T2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6">
                  <a:moveTo>
                    <a:pt x="141" y="78"/>
                  </a:moveTo>
                  <a:lnTo>
                    <a:pt x="124" y="78"/>
                  </a:lnTo>
                  <a:cubicBezTo>
                    <a:pt x="124" y="103"/>
                    <a:pt x="104" y="123"/>
                    <a:pt x="79" y="123"/>
                  </a:cubicBezTo>
                  <a:cubicBezTo>
                    <a:pt x="54" y="123"/>
                    <a:pt x="34" y="103"/>
                    <a:pt x="34" y="78"/>
                  </a:cubicBezTo>
                  <a:cubicBezTo>
                    <a:pt x="34" y="53"/>
                    <a:pt x="54" y="33"/>
                    <a:pt x="79" y="33"/>
                  </a:cubicBezTo>
                  <a:cubicBezTo>
                    <a:pt x="104" y="33"/>
                    <a:pt x="124" y="53"/>
                    <a:pt x="124" y="78"/>
                  </a:cubicBezTo>
                  <a:lnTo>
                    <a:pt x="141" y="78"/>
                  </a:lnTo>
                  <a:lnTo>
                    <a:pt x="157" y="78"/>
                  </a:lnTo>
                  <a:cubicBezTo>
                    <a:pt x="157" y="35"/>
                    <a:pt x="122" y="0"/>
                    <a:pt x="79" y="0"/>
                  </a:cubicBezTo>
                  <a:cubicBezTo>
                    <a:pt x="35" y="0"/>
                    <a:pt x="0" y="35"/>
                    <a:pt x="0" y="78"/>
                  </a:cubicBezTo>
                  <a:cubicBezTo>
                    <a:pt x="0" y="121"/>
                    <a:pt x="35" y="156"/>
                    <a:pt x="79" y="156"/>
                  </a:cubicBezTo>
                  <a:cubicBezTo>
                    <a:pt x="122" y="156"/>
                    <a:pt x="157" y="121"/>
                    <a:pt x="157" y="78"/>
                  </a:cubicBezTo>
                  <a:lnTo>
                    <a:pt x="141" y="78"/>
                  </a:lnTo>
                  <a:close/>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2562">
              <a:extLst>
                <a:ext uri="{FF2B5EF4-FFF2-40B4-BE49-F238E27FC236}">
                  <a16:creationId xmlns:a16="http://schemas.microsoft.com/office/drawing/2014/main" id="{0CDD36CD-24B8-0E1D-B303-766F3535A95B}"/>
                </a:ext>
              </a:extLst>
            </p:cNvPr>
            <p:cNvSpPr>
              <a:spLocks/>
            </p:cNvSpPr>
            <p:nvPr/>
          </p:nvSpPr>
          <p:spPr bwMode="auto">
            <a:xfrm>
              <a:off x="7045398" y="4657831"/>
              <a:ext cx="554951" cy="739935"/>
            </a:xfrm>
            <a:custGeom>
              <a:avLst/>
              <a:gdLst>
                <a:gd name="T0" fmla="*/ 259 w 276"/>
                <a:gd name="T1" fmla="*/ 129 h 370"/>
                <a:gd name="T2" fmla="*/ 243 w 276"/>
                <a:gd name="T3" fmla="*/ 129 h 370"/>
                <a:gd name="T4" fmla="*/ 238 w 276"/>
                <a:gd name="T5" fmla="*/ 151 h 370"/>
                <a:gd name="T6" fmla="*/ 175 w 276"/>
                <a:gd name="T7" fmla="*/ 267 h 370"/>
                <a:gd name="T8" fmla="*/ 142 w 276"/>
                <a:gd name="T9" fmla="*/ 314 h 370"/>
                <a:gd name="T10" fmla="*/ 132 w 276"/>
                <a:gd name="T11" fmla="*/ 328 h 370"/>
                <a:gd name="T12" fmla="*/ 128 w 276"/>
                <a:gd name="T13" fmla="*/ 333 h 370"/>
                <a:gd name="T14" fmla="*/ 141 w 276"/>
                <a:gd name="T15" fmla="*/ 343 h 370"/>
                <a:gd name="T16" fmla="*/ 154 w 276"/>
                <a:gd name="T17" fmla="*/ 333 h 370"/>
                <a:gd name="T18" fmla="*/ 153 w 276"/>
                <a:gd name="T19" fmla="*/ 331 h 370"/>
                <a:gd name="T20" fmla="*/ 87 w 276"/>
                <a:gd name="T21" fmla="*/ 242 h 370"/>
                <a:gd name="T22" fmla="*/ 49 w 276"/>
                <a:gd name="T23" fmla="*/ 177 h 370"/>
                <a:gd name="T24" fmla="*/ 37 w 276"/>
                <a:gd name="T25" fmla="*/ 149 h 370"/>
                <a:gd name="T26" fmla="*/ 33 w 276"/>
                <a:gd name="T27" fmla="*/ 129 h 370"/>
                <a:gd name="T28" fmla="*/ 63 w 276"/>
                <a:gd name="T29" fmla="*/ 62 h 370"/>
                <a:gd name="T30" fmla="*/ 138 w 276"/>
                <a:gd name="T31" fmla="*/ 33 h 370"/>
                <a:gd name="T32" fmla="*/ 212 w 276"/>
                <a:gd name="T33" fmla="*/ 62 h 370"/>
                <a:gd name="T34" fmla="*/ 243 w 276"/>
                <a:gd name="T35" fmla="*/ 129 h 370"/>
                <a:gd name="T36" fmla="*/ 259 w 276"/>
                <a:gd name="T37" fmla="*/ 129 h 370"/>
                <a:gd name="T38" fmla="*/ 276 w 276"/>
                <a:gd name="T39" fmla="*/ 129 h 370"/>
                <a:gd name="T40" fmla="*/ 235 w 276"/>
                <a:gd name="T41" fmla="*/ 37 h 370"/>
                <a:gd name="T42" fmla="*/ 138 w 276"/>
                <a:gd name="T43" fmla="*/ 0 h 370"/>
                <a:gd name="T44" fmla="*/ 41 w 276"/>
                <a:gd name="T45" fmla="*/ 37 h 370"/>
                <a:gd name="T46" fmla="*/ 0 w 276"/>
                <a:gd name="T47" fmla="*/ 129 h 370"/>
                <a:gd name="T48" fmla="*/ 6 w 276"/>
                <a:gd name="T49" fmla="*/ 162 h 370"/>
                <a:gd name="T50" fmla="*/ 77 w 276"/>
                <a:gd name="T51" fmla="*/ 286 h 370"/>
                <a:gd name="T52" fmla="*/ 128 w 276"/>
                <a:gd name="T53" fmla="*/ 354 h 370"/>
                <a:gd name="T54" fmla="*/ 142 w 276"/>
                <a:gd name="T55" fmla="*/ 370 h 370"/>
                <a:gd name="T56" fmla="*/ 154 w 276"/>
                <a:gd name="T57" fmla="*/ 354 h 370"/>
                <a:gd name="T58" fmla="*/ 214 w 276"/>
                <a:gd name="T59" fmla="*/ 269 h 370"/>
                <a:gd name="T60" fmla="*/ 256 w 276"/>
                <a:gd name="T61" fmla="*/ 196 h 370"/>
                <a:gd name="T62" fmla="*/ 270 w 276"/>
                <a:gd name="T63" fmla="*/ 162 h 370"/>
                <a:gd name="T64" fmla="*/ 276 w 276"/>
                <a:gd name="T65" fmla="*/ 129 h 370"/>
                <a:gd name="T66" fmla="*/ 259 w 276"/>
                <a:gd name="T67" fmla="*/ 129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370">
                  <a:moveTo>
                    <a:pt x="259" y="129"/>
                  </a:moveTo>
                  <a:lnTo>
                    <a:pt x="243" y="129"/>
                  </a:lnTo>
                  <a:cubicBezTo>
                    <a:pt x="243" y="134"/>
                    <a:pt x="241" y="142"/>
                    <a:pt x="238" y="151"/>
                  </a:cubicBezTo>
                  <a:cubicBezTo>
                    <a:pt x="228" y="183"/>
                    <a:pt x="201" y="230"/>
                    <a:pt x="175" y="267"/>
                  </a:cubicBezTo>
                  <a:cubicBezTo>
                    <a:pt x="163" y="286"/>
                    <a:pt x="151" y="302"/>
                    <a:pt x="142" y="314"/>
                  </a:cubicBezTo>
                  <a:cubicBezTo>
                    <a:pt x="138" y="320"/>
                    <a:pt x="134" y="325"/>
                    <a:pt x="132" y="328"/>
                  </a:cubicBezTo>
                  <a:cubicBezTo>
                    <a:pt x="129" y="332"/>
                    <a:pt x="128" y="333"/>
                    <a:pt x="128" y="333"/>
                  </a:cubicBezTo>
                  <a:lnTo>
                    <a:pt x="141" y="343"/>
                  </a:lnTo>
                  <a:lnTo>
                    <a:pt x="154" y="333"/>
                  </a:lnTo>
                  <a:lnTo>
                    <a:pt x="153" y="331"/>
                  </a:lnTo>
                  <a:cubicBezTo>
                    <a:pt x="146" y="323"/>
                    <a:pt x="116" y="285"/>
                    <a:pt x="87" y="242"/>
                  </a:cubicBezTo>
                  <a:cubicBezTo>
                    <a:pt x="73" y="220"/>
                    <a:pt x="59" y="198"/>
                    <a:pt x="49" y="177"/>
                  </a:cubicBezTo>
                  <a:cubicBezTo>
                    <a:pt x="44" y="167"/>
                    <a:pt x="40" y="158"/>
                    <a:pt x="37" y="149"/>
                  </a:cubicBezTo>
                  <a:cubicBezTo>
                    <a:pt x="35" y="141"/>
                    <a:pt x="33" y="134"/>
                    <a:pt x="33" y="129"/>
                  </a:cubicBezTo>
                  <a:cubicBezTo>
                    <a:pt x="33" y="103"/>
                    <a:pt x="45" y="79"/>
                    <a:pt x="63" y="62"/>
                  </a:cubicBezTo>
                  <a:cubicBezTo>
                    <a:pt x="82" y="44"/>
                    <a:pt x="109" y="33"/>
                    <a:pt x="138" y="33"/>
                  </a:cubicBezTo>
                  <a:cubicBezTo>
                    <a:pt x="167" y="33"/>
                    <a:pt x="194" y="44"/>
                    <a:pt x="212" y="62"/>
                  </a:cubicBezTo>
                  <a:cubicBezTo>
                    <a:pt x="231" y="79"/>
                    <a:pt x="243" y="103"/>
                    <a:pt x="243" y="129"/>
                  </a:cubicBezTo>
                  <a:lnTo>
                    <a:pt x="259" y="129"/>
                  </a:lnTo>
                  <a:lnTo>
                    <a:pt x="276" y="129"/>
                  </a:lnTo>
                  <a:cubicBezTo>
                    <a:pt x="276" y="93"/>
                    <a:pt x="260" y="61"/>
                    <a:pt x="235" y="37"/>
                  </a:cubicBezTo>
                  <a:cubicBezTo>
                    <a:pt x="210" y="14"/>
                    <a:pt x="176" y="0"/>
                    <a:pt x="138" y="0"/>
                  </a:cubicBezTo>
                  <a:cubicBezTo>
                    <a:pt x="100" y="0"/>
                    <a:pt x="66" y="14"/>
                    <a:pt x="41" y="37"/>
                  </a:cubicBezTo>
                  <a:cubicBezTo>
                    <a:pt x="16" y="61"/>
                    <a:pt x="0" y="93"/>
                    <a:pt x="0" y="129"/>
                  </a:cubicBezTo>
                  <a:cubicBezTo>
                    <a:pt x="0" y="140"/>
                    <a:pt x="2" y="151"/>
                    <a:pt x="6" y="162"/>
                  </a:cubicBezTo>
                  <a:cubicBezTo>
                    <a:pt x="19" y="201"/>
                    <a:pt x="50" y="248"/>
                    <a:pt x="77" y="286"/>
                  </a:cubicBezTo>
                  <a:cubicBezTo>
                    <a:pt x="104" y="325"/>
                    <a:pt x="128" y="354"/>
                    <a:pt x="128" y="354"/>
                  </a:cubicBezTo>
                  <a:lnTo>
                    <a:pt x="142" y="370"/>
                  </a:lnTo>
                  <a:lnTo>
                    <a:pt x="154" y="354"/>
                  </a:lnTo>
                  <a:cubicBezTo>
                    <a:pt x="155" y="354"/>
                    <a:pt x="184" y="315"/>
                    <a:pt x="214" y="269"/>
                  </a:cubicBezTo>
                  <a:cubicBezTo>
                    <a:pt x="229" y="246"/>
                    <a:pt x="244" y="220"/>
                    <a:pt x="256" y="196"/>
                  </a:cubicBezTo>
                  <a:cubicBezTo>
                    <a:pt x="262" y="184"/>
                    <a:pt x="267" y="173"/>
                    <a:pt x="270" y="162"/>
                  </a:cubicBezTo>
                  <a:cubicBezTo>
                    <a:pt x="274" y="150"/>
                    <a:pt x="276" y="140"/>
                    <a:pt x="276" y="129"/>
                  </a:cubicBezTo>
                  <a:lnTo>
                    <a:pt x="259" y="129"/>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2564">
              <a:extLst>
                <a:ext uri="{FF2B5EF4-FFF2-40B4-BE49-F238E27FC236}">
                  <a16:creationId xmlns:a16="http://schemas.microsoft.com/office/drawing/2014/main" id="{EA4337A3-F6AC-EC00-E732-7D21D738D9F6}"/>
                </a:ext>
              </a:extLst>
            </p:cNvPr>
            <p:cNvSpPr>
              <a:spLocks/>
            </p:cNvSpPr>
            <p:nvPr/>
          </p:nvSpPr>
          <p:spPr bwMode="auto">
            <a:xfrm>
              <a:off x="7153310" y="4750323"/>
              <a:ext cx="354557" cy="354557"/>
            </a:xfrm>
            <a:custGeom>
              <a:avLst/>
              <a:gdLst>
                <a:gd name="T0" fmla="*/ 155 w 172"/>
                <a:gd name="T1" fmla="*/ 88 h 175"/>
                <a:gd name="T2" fmla="*/ 138 w 172"/>
                <a:gd name="T3" fmla="*/ 88 h 175"/>
                <a:gd name="T4" fmla="*/ 123 w 172"/>
                <a:gd name="T5" fmla="*/ 126 h 175"/>
                <a:gd name="T6" fmla="*/ 86 w 172"/>
                <a:gd name="T7" fmla="*/ 142 h 175"/>
                <a:gd name="T8" fmla="*/ 49 w 172"/>
                <a:gd name="T9" fmla="*/ 126 h 175"/>
                <a:gd name="T10" fmla="*/ 33 w 172"/>
                <a:gd name="T11" fmla="*/ 88 h 175"/>
                <a:gd name="T12" fmla="*/ 49 w 172"/>
                <a:gd name="T13" fmla="*/ 49 h 175"/>
                <a:gd name="T14" fmla="*/ 86 w 172"/>
                <a:gd name="T15" fmla="*/ 34 h 175"/>
                <a:gd name="T16" fmla="*/ 123 w 172"/>
                <a:gd name="T17" fmla="*/ 49 h 175"/>
                <a:gd name="T18" fmla="*/ 138 w 172"/>
                <a:gd name="T19" fmla="*/ 88 h 175"/>
                <a:gd name="T20" fmla="*/ 155 w 172"/>
                <a:gd name="T21" fmla="*/ 88 h 175"/>
                <a:gd name="T22" fmla="*/ 172 w 172"/>
                <a:gd name="T23" fmla="*/ 88 h 175"/>
                <a:gd name="T24" fmla="*/ 147 w 172"/>
                <a:gd name="T25" fmla="*/ 26 h 175"/>
                <a:gd name="T26" fmla="*/ 86 w 172"/>
                <a:gd name="T27" fmla="*/ 0 h 175"/>
                <a:gd name="T28" fmla="*/ 25 w 172"/>
                <a:gd name="T29" fmla="*/ 26 h 175"/>
                <a:gd name="T30" fmla="*/ 0 w 172"/>
                <a:gd name="T31" fmla="*/ 88 h 175"/>
                <a:gd name="T32" fmla="*/ 25 w 172"/>
                <a:gd name="T33" fmla="*/ 150 h 175"/>
                <a:gd name="T34" fmla="*/ 86 w 172"/>
                <a:gd name="T35" fmla="*/ 175 h 175"/>
                <a:gd name="T36" fmla="*/ 147 w 172"/>
                <a:gd name="T37" fmla="*/ 150 h 175"/>
                <a:gd name="T38" fmla="*/ 172 w 172"/>
                <a:gd name="T39" fmla="*/ 88 h 175"/>
                <a:gd name="T40" fmla="*/ 155 w 172"/>
                <a:gd name="T41" fmla="*/ 8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2" h="175">
                  <a:moveTo>
                    <a:pt x="155" y="88"/>
                  </a:moveTo>
                  <a:lnTo>
                    <a:pt x="138" y="88"/>
                  </a:lnTo>
                  <a:cubicBezTo>
                    <a:pt x="138" y="103"/>
                    <a:pt x="132" y="116"/>
                    <a:pt x="123" y="126"/>
                  </a:cubicBezTo>
                  <a:cubicBezTo>
                    <a:pt x="113" y="136"/>
                    <a:pt x="100" y="142"/>
                    <a:pt x="86" y="142"/>
                  </a:cubicBezTo>
                  <a:cubicBezTo>
                    <a:pt x="71" y="142"/>
                    <a:pt x="58" y="136"/>
                    <a:pt x="49" y="126"/>
                  </a:cubicBezTo>
                  <a:cubicBezTo>
                    <a:pt x="39" y="116"/>
                    <a:pt x="33" y="103"/>
                    <a:pt x="33" y="88"/>
                  </a:cubicBezTo>
                  <a:cubicBezTo>
                    <a:pt x="33" y="73"/>
                    <a:pt x="39" y="59"/>
                    <a:pt x="49" y="49"/>
                  </a:cubicBezTo>
                  <a:cubicBezTo>
                    <a:pt x="58" y="40"/>
                    <a:pt x="71" y="34"/>
                    <a:pt x="86" y="34"/>
                  </a:cubicBezTo>
                  <a:cubicBezTo>
                    <a:pt x="100" y="34"/>
                    <a:pt x="113" y="40"/>
                    <a:pt x="123" y="49"/>
                  </a:cubicBezTo>
                  <a:cubicBezTo>
                    <a:pt x="132" y="59"/>
                    <a:pt x="138" y="73"/>
                    <a:pt x="138" y="88"/>
                  </a:cubicBezTo>
                  <a:lnTo>
                    <a:pt x="155" y="88"/>
                  </a:lnTo>
                  <a:lnTo>
                    <a:pt x="172" y="88"/>
                  </a:lnTo>
                  <a:cubicBezTo>
                    <a:pt x="172" y="64"/>
                    <a:pt x="162" y="42"/>
                    <a:pt x="147" y="26"/>
                  </a:cubicBezTo>
                  <a:cubicBezTo>
                    <a:pt x="131" y="10"/>
                    <a:pt x="110" y="0"/>
                    <a:pt x="86" y="0"/>
                  </a:cubicBezTo>
                  <a:cubicBezTo>
                    <a:pt x="62" y="0"/>
                    <a:pt x="40" y="10"/>
                    <a:pt x="25" y="26"/>
                  </a:cubicBezTo>
                  <a:cubicBezTo>
                    <a:pt x="10" y="42"/>
                    <a:pt x="0" y="64"/>
                    <a:pt x="0" y="88"/>
                  </a:cubicBezTo>
                  <a:cubicBezTo>
                    <a:pt x="0" y="112"/>
                    <a:pt x="10" y="134"/>
                    <a:pt x="25" y="150"/>
                  </a:cubicBezTo>
                  <a:cubicBezTo>
                    <a:pt x="40" y="165"/>
                    <a:pt x="62" y="175"/>
                    <a:pt x="86" y="175"/>
                  </a:cubicBezTo>
                  <a:cubicBezTo>
                    <a:pt x="110" y="175"/>
                    <a:pt x="131" y="165"/>
                    <a:pt x="147" y="150"/>
                  </a:cubicBezTo>
                  <a:cubicBezTo>
                    <a:pt x="162" y="134"/>
                    <a:pt x="172" y="112"/>
                    <a:pt x="172" y="88"/>
                  </a:cubicBezTo>
                  <a:lnTo>
                    <a:pt x="155" y="88"/>
                  </a:lnTo>
                  <a:close/>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2566">
              <a:extLst>
                <a:ext uri="{FF2B5EF4-FFF2-40B4-BE49-F238E27FC236}">
                  <a16:creationId xmlns:a16="http://schemas.microsoft.com/office/drawing/2014/main" id="{1ECB9B9E-F2B7-5874-12AE-1B98BFA0F6A6}"/>
                </a:ext>
              </a:extLst>
            </p:cNvPr>
            <p:cNvSpPr>
              <a:spLocks/>
            </p:cNvSpPr>
            <p:nvPr/>
          </p:nvSpPr>
          <p:spPr bwMode="auto">
            <a:xfrm>
              <a:off x="8417365" y="3486268"/>
              <a:ext cx="508710" cy="678273"/>
            </a:xfrm>
            <a:custGeom>
              <a:avLst/>
              <a:gdLst>
                <a:gd name="T0" fmla="*/ 236 w 253"/>
                <a:gd name="T1" fmla="*/ 119 h 340"/>
                <a:gd name="T2" fmla="*/ 219 w 253"/>
                <a:gd name="T3" fmla="*/ 119 h 340"/>
                <a:gd name="T4" fmla="*/ 215 w 253"/>
                <a:gd name="T5" fmla="*/ 139 h 340"/>
                <a:gd name="T6" fmla="*/ 159 w 253"/>
                <a:gd name="T7" fmla="*/ 243 h 340"/>
                <a:gd name="T8" fmla="*/ 129 w 253"/>
                <a:gd name="T9" fmla="*/ 286 h 340"/>
                <a:gd name="T10" fmla="*/ 119 w 253"/>
                <a:gd name="T11" fmla="*/ 298 h 340"/>
                <a:gd name="T12" fmla="*/ 116 w 253"/>
                <a:gd name="T13" fmla="*/ 303 h 340"/>
                <a:gd name="T14" fmla="*/ 129 w 253"/>
                <a:gd name="T15" fmla="*/ 313 h 340"/>
                <a:gd name="T16" fmla="*/ 142 w 253"/>
                <a:gd name="T17" fmla="*/ 302 h 340"/>
                <a:gd name="T18" fmla="*/ 141 w 253"/>
                <a:gd name="T19" fmla="*/ 301 h 340"/>
                <a:gd name="T20" fmla="*/ 81 w 253"/>
                <a:gd name="T21" fmla="*/ 220 h 340"/>
                <a:gd name="T22" fmla="*/ 47 w 253"/>
                <a:gd name="T23" fmla="*/ 162 h 340"/>
                <a:gd name="T24" fmla="*/ 37 w 253"/>
                <a:gd name="T25" fmla="*/ 137 h 340"/>
                <a:gd name="T26" fmla="*/ 33 w 253"/>
                <a:gd name="T27" fmla="*/ 119 h 340"/>
                <a:gd name="T28" fmla="*/ 60 w 253"/>
                <a:gd name="T29" fmla="*/ 59 h 340"/>
                <a:gd name="T30" fmla="*/ 126 w 253"/>
                <a:gd name="T31" fmla="*/ 34 h 340"/>
                <a:gd name="T32" fmla="*/ 192 w 253"/>
                <a:gd name="T33" fmla="*/ 59 h 340"/>
                <a:gd name="T34" fmla="*/ 219 w 253"/>
                <a:gd name="T35" fmla="*/ 119 h 340"/>
                <a:gd name="T36" fmla="*/ 236 w 253"/>
                <a:gd name="T37" fmla="*/ 119 h 340"/>
                <a:gd name="T38" fmla="*/ 253 w 253"/>
                <a:gd name="T39" fmla="*/ 119 h 340"/>
                <a:gd name="T40" fmla="*/ 215 w 253"/>
                <a:gd name="T41" fmla="*/ 35 h 340"/>
                <a:gd name="T42" fmla="*/ 126 w 253"/>
                <a:gd name="T43" fmla="*/ 0 h 340"/>
                <a:gd name="T44" fmla="*/ 37 w 253"/>
                <a:gd name="T45" fmla="*/ 35 h 340"/>
                <a:gd name="T46" fmla="*/ 0 w 253"/>
                <a:gd name="T47" fmla="*/ 119 h 340"/>
                <a:gd name="T48" fmla="*/ 5 w 253"/>
                <a:gd name="T49" fmla="*/ 149 h 340"/>
                <a:gd name="T50" fmla="*/ 70 w 253"/>
                <a:gd name="T51" fmla="*/ 262 h 340"/>
                <a:gd name="T52" fmla="*/ 116 w 253"/>
                <a:gd name="T53" fmla="*/ 324 h 340"/>
                <a:gd name="T54" fmla="*/ 129 w 253"/>
                <a:gd name="T55" fmla="*/ 340 h 340"/>
                <a:gd name="T56" fmla="*/ 142 w 253"/>
                <a:gd name="T57" fmla="*/ 323 h 340"/>
                <a:gd name="T58" fmla="*/ 197 w 253"/>
                <a:gd name="T59" fmla="*/ 246 h 340"/>
                <a:gd name="T60" fmla="*/ 234 w 253"/>
                <a:gd name="T61" fmla="*/ 181 h 340"/>
                <a:gd name="T62" fmla="*/ 247 w 253"/>
                <a:gd name="T63" fmla="*/ 149 h 340"/>
                <a:gd name="T64" fmla="*/ 253 w 253"/>
                <a:gd name="T65" fmla="*/ 119 h 340"/>
                <a:gd name="T66" fmla="*/ 236 w 253"/>
                <a:gd name="T67" fmla="*/ 11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3" h="340">
                  <a:moveTo>
                    <a:pt x="236" y="119"/>
                  </a:moveTo>
                  <a:lnTo>
                    <a:pt x="219" y="119"/>
                  </a:lnTo>
                  <a:cubicBezTo>
                    <a:pt x="219" y="124"/>
                    <a:pt x="218" y="131"/>
                    <a:pt x="215" y="139"/>
                  </a:cubicBezTo>
                  <a:cubicBezTo>
                    <a:pt x="206" y="168"/>
                    <a:pt x="181" y="210"/>
                    <a:pt x="159" y="243"/>
                  </a:cubicBezTo>
                  <a:cubicBezTo>
                    <a:pt x="147" y="260"/>
                    <a:pt x="137" y="275"/>
                    <a:pt x="129" y="286"/>
                  </a:cubicBezTo>
                  <a:cubicBezTo>
                    <a:pt x="125" y="291"/>
                    <a:pt x="122" y="295"/>
                    <a:pt x="119" y="298"/>
                  </a:cubicBezTo>
                  <a:cubicBezTo>
                    <a:pt x="117" y="301"/>
                    <a:pt x="116" y="303"/>
                    <a:pt x="116" y="303"/>
                  </a:cubicBezTo>
                  <a:lnTo>
                    <a:pt x="129" y="313"/>
                  </a:lnTo>
                  <a:lnTo>
                    <a:pt x="142" y="302"/>
                  </a:lnTo>
                  <a:lnTo>
                    <a:pt x="141" y="301"/>
                  </a:lnTo>
                  <a:cubicBezTo>
                    <a:pt x="135" y="294"/>
                    <a:pt x="107" y="259"/>
                    <a:pt x="81" y="220"/>
                  </a:cubicBezTo>
                  <a:cubicBezTo>
                    <a:pt x="68" y="201"/>
                    <a:pt x="56" y="180"/>
                    <a:pt x="47" y="162"/>
                  </a:cubicBezTo>
                  <a:cubicBezTo>
                    <a:pt x="43" y="153"/>
                    <a:pt x="39" y="144"/>
                    <a:pt x="37" y="137"/>
                  </a:cubicBezTo>
                  <a:cubicBezTo>
                    <a:pt x="34" y="130"/>
                    <a:pt x="33" y="123"/>
                    <a:pt x="33" y="119"/>
                  </a:cubicBezTo>
                  <a:cubicBezTo>
                    <a:pt x="33" y="96"/>
                    <a:pt x="43" y="75"/>
                    <a:pt x="60" y="59"/>
                  </a:cubicBezTo>
                  <a:cubicBezTo>
                    <a:pt x="76" y="44"/>
                    <a:pt x="100" y="34"/>
                    <a:pt x="126" y="34"/>
                  </a:cubicBezTo>
                  <a:cubicBezTo>
                    <a:pt x="152" y="34"/>
                    <a:pt x="176" y="44"/>
                    <a:pt x="192" y="59"/>
                  </a:cubicBezTo>
                  <a:cubicBezTo>
                    <a:pt x="209" y="75"/>
                    <a:pt x="219" y="96"/>
                    <a:pt x="219" y="119"/>
                  </a:cubicBezTo>
                  <a:lnTo>
                    <a:pt x="236" y="119"/>
                  </a:lnTo>
                  <a:lnTo>
                    <a:pt x="253" y="119"/>
                  </a:lnTo>
                  <a:cubicBezTo>
                    <a:pt x="253" y="86"/>
                    <a:pt x="238" y="56"/>
                    <a:pt x="215" y="35"/>
                  </a:cubicBezTo>
                  <a:cubicBezTo>
                    <a:pt x="192" y="14"/>
                    <a:pt x="161" y="0"/>
                    <a:pt x="126" y="0"/>
                  </a:cubicBezTo>
                  <a:cubicBezTo>
                    <a:pt x="92" y="0"/>
                    <a:pt x="60" y="14"/>
                    <a:pt x="37" y="35"/>
                  </a:cubicBezTo>
                  <a:cubicBezTo>
                    <a:pt x="14" y="56"/>
                    <a:pt x="0" y="86"/>
                    <a:pt x="0" y="119"/>
                  </a:cubicBezTo>
                  <a:cubicBezTo>
                    <a:pt x="0" y="129"/>
                    <a:pt x="2" y="139"/>
                    <a:pt x="5" y="149"/>
                  </a:cubicBezTo>
                  <a:cubicBezTo>
                    <a:pt x="18" y="185"/>
                    <a:pt x="45" y="227"/>
                    <a:pt x="70" y="262"/>
                  </a:cubicBezTo>
                  <a:cubicBezTo>
                    <a:pt x="94" y="297"/>
                    <a:pt x="116" y="323"/>
                    <a:pt x="116" y="324"/>
                  </a:cubicBezTo>
                  <a:lnTo>
                    <a:pt x="129" y="340"/>
                  </a:lnTo>
                  <a:lnTo>
                    <a:pt x="142" y="323"/>
                  </a:lnTo>
                  <a:cubicBezTo>
                    <a:pt x="143" y="323"/>
                    <a:pt x="169" y="288"/>
                    <a:pt x="197" y="246"/>
                  </a:cubicBezTo>
                  <a:cubicBezTo>
                    <a:pt x="210" y="225"/>
                    <a:pt x="224" y="202"/>
                    <a:pt x="234" y="181"/>
                  </a:cubicBezTo>
                  <a:cubicBezTo>
                    <a:pt x="239" y="170"/>
                    <a:pt x="244" y="159"/>
                    <a:pt x="247" y="149"/>
                  </a:cubicBezTo>
                  <a:cubicBezTo>
                    <a:pt x="250" y="139"/>
                    <a:pt x="253" y="129"/>
                    <a:pt x="253" y="119"/>
                  </a:cubicBezTo>
                  <a:lnTo>
                    <a:pt x="236" y="119"/>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2568">
              <a:extLst>
                <a:ext uri="{FF2B5EF4-FFF2-40B4-BE49-F238E27FC236}">
                  <a16:creationId xmlns:a16="http://schemas.microsoft.com/office/drawing/2014/main" id="{54D1CF60-C392-2592-91D6-649B29B25A59}"/>
                </a:ext>
              </a:extLst>
            </p:cNvPr>
            <p:cNvSpPr>
              <a:spLocks/>
            </p:cNvSpPr>
            <p:nvPr/>
          </p:nvSpPr>
          <p:spPr bwMode="auto">
            <a:xfrm>
              <a:off x="8525267" y="3578760"/>
              <a:ext cx="308306" cy="323726"/>
            </a:xfrm>
            <a:custGeom>
              <a:avLst/>
              <a:gdLst>
                <a:gd name="T0" fmla="*/ 142 w 159"/>
                <a:gd name="T1" fmla="*/ 81 h 162"/>
                <a:gd name="T2" fmla="*/ 125 w 159"/>
                <a:gd name="T3" fmla="*/ 81 h 162"/>
                <a:gd name="T4" fmla="*/ 112 w 159"/>
                <a:gd name="T5" fmla="*/ 115 h 162"/>
                <a:gd name="T6" fmla="*/ 80 w 159"/>
                <a:gd name="T7" fmla="*/ 129 h 162"/>
                <a:gd name="T8" fmla="*/ 47 w 159"/>
                <a:gd name="T9" fmla="*/ 115 h 162"/>
                <a:gd name="T10" fmla="*/ 34 w 159"/>
                <a:gd name="T11" fmla="*/ 81 h 162"/>
                <a:gd name="T12" fmla="*/ 47 w 159"/>
                <a:gd name="T13" fmla="*/ 47 h 162"/>
                <a:gd name="T14" fmla="*/ 80 w 159"/>
                <a:gd name="T15" fmla="*/ 34 h 162"/>
                <a:gd name="T16" fmla="*/ 112 w 159"/>
                <a:gd name="T17" fmla="*/ 47 h 162"/>
                <a:gd name="T18" fmla="*/ 125 w 159"/>
                <a:gd name="T19" fmla="*/ 81 h 162"/>
                <a:gd name="T20" fmla="*/ 142 w 159"/>
                <a:gd name="T21" fmla="*/ 81 h 162"/>
                <a:gd name="T22" fmla="*/ 159 w 159"/>
                <a:gd name="T23" fmla="*/ 81 h 162"/>
                <a:gd name="T24" fmla="*/ 136 w 159"/>
                <a:gd name="T25" fmla="*/ 24 h 162"/>
                <a:gd name="T26" fmla="*/ 80 w 159"/>
                <a:gd name="T27" fmla="*/ 0 h 162"/>
                <a:gd name="T28" fmla="*/ 23 w 159"/>
                <a:gd name="T29" fmla="*/ 24 h 162"/>
                <a:gd name="T30" fmla="*/ 0 w 159"/>
                <a:gd name="T31" fmla="*/ 81 h 162"/>
                <a:gd name="T32" fmla="*/ 23 w 159"/>
                <a:gd name="T33" fmla="*/ 138 h 162"/>
                <a:gd name="T34" fmla="*/ 80 w 159"/>
                <a:gd name="T35" fmla="*/ 162 h 162"/>
                <a:gd name="T36" fmla="*/ 136 w 159"/>
                <a:gd name="T37" fmla="*/ 138 h 162"/>
                <a:gd name="T38" fmla="*/ 159 w 159"/>
                <a:gd name="T39" fmla="*/ 81 h 162"/>
                <a:gd name="T40" fmla="*/ 142 w 159"/>
                <a:gd name="T41"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162">
                  <a:moveTo>
                    <a:pt x="142" y="81"/>
                  </a:moveTo>
                  <a:lnTo>
                    <a:pt x="125" y="81"/>
                  </a:lnTo>
                  <a:cubicBezTo>
                    <a:pt x="125" y="94"/>
                    <a:pt x="120" y="106"/>
                    <a:pt x="112" y="115"/>
                  </a:cubicBezTo>
                  <a:cubicBezTo>
                    <a:pt x="103" y="123"/>
                    <a:pt x="92" y="129"/>
                    <a:pt x="80" y="129"/>
                  </a:cubicBezTo>
                  <a:cubicBezTo>
                    <a:pt x="67" y="129"/>
                    <a:pt x="56" y="123"/>
                    <a:pt x="47" y="115"/>
                  </a:cubicBezTo>
                  <a:cubicBezTo>
                    <a:pt x="39" y="106"/>
                    <a:pt x="34" y="94"/>
                    <a:pt x="34" y="81"/>
                  </a:cubicBezTo>
                  <a:cubicBezTo>
                    <a:pt x="34" y="68"/>
                    <a:pt x="39" y="56"/>
                    <a:pt x="47" y="47"/>
                  </a:cubicBezTo>
                  <a:cubicBezTo>
                    <a:pt x="56" y="39"/>
                    <a:pt x="67" y="34"/>
                    <a:pt x="80" y="34"/>
                  </a:cubicBezTo>
                  <a:cubicBezTo>
                    <a:pt x="92" y="34"/>
                    <a:pt x="103" y="39"/>
                    <a:pt x="112" y="47"/>
                  </a:cubicBezTo>
                  <a:cubicBezTo>
                    <a:pt x="120" y="56"/>
                    <a:pt x="125" y="68"/>
                    <a:pt x="125" y="81"/>
                  </a:cubicBezTo>
                  <a:lnTo>
                    <a:pt x="142" y="81"/>
                  </a:lnTo>
                  <a:lnTo>
                    <a:pt x="159" y="81"/>
                  </a:lnTo>
                  <a:cubicBezTo>
                    <a:pt x="159" y="59"/>
                    <a:pt x="150" y="39"/>
                    <a:pt x="136" y="24"/>
                  </a:cubicBezTo>
                  <a:cubicBezTo>
                    <a:pt x="122" y="10"/>
                    <a:pt x="102" y="0"/>
                    <a:pt x="80" y="0"/>
                  </a:cubicBezTo>
                  <a:cubicBezTo>
                    <a:pt x="58" y="0"/>
                    <a:pt x="38" y="10"/>
                    <a:pt x="23" y="24"/>
                  </a:cubicBezTo>
                  <a:cubicBezTo>
                    <a:pt x="9" y="39"/>
                    <a:pt x="0" y="59"/>
                    <a:pt x="0" y="81"/>
                  </a:cubicBezTo>
                  <a:cubicBezTo>
                    <a:pt x="0" y="103"/>
                    <a:pt x="9" y="124"/>
                    <a:pt x="23" y="138"/>
                  </a:cubicBezTo>
                  <a:cubicBezTo>
                    <a:pt x="38" y="153"/>
                    <a:pt x="58" y="162"/>
                    <a:pt x="80" y="162"/>
                  </a:cubicBezTo>
                  <a:cubicBezTo>
                    <a:pt x="102" y="162"/>
                    <a:pt x="122" y="153"/>
                    <a:pt x="136" y="138"/>
                  </a:cubicBezTo>
                  <a:cubicBezTo>
                    <a:pt x="150" y="124"/>
                    <a:pt x="159" y="103"/>
                    <a:pt x="159" y="81"/>
                  </a:cubicBezTo>
                  <a:lnTo>
                    <a:pt x="142" y="81"/>
                  </a:lnTo>
                  <a:close/>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2570">
              <a:extLst>
                <a:ext uri="{FF2B5EF4-FFF2-40B4-BE49-F238E27FC236}">
                  <a16:creationId xmlns:a16="http://schemas.microsoft.com/office/drawing/2014/main" id="{0432D189-90E8-ACBD-DFB1-F5E2DCEF2699}"/>
                </a:ext>
              </a:extLst>
            </p:cNvPr>
            <p:cNvSpPr>
              <a:spLocks/>
            </p:cNvSpPr>
            <p:nvPr/>
          </p:nvSpPr>
          <p:spPr bwMode="auto">
            <a:xfrm>
              <a:off x="6351715" y="3008389"/>
              <a:ext cx="524120" cy="693693"/>
            </a:xfrm>
            <a:custGeom>
              <a:avLst/>
              <a:gdLst>
                <a:gd name="T0" fmla="*/ 242 w 259"/>
                <a:gd name="T1" fmla="*/ 121 h 347"/>
                <a:gd name="T2" fmla="*/ 225 w 259"/>
                <a:gd name="T3" fmla="*/ 121 h 347"/>
                <a:gd name="T4" fmla="*/ 221 w 259"/>
                <a:gd name="T5" fmla="*/ 141 h 347"/>
                <a:gd name="T6" fmla="*/ 163 w 259"/>
                <a:gd name="T7" fmla="*/ 249 h 347"/>
                <a:gd name="T8" fmla="*/ 132 w 259"/>
                <a:gd name="T9" fmla="*/ 293 h 347"/>
                <a:gd name="T10" fmla="*/ 123 w 259"/>
                <a:gd name="T11" fmla="*/ 306 h 347"/>
                <a:gd name="T12" fmla="*/ 119 w 259"/>
                <a:gd name="T13" fmla="*/ 310 h 347"/>
                <a:gd name="T14" fmla="*/ 132 w 259"/>
                <a:gd name="T15" fmla="*/ 320 h 347"/>
                <a:gd name="T16" fmla="*/ 145 w 259"/>
                <a:gd name="T17" fmla="*/ 310 h 347"/>
                <a:gd name="T18" fmla="*/ 144 w 259"/>
                <a:gd name="T19" fmla="*/ 308 h 347"/>
                <a:gd name="T20" fmla="*/ 83 w 259"/>
                <a:gd name="T21" fmla="*/ 225 h 347"/>
                <a:gd name="T22" fmla="*/ 47 w 259"/>
                <a:gd name="T23" fmla="*/ 166 h 347"/>
                <a:gd name="T24" fmla="*/ 36 w 259"/>
                <a:gd name="T25" fmla="*/ 140 h 347"/>
                <a:gd name="T26" fmla="*/ 33 w 259"/>
                <a:gd name="T27" fmla="*/ 121 h 347"/>
                <a:gd name="T28" fmla="*/ 61 w 259"/>
                <a:gd name="T29" fmla="*/ 59 h 347"/>
                <a:gd name="T30" fmla="*/ 129 w 259"/>
                <a:gd name="T31" fmla="*/ 33 h 347"/>
                <a:gd name="T32" fmla="*/ 198 w 259"/>
                <a:gd name="T33" fmla="*/ 59 h 347"/>
                <a:gd name="T34" fmla="*/ 225 w 259"/>
                <a:gd name="T35" fmla="*/ 121 h 347"/>
                <a:gd name="T36" fmla="*/ 242 w 259"/>
                <a:gd name="T37" fmla="*/ 121 h 347"/>
                <a:gd name="T38" fmla="*/ 259 w 259"/>
                <a:gd name="T39" fmla="*/ 121 h 347"/>
                <a:gd name="T40" fmla="*/ 220 w 259"/>
                <a:gd name="T41" fmla="*/ 35 h 347"/>
                <a:gd name="T42" fmla="*/ 129 w 259"/>
                <a:gd name="T43" fmla="*/ 0 h 347"/>
                <a:gd name="T44" fmla="*/ 38 w 259"/>
                <a:gd name="T45" fmla="*/ 35 h 347"/>
                <a:gd name="T46" fmla="*/ 0 w 259"/>
                <a:gd name="T47" fmla="*/ 121 h 347"/>
                <a:gd name="T48" fmla="*/ 5 w 259"/>
                <a:gd name="T49" fmla="*/ 152 h 347"/>
                <a:gd name="T50" fmla="*/ 71 w 259"/>
                <a:gd name="T51" fmla="*/ 268 h 347"/>
                <a:gd name="T52" fmla="*/ 119 w 259"/>
                <a:gd name="T53" fmla="*/ 331 h 347"/>
                <a:gd name="T54" fmla="*/ 133 w 259"/>
                <a:gd name="T55" fmla="*/ 347 h 347"/>
                <a:gd name="T56" fmla="*/ 145 w 259"/>
                <a:gd name="T57" fmla="*/ 331 h 347"/>
                <a:gd name="T58" fmla="*/ 201 w 259"/>
                <a:gd name="T59" fmla="*/ 252 h 347"/>
                <a:gd name="T60" fmla="*/ 240 w 259"/>
                <a:gd name="T61" fmla="*/ 184 h 347"/>
                <a:gd name="T62" fmla="*/ 253 w 259"/>
                <a:gd name="T63" fmla="*/ 152 h 347"/>
                <a:gd name="T64" fmla="*/ 259 w 259"/>
                <a:gd name="T65" fmla="*/ 121 h 347"/>
                <a:gd name="T66" fmla="*/ 242 w 259"/>
                <a:gd name="T67" fmla="*/ 12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9" h="347">
                  <a:moveTo>
                    <a:pt x="242" y="121"/>
                  </a:moveTo>
                  <a:lnTo>
                    <a:pt x="225" y="121"/>
                  </a:lnTo>
                  <a:cubicBezTo>
                    <a:pt x="225" y="126"/>
                    <a:pt x="224" y="133"/>
                    <a:pt x="221" y="141"/>
                  </a:cubicBezTo>
                  <a:cubicBezTo>
                    <a:pt x="212" y="171"/>
                    <a:pt x="186" y="214"/>
                    <a:pt x="163" y="249"/>
                  </a:cubicBezTo>
                  <a:cubicBezTo>
                    <a:pt x="151" y="266"/>
                    <a:pt x="140" y="282"/>
                    <a:pt x="132" y="293"/>
                  </a:cubicBezTo>
                  <a:cubicBezTo>
                    <a:pt x="128" y="298"/>
                    <a:pt x="125" y="303"/>
                    <a:pt x="123" y="306"/>
                  </a:cubicBezTo>
                  <a:cubicBezTo>
                    <a:pt x="120" y="309"/>
                    <a:pt x="119" y="310"/>
                    <a:pt x="119" y="310"/>
                  </a:cubicBezTo>
                  <a:lnTo>
                    <a:pt x="132" y="320"/>
                  </a:lnTo>
                  <a:lnTo>
                    <a:pt x="145" y="310"/>
                  </a:lnTo>
                  <a:lnTo>
                    <a:pt x="144" y="308"/>
                  </a:lnTo>
                  <a:cubicBezTo>
                    <a:pt x="138" y="301"/>
                    <a:pt x="109" y="265"/>
                    <a:pt x="83" y="225"/>
                  </a:cubicBezTo>
                  <a:cubicBezTo>
                    <a:pt x="69" y="205"/>
                    <a:pt x="57" y="184"/>
                    <a:pt x="47" y="166"/>
                  </a:cubicBezTo>
                  <a:cubicBezTo>
                    <a:pt x="43" y="156"/>
                    <a:pt x="39" y="147"/>
                    <a:pt x="36" y="140"/>
                  </a:cubicBezTo>
                  <a:cubicBezTo>
                    <a:pt x="34" y="132"/>
                    <a:pt x="33" y="125"/>
                    <a:pt x="33" y="121"/>
                  </a:cubicBezTo>
                  <a:cubicBezTo>
                    <a:pt x="33" y="97"/>
                    <a:pt x="43" y="75"/>
                    <a:pt x="61" y="59"/>
                  </a:cubicBezTo>
                  <a:cubicBezTo>
                    <a:pt x="78" y="43"/>
                    <a:pt x="102" y="33"/>
                    <a:pt x="129" y="33"/>
                  </a:cubicBezTo>
                  <a:cubicBezTo>
                    <a:pt x="156" y="33"/>
                    <a:pt x="180" y="43"/>
                    <a:pt x="198" y="59"/>
                  </a:cubicBezTo>
                  <a:cubicBezTo>
                    <a:pt x="215" y="75"/>
                    <a:pt x="225" y="97"/>
                    <a:pt x="225" y="121"/>
                  </a:cubicBezTo>
                  <a:lnTo>
                    <a:pt x="242" y="121"/>
                  </a:lnTo>
                  <a:lnTo>
                    <a:pt x="259" y="121"/>
                  </a:lnTo>
                  <a:cubicBezTo>
                    <a:pt x="259" y="87"/>
                    <a:pt x="244" y="57"/>
                    <a:pt x="220" y="35"/>
                  </a:cubicBezTo>
                  <a:cubicBezTo>
                    <a:pt x="197" y="13"/>
                    <a:pt x="164" y="0"/>
                    <a:pt x="129" y="0"/>
                  </a:cubicBezTo>
                  <a:cubicBezTo>
                    <a:pt x="94" y="0"/>
                    <a:pt x="61" y="13"/>
                    <a:pt x="38" y="35"/>
                  </a:cubicBezTo>
                  <a:cubicBezTo>
                    <a:pt x="14" y="57"/>
                    <a:pt x="0" y="87"/>
                    <a:pt x="0" y="121"/>
                  </a:cubicBezTo>
                  <a:cubicBezTo>
                    <a:pt x="0" y="131"/>
                    <a:pt x="2" y="141"/>
                    <a:pt x="5" y="152"/>
                  </a:cubicBezTo>
                  <a:cubicBezTo>
                    <a:pt x="18" y="188"/>
                    <a:pt x="46" y="232"/>
                    <a:pt x="71" y="268"/>
                  </a:cubicBezTo>
                  <a:cubicBezTo>
                    <a:pt x="97" y="304"/>
                    <a:pt x="119" y="331"/>
                    <a:pt x="119" y="331"/>
                  </a:cubicBezTo>
                  <a:lnTo>
                    <a:pt x="133" y="347"/>
                  </a:lnTo>
                  <a:lnTo>
                    <a:pt x="145" y="331"/>
                  </a:lnTo>
                  <a:cubicBezTo>
                    <a:pt x="146" y="330"/>
                    <a:pt x="173" y="295"/>
                    <a:pt x="201" y="252"/>
                  </a:cubicBezTo>
                  <a:cubicBezTo>
                    <a:pt x="215" y="230"/>
                    <a:pt x="229" y="207"/>
                    <a:pt x="240" y="184"/>
                  </a:cubicBezTo>
                  <a:cubicBezTo>
                    <a:pt x="245" y="173"/>
                    <a:pt x="250" y="162"/>
                    <a:pt x="253" y="152"/>
                  </a:cubicBezTo>
                  <a:cubicBezTo>
                    <a:pt x="256" y="141"/>
                    <a:pt x="259" y="131"/>
                    <a:pt x="259" y="121"/>
                  </a:cubicBezTo>
                  <a:lnTo>
                    <a:pt x="242" y="121"/>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2572">
              <a:extLst>
                <a:ext uri="{FF2B5EF4-FFF2-40B4-BE49-F238E27FC236}">
                  <a16:creationId xmlns:a16="http://schemas.microsoft.com/office/drawing/2014/main" id="{9DEB4860-2E7A-BFAD-E080-437E86108B2B}"/>
                </a:ext>
              </a:extLst>
            </p:cNvPr>
            <p:cNvSpPr>
              <a:spLocks/>
            </p:cNvSpPr>
            <p:nvPr/>
          </p:nvSpPr>
          <p:spPr bwMode="auto">
            <a:xfrm>
              <a:off x="6459617" y="3100881"/>
              <a:ext cx="323726" cy="323726"/>
            </a:xfrm>
            <a:custGeom>
              <a:avLst/>
              <a:gdLst>
                <a:gd name="T0" fmla="*/ 145 w 161"/>
                <a:gd name="T1" fmla="*/ 83 h 165"/>
                <a:gd name="T2" fmla="*/ 128 w 161"/>
                <a:gd name="T3" fmla="*/ 83 h 165"/>
                <a:gd name="T4" fmla="*/ 114 w 161"/>
                <a:gd name="T5" fmla="*/ 118 h 165"/>
                <a:gd name="T6" fmla="*/ 80 w 161"/>
                <a:gd name="T7" fmla="*/ 132 h 165"/>
                <a:gd name="T8" fmla="*/ 47 w 161"/>
                <a:gd name="T9" fmla="*/ 118 h 165"/>
                <a:gd name="T10" fmla="*/ 33 w 161"/>
                <a:gd name="T11" fmla="*/ 83 h 165"/>
                <a:gd name="T12" fmla="*/ 47 w 161"/>
                <a:gd name="T13" fmla="*/ 48 h 165"/>
                <a:gd name="T14" fmla="*/ 80 w 161"/>
                <a:gd name="T15" fmla="*/ 33 h 165"/>
                <a:gd name="T16" fmla="*/ 114 w 161"/>
                <a:gd name="T17" fmla="*/ 48 h 165"/>
                <a:gd name="T18" fmla="*/ 128 w 161"/>
                <a:gd name="T19" fmla="*/ 83 h 165"/>
                <a:gd name="T20" fmla="*/ 145 w 161"/>
                <a:gd name="T21" fmla="*/ 83 h 165"/>
                <a:gd name="T22" fmla="*/ 161 w 161"/>
                <a:gd name="T23" fmla="*/ 83 h 165"/>
                <a:gd name="T24" fmla="*/ 138 w 161"/>
                <a:gd name="T25" fmla="*/ 24 h 165"/>
                <a:gd name="T26" fmla="*/ 80 w 161"/>
                <a:gd name="T27" fmla="*/ 0 h 165"/>
                <a:gd name="T28" fmla="*/ 23 w 161"/>
                <a:gd name="T29" fmla="*/ 24 h 165"/>
                <a:gd name="T30" fmla="*/ 0 w 161"/>
                <a:gd name="T31" fmla="*/ 83 h 165"/>
                <a:gd name="T32" fmla="*/ 23 w 161"/>
                <a:gd name="T33" fmla="*/ 141 h 165"/>
                <a:gd name="T34" fmla="*/ 80 w 161"/>
                <a:gd name="T35" fmla="*/ 165 h 165"/>
                <a:gd name="T36" fmla="*/ 138 w 161"/>
                <a:gd name="T37" fmla="*/ 141 h 165"/>
                <a:gd name="T38" fmla="*/ 161 w 161"/>
                <a:gd name="T39" fmla="*/ 83 h 165"/>
                <a:gd name="T40" fmla="*/ 145 w 161"/>
                <a:gd name="T41" fmla="*/ 8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 h="165">
                  <a:moveTo>
                    <a:pt x="145" y="83"/>
                  </a:moveTo>
                  <a:lnTo>
                    <a:pt x="128" y="83"/>
                  </a:lnTo>
                  <a:cubicBezTo>
                    <a:pt x="128" y="96"/>
                    <a:pt x="123" y="109"/>
                    <a:pt x="114" y="118"/>
                  </a:cubicBezTo>
                  <a:cubicBezTo>
                    <a:pt x="105" y="126"/>
                    <a:pt x="93" y="132"/>
                    <a:pt x="80" y="132"/>
                  </a:cubicBezTo>
                  <a:cubicBezTo>
                    <a:pt x="67" y="132"/>
                    <a:pt x="55" y="126"/>
                    <a:pt x="47" y="118"/>
                  </a:cubicBezTo>
                  <a:cubicBezTo>
                    <a:pt x="38" y="109"/>
                    <a:pt x="33" y="96"/>
                    <a:pt x="33" y="83"/>
                  </a:cubicBezTo>
                  <a:cubicBezTo>
                    <a:pt x="33" y="69"/>
                    <a:pt x="38" y="57"/>
                    <a:pt x="47" y="48"/>
                  </a:cubicBezTo>
                  <a:cubicBezTo>
                    <a:pt x="55" y="39"/>
                    <a:pt x="67" y="33"/>
                    <a:pt x="80" y="33"/>
                  </a:cubicBezTo>
                  <a:cubicBezTo>
                    <a:pt x="93" y="33"/>
                    <a:pt x="105" y="39"/>
                    <a:pt x="114" y="48"/>
                  </a:cubicBezTo>
                  <a:cubicBezTo>
                    <a:pt x="123" y="57"/>
                    <a:pt x="128" y="69"/>
                    <a:pt x="128" y="83"/>
                  </a:cubicBezTo>
                  <a:lnTo>
                    <a:pt x="145" y="83"/>
                  </a:lnTo>
                  <a:lnTo>
                    <a:pt x="161" y="83"/>
                  </a:lnTo>
                  <a:cubicBezTo>
                    <a:pt x="161" y="60"/>
                    <a:pt x="152" y="39"/>
                    <a:pt x="138" y="24"/>
                  </a:cubicBezTo>
                  <a:cubicBezTo>
                    <a:pt x="123" y="9"/>
                    <a:pt x="103" y="0"/>
                    <a:pt x="80" y="0"/>
                  </a:cubicBezTo>
                  <a:cubicBezTo>
                    <a:pt x="58" y="0"/>
                    <a:pt x="38" y="9"/>
                    <a:pt x="23" y="24"/>
                  </a:cubicBezTo>
                  <a:cubicBezTo>
                    <a:pt x="8" y="39"/>
                    <a:pt x="0" y="60"/>
                    <a:pt x="0" y="83"/>
                  </a:cubicBezTo>
                  <a:cubicBezTo>
                    <a:pt x="0" y="105"/>
                    <a:pt x="8" y="126"/>
                    <a:pt x="23" y="141"/>
                  </a:cubicBezTo>
                  <a:cubicBezTo>
                    <a:pt x="38" y="156"/>
                    <a:pt x="58" y="165"/>
                    <a:pt x="80" y="165"/>
                  </a:cubicBezTo>
                  <a:cubicBezTo>
                    <a:pt x="103" y="165"/>
                    <a:pt x="123" y="156"/>
                    <a:pt x="138" y="141"/>
                  </a:cubicBezTo>
                  <a:cubicBezTo>
                    <a:pt x="152" y="126"/>
                    <a:pt x="161" y="105"/>
                    <a:pt x="161" y="83"/>
                  </a:cubicBezTo>
                  <a:lnTo>
                    <a:pt x="145" y="83"/>
                  </a:lnTo>
                  <a:close/>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4" name="Contract" descr="{&quot;Key&quot;:&quot;POWER_USER_SHAPE_ICON&quot;,&quot;Value&quot;:&quot;POWER_USER_SHAPE_ICON_STYLE_1&quot;}">
            <a:extLst>
              <a:ext uri="{FF2B5EF4-FFF2-40B4-BE49-F238E27FC236}">
                <a16:creationId xmlns:a16="http://schemas.microsoft.com/office/drawing/2014/main" id="{8C1EF271-E460-D8EB-34FE-CDF40F4D06C6}"/>
              </a:ext>
            </a:extLst>
          </p:cNvPr>
          <p:cNvGrpSpPr>
            <a:grpSpLocks noChangeAspect="1"/>
          </p:cNvGrpSpPr>
          <p:nvPr/>
        </p:nvGrpSpPr>
        <p:grpSpPr>
          <a:xfrm>
            <a:off x="544540" y="4886193"/>
            <a:ext cx="334949" cy="484189"/>
            <a:chOff x="6470649" y="5883275"/>
            <a:chExt cx="563564" cy="484189"/>
          </a:xfrm>
          <a:noFill/>
        </p:grpSpPr>
        <p:sp>
          <p:nvSpPr>
            <p:cNvPr id="135" name="Line 1734">
              <a:extLst>
                <a:ext uri="{FF2B5EF4-FFF2-40B4-BE49-F238E27FC236}">
                  <a16:creationId xmlns:a16="http://schemas.microsoft.com/office/drawing/2014/main" id="{D753135B-ADBD-5169-B1A2-AEC5D87357C7}"/>
                </a:ext>
              </a:extLst>
            </p:cNvPr>
            <p:cNvSpPr>
              <a:spLocks noChangeShapeType="1"/>
            </p:cNvSpPr>
            <p:nvPr/>
          </p:nvSpPr>
          <p:spPr bwMode="auto">
            <a:xfrm>
              <a:off x="6557963" y="5883275"/>
              <a:ext cx="206375"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Line 1735">
              <a:extLst>
                <a:ext uri="{FF2B5EF4-FFF2-40B4-BE49-F238E27FC236}">
                  <a16:creationId xmlns:a16="http://schemas.microsoft.com/office/drawing/2014/main" id="{2E5A44EC-0F46-DDB0-C601-73FF467DB9E7}"/>
                </a:ext>
              </a:extLst>
            </p:cNvPr>
            <p:cNvSpPr>
              <a:spLocks noChangeShapeType="1"/>
            </p:cNvSpPr>
            <p:nvPr/>
          </p:nvSpPr>
          <p:spPr bwMode="auto">
            <a:xfrm>
              <a:off x="6557963" y="5978525"/>
              <a:ext cx="206375"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Line 1736">
              <a:extLst>
                <a:ext uri="{FF2B5EF4-FFF2-40B4-BE49-F238E27FC236}">
                  <a16:creationId xmlns:a16="http://schemas.microsoft.com/office/drawing/2014/main" id="{1620A622-5A4A-E259-2E7C-67D27F956DE1}"/>
                </a:ext>
              </a:extLst>
            </p:cNvPr>
            <p:cNvSpPr>
              <a:spLocks noChangeShapeType="1"/>
            </p:cNvSpPr>
            <p:nvPr/>
          </p:nvSpPr>
          <p:spPr bwMode="auto">
            <a:xfrm>
              <a:off x="6557963" y="6075363"/>
              <a:ext cx="206375"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Line 1737">
              <a:extLst>
                <a:ext uri="{FF2B5EF4-FFF2-40B4-BE49-F238E27FC236}">
                  <a16:creationId xmlns:a16="http://schemas.microsoft.com/office/drawing/2014/main" id="{5B715614-4CB0-4449-275E-DA231D003E58}"/>
                </a:ext>
              </a:extLst>
            </p:cNvPr>
            <p:cNvSpPr>
              <a:spLocks noChangeShapeType="1"/>
            </p:cNvSpPr>
            <p:nvPr/>
          </p:nvSpPr>
          <p:spPr bwMode="auto">
            <a:xfrm>
              <a:off x="6557964" y="6173788"/>
              <a:ext cx="119062"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Line 1738">
              <a:extLst>
                <a:ext uri="{FF2B5EF4-FFF2-40B4-BE49-F238E27FC236}">
                  <a16:creationId xmlns:a16="http://schemas.microsoft.com/office/drawing/2014/main" id="{DDAF0A20-49FD-6A74-EE4E-C31A4C405815}"/>
                </a:ext>
              </a:extLst>
            </p:cNvPr>
            <p:cNvSpPr>
              <a:spLocks noChangeShapeType="1"/>
            </p:cNvSpPr>
            <p:nvPr/>
          </p:nvSpPr>
          <p:spPr bwMode="auto">
            <a:xfrm>
              <a:off x="6557963" y="6270625"/>
              <a:ext cx="90487"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Line 1739">
              <a:extLst>
                <a:ext uri="{FF2B5EF4-FFF2-40B4-BE49-F238E27FC236}">
                  <a16:creationId xmlns:a16="http://schemas.microsoft.com/office/drawing/2014/main" id="{882156AD-6958-07F8-6371-F71D89550A49}"/>
                </a:ext>
              </a:extLst>
            </p:cNvPr>
            <p:cNvSpPr>
              <a:spLocks noChangeShapeType="1"/>
            </p:cNvSpPr>
            <p:nvPr/>
          </p:nvSpPr>
          <p:spPr bwMode="auto">
            <a:xfrm flipH="1">
              <a:off x="6557963" y="6367463"/>
              <a:ext cx="206375"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1745">
              <a:extLst>
                <a:ext uri="{FF2B5EF4-FFF2-40B4-BE49-F238E27FC236}">
                  <a16:creationId xmlns:a16="http://schemas.microsoft.com/office/drawing/2014/main" id="{7F7C2878-B019-CD5C-F6B6-68F0E0824DFA}"/>
                </a:ext>
              </a:extLst>
            </p:cNvPr>
            <p:cNvSpPr>
              <a:spLocks/>
            </p:cNvSpPr>
            <p:nvPr/>
          </p:nvSpPr>
          <p:spPr bwMode="auto">
            <a:xfrm>
              <a:off x="6724650" y="5918200"/>
              <a:ext cx="309563" cy="311150"/>
            </a:xfrm>
            <a:custGeom>
              <a:avLst/>
              <a:gdLst>
                <a:gd name="T0" fmla="*/ 49 w 278"/>
                <a:gd name="T1" fmla="*/ 278 h 278"/>
                <a:gd name="T2" fmla="*/ 0 w 278"/>
                <a:gd name="T3" fmla="*/ 229 h 278"/>
                <a:gd name="T4" fmla="*/ 229 w 278"/>
                <a:gd name="T5" fmla="*/ 0 h 278"/>
                <a:gd name="T6" fmla="*/ 278 w 278"/>
                <a:gd name="T7" fmla="*/ 49 h 278"/>
                <a:gd name="T8" fmla="*/ 49 w 278"/>
                <a:gd name="T9" fmla="*/ 278 h 278"/>
              </a:gdLst>
              <a:ahLst/>
              <a:cxnLst>
                <a:cxn ang="0">
                  <a:pos x="T0" y="T1"/>
                </a:cxn>
                <a:cxn ang="0">
                  <a:pos x="T2" y="T3"/>
                </a:cxn>
                <a:cxn ang="0">
                  <a:pos x="T4" y="T5"/>
                </a:cxn>
                <a:cxn ang="0">
                  <a:pos x="T6" y="T7"/>
                </a:cxn>
                <a:cxn ang="0">
                  <a:pos x="T8" y="T9"/>
                </a:cxn>
              </a:cxnLst>
              <a:rect l="0" t="0" r="r" b="b"/>
              <a:pathLst>
                <a:path w="278" h="278">
                  <a:moveTo>
                    <a:pt x="49" y="278"/>
                  </a:moveTo>
                  <a:lnTo>
                    <a:pt x="0" y="229"/>
                  </a:lnTo>
                  <a:lnTo>
                    <a:pt x="229" y="0"/>
                  </a:lnTo>
                  <a:lnTo>
                    <a:pt x="278" y="49"/>
                  </a:lnTo>
                  <a:lnTo>
                    <a:pt x="49" y="278"/>
                  </a:lnTo>
                  <a:close/>
                </a:path>
              </a:pathLst>
            </a:cu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Line 1746">
              <a:extLst>
                <a:ext uri="{FF2B5EF4-FFF2-40B4-BE49-F238E27FC236}">
                  <a16:creationId xmlns:a16="http://schemas.microsoft.com/office/drawing/2014/main" id="{9F492D0E-BF70-AAD5-00D7-DA6109FF174F}"/>
                </a:ext>
              </a:extLst>
            </p:cNvPr>
            <p:cNvSpPr>
              <a:spLocks noChangeShapeType="1"/>
            </p:cNvSpPr>
            <p:nvPr/>
          </p:nvSpPr>
          <p:spPr bwMode="auto">
            <a:xfrm>
              <a:off x="6938963" y="5959475"/>
              <a:ext cx="53975" cy="55563"/>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1747">
              <a:extLst>
                <a:ext uri="{FF2B5EF4-FFF2-40B4-BE49-F238E27FC236}">
                  <a16:creationId xmlns:a16="http://schemas.microsoft.com/office/drawing/2014/main" id="{A3DE628F-8FB6-0AFF-1D2F-D4029ACF3DCF}"/>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1748">
              <a:extLst>
                <a:ext uri="{FF2B5EF4-FFF2-40B4-BE49-F238E27FC236}">
                  <a16:creationId xmlns:a16="http://schemas.microsoft.com/office/drawing/2014/main" id="{B8900EEF-372A-F680-B541-492D025D0EC2}"/>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Line 1735">
              <a:extLst>
                <a:ext uri="{FF2B5EF4-FFF2-40B4-BE49-F238E27FC236}">
                  <a16:creationId xmlns:a16="http://schemas.microsoft.com/office/drawing/2014/main" id="{06FCE6D7-49B6-110A-3F58-757D38B49020}"/>
                </a:ext>
              </a:extLst>
            </p:cNvPr>
            <p:cNvSpPr>
              <a:spLocks noChangeShapeType="1"/>
            </p:cNvSpPr>
            <p:nvPr/>
          </p:nvSpPr>
          <p:spPr bwMode="auto">
            <a:xfrm rot="5400000">
              <a:off x="6800849" y="5938839"/>
              <a:ext cx="107951"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Line 1735">
              <a:extLst>
                <a:ext uri="{FF2B5EF4-FFF2-40B4-BE49-F238E27FC236}">
                  <a16:creationId xmlns:a16="http://schemas.microsoft.com/office/drawing/2014/main" id="{2E86F6C8-7CE2-8271-A293-CFAD657E4733}"/>
                </a:ext>
              </a:extLst>
            </p:cNvPr>
            <p:cNvSpPr>
              <a:spLocks noChangeShapeType="1"/>
            </p:cNvSpPr>
            <p:nvPr/>
          </p:nvSpPr>
          <p:spPr bwMode="auto">
            <a:xfrm rot="5400000">
              <a:off x="6772275" y="6284913"/>
              <a:ext cx="165100"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Line 1735">
              <a:extLst>
                <a:ext uri="{FF2B5EF4-FFF2-40B4-BE49-F238E27FC236}">
                  <a16:creationId xmlns:a16="http://schemas.microsoft.com/office/drawing/2014/main" id="{73C44D3B-8A70-570E-AE02-A5EAE3E19528}"/>
                </a:ext>
              </a:extLst>
            </p:cNvPr>
            <p:cNvSpPr>
              <a:spLocks noChangeShapeType="1"/>
            </p:cNvSpPr>
            <p:nvPr/>
          </p:nvSpPr>
          <p:spPr bwMode="auto">
            <a:xfrm rot="10800000">
              <a:off x="6472487" y="6367464"/>
              <a:ext cx="374400"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Line 1735">
              <a:extLst>
                <a:ext uri="{FF2B5EF4-FFF2-40B4-BE49-F238E27FC236}">
                  <a16:creationId xmlns:a16="http://schemas.microsoft.com/office/drawing/2014/main" id="{56B5822D-793D-BD87-DD6C-B994A12D7383}"/>
                </a:ext>
              </a:extLst>
            </p:cNvPr>
            <p:cNvSpPr>
              <a:spLocks noChangeShapeType="1"/>
            </p:cNvSpPr>
            <p:nvPr/>
          </p:nvSpPr>
          <p:spPr bwMode="auto">
            <a:xfrm rot="10800000">
              <a:off x="6472487" y="5883275"/>
              <a:ext cx="374400"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Line 1735">
              <a:extLst>
                <a:ext uri="{FF2B5EF4-FFF2-40B4-BE49-F238E27FC236}">
                  <a16:creationId xmlns:a16="http://schemas.microsoft.com/office/drawing/2014/main" id="{4F3B812C-1061-C0C3-CAE9-E9A42284B5AF}"/>
                </a:ext>
              </a:extLst>
            </p:cNvPr>
            <p:cNvSpPr>
              <a:spLocks noChangeShapeType="1"/>
            </p:cNvSpPr>
            <p:nvPr/>
          </p:nvSpPr>
          <p:spPr bwMode="auto">
            <a:xfrm rot="16200000">
              <a:off x="6229449" y="6125470"/>
              <a:ext cx="482400"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50" name="Institution2" descr="{&quot;Key&quot;:&quot;POWER_USER_SHAPE_ICON&quot;,&quot;Value&quot;:&quot;POWER_USER_SHAPE_ICON_STYLE_1&quot;}">
            <a:extLst>
              <a:ext uri="{FF2B5EF4-FFF2-40B4-BE49-F238E27FC236}">
                <a16:creationId xmlns:a16="http://schemas.microsoft.com/office/drawing/2014/main" id="{B980A578-0A6D-4FEE-8658-371BC5943F95}"/>
              </a:ext>
            </a:extLst>
          </p:cNvPr>
          <p:cNvGrpSpPr>
            <a:grpSpLocks noChangeAspect="1"/>
          </p:cNvGrpSpPr>
          <p:nvPr/>
        </p:nvGrpSpPr>
        <p:grpSpPr>
          <a:xfrm>
            <a:off x="507008" y="2079319"/>
            <a:ext cx="328597" cy="338555"/>
            <a:chOff x="5913438" y="1757363"/>
            <a:chExt cx="419100" cy="431800"/>
          </a:xfrm>
          <a:solidFill>
            <a:schemeClr val="tx1"/>
          </a:solidFill>
        </p:grpSpPr>
        <p:sp>
          <p:nvSpPr>
            <p:cNvPr id="151" name="Freeform 108">
              <a:extLst>
                <a:ext uri="{FF2B5EF4-FFF2-40B4-BE49-F238E27FC236}">
                  <a16:creationId xmlns:a16="http://schemas.microsoft.com/office/drawing/2014/main" id="{F966AB08-C8ED-DC5D-ABF1-791D63BF5FFC}"/>
                </a:ext>
              </a:extLst>
            </p:cNvPr>
            <p:cNvSpPr>
              <a:spLocks noEditPoints="1"/>
            </p:cNvSpPr>
            <p:nvPr/>
          </p:nvSpPr>
          <p:spPr bwMode="auto">
            <a:xfrm>
              <a:off x="5913438" y="1757363"/>
              <a:ext cx="419100" cy="152400"/>
            </a:xfrm>
            <a:custGeom>
              <a:avLst/>
              <a:gdLst>
                <a:gd name="T0" fmla="*/ 31 w 460"/>
                <a:gd name="T1" fmla="*/ 152 h 167"/>
                <a:gd name="T2" fmla="*/ 429 w 460"/>
                <a:gd name="T3" fmla="*/ 152 h 167"/>
                <a:gd name="T4" fmla="*/ 230 w 460"/>
                <a:gd name="T5" fmla="*/ 16 h 167"/>
                <a:gd name="T6" fmla="*/ 31 w 460"/>
                <a:gd name="T7" fmla="*/ 152 h 167"/>
                <a:gd name="T8" fmla="*/ 452 w 460"/>
                <a:gd name="T9" fmla="*/ 167 h 167"/>
                <a:gd name="T10" fmla="*/ 8 w 460"/>
                <a:gd name="T11" fmla="*/ 167 h 167"/>
                <a:gd name="T12" fmla="*/ 1 w 460"/>
                <a:gd name="T13" fmla="*/ 162 h 167"/>
                <a:gd name="T14" fmla="*/ 4 w 460"/>
                <a:gd name="T15" fmla="*/ 153 h 167"/>
                <a:gd name="T16" fmla="*/ 226 w 460"/>
                <a:gd name="T17" fmla="*/ 2 h 167"/>
                <a:gd name="T18" fmla="*/ 234 w 460"/>
                <a:gd name="T19" fmla="*/ 2 h 167"/>
                <a:gd name="T20" fmla="*/ 456 w 460"/>
                <a:gd name="T21" fmla="*/ 153 h 167"/>
                <a:gd name="T22" fmla="*/ 459 w 460"/>
                <a:gd name="T23" fmla="*/ 162 h 167"/>
                <a:gd name="T24" fmla="*/ 452 w 460"/>
                <a:gd name="T2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0" h="167">
                  <a:moveTo>
                    <a:pt x="31" y="152"/>
                  </a:moveTo>
                  <a:lnTo>
                    <a:pt x="429" y="152"/>
                  </a:lnTo>
                  <a:lnTo>
                    <a:pt x="230" y="16"/>
                  </a:lnTo>
                  <a:lnTo>
                    <a:pt x="31" y="152"/>
                  </a:lnTo>
                  <a:close/>
                  <a:moveTo>
                    <a:pt x="452" y="167"/>
                  </a:moveTo>
                  <a:lnTo>
                    <a:pt x="8" y="167"/>
                  </a:lnTo>
                  <a:cubicBezTo>
                    <a:pt x="5" y="167"/>
                    <a:pt x="2" y="165"/>
                    <a:pt x="1" y="162"/>
                  </a:cubicBezTo>
                  <a:cubicBezTo>
                    <a:pt x="0" y="158"/>
                    <a:pt x="1" y="155"/>
                    <a:pt x="4" y="153"/>
                  </a:cubicBezTo>
                  <a:lnTo>
                    <a:pt x="226" y="2"/>
                  </a:lnTo>
                  <a:cubicBezTo>
                    <a:pt x="228" y="0"/>
                    <a:pt x="232" y="0"/>
                    <a:pt x="234" y="2"/>
                  </a:cubicBezTo>
                  <a:lnTo>
                    <a:pt x="456" y="153"/>
                  </a:lnTo>
                  <a:cubicBezTo>
                    <a:pt x="459" y="155"/>
                    <a:pt x="460" y="158"/>
                    <a:pt x="459" y="162"/>
                  </a:cubicBezTo>
                  <a:cubicBezTo>
                    <a:pt x="458" y="165"/>
                    <a:pt x="455" y="167"/>
                    <a:pt x="452" y="16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109">
              <a:extLst>
                <a:ext uri="{FF2B5EF4-FFF2-40B4-BE49-F238E27FC236}">
                  <a16:creationId xmlns:a16="http://schemas.microsoft.com/office/drawing/2014/main" id="{36E45373-D847-9E15-3746-FA0A2EDF5ED8}"/>
                </a:ext>
              </a:extLst>
            </p:cNvPr>
            <p:cNvSpPr>
              <a:spLocks/>
            </p:cNvSpPr>
            <p:nvPr/>
          </p:nvSpPr>
          <p:spPr bwMode="auto">
            <a:xfrm>
              <a:off x="5930901" y="1897063"/>
              <a:ext cx="385763" cy="44450"/>
            </a:xfrm>
            <a:custGeom>
              <a:avLst/>
              <a:gdLst>
                <a:gd name="T0" fmla="*/ 417 w 424"/>
                <a:gd name="T1" fmla="*/ 50 h 50"/>
                <a:gd name="T2" fmla="*/ 7 w 424"/>
                <a:gd name="T3" fmla="*/ 50 h 50"/>
                <a:gd name="T4" fmla="*/ 0 w 424"/>
                <a:gd name="T5" fmla="*/ 43 h 50"/>
                <a:gd name="T6" fmla="*/ 0 w 424"/>
                <a:gd name="T7" fmla="*/ 7 h 50"/>
                <a:gd name="T8" fmla="*/ 7 w 424"/>
                <a:gd name="T9" fmla="*/ 0 h 50"/>
                <a:gd name="T10" fmla="*/ 14 w 424"/>
                <a:gd name="T11" fmla="*/ 7 h 50"/>
                <a:gd name="T12" fmla="*/ 14 w 424"/>
                <a:gd name="T13" fmla="*/ 35 h 50"/>
                <a:gd name="T14" fmla="*/ 410 w 424"/>
                <a:gd name="T15" fmla="*/ 35 h 50"/>
                <a:gd name="T16" fmla="*/ 410 w 424"/>
                <a:gd name="T17" fmla="*/ 7 h 50"/>
                <a:gd name="T18" fmla="*/ 417 w 424"/>
                <a:gd name="T19" fmla="*/ 0 h 50"/>
                <a:gd name="T20" fmla="*/ 424 w 424"/>
                <a:gd name="T21" fmla="*/ 7 h 50"/>
                <a:gd name="T22" fmla="*/ 424 w 424"/>
                <a:gd name="T23" fmla="*/ 43 h 50"/>
                <a:gd name="T24" fmla="*/ 417 w 424"/>
                <a:gd name="T2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4" h="50">
                  <a:moveTo>
                    <a:pt x="417" y="50"/>
                  </a:moveTo>
                  <a:lnTo>
                    <a:pt x="7" y="50"/>
                  </a:lnTo>
                  <a:cubicBezTo>
                    <a:pt x="3" y="50"/>
                    <a:pt x="0" y="47"/>
                    <a:pt x="0" y="43"/>
                  </a:cubicBezTo>
                  <a:lnTo>
                    <a:pt x="0" y="7"/>
                  </a:lnTo>
                  <a:cubicBezTo>
                    <a:pt x="0" y="3"/>
                    <a:pt x="3" y="0"/>
                    <a:pt x="7" y="0"/>
                  </a:cubicBezTo>
                  <a:cubicBezTo>
                    <a:pt x="11" y="0"/>
                    <a:pt x="14" y="3"/>
                    <a:pt x="14" y="7"/>
                  </a:cubicBezTo>
                  <a:lnTo>
                    <a:pt x="14" y="35"/>
                  </a:lnTo>
                  <a:lnTo>
                    <a:pt x="410" y="35"/>
                  </a:lnTo>
                  <a:lnTo>
                    <a:pt x="410" y="7"/>
                  </a:lnTo>
                  <a:cubicBezTo>
                    <a:pt x="410" y="3"/>
                    <a:pt x="413" y="0"/>
                    <a:pt x="417" y="0"/>
                  </a:cubicBezTo>
                  <a:cubicBezTo>
                    <a:pt x="421" y="0"/>
                    <a:pt x="424" y="3"/>
                    <a:pt x="424" y="7"/>
                  </a:cubicBezTo>
                  <a:lnTo>
                    <a:pt x="424" y="43"/>
                  </a:lnTo>
                  <a:cubicBezTo>
                    <a:pt x="424" y="47"/>
                    <a:pt x="421" y="50"/>
                    <a:pt x="417" y="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110">
              <a:extLst>
                <a:ext uri="{FF2B5EF4-FFF2-40B4-BE49-F238E27FC236}">
                  <a16:creationId xmlns:a16="http://schemas.microsoft.com/office/drawing/2014/main" id="{0F32B92B-A01C-B4EF-066A-DB952E34C84D}"/>
                </a:ext>
              </a:extLst>
            </p:cNvPr>
            <p:cNvSpPr>
              <a:spLocks/>
            </p:cNvSpPr>
            <p:nvPr/>
          </p:nvSpPr>
          <p:spPr bwMode="auto">
            <a:xfrm>
              <a:off x="5954713" y="1928813"/>
              <a:ext cx="14288" cy="220663"/>
            </a:xfrm>
            <a:custGeom>
              <a:avLst/>
              <a:gdLst>
                <a:gd name="T0" fmla="*/ 8 w 15"/>
                <a:gd name="T1" fmla="*/ 243 h 243"/>
                <a:gd name="T2" fmla="*/ 0 w 15"/>
                <a:gd name="T3" fmla="*/ 236 h 243"/>
                <a:gd name="T4" fmla="*/ 0 w 15"/>
                <a:gd name="T5" fmla="*/ 8 h 243"/>
                <a:gd name="T6" fmla="*/ 8 w 15"/>
                <a:gd name="T7" fmla="*/ 0 h 243"/>
                <a:gd name="T8" fmla="*/ 15 w 15"/>
                <a:gd name="T9" fmla="*/ 8 h 243"/>
                <a:gd name="T10" fmla="*/ 15 w 15"/>
                <a:gd name="T11" fmla="*/ 236 h 243"/>
                <a:gd name="T12" fmla="*/ 8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8" y="243"/>
                  </a:moveTo>
                  <a:cubicBezTo>
                    <a:pt x="4" y="243"/>
                    <a:pt x="0" y="240"/>
                    <a:pt x="0" y="236"/>
                  </a:cubicBezTo>
                  <a:lnTo>
                    <a:pt x="0" y="8"/>
                  </a:lnTo>
                  <a:cubicBezTo>
                    <a:pt x="0" y="4"/>
                    <a:pt x="4" y="0"/>
                    <a:pt x="8" y="0"/>
                  </a:cubicBezTo>
                  <a:cubicBezTo>
                    <a:pt x="12" y="0"/>
                    <a:pt x="15" y="4"/>
                    <a:pt x="15" y="8"/>
                  </a:cubicBezTo>
                  <a:lnTo>
                    <a:pt x="15" y="236"/>
                  </a:lnTo>
                  <a:cubicBezTo>
                    <a:pt x="15" y="240"/>
                    <a:pt x="12" y="243"/>
                    <a:pt x="8"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111">
              <a:extLst>
                <a:ext uri="{FF2B5EF4-FFF2-40B4-BE49-F238E27FC236}">
                  <a16:creationId xmlns:a16="http://schemas.microsoft.com/office/drawing/2014/main" id="{8D511934-BBB7-E01E-D712-B063F7F52B01}"/>
                </a:ext>
              </a:extLst>
            </p:cNvPr>
            <p:cNvSpPr>
              <a:spLocks/>
            </p:cNvSpPr>
            <p:nvPr/>
          </p:nvSpPr>
          <p:spPr bwMode="auto">
            <a:xfrm>
              <a:off x="6278563" y="1928813"/>
              <a:ext cx="14288" cy="220663"/>
            </a:xfrm>
            <a:custGeom>
              <a:avLst/>
              <a:gdLst>
                <a:gd name="T0" fmla="*/ 7 w 15"/>
                <a:gd name="T1" fmla="*/ 243 h 243"/>
                <a:gd name="T2" fmla="*/ 0 w 15"/>
                <a:gd name="T3" fmla="*/ 236 h 243"/>
                <a:gd name="T4" fmla="*/ 0 w 15"/>
                <a:gd name="T5" fmla="*/ 8 h 243"/>
                <a:gd name="T6" fmla="*/ 7 w 15"/>
                <a:gd name="T7" fmla="*/ 0 h 243"/>
                <a:gd name="T8" fmla="*/ 15 w 15"/>
                <a:gd name="T9" fmla="*/ 8 h 243"/>
                <a:gd name="T10" fmla="*/ 15 w 15"/>
                <a:gd name="T11" fmla="*/ 236 h 243"/>
                <a:gd name="T12" fmla="*/ 7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7" y="243"/>
                  </a:moveTo>
                  <a:cubicBezTo>
                    <a:pt x="3" y="243"/>
                    <a:pt x="0" y="240"/>
                    <a:pt x="0" y="236"/>
                  </a:cubicBezTo>
                  <a:lnTo>
                    <a:pt x="0" y="8"/>
                  </a:lnTo>
                  <a:cubicBezTo>
                    <a:pt x="0" y="4"/>
                    <a:pt x="3" y="0"/>
                    <a:pt x="7" y="0"/>
                  </a:cubicBezTo>
                  <a:cubicBezTo>
                    <a:pt x="11" y="0"/>
                    <a:pt x="15" y="4"/>
                    <a:pt x="15" y="8"/>
                  </a:cubicBezTo>
                  <a:lnTo>
                    <a:pt x="15" y="236"/>
                  </a:lnTo>
                  <a:cubicBezTo>
                    <a:pt x="15" y="240"/>
                    <a:pt x="11" y="243"/>
                    <a:pt x="7"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112">
              <a:extLst>
                <a:ext uri="{FF2B5EF4-FFF2-40B4-BE49-F238E27FC236}">
                  <a16:creationId xmlns:a16="http://schemas.microsoft.com/office/drawing/2014/main" id="{823DAF4C-515A-747A-3B92-E9C3947A2F77}"/>
                </a:ext>
              </a:extLst>
            </p:cNvPr>
            <p:cNvSpPr>
              <a:spLocks/>
            </p:cNvSpPr>
            <p:nvPr/>
          </p:nvSpPr>
          <p:spPr bwMode="auto">
            <a:xfrm>
              <a:off x="6005513" y="1928813"/>
              <a:ext cx="14288" cy="220663"/>
            </a:xfrm>
            <a:custGeom>
              <a:avLst/>
              <a:gdLst>
                <a:gd name="T0" fmla="*/ 8 w 15"/>
                <a:gd name="T1" fmla="*/ 243 h 243"/>
                <a:gd name="T2" fmla="*/ 0 w 15"/>
                <a:gd name="T3" fmla="*/ 236 h 243"/>
                <a:gd name="T4" fmla="*/ 0 w 15"/>
                <a:gd name="T5" fmla="*/ 8 h 243"/>
                <a:gd name="T6" fmla="*/ 8 w 15"/>
                <a:gd name="T7" fmla="*/ 0 h 243"/>
                <a:gd name="T8" fmla="*/ 15 w 15"/>
                <a:gd name="T9" fmla="*/ 8 h 243"/>
                <a:gd name="T10" fmla="*/ 15 w 15"/>
                <a:gd name="T11" fmla="*/ 236 h 243"/>
                <a:gd name="T12" fmla="*/ 8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8" y="243"/>
                  </a:moveTo>
                  <a:cubicBezTo>
                    <a:pt x="4" y="243"/>
                    <a:pt x="0" y="240"/>
                    <a:pt x="0" y="236"/>
                  </a:cubicBezTo>
                  <a:lnTo>
                    <a:pt x="0" y="8"/>
                  </a:lnTo>
                  <a:cubicBezTo>
                    <a:pt x="0" y="4"/>
                    <a:pt x="4" y="0"/>
                    <a:pt x="8" y="0"/>
                  </a:cubicBezTo>
                  <a:cubicBezTo>
                    <a:pt x="12" y="0"/>
                    <a:pt x="15" y="4"/>
                    <a:pt x="15" y="8"/>
                  </a:cubicBezTo>
                  <a:lnTo>
                    <a:pt x="15" y="236"/>
                  </a:lnTo>
                  <a:cubicBezTo>
                    <a:pt x="15" y="240"/>
                    <a:pt x="12" y="243"/>
                    <a:pt x="8"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Freeform 113">
              <a:extLst>
                <a:ext uri="{FF2B5EF4-FFF2-40B4-BE49-F238E27FC236}">
                  <a16:creationId xmlns:a16="http://schemas.microsoft.com/office/drawing/2014/main" id="{5629734D-7386-8C98-8571-7D2C229E3854}"/>
                </a:ext>
              </a:extLst>
            </p:cNvPr>
            <p:cNvSpPr>
              <a:spLocks/>
            </p:cNvSpPr>
            <p:nvPr/>
          </p:nvSpPr>
          <p:spPr bwMode="auto">
            <a:xfrm>
              <a:off x="6227763" y="1928813"/>
              <a:ext cx="12700" cy="220663"/>
            </a:xfrm>
            <a:custGeom>
              <a:avLst/>
              <a:gdLst>
                <a:gd name="T0" fmla="*/ 7 w 15"/>
                <a:gd name="T1" fmla="*/ 243 h 243"/>
                <a:gd name="T2" fmla="*/ 0 w 15"/>
                <a:gd name="T3" fmla="*/ 236 h 243"/>
                <a:gd name="T4" fmla="*/ 0 w 15"/>
                <a:gd name="T5" fmla="*/ 8 h 243"/>
                <a:gd name="T6" fmla="*/ 7 w 15"/>
                <a:gd name="T7" fmla="*/ 0 h 243"/>
                <a:gd name="T8" fmla="*/ 15 w 15"/>
                <a:gd name="T9" fmla="*/ 8 h 243"/>
                <a:gd name="T10" fmla="*/ 15 w 15"/>
                <a:gd name="T11" fmla="*/ 236 h 243"/>
                <a:gd name="T12" fmla="*/ 7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7" y="243"/>
                  </a:moveTo>
                  <a:cubicBezTo>
                    <a:pt x="3" y="243"/>
                    <a:pt x="0" y="240"/>
                    <a:pt x="0" y="236"/>
                  </a:cubicBezTo>
                  <a:lnTo>
                    <a:pt x="0" y="8"/>
                  </a:lnTo>
                  <a:cubicBezTo>
                    <a:pt x="0" y="4"/>
                    <a:pt x="3" y="0"/>
                    <a:pt x="7" y="0"/>
                  </a:cubicBezTo>
                  <a:cubicBezTo>
                    <a:pt x="11" y="0"/>
                    <a:pt x="15" y="4"/>
                    <a:pt x="15" y="8"/>
                  </a:cubicBezTo>
                  <a:lnTo>
                    <a:pt x="15" y="236"/>
                  </a:lnTo>
                  <a:cubicBezTo>
                    <a:pt x="15" y="240"/>
                    <a:pt x="11" y="243"/>
                    <a:pt x="7"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114">
              <a:extLst>
                <a:ext uri="{FF2B5EF4-FFF2-40B4-BE49-F238E27FC236}">
                  <a16:creationId xmlns:a16="http://schemas.microsoft.com/office/drawing/2014/main" id="{EE24F1D3-0C31-EF71-FF03-8E4AAA07EC27}"/>
                </a:ext>
              </a:extLst>
            </p:cNvPr>
            <p:cNvSpPr>
              <a:spLocks noEditPoints="1"/>
            </p:cNvSpPr>
            <p:nvPr/>
          </p:nvSpPr>
          <p:spPr bwMode="auto">
            <a:xfrm>
              <a:off x="5930901" y="2136775"/>
              <a:ext cx="385763" cy="52388"/>
            </a:xfrm>
            <a:custGeom>
              <a:avLst/>
              <a:gdLst>
                <a:gd name="T0" fmla="*/ 14 w 424"/>
                <a:gd name="T1" fmla="*/ 42 h 57"/>
                <a:gd name="T2" fmla="*/ 410 w 424"/>
                <a:gd name="T3" fmla="*/ 42 h 57"/>
                <a:gd name="T4" fmla="*/ 410 w 424"/>
                <a:gd name="T5" fmla="*/ 14 h 57"/>
                <a:gd name="T6" fmla="*/ 14 w 424"/>
                <a:gd name="T7" fmla="*/ 14 h 57"/>
                <a:gd name="T8" fmla="*/ 14 w 424"/>
                <a:gd name="T9" fmla="*/ 42 h 57"/>
                <a:gd name="T10" fmla="*/ 417 w 424"/>
                <a:gd name="T11" fmla="*/ 57 h 57"/>
                <a:gd name="T12" fmla="*/ 7 w 424"/>
                <a:gd name="T13" fmla="*/ 57 h 57"/>
                <a:gd name="T14" fmla="*/ 0 w 424"/>
                <a:gd name="T15" fmla="*/ 49 h 57"/>
                <a:gd name="T16" fmla="*/ 0 w 424"/>
                <a:gd name="T17" fmla="*/ 7 h 57"/>
                <a:gd name="T18" fmla="*/ 7 w 424"/>
                <a:gd name="T19" fmla="*/ 0 h 57"/>
                <a:gd name="T20" fmla="*/ 417 w 424"/>
                <a:gd name="T21" fmla="*/ 0 h 57"/>
                <a:gd name="T22" fmla="*/ 424 w 424"/>
                <a:gd name="T23" fmla="*/ 7 h 57"/>
                <a:gd name="T24" fmla="*/ 424 w 424"/>
                <a:gd name="T25" fmla="*/ 49 h 57"/>
                <a:gd name="T26" fmla="*/ 417 w 424"/>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4" h="57">
                  <a:moveTo>
                    <a:pt x="14" y="42"/>
                  </a:moveTo>
                  <a:lnTo>
                    <a:pt x="410" y="42"/>
                  </a:lnTo>
                  <a:lnTo>
                    <a:pt x="410" y="14"/>
                  </a:lnTo>
                  <a:lnTo>
                    <a:pt x="14" y="14"/>
                  </a:lnTo>
                  <a:lnTo>
                    <a:pt x="14" y="42"/>
                  </a:lnTo>
                  <a:close/>
                  <a:moveTo>
                    <a:pt x="417" y="57"/>
                  </a:moveTo>
                  <a:lnTo>
                    <a:pt x="7" y="57"/>
                  </a:lnTo>
                  <a:cubicBezTo>
                    <a:pt x="3" y="57"/>
                    <a:pt x="0" y="53"/>
                    <a:pt x="0" y="49"/>
                  </a:cubicBezTo>
                  <a:lnTo>
                    <a:pt x="0" y="7"/>
                  </a:lnTo>
                  <a:cubicBezTo>
                    <a:pt x="0" y="3"/>
                    <a:pt x="3" y="0"/>
                    <a:pt x="7" y="0"/>
                  </a:cubicBezTo>
                  <a:lnTo>
                    <a:pt x="417" y="0"/>
                  </a:lnTo>
                  <a:cubicBezTo>
                    <a:pt x="421" y="0"/>
                    <a:pt x="424" y="3"/>
                    <a:pt x="424" y="7"/>
                  </a:cubicBezTo>
                  <a:lnTo>
                    <a:pt x="424" y="49"/>
                  </a:lnTo>
                  <a:cubicBezTo>
                    <a:pt x="424" y="53"/>
                    <a:pt x="421" y="57"/>
                    <a:pt x="417"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Freeform 115">
              <a:extLst>
                <a:ext uri="{FF2B5EF4-FFF2-40B4-BE49-F238E27FC236}">
                  <a16:creationId xmlns:a16="http://schemas.microsoft.com/office/drawing/2014/main" id="{AB7AAE0A-9D4A-D728-ED95-E0777A7504DD}"/>
                </a:ext>
              </a:extLst>
            </p:cNvPr>
            <p:cNvSpPr>
              <a:spLocks/>
            </p:cNvSpPr>
            <p:nvPr/>
          </p:nvSpPr>
          <p:spPr bwMode="auto">
            <a:xfrm>
              <a:off x="6049963" y="1928813"/>
              <a:ext cx="12700" cy="220663"/>
            </a:xfrm>
            <a:custGeom>
              <a:avLst/>
              <a:gdLst>
                <a:gd name="T0" fmla="*/ 7 w 14"/>
                <a:gd name="T1" fmla="*/ 243 h 243"/>
                <a:gd name="T2" fmla="*/ 0 w 14"/>
                <a:gd name="T3" fmla="*/ 236 h 243"/>
                <a:gd name="T4" fmla="*/ 0 w 14"/>
                <a:gd name="T5" fmla="*/ 8 h 243"/>
                <a:gd name="T6" fmla="*/ 7 w 14"/>
                <a:gd name="T7" fmla="*/ 0 h 243"/>
                <a:gd name="T8" fmla="*/ 14 w 14"/>
                <a:gd name="T9" fmla="*/ 8 h 243"/>
                <a:gd name="T10" fmla="*/ 14 w 14"/>
                <a:gd name="T11" fmla="*/ 236 h 243"/>
                <a:gd name="T12" fmla="*/ 7 w 14"/>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4" h="243">
                  <a:moveTo>
                    <a:pt x="7" y="243"/>
                  </a:moveTo>
                  <a:cubicBezTo>
                    <a:pt x="3" y="243"/>
                    <a:pt x="0" y="240"/>
                    <a:pt x="0" y="236"/>
                  </a:cubicBezTo>
                  <a:lnTo>
                    <a:pt x="0" y="8"/>
                  </a:lnTo>
                  <a:cubicBezTo>
                    <a:pt x="0" y="4"/>
                    <a:pt x="3" y="0"/>
                    <a:pt x="7" y="0"/>
                  </a:cubicBezTo>
                  <a:cubicBezTo>
                    <a:pt x="11" y="0"/>
                    <a:pt x="14" y="4"/>
                    <a:pt x="14" y="8"/>
                  </a:cubicBezTo>
                  <a:lnTo>
                    <a:pt x="14" y="236"/>
                  </a:lnTo>
                  <a:cubicBezTo>
                    <a:pt x="14" y="240"/>
                    <a:pt x="11" y="243"/>
                    <a:pt x="7"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Freeform 116">
              <a:extLst>
                <a:ext uri="{FF2B5EF4-FFF2-40B4-BE49-F238E27FC236}">
                  <a16:creationId xmlns:a16="http://schemas.microsoft.com/office/drawing/2014/main" id="{95AA89D0-4508-F4C3-44F2-A3890EC13541}"/>
                </a:ext>
              </a:extLst>
            </p:cNvPr>
            <p:cNvSpPr>
              <a:spLocks/>
            </p:cNvSpPr>
            <p:nvPr/>
          </p:nvSpPr>
          <p:spPr bwMode="auto">
            <a:xfrm>
              <a:off x="6184901" y="1928813"/>
              <a:ext cx="12700" cy="220663"/>
            </a:xfrm>
            <a:custGeom>
              <a:avLst/>
              <a:gdLst>
                <a:gd name="T0" fmla="*/ 7 w 14"/>
                <a:gd name="T1" fmla="*/ 243 h 243"/>
                <a:gd name="T2" fmla="*/ 0 w 14"/>
                <a:gd name="T3" fmla="*/ 236 h 243"/>
                <a:gd name="T4" fmla="*/ 0 w 14"/>
                <a:gd name="T5" fmla="*/ 8 h 243"/>
                <a:gd name="T6" fmla="*/ 7 w 14"/>
                <a:gd name="T7" fmla="*/ 0 h 243"/>
                <a:gd name="T8" fmla="*/ 14 w 14"/>
                <a:gd name="T9" fmla="*/ 8 h 243"/>
                <a:gd name="T10" fmla="*/ 14 w 14"/>
                <a:gd name="T11" fmla="*/ 236 h 243"/>
                <a:gd name="T12" fmla="*/ 7 w 14"/>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4" h="243">
                  <a:moveTo>
                    <a:pt x="7" y="243"/>
                  </a:moveTo>
                  <a:cubicBezTo>
                    <a:pt x="3" y="243"/>
                    <a:pt x="0" y="240"/>
                    <a:pt x="0" y="236"/>
                  </a:cubicBezTo>
                  <a:lnTo>
                    <a:pt x="0" y="8"/>
                  </a:lnTo>
                  <a:cubicBezTo>
                    <a:pt x="0" y="4"/>
                    <a:pt x="3" y="0"/>
                    <a:pt x="7" y="0"/>
                  </a:cubicBezTo>
                  <a:cubicBezTo>
                    <a:pt x="11" y="0"/>
                    <a:pt x="14" y="4"/>
                    <a:pt x="14" y="8"/>
                  </a:cubicBezTo>
                  <a:lnTo>
                    <a:pt x="14" y="236"/>
                  </a:lnTo>
                  <a:cubicBezTo>
                    <a:pt x="14" y="240"/>
                    <a:pt x="11" y="243"/>
                    <a:pt x="7"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Freeform 117">
              <a:extLst>
                <a:ext uri="{FF2B5EF4-FFF2-40B4-BE49-F238E27FC236}">
                  <a16:creationId xmlns:a16="http://schemas.microsoft.com/office/drawing/2014/main" id="{FC3801F2-6FFF-444B-F99B-A4F46E77CACE}"/>
                </a:ext>
              </a:extLst>
            </p:cNvPr>
            <p:cNvSpPr>
              <a:spLocks/>
            </p:cNvSpPr>
            <p:nvPr/>
          </p:nvSpPr>
          <p:spPr bwMode="auto">
            <a:xfrm>
              <a:off x="6097588" y="1928813"/>
              <a:ext cx="12700" cy="220663"/>
            </a:xfrm>
            <a:custGeom>
              <a:avLst/>
              <a:gdLst>
                <a:gd name="T0" fmla="*/ 7 w 15"/>
                <a:gd name="T1" fmla="*/ 243 h 243"/>
                <a:gd name="T2" fmla="*/ 0 w 15"/>
                <a:gd name="T3" fmla="*/ 236 h 243"/>
                <a:gd name="T4" fmla="*/ 0 w 15"/>
                <a:gd name="T5" fmla="*/ 8 h 243"/>
                <a:gd name="T6" fmla="*/ 7 w 15"/>
                <a:gd name="T7" fmla="*/ 0 h 243"/>
                <a:gd name="T8" fmla="*/ 15 w 15"/>
                <a:gd name="T9" fmla="*/ 8 h 243"/>
                <a:gd name="T10" fmla="*/ 15 w 15"/>
                <a:gd name="T11" fmla="*/ 236 h 243"/>
                <a:gd name="T12" fmla="*/ 7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7" y="243"/>
                  </a:moveTo>
                  <a:cubicBezTo>
                    <a:pt x="3" y="243"/>
                    <a:pt x="0" y="240"/>
                    <a:pt x="0" y="236"/>
                  </a:cubicBezTo>
                  <a:lnTo>
                    <a:pt x="0" y="8"/>
                  </a:lnTo>
                  <a:cubicBezTo>
                    <a:pt x="0" y="4"/>
                    <a:pt x="3" y="0"/>
                    <a:pt x="7" y="0"/>
                  </a:cubicBezTo>
                  <a:cubicBezTo>
                    <a:pt x="11" y="0"/>
                    <a:pt x="15" y="4"/>
                    <a:pt x="15" y="8"/>
                  </a:cubicBezTo>
                  <a:lnTo>
                    <a:pt x="15" y="236"/>
                  </a:lnTo>
                  <a:cubicBezTo>
                    <a:pt x="15" y="240"/>
                    <a:pt x="11" y="243"/>
                    <a:pt x="7"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Freeform 118">
              <a:extLst>
                <a:ext uri="{FF2B5EF4-FFF2-40B4-BE49-F238E27FC236}">
                  <a16:creationId xmlns:a16="http://schemas.microsoft.com/office/drawing/2014/main" id="{D5AE175D-321B-5045-001D-317ECA12AF20}"/>
                </a:ext>
              </a:extLst>
            </p:cNvPr>
            <p:cNvSpPr>
              <a:spLocks/>
            </p:cNvSpPr>
            <p:nvPr/>
          </p:nvSpPr>
          <p:spPr bwMode="auto">
            <a:xfrm>
              <a:off x="6135688" y="1928813"/>
              <a:ext cx="14288" cy="220663"/>
            </a:xfrm>
            <a:custGeom>
              <a:avLst/>
              <a:gdLst>
                <a:gd name="T0" fmla="*/ 8 w 15"/>
                <a:gd name="T1" fmla="*/ 243 h 243"/>
                <a:gd name="T2" fmla="*/ 0 w 15"/>
                <a:gd name="T3" fmla="*/ 236 h 243"/>
                <a:gd name="T4" fmla="*/ 0 w 15"/>
                <a:gd name="T5" fmla="*/ 8 h 243"/>
                <a:gd name="T6" fmla="*/ 8 w 15"/>
                <a:gd name="T7" fmla="*/ 0 h 243"/>
                <a:gd name="T8" fmla="*/ 15 w 15"/>
                <a:gd name="T9" fmla="*/ 8 h 243"/>
                <a:gd name="T10" fmla="*/ 15 w 15"/>
                <a:gd name="T11" fmla="*/ 236 h 243"/>
                <a:gd name="T12" fmla="*/ 8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8" y="243"/>
                  </a:moveTo>
                  <a:cubicBezTo>
                    <a:pt x="4" y="243"/>
                    <a:pt x="0" y="240"/>
                    <a:pt x="0" y="236"/>
                  </a:cubicBezTo>
                  <a:lnTo>
                    <a:pt x="0" y="8"/>
                  </a:lnTo>
                  <a:cubicBezTo>
                    <a:pt x="0" y="4"/>
                    <a:pt x="4" y="0"/>
                    <a:pt x="8" y="0"/>
                  </a:cubicBezTo>
                  <a:cubicBezTo>
                    <a:pt x="12" y="0"/>
                    <a:pt x="15" y="4"/>
                    <a:pt x="15" y="8"/>
                  </a:cubicBezTo>
                  <a:lnTo>
                    <a:pt x="15" y="236"/>
                  </a:lnTo>
                  <a:cubicBezTo>
                    <a:pt x="15" y="240"/>
                    <a:pt x="12" y="243"/>
                    <a:pt x="8"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2" name="Rectangle 30">
            <a:extLst>
              <a:ext uri="{FF2B5EF4-FFF2-40B4-BE49-F238E27FC236}">
                <a16:creationId xmlns:a16="http://schemas.microsoft.com/office/drawing/2014/main" id="{44454066-F361-1C35-F452-FBC37C5E3113}"/>
              </a:ext>
            </a:extLst>
          </p:cNvPr>
          <p:cNvSpPr/>
          <p:nvPr/>
        </p:nvSpPr>
        <p:spPr bwMode="auto">
          <a:xfrm>
            <a:off x="901435" y="2031278"/>
            <a:ext cx="3505225" cy="1121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ctr"/>
          <a:lstStyle/>
          <a:p>
            <a:pPr marL="171450" indent="-171450" defTabSz="685800" fontAlgn="base">
              <a:lnSpc>
                <a:spcPct val="90000"/>
              </a:lnSpc>
              <a:buFont typeface="Arial" panose="020B0604020202020204" pitchFamily="34" charset="0"/>
              <a:buChar char="•"/>
              <a:defRPr/>
            </a:pPr>
            <a:r>
              <a:rPr lang="en-US" sz="1200" b="1" kern="0">
                <a:solidFill>
                  <a:schemeClr val="tx1"/>
                </a:solidFill>
                <a:cs typeface="Arial" pitchFamily="34" charset="0"/>
              </a:rPr>
              <a:t>SASB Metrics</a:t>
            </a:r>
            <a:r>
              <a:rPr lang="en-US" sz="1200" kern="0">
                <a:solidFill>
                  <a:schemeClr val="tx1"/>
                </a:solidFill>
                <a:cs typeface="Arial" pitchFamily="34" charset="0"/>
              </a:rPr>
              <a:t>: Compliance with relevant operational standards</a:t>
            </a:r>
          </a:p>
          <a:p>
            <a:pPr marL="171450" indent="-171450" defTabSz="685800" fontAlgn="base">
              <a:lnSpc>
                <a:spcPct val="90000"/>
              </a:lnSpc>
              <a:buFont typeface="Arial" panose="020B0604020202020204" pitchFamily="34" charset="0"/>
              <a:buChar char="•"/>
              <a:defRPr/>
            </a:pPr>
            <a:endParaRPr lang="en-US" sz="1200" kern="0">
              <a:solidFill>
                <a:schemeClr val="tx1"/>
              </a:solidFill>
              <a:cs typeface="Arial" pitchFamily="34" charset="0"/>
            </a:endParaRPr>
          </a:p>
          <a:p>
            <a:pPr marL="171450" indent="-171450" defTabSz="685800" fontAlgn="base">
              <a:lnSpc>
                <a:spcPct val="90000"/>
              </a:lnSpc>
              <a:buFont typeface="Arial" panose="020B0604020202020204" pitchFamily="34" charset="0"/>
              <a:buChar char="•"/>
              <a:defRPr/>
            </a:pPr>
            <a:r>
              <a:rPr lang="en-US" sz="1200" b="1" kern="0">
                <a:solidFill>
                  <a:schemeClr val="accent2"/>
                </a:solidFill>
                <a:cs typeface="Arial" pitchFamily="34" charset="0"/>
              </a:rPr>
              <a:t>TCFD Recommendations</a:t>
            </a:r>
            <a:r>
              <a:rPr lang="en-US" sz="1200" kern="0">
                <a:solidFill>
                  <a:schemeClr val="tx1"/>
                </a:solidFill>
                <a:cs typeface="Arial" pitchFamily="34" charset="0"/>
              </a:rPr>
              <a:t>: Detailed climate risk governance strategy</a:t>
            </a:r>
          </a:p>
        </p:txBody>
      </p:sp>
      <p:sp>
        <p:nvSpPr>
          <p:cNvPr id="163" name="Rectangle 30">
            <a:extLst>
              <a:ext uri="{FF2B5EF4-FFF2-40B4-BE49-F238E27FC236}">
                <a16:creationId xmlns:a16="http://schemas.microsoft.com/office/drawing/2014/main" id="{1DED8EE8-8E81-9D94-2C2C-1CBB803D4342}"/>
              </a:ext>
            </a:extLst>
          </p:cNvPr>
          <p:cNvSpPr/>
          <p:nvPr/>
        </p:nvSpPr>
        <p:spPr bwMode="auto">
          <a:xfrm>
            <a:off x="5069975" y="2025810"/>
            <a:ext cx="3505225" cy="1121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ctr"/>
          <a:lstStyle/>
          <a:p>
            <a:pPr marL="171450" indent="-171450" defTabSz="685800" fontAlgn="base">
              <a:lnSpc>
                <a:spcPct val="90000"/>
              </a:lnSpc>
              <a:buFont typeface="Arial" panose="020B0604020202020204" pitchFamily="34" charset="0"/>
              <a:buChar char="•"/>
              <a:defRPr/>
            </a:pPr>
            <a:r>
              <a:rPr lang="en-US" sz="1200" b="1" kern="0">
                <a:solidFill>
                  <a:schemeClr val="accent3"/>
                </a:solidFill>
                <a:cs typeface="Arial" pitchFamily="34" charset="0"/>
              </a:rPr>
              <a:t>SDGs Alignment: </a:t>
            </a:r>
            <a:r>
              <a:rPr lang="en-US" sz="1200" kern="0">
                <a:solidFill>
                  <a:schemeClr val="tx1"/>
                </a:solidFill>
                <a:cs typeface="Arial" pitchFamily="34" charset="0"/>
              </a:rPr>
              <a:t>Initiatives aligned with UN global goals</a:t>
            </a:r>
          </a:p>
          <a:p>
            <a:pPr defTabSz="685800" fontAlgn="base">
              <a:lnSpc>
                <a:spcPct val="90000"/>
              </a:lnSpc>
              <a:defRPr/>
            </a:pPr>
            <a:endParaRPr lang="en-US" sz="1200" kern="0">
              <a:solidFill>
                <a:schemeClr val="tx1"/>
              </a:solidFill>
              <a:cs typeface="Arial" pitchFamily="34" charset="0"/>
            </a:endParaRPr>
          </a:p>
          <a:p>
            <a:pPr marL="171450" indent="-171450" defTabSz="685800" fontAlgn="base">
              <a:lnSpc>
                <a:spcPct val="90000"/>
              </a:lnSpc>
              <a:buFont typeface="Arial" panose="020B0604020202020204" pitchFamily="34" charset="0"/>
              <a:buChar char="•"/>
              <a:defRPr/>
            </a:pPr>
            <a:r>
              <a:rPr lang="en-US" sz="1200" b="1" kern="0">
                <a:solidFill>
                  <a:schemeClr val="accent4"/>
                </a:solidFill>
                <a:cs typeface="Arial" pitchFamily="34" charset="0"/>
              </a:rPr>
              <a:t>Forward Statements: </a:t>
            </a:r>
            <a:r>
              <a:rPr lang="en-US" sz="1200" kern="0">
                <a:solidFill>
                  <a:schemeClr val="tx1"/>
                </a:solidFill>
                <a:cs typeface="Arial" pitchFamily="34" charset="0"/>
              </a:rPr>
              <a:t>Projected business trends, third-party verified emissions.</a:t>
            </a:r>
          </a:p>
        </p:txBody>
      </p:sp>
      <p:sp>
        <p:nvSpPr>
          <p:cNvPr id="4" name="Foliennummernplatzhalter 3">
            <a:extLst>
              <a:ext uri="{FF2B5EF4-FFF2-40B4-BE49-F238E27FC236}">
                <a16:creationId xmlns:a16="http://schemas.microsoft.com/office/drawing/2014/main" id="{15716BCC-93F4-F262-2604-44A51055D003}"/>
              </a:ext>
            </a:extLst>
          </p:cNvPr>
          <p:cNvSpPr>
            <a:spLocks noGrp="1"/>
          </p:cNvSpPr>
          <p:nvPr>
            <p:ph type="sldNum" sz="quarter" idx="4"/>
          </p:nvPr>
        </p:nvSpPr>
        <p:spPr>
          <a:xfrm>
            <a:off x="8620125" y="6517499"/>
            <a:ext cx="308504" cy="180000"/>
          </a:xfrm>
        </p:spPr>
        <p:txBody>
          <a:bodyPr/>
          <a:lstStyle/>
          <a:p>
            <a:fld id="{BAF04893-69FB-435D-AB2E-CA259D85B32F}" type="slidenum">
              <a:rPr lang="en-US" smtClean="0"/>
              <a:pPr/>
              <a:t>53</a:t>
            </a:fld>
            <a:endParaRPr lang="en-US"/>
          </a:p>
        </p:txBody>
      </p:sp>
    </p:spTree>
    <p:custDataLst>
      <p:tags r:id="rId1"/>
    </p:custDataLst>
    <p:extLst>
      <p:ext uri="{BB962C8B-B14F-4D97-AF65-F5344CB8AC3E}">
        <p14:creationId xmlns:p14="http://schemas.microsoft.com/office/powerpoint/2010/main" val="19827251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C134722B-BC48-A3D6-A4A0-0778077C26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8" imgH="408" progId="TCLayout.ActiveDocument.1">
                  <p:embed/>
                </p:oleObj>
              </mc:Choice>
              <mc:Fallback>
                <p:oleObj name="think-cell Folie" r:id="rId7" imgW="408" imgH="408" progId="TCLayout.ActiveDocument.1">
                  <p:embed/>
                  <p:pic>
                    <p:nvPicPr>
                      <p:cNvPr id="26" name="think-cell data - do not delete" hidden="1">
                        <a:extLst>
                          <a:ext uri="{FF2B5EF4-FFF2-40B4-BE49-F238E27FC236}">
                            <a16:creationId xmlns:a16="http://schemas.microsoft.com/office/drawing/2014/main" id="{C134722B-BC48-A3D6-A4A0-0778077C26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FCF470F-26E3-DE75-7C3A-92ED46D3A48B}"/>
              </a:ext>
            </a:extLst>
          </p:cNvPr>
          <p:cNvSpPr>
            <a:spLocks noGrp="1"/>
          </p:cNvSpPr>
          <p:nvPr>
            <p:ph type="title"/>
          </p:nvPr>
        </p:nvSpPr>
        <p:spPr/>
        <p:txBody>
          <a:bodyPr vert="horz"/>
          <a:lstStyle/>
          <a:p>
            <a:r>
              <a:rPr lang="en-US"/>
              <a:t>The utilization of sustainable transportation options can have many positive consequences for Uber and the communities it operates in</a:t>
            </a:r>
          </a:p>
        </p:txBody>
      </p:sp>
      <p:sp>
        <p:nvSpPr>
          <p:cNvPr id="4" name="Foliennummernplatzhalter 3">
            <a:extLst>
              <a:ext uri="{FF2B5EF4-FFF2-40B4-BE49-F238E27FC236}">
                <a16:creationId xmlns:a16="http://schemas.microsoft.com/office/drawing/2014/main" id="{625630F4-F526-CF70-E918-9F4CD1A64ED5}"/>
              </a:ext>
            </a:extLst>
          </p:cNvPr>
          <p:cNvSpPr>
            <a:spLocks noGrp="1"/>
          </p:cNvSpPr>
          <p:nvPr>
            <p:ph type="sldNum" sz="quarter" idx="4"/>
          </p:nvPr>
        </p:nvSpPr>
        <p:spPr/>
        <p:txBody>
          <a:bodyPr/>
          <a:lstStyle/>
          <a:p>
            <a:fld id="{BAF04893-69FB-435D-AB2E-CA259D85B32F}" type="slidenum">
              <a:rPr lang="en-US" smtClean="0"/>
              <a:pPr/>
              <a:t>54</a:t>
            </a:fld>
            <a:endParaRPr lang="en-US"/>
          </a:p>
        </p:txBody>
      </p:sp>
      <p:sp>
        <p:nvSpPr>
          <p:cNvPr id="7" name="Inhaltsplatzhalter 6">
            <a:extLst>
              <a:ext uri="{FF2B5EF4-FFF2-40B4-BE49-F238E27FC236}">
                <a16:creationId xmlns:a16="http://schemas.microsoft.com/office/drawing/2014/main" id="{DC8224F6-F364-9541-1FBB-737C7C708238}"/>
              </a:ext>
            </a:extLst>
          </p:cNvPr>
          <p:cNvSpPr>
            <a:spLocks noGrp="1"/>
          </p:cNvSpPr>
          <p:nvPr>
            <p:ph idx="12"/>
          </p:nvPr>
        </p:nvSpPr>
        <p:spPr/>
        <p:txBody>
          <a:bodyPr/>
          <a:lstStyle/>
          <a:p>
            <a:r>
              <a:rPr lang="en-US"/>
              <a:t>ESG</a:t>
            </a:r>
          </a:p>
        </p:txBody>
      </p:sp>
      <p:cxnSp>
        <p:nvCxnSpPr>
          <p:cNvPr id="9" name="Straight Connector 4">
            <a:extLst>
              <a:ext uri="{FF2B5EF4-FFF2-40B4-BE49-F238E27FC236}">
                <a16:creationId xmlns:a16="http://schemas.microsoft.com/office/drawing/2014/main" id="{E2C91137-4D65-B248-E84A-C48B8C2BAAE4}"/>
              </a:ext>
            </a:extLst>
          </p:cNvPr>
          <p:cNvCxnSpPr>
            <a:cxnSpLocks/>
          </p:cNvCxnSpPr>
          <p:nvPr/>
        </p:nvCxnSpPr>
        <p:spPr>
          <a:xfrm>
            <a:off x="4561609" y="2089150"/>
            <a:ext cx="0" cy="4290233"/>
          </a:xfrm>
          <a:prstGeom prst="line">
            <a:avLst/>
          </a:prstGeom>
          <a:ln>
            <a:solidFill>
              <a:srgbClr val="BFBFB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1" name="Inhaltsplatzhalter 20">
            <a:extLst>
              <a:ext uri="{FF2B5EF4-FFF2-40B4-BE49-F238E27FC236}">
                <a16:creationId xmlns:a16="http://schemas.microsoft.com/office/drawing/2014/main" id="{832FD35D-B91A-6AAD-C703-84CDF09CCC65}"/>
              </a:ext>
            </a:extLst>
          </p:cNvPr>
          <p:cNvSpPr>
            <a:spLocks noGrp="1"/>
          </p:cNvSpPr>
          <p:nvPr>
            <p:ph idx="10"/>
          </p:nvPr>
        </p:nvSpPr>
        <p:spPr/>
        <p:txBody>
          <a:bodyPr/>
          <a:lstStyle/>
          <a:p>
            <a:r>
              <a:rPr lang="en-US"/>
              <a:t>Opportunities - Simulation</a:t>
            </a:r>
          </a:p>
        </p:txBody>
      </p:sp>
      <p:sp>
        <p:nvSpPr>
          <p:cNvPr id="10" name="Inhaltsplatzhalter 9">
            <a:extLst>
              <a:ext uri="{FF2B5EF4-FFF2-40B4-BE49-F238E27FC236}">
                <a16:creationId xmlns:a16="http://schemas.microsoft.com/office/drawing/2014/main" id="{9052EDAE-7D91-3078-E691-AFB4A58AF266}"/>
              </a:ext>
            </a:extLst>
          </p:cNvPr>
          <p:cNvSpPr>
            <a:spLocks noGrp="1"/>
          </p:cNvSpPr>
          <p:nvPr>
            <p:ph idx="11"/>
          </p:nvPr>
        </p:nvSpPr>
        <p:spPr/>
        <p:txBody>
          <a:bodyPr/>
          <a:lstStyle/>
          <a:p>
            <a:r>
              <a:rPr lang="en-US"/>
              <a:t>Uber ESG-Report, Own Representation, MSCI ESG Rating/Scoring</a:t>
            </a:r>
          </a:p>
        </p:txBody>
      </p:sp>
      <p:sp>
        <p:nvSpPr>
          <p:cNvPr id="18" name="Textfeld 17">
            <a:extLst>
              <a:ext uri="{FF2B5EF4-FFF2-40B4-BE49-F238E27FC236}">
                <a16:creationId xmlns:a16="http://schemas.microsoft.com/office/drawing/2014/main" id="{1924DF93-A774-0B55-5EA0-6FE0A12B3F31}"/>
              </a:ext>
            </a:extLst>
          </p:cNvPr>
          <p:cNvSpPr txBox="1"/>
          <p:nvPr/>
        </p:nvSpPr>
        <p:spPr>
          <a:xfrm>
            <a:off x="359997" y="2089150"/>
            <a:ext cx="3583353" cy="461665"/>
          </a:xfrm>
          <a:prstGeom prst="rect">
            <a:avLst/>
          </a:prstGeom>
          <a:noFill/>
        </p:spPr>
        <p:txBody>
          <a:bodyPr wrap="square" rtlCol="0">
            <a:spAutoFit/>
          </a:bodyPr>
          <a:lstStyle/>
          <a:p>
            <a:r>
              <a:rPr lang="en-US" sz="1200" b="1"/>
              <a:t>ESG Improvements based on example: More Sustainable Transport in Cities (</a:t>
            </a:r>
            <a:r>
              <a:rPr lang="en-US" sz="1200" b="1">
                <a:solidFill>
                  <a:srgbClr val="FF0000"/>
                </a:solidFill>
              </a:rPr>
              <a:t>detailed Slides: XX)</a:t>
            </a:r>
          </a:p>
        </p:txBody>
      </p:sp>
      <p:sp>
        <p:nvSpPr>
          <p:cNvPr id="19" name="Textfeld 18">
            <a:extLst>
              <a:ext uri="{FF2B5EF4-FFF2-40B4-BE49-F238E27FC236}">
                <a16:creationId xmlns:a16="http://schemas.microsoft.com/office/drawing/2014/main" id="{714C8199-CFE1-87AE-6B1D-ABAD183BDD24}"/>
              </a:ext>
            </a:extLst>
          </p:cNvPr>
          <p:cNvSpPr txBox="1"/>
          <p:nvPr/>
        </p:nvSpPr>
        <p:spPr>
          <a:xfrm>
            <a:off x="4644048" y="2084091"/>
            <a:ext cx="4239600" cy="276999"/>
          </a:xfrm>
          <a:prstGeom prst="rect">
            <a:avLst/>
          </a:prstGeom>
          <a:noFill/>
        </p:spPr>
        <p:txBody>
          <a:bodyPr wrap="square" rtlCol="0">
            <a:spAutoFit/>
          </a:bodyPr>
          <a:lstStyle/>
          <a:p>
            <a:r>
              <a:rPr lang="en-US" sz="1200" b="1"/>
              <a:t>Opportunities from other Companies through MSCI ESG Scoring</a:t>
            </a:r>
            <a:endParaRPr lang="en-US" sz="1200" b="1">
              <a:solidFill>
                <a:srgbClr val="FF0000"/>
              </a:solidFill>
            </a:endParaRPr>
          </a:p>
        </p:txBody>
      </p:sp>
      <p:grpSp>
        <p:nvGrpSpPr>
          <p:cNvPr id="20" name="Shipment2" descr="{&quot;Key&quot;:&quot;POWER_USER_SHAPE_ICON&quot;,&quot;Value&quot;:&quot;POWER_USER_SHAPE_ICON_STYLE_1&quot;}">
            <a:extLst>
              <a:ext uri="{FF2B5EF4-FFF2-40B4-BE49-F238E27FC236}">
                <a16:creationId xmlns:a16="http://schemas.microsoft.com/office/drawing/2014/main" id="{62941369-8583-0D4C-E988-86AE683B6270}"/>
              </a:ext>
            </a:extLst>
          </p:cNvPr>
          <p:cNvGrpSpPr>
            <a:grpSpLocks noChangeAspect="1"/>
          </p:cNvGrpSpPr>
          <p:nvPr>
            <p:custDataLst>
              <p:tags r:id="rId2"/>
            </p:custDataLst>
          </p:nvPr>
        </p:nvGrpSpPr>
        <p:grpSpPr>
          <a:xfrm>
            <a:off x="4020042" y="2171374"/>
            <a:ext cx="382436" cy="379431"/>
            <a:chOff x="7051676" y="280988"/>
            <a:chExt cx="808038" cy="801688"/>
          </a:xfrm>
          <a:noFill/>
        </p:grpSpPr>
        <p:sp>
          <p:nvSpPr>
            <p:cNvPr id="27" name="Freeform 224">
              <a:extLst>
                <a:ext uri="{FF2B5EF4-FFF2-40B4-BE49-F238E27FC236}">
                  <a16:creationId xmlns:a16="http://schemas.microsoft.com/office/drawing/2014/main" id="{8D58E0FF-0F58-42BF-3F8A-B69A105D5930}"/>
                </a:ext>
              </a:extLst>
            </p:cNvPr>
            <p:cNvSpPr>
              <a:spLocks/>
            </p:cNvSpPr>
            <p:nvPr/>
          </p:nvSpPr>
          <p:spPr bwMode="auto">
            <a:xfrm>
              <a:off x="7275514" y="419101"/>
              <a:ext cx="314325" cy="609600"/>
            </a:xfrm>
            <a:custGeom>
              <a:avLst/>
              <a:gdLst>
                <a:gd name="T0" fmla="*/ 246 w 455"/>
                <a:gd name="T1" fmla="*/ 850 h 879"/>
                <a:gd name="T2" fmla="*/ 210 w 455"/>
                <a:gd name="T3" fmla="*/ 825 h 879"/>
                <a:gd name="T4" fmla="*/ 163 w 455"/>
                <a:gd name="T5" fmla="*/ 317 h 879"/>
                <a:gd name="T6" fmla="*/ 260 w 455"/>
                <a:gd name="T7" fmla="*/ 134 h 879"/>
                <a:gd name="T8" fmla="*/ 380 w 455"/>
                <a:gd name="T9" fmla="*/ 243 h 879"/>
                <a:gd name="T10" fmla="*/ 411 w 455"/>
                <a:gd name="T11" fmla="*/ 257 h 879"/>
                <a:gd name="T12" fmla="*/ 438 w 455"/>
                <a:gd name="T13" fmla="*/ 253 h 879"/>
                <a:gd name="T14" fmla="*/ 443 w 455"/>
                <a:gd name="T15" fmla="*/ 225 h 879"/>
                <a:gd name="T16" fmla="*/ 303 w 455"/>
                <a:gd name="T17" fmla="*/ 59 h 879"/>
                <a:gd name="T18" fmla="*/ 196 w 455"/>
                <a:gd name="T19" fmla="*/ 7 h 879"/>
                <a:gd name="T20" fmla="*/ 116 w 455"/>
                <a:gd name="T21" fmla="*/ 75 h 879"/>
                <a:gd name="T22" fmla="*/ 26 w 455"/>
                <a:gd name="T23" fmla="*/ 243 h 879"/>
                <a:gd name="T24" fmla="*/ 16 w 455"/>
                <a:gd name="T25" fmla="*/ 362 h 879"/>
                <a:gd name="T26" fmla="*/ 147 w 455"/>
                <a:gd name="T27" fmla="*/ 849 h 879"/>
                <a:gd name="T28" fmla="*/ 167 w 455"/>
                <a:gd name="T29" fmla="*/ 878 h 879"/>
                <a:gd name="T30" fmla="*/ 241 w 455"/>
                <a:gd name="T31" fmla="*/ 879 h 879"/>
                <a:gd name="T32" fmla="*/ 246 w 455"/>
                <a:gd name="T33" fmla="*/ 85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5" h="879">
                  <a:moveTo>
                    <a:pt x="246" y="850"/>
                  </a:moveTo>
                  <a:cubicBezTo>
                    <a:pt x="232" y="845"/>
                    <a:pt x="214" y="830"/>
                    <a:pt x="210" y="825"/>
                  </a:cubicBezTo>
                  <a:cubicBezTo>
                    <a:pt x="201" y="762"/>
                    <a:pt x="176" y="419"/>
                    <a:pt x="163" y="317"/>
                  </a:cubicBezTo>
                  <a:cubicBezTo>
                    <a:pt x="181" y="276"/>
                    <a:pt x="249" y="156"/>
                    <a:pt x="260" y="134"/>
                  </a:cubicBezTo>
                  <a:cubicBezTo>
                    <a:pt x="292" y="162"/>
                    <a:pt x="361" y="224"/>
                    <a:pt x="380" y="243"/>
                  </a:cubicBezTo>
                  <a:cubicBezTo>
                    <a:pt x="391" y="253"/>
                    <a:pt x="399" y="259"/>
                    <a:pt x="411" y="257"/>
                  </a:cubicBezTo>
                  <a:cubicBezTo>
                    <a:pt x="421" y="256"/>
                    <a:pt x="428" y="254"/>
                    <a:pt x="438" y="253"/>
                  </a:cubicBezTo>
                  <a:cubicBezTo>
                    <a:pt x="445" y="251"/>
                    <a:pt x="455" y="240"/>
                    <a:pt x="443" y="225"/>
                  </a:cubicBezTo>
                  <a:cubicBezTo>
                    <a:pt x="417" y="192"/>
                    <a:pt x="324" y="83"/>
                    <a:pt x="303" y="59"/>
                  </a:cubicBezTo>
                  <a:cubicBezTo>
                    <a:pt x="285" y="39"/>
                    <a:pt x="260" y="15"/>
                    <a:pt x="196" y="7"/>
                  </a:cubicBezTo>
                  <a:cubicBezTo>
                    <a:pt x="149" y="0"/>
                    <a:pt x="130" y="45"/>
                    <a:pt x="116" y="75"/>
                  </a:cubicBezTo>
                  <a:cubicBezTo>
                    <a:pt x="94" y="122"/>
                    <a:pt x="37" y="216"/>
                    <a:pt x="26" y="243"/>
                  </a:cubicBezTo>
                  <a:cubicBezTo>
                    <a:pt x="0" y="306"/>
                    <a:pt x="7" y="332"/>
                    <a:pt x="16" y="362"/>
                  </a:cubicBezTo>
                  <a:cubicBezTo>
                    <a:pt x="37" y="436"/>
                    <a:pt x="141" y="781"/>
                    <a:pt x="147" y="849"/>
                  </a:cubicBezTo>
                  <a:cubicBezTo>
                    <a:pt x="149" y="871"/>
                    <a:pt x="158" y="878"/>
                    <a:pt x="167" y="878"/>
                  </a:cubicBezTo>
                  <a:cubicBezTo>
                    <a:pt x="179" y="878"/>
                    <a:pt x="236" y="879"/>
                    <a:pt x="241" y="879"/>
                  </a:cubicBezTo>
                  <a:cubicBezTo>
                    <a:pt x="251" y="879"/>
                    <a:pt x="260" y="854"/>
                    <a:pt x="246" y="850"/>
                  </a:cubicBezTo>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225">
              <a:extLst>
                <a:ext uri="{FF2B5EF4-FFF2-40B4-BE49-F238E27FC236}">
                  <a16:creationId xmlns:a16="http://schemas.microsoft.com/office/drawing/2014/main" id="{28FC0101-A67A-01A3-2A29-4DBC8E16CECC}"/>
                </a:ext>
              </a:extLst>
            </p:cNvPr>
            <p:cNvSpPr>
              <a:spLocks/>
            </p:cNvSpPr>
            <p:nvPr/>
          </p:nvSpPr>
          <p:spPr bwMode="auto">
            <a:xfrm>
              <a:off x="7400926" y="641351"/>
              <a:ext cx="125413" cy="76200"/>
            </a:xfrm>
            <a:custGeom>
              <a:avLst/>
              <a:gdLst>
                <a:gd name="T0" fmla="*/ 148 w 180"/>
                <a:gd name="T1" fmla="*/ 47 h 110"/>
                <a:gd name="T2" fmla="*/ 0 w 180"/>
                <a:gd name="T3" fmla="*/ 0 h 110"/>
                <a:gd name="T4" fmla="*/ 10 w 180"/>
                <a:gd name="T5" fmla="*/ 100 h 110"/>
                <a:gd name="T6" fmla="*/ 66 w 180"/>
                <a:gd name="T7" fmla="*/ 110 h 110"/>
                <a:gd name="T8" fmla="*/ 180 w 180"/>
                <a:gd name="T9" fmla="*/ 91 h 110"/>
                <a:gd name="T10" fmla="*/ 148 w 180"/>
                <a:gd name="T11" fmla="*/ 47 h 110"/>
              </a:gdLst>
              <a:ahLst/>
              <a:cxnLst>
                <a:cxn ang="0">
                  <a:pos x="T0" y="T1"/>
                </a:cxn>
                <a:cxn ang="0">
                  <a:pos x="T2" y="T3"/>
                </a:cxn>
                <a:cxn ang="0">
                  <a:pos x="T4" y="T5"/>
                </a:cxn>
                <a:cxn ang="0">
                  <a:pos x="T6" y="T7"/>
                </a:cxn>
                <a:cxn ang="0">
                  <a:pos x="T8" y="T9"/>
                </a:cxn>
                <a:cxn ang="0">
                  <a:pos x="T10" y="T11"/>
                </a:cxn>
              </a:cxnLst>
              <a:rect l="0" t="0" r="r" b="b"/>
              <a:pathLst>
                <a:path w="180" h="110">
                  <a:moveTo>
                    <a:pt x="148" y="47"/>
                  </a:moveTo>
                  <a:cubicBezTo>
                    <a:pt x="128" y="37"/>
                    <a:pt x="46" y="12"/>
                    <a:pt x="0" y="0"/>
                  </a:cubicBezTo>
                  <a:cubicBezTo>
                    <a:pt x="3" y="23"/>
                    <a:pt x="8" y="83"/>
                    <a:pt x="10" y="100"/>
                  </a:cubicBezTo>
                  <a:cubicBezTo>
                    <a:pt x="25" y="104"/>
                    <a:pt x="42" y="107"/>
                    <a:pt x="66" y="110"/>
                  </a:cubicBezTo>
                  <a:lnTo>
                    <a:pt x="180" y="91"/>
                  </a:lnTo>
                  <a:cubicBezTo>
                    <a:pt x="175" y="69"/>
                    <a:pt x="160" y="53"/>
                    <a:pt x="148" y="47"/>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26">
              <a:extLst>
                <a:ext uri="{FF2B5EF4-FFF2-40B4-BE49-F238E27FC236}">
                  <a16:creationId xmlns:a16="http://schemas.microsoft.com/office/drawing/2014/main" id="{E0D3EB55-7C32-8392-21F5-59E5F88D6ECB}"/>
                </a:ext>
              </a:extLst>
            </p:cNvPr>
            <p:cNvSpPr>
              <a:spLocks/>
            </p:cNvSpPr>
            <p:nvPr/>
          </p:nvSpPr>
          <p:spPr bwMode="auto">
            <a:xfrm>
              <a:off x="7431089" y="749301"/>
              <a:ext cx="85725" cy="120650"/>
            </a:xfrm>
            <a:custGeom>
              <a:avLst/>
              <a:gdLst>
                <a:gd name="T0" fmla="*/ 38 w 124"/>
                <a:gd name="T1" fmla="*/ 13 h 174"/>
                <a:gd name="T2" fmla="*/ 5 w 124"/>
                <a:gd name="T3" fmla="*/ 143 h 174"/>
                <a:gd name="T4" fmla="*/ 7 w 124"/>
                <a:gd name="T5" fmla="*/ 174 h 174"/>
                <a:gd name="T6" fmla="*/ 104 w 124"/>
                <a:gd name="T7" fmla="*/ 57 h 174"/>
                <a:gd name="T8" fmla="*/ 124 w 124"/>
                <a:gd name="T9" fmla="*/ 0 h 174"/>
                <a:gd name="T10" fmla="*/ 38 w 124"/>
                <a:gd name="T11" fmla="*/ 13 h 174"/>
              </a:gdLst>
              <a:ahLst/>
              <a:cxnLst>
                <a:cxn ang="0">
                  <a:pos x="T0" y="T1"/>
                </a:cxn>
                <a:cxn ang="0">
                  <a:pos x="T2" y="T3"/>
                </a:cxn>
                <a:cxn ang="0">
                  <a:pos x="T4" y="T5"/>
                </a:cxn>
                <a:cxn ang="0">
                  <a:pos x="T6" y="T7"/>
                </a:cxn>
                <a:cxn ang="0">
                  <a:pos x="T8" y="T9"/>
                </a:cxn>
                <a:cxn ang="0">
                  <a:pos x="T10" y="T11"/>
                </a:cxn>
              </a:cxnLst>
              <a:rect l="0" t="0" r="r" b="b"/>
              <a:pathLst>
                <a:path w="124" h="174">
                  <a:moveTo>
                    <a:pt x="38" y="13"/>
                  </a:moveTo>
                  <a:cubicBezTo>
                    <a:pt x="29" y="58"/>
                    <a:pt x="19" y="95"/>
                    <a:pt x="5" y="143"/>
                  </a:cubicBezTo>
                  <a:cubicBezTo>
                    <a:pt x="0" y="159"/>
                    <a:pt x="2" y="169"/>
                    <a:pt x="7" y="174"/>
                  </a:cubicBezTo>
                  <a:lnTo>
                    <a:pt x="104" y="57"/>
                  </a:lnTo>
                  <a:cubicBezTo>
                    <a:pt x="110" y="40"/>
                    <a:pt x="117" y="21"/>
                    <a:pt x="124" y="0"/>
                  </a:cubicBezTo>
                  <a:lnTo>
                    <a:pt x="38" y="13"/>
                  </a:lnTo>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27">
              <a:extLst>
                <a:ext uri="{FF2B5EF4-FFF2-40B4-BE49-F238E27FC236}">
                  <a16:creationId xmlns:a16="http://schemas.microsoft.com/office/drawing/2014/main" id="{E4BB25FB-D1BA-B706-D045-4B74139752B6}"/>
                </a:ext>
              </a:extLst>
            </p:cNvPr>
            <p:cNvSpPr>
              <a:spLocks/>
            </p:cNvSpPr>
            <p:nvPr/>
          </p:nvSpPr>
          <p:spPr bwMode="auto">
            <a:xfrm>
              <a:off x="7477126" y="869951"/>
              <a:ext cx="28575" cy="25400"/>
            </a:xfrm>
            <a:custGeom>
              <a:avLst/>
              <a:gdLst>
                <a:gd name="T0" fmla="*/ 14 w 41"/>
                <a:gd name="T1" fmla="*/ 33 h 37"/>
                <a:gd name="T2" fmla="*/ 29 w 41"/>
                <a:gd name="T3" fmla="*/ 8 h 37"/>
                <a:gd name="T4" fmla="*/ 23 w 41"/>
                <a:gd name="T5" fmla="*/ 0 h 37"/>
                <a:gd name="T6" fmla="*/ 0 w 41"/>
                <a:gd name="T7" fmla="*/ 28 h 37"/>
                <a:gd name="T8" fmla="*/ 14 w 41"/>
                <a:gd name="T9" fmla="*/ 33 h 37"/>
              </a:gdLst>
              <a:ahLst/>
              <a:cxnLst>
                <a:cxn ang="0">
                  <a:pos x="T0" y="T1"/>
                </a:cxn>
                <a:cxn ang="0">
                  <a:pos x="T2" y="T3"/>
                </a:cxn>
                <a:cxn ang="0">
                  <a:pos x="T4" y="T5"/>
                </a:cxn>
                <a:cxn ang="0">
                  <a:pos x="T6" y="T7"/>
                </a:cxn>
                <a:cxn ang="0">
                  <a:pos x="T8" y="T9"/>
                </a:cxn>
              </a:cxnLst>
              <a:rect l="0" t="0" r="r" b="b"/>
              <a:pathLst>
                <a:path w="41" h="37">
                  <a:moveTo>
                    <a:pt x="14" y="33"/>
                  </a:moveTo>
                  <a:cubicBezTo>
                    <a:pt x="23" y="37"/>
                    <a:pt x="41" y="17"/>
                    <a:pt x="29" y="8"/>
                  </a:cubicBezTo>
                  <a:cubicBezTo>
                    <a:pt x="27" y="6"/>
                    <a:pt x="25" y="3"/>
                    <a:pt x="23" y="0"/>
                  </a:cubicBezTo>
                  <a:lnTo>
                    <a:pt x="0" y="28"/>
                  </a:lnTo>
                  <a:cubicBezTo>
                    <a:pt x="7" y="30"/>
                    <a:pt x="12" y="32"/>
                    <a:pt x="14" y="33"/>
                  </a:cubicBezTo>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228">
              <a:extLst>
                <a:ext uri="{FF2B5EF4-FFF2-40B4-BE49-F238E27FC236}">
                  <a16:creationId xmlns:a16="http://schemas.microsoft.com/office/drawing/2014/main" id="{24FDE808-A9FA-7F76-540C-B19C1DD4FD3C}"/>
                </a:ext>
              </a:extLst>
            </p:cNvPr>
            <p:cNvSpPr>
              <a:spLocks/>
            </p:cNvSpPr>
            <p:nvPr/>
          </p:nvSpPr>
          <p:spPr bwMode="auto">
            <a:xfrm>
              <a:off x="7396164" y="344488"/>
              <a:ext cx="103188" cy="77788"/>
            </a:xfrm>
            <a:custGeom>
              <a:avLst/>
              <a:gdLst>
                <a:gd name="T0" fmla="*/ 4 w 150"/>
                <a:gd name="T1" fmla="*/ 0 h 112"/>
                <a:gd name="T2" fmla="*/ 2 w 150"/>
                <a:gd name="T3" fmla="*/ 18 h 112"/>
                <a:gd name="T4" fmla="*/ 73 w 150"/>
                <a:gd name="T5" fmla="*/ 111 h 112"/>
                <a:gd name="T6" fmla="*/ 150 w 150"/>
                <a:gd name="T7" fmla="*/ 22 h 112"/>
                <a:gd name="T8" fmla="*/ 149 w 150"/>
                <a:gd name="T9" fmla="*/ 4 h 112"/>
                <a:gd name="T10" fmla="*/ 4 w 150"/>
                <a:gd name="T11" fmla="*/ 0 h 112"/>
              </a:gdLst>
              <a:ahLst/>
              <a:cxnLst>
                <a:cxn ang="0">
                  <a:pos x="T0" y="T1"/>
                </a:cxn>
                <a:cxn ang="0">
                  <a:pos x="T2" y="T3"/>
                </a:cxn>
                <a:cxn ang="0">
                  <a:pos x="T4" y="T5"/>
                </a:cxn>
                <a:cxn ang="0">
                  <a:pos x="T6" y="T7"/>
                </a:cxn>
                <a:cxn ang="0">
                  <a:pos x="T8" y="T9"/>
                </a:cxn>
                <a:cxn ang="0">
                  <a:pos x="T10" y="T11"/>
                </a:cxn>
              </a:cxnLst>
              <a:rect l="0" t="0" r="r" b="b"/>
              <a:pathLst>
                <a:path w="150" h="112">
                  <a:moveTo>
                    <a:pt x="4" y="0"/>
                  </a:moveTo>
                  <a:cubicBezTo>
                    <a:pt x="3" y="6"/>
                    <a:pt x="2" y="11"/>
                    <a:pt x="2" y="18"/>
                  </a:cubicBezTo>
                  <a:cubicBezTo>
                    <a:pt x="0" y="68"/>
                    <a:pt x="32" y="110"/>
                    <a:pt x="73" y="111"/>
                  </a:cubicBezTo>
                  <a:cubicBezTo>
                    <a:pt x="114" y="112"/>
                    <a:pt x="148" y="73"/>
                    <a:pt x="150" y="22"/>
                  </a:cubicBezTo>
                  <a:cubicBezTo>
                    <a:pt x="150" y="16"/>
                    <a:pt x="150" y="10"/>
                    <a:pt x="149" y="4"/>
                  </a:cubicBezTo>
                  <a:lnTo>
                    <a:pt x="4" y="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29">
              <a:extLst>
                <a:ext uri="{FF2B5EF4-FFF2-40B4-BE49-F238E27FC236}">
                  <a16:creationId xmlns:a16="http://schemas.microsoft.com/office/drawing/2014/main" id="{AEE95C68-3AB8-D33A-8E79-CA4752FE4339}"/>
                </a:ext>
              </a:extLst>
            </p:cNvPr>
            <p:cNvSpPr>
              <a:spLocks/>
            </p:cNvSpPr>
            <p:nvPr/>
          </p:nvSpPr>
          <p:spPr bwMode="auto">
            <a:xfrm>
              <a:off x="7392989" y="280988"/>
              <a:ext cx="139700" cy="60325"/>
            </a:xfrm>
            <a:custGeom>
              <a:avLst/>
              <a:gdLst>
                <a:gd name="T0" fmla="*/ 7 w 201"/>
                <a:gd name="T1" fmla="*/ 81 h 87"/>
                <a:gd name="T2" fmla="*/ 194 w 201"/>
                <a:gd name="T3" fmla="*/ 87 h 87"/>
                <a:gd name="T4" fmla="*/ 201 w 201"/>
                <a:gd name="T5" fmla="*/ 83 h 87"/>
                <a:gd name="T6" fmla="*/ 196 w 201"/>
                <a:gd name="T7" fmla="*/ 70 h 87"/>
                <a:gd name="T8" fmla="*/ 162 w 201"/>
                <a:gd name="T9" fmla="*/ 64 h 87"/>
                <a:gd name="T10" fmla="*/ 156 w 201"/>
                <a:gd name="T11" fmla="*/ 59 h 87"/>
                <a:gd name="T12" fmla="*/ 131 w 201"/>
                <a:gd name="T13" fmla="*/ 9 h 87"/>
                <a:gd name="T14" fmla="*/ 115 w 201"/>
                <a:gd name="T15" fmla="*/ 3 h 87"/>
                <a:gd name="T16" fmla="*/ 45 w 201"/>
                <a:gd name="T17" fmla="*/ 0 h 87"/>
                <a:gd name="T18" fmla="*/ 28 w 201"/>
                <a:gd name="T19" fmla="*/ 10 h 87"/>
                <a:gd name="T20" fmla="*/ 1 w 201"/>
                <a:gd name="T21" fmla="*/ 72 h 87"/>
                <a:gd name="T22" fmla="*/ 7 w 201"/>
                <a:gd name="T23"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87">
                  <a:moveTo>
                    <a:pt x="7" y="81"/>
                  </a:moveTo>
                  <a:cubicBezTo>
                    <a:pt x="49" y="82"/>
                    <a:pt x="162" y="86"/>
                    <a:pt x="194" y="87"/>
                  </a:cubicBezTo>
                  <a:cubicBezTo>
                    <a:pt x="198" y="87"/>
                    <a:pt x="200" y="85"/>
                    <a:pt x="201" y="83"/>
                  </a:cubicBezTo>
                  <a:cubicBezTo>
                    <a:pt x="201" y="77"/>
                    <a:pt x="201" y="71"/>
                    <a:pt x="196" y="70"/>
                  </a:cubicBezTo>
                  <a:cubicBezTo>
                    <a:pt x="186" y="69"/>
                    <a:pt x="178" y="66"/>
                    <a:pt x="162" y="64"/>
                  </a:cubicBezTo>
                  <a:cubicBezTo>
                    <a:pt x="157" y="64"/>
                    <a:pt x="156" y="60"/>
                    <a:pt x="156" y="59"/>
                  </a:cubicBezTo>
                  <a:cubicBezTo>
                    <a:pt x="152" y="39"/>
                    <a:pt x="143" y="22"/>
                    <a:pt x="131" y="9"/>
                  </a:cubicBezTo>
                  <a:cubicBezTo>
                    <a:pt x="128" y="7"/>
                    <a:pt x="123" y="3"/>
                    <a:pt x="115" y="3"/>
                  </a:cubicBezTo>
                  <a:cubicBezTo>
                    <a:pt x="100" y="2"/>
                    <a:pt x="58" y="1"/>
                    <a:pt x="45" y="0"/>
                  </a:cubicBezTo>
                  <a:cubicBezTo>
                    <a:pt x="39" y="0"/>
                    <a:pt x="31" y="6"/>
                    <a:pt x="28" y="10"/>
                  </a:cubicBezTo>
                  <a:cubicBezTo>
                    <a:pt x="16" y="28"/>
                    <a:pt x="4" y="54"/>
                    <a:pt x="1" y="72"/>
                  </a:cubicBezTo>
                  <a:cubicBezTo>
                    <a:pt x="0" y="78"/>
                    <a:pt x="5" y="81"/>
                    <a:pt x="7" y="81"/>
                  </a:cubicBezTo>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230">
              <a:extLst>
                <a:ext uri="{FF2B5EF4-FFF2-40B4-BE49-F238E27FC236}">
                  <a16:creationId xmlns:a16="http://schemas.microsoft.com/office/drawing/2014/main" id="{C3A9B7DB-AC44-9756-3E49-14BDCF034FF0}"/>
                </a:ext>
              </a:extLst>
            </p:cNvPr>
            <p:cNvSpPr>
              <a:spLocks/>
            </p:cNvSpPr>
            <p:nvPr/>
          </p:nvSpPr>
          <p:spPr bwMode="auto">
            <a:xfrm>
              <a:off x="7069139" y="550863"/>
              <a:ext cx="195263" cy="192088"/>
            </a:xfrm>
            <a:custGeom>
              <a:avLst/>
              <a:gdLst>
                <a:gd name="T0" fmla="*/ 266 w 282"/>
                <a:gd name="T1" fmla="*/ 0 h 276"/>
                <a:gd name="T2" fmla="*/ 195 w 282"/>
                <a:gd name="T3" fmla="*/ 0 h 276"/>
                <a:gd name="T4" fmla="*/ 195 w 282"/>
                <a:gd name="T5" fmla="*/ 79 h 276"/>
                <a:gd name="T6" fmla="*/ 87 w 282"/>
                <a:gd name="T7" fmla="*/ 79 h 276"/>
                <a:gd name="T8" fmla="*/ 87 w 282"/>
                <a:gd name="T9" fmla="*/ 0 h 276"/>
                <a:gd name="T10" fmla="*/ 15 w 282"/>
                <a:gd name="T11" fmla="*/ 0 h 276"/>
                <a:gd name="T12" fmla="*/ 0 w 282"/>
                <a:gd name="T13" fmla="*/ 16 h 276"/>
                <a:gd name="T14" fmla="*/ 0 w 282"/>
                <a:gd name="T15" fmla="*/ 260 h 276"/>
                <a:gd name="T16" fmla="*/ 15 w 282"/>
                <a:gd name="T17" fmla="*/ 276 h 276"/>
                <a:gd name="T18" fmla="*/ 266 w 282"/>
                <a:gd name="T19" fmla="*/ 276 h 276"/>
                <a:gd name="T20" fmla="*/ 282 w 282"/>
                <a:gd name="T21" fmla="*/ 260 h 276"/>
                <a:gd name="T22" fmla="*/ 282 w 282"/>
                <a:gd name="T23" fmla="*/ 16 h 276"/>
                <a:gd name="T24" fmla="*/ 266 w 282"/>
                <a:gd name="T2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2" h="276">
                  <a:moveTo>
                    <a:pt x="266" y="0"/>
                  </a:moveTo>
                  <a:lnTo>
                    <a:pt x="195" y="0"/>
                  </a:lnTo>
                  <a:lnTo>
                    <a:pt x="195" y="79"/>
                  </a:lnTo>
                  <a:lnTo>
                    <a:pt x="87" y="79"/>
                  </a:lnTo>
                  <a:lnTo>
                    <a:pt x="87" y="0"/>
                  </a:lnTo>
                  <a:lnTo>
                    <a:pt x="15" y="0"/>
                  </a:lnTo>
                  <a:cubicBezTo>
                    <a:pt x="7" y="0"/>
                    <a:pt x="0" y="7"/>
                    <a:pt x="0" y="16"/>
                  </a:cubicBezTo>
                  <a:lnTo>
                    <a:pt x="0" y="260"/>
                  </a:lnTo>
                  <a:cubicBezTo>
                    <a:pt x="0" y="269"/>
                    <a:pt x="7" y="276"/>
                    <a:pt x="15" y="276"/>
                  </a:cubicBezTo>
                  <a:lnTo>
                    <a:pt x="266" y="276"/>
                  </a:lnTo>
                  <a:cubicBezTo>
                    <a:pt x="275" y="276"/>
                    <a:pt x="282" y="269"/>
                    <a:pt x="282" y="260"/>
                  </a:cubicBezTo>
                  <a:lnTo>
                    <a:pt x="282" y="16"/>
                  </a:lnTo>
                  <a:cubicBezTo>
                    <a:pt x="282" y="7"/>
                    <a:pt x="275" y="0"/>
                    <a:pt x="266" y="0"/>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31">
              <a:extLst>
                <a:ext uri="{FF2B5EF4-FFF2-40B4-BE49-F238E27FC236}">
                  <a16:creationId xmlns:a16="http://schemas.microsoft.com/office/drawing/2014/main" id="{E86F1AF8-6300-643F-6AC2-A85424A86CC1}"/>
                </a:ext>
              </a:extLst>
            </p:cNvPr>
            <p:cNvSpPr>
              <a:spLocks noChangeArrowheads="1"/>
            </p:cNvSpPr>
            <p:nvPr/>
          </p:nvSpPr>
          <p:spPr bwMode="auto">
            <a:xfrm>
              <a:off x="7138989" y="550863"/>
              <a:ext cx="57150" cy="46038"/>
            </a:xfrm>
            <a:prstGeom prst="rect">
              <a:avLst/>
            </a:prstGeom>
            <a:grp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32">
              <a:extLst>
                <a:ext uri="{FF2B5EF4-FFF2-40B4-BE49-F238E27FC236}">
                  <a16:creationId xmlns:a16="http://schemas.microsoft.com/office/drawing/2014/main" id="{C3FF3CAE-5057-8427-1B20-BBCDBA5E9903}"/>
                </a:ext>
              </a:extLst>
            </p:cNvPr>
            <p:cNvSpPr>
              <a:spLocks/>
            </p:cNvSpPr>
            <p:nvPr/>
          </p:nvSpPr>
          <p:spPr bwMode="auto">
            <a:xfrm>
              <a:off x="7540626" y="604838"/>
              <a:ext cx="87313" cy="71438"/>
            </a:xfrm>
            <a:custGeom>
              <a:avLst/>
              <a:gdLst>
                <a:gd name="T0" fmla="*/ 18 w 125"/>
                <a:gd name="T1" fmla="*/ 40 h 103"/>
                <a:gd name="T2" fmla="*/ 66 w 125"/>
                <a:gd name="T3" fmla="*/ 36 h 103"/>
                <a:gd name="T4" fmla="*/ 79 w 125"/>
                <a:gd name="T5" fmla="*/ 36 h 103"/>
                <a:gd name="T6" fmla="*/ 80 w 125"/>
                <a:gd name="T7" fmla="*/ 30 h 103"/>
                <a:gd name="T8" fmla="*/ 68 w 125"/>
                <a:gd name="T9" fmla="*/ 59 h 103"/>
                <a:gd name="T10" fmla="*/ 50 w 125"/>
                <a:gd name="T11" fmla="*/ 87 h 103"/>
                <a:gd name="T12" fmla="*/ 55 w 125"/>
                <a:gd name="T13" fmla="*/ 103 h 103"/>
                <a:gd name="T14" fmla="*/ 76 w 125"/>
                <a:gd name="T15" fmla="*/ 97 h 103"/>
                <a:gd name="T16" fmla="*/ 71 w 125"/>
                <a:gd name="T17" fmla="*/ 79 h 103"/>
                <a:gd name="T18" fmla="*/ 112 w 125"/>
                <a:gd name="T19" fmla="*/ 29 h 103"/>
                <a:gd name="T20" fmla="*/ 78 w 125"/>
                <a:gd name="T21" fmla="*/ 13 h 103"/>
                <a:gd name="T22" fmla="*/ 75 w 125"/>
                <a:gd name="T23" fmla="*/ 7 h 103"/>
                <a:gd name="T24" fmla="*/ 61 w 125"/>
                <a:gd name="T25" fmla="*/ 9 h 103"/>
                <a:gd name="T26" fmla="*/ 15 w 125"/>
                <a:gd name="T27" fmla="*/ 14 h 103"/>
                <a:gd name="T28" fmla="*/ 2 w 125"/>
                <a:gd name="T29" fmla="*/ 15 h 103"/>
                <a:gd name="T30" fmla="*/ 4 w 125"/>
                <a:gd name="T31" fmla="*/ 41 h 103"/>
                <a:gd name="T32" fmla="*/ 18 w 125"/>
                <a:gd name="T33" fmla="*/ 4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03">
                  <a:moveTo>
                    <a:pt x="18" y="40"/>
                  </a:moveTo>
                  <a:cubicBezTo>
                    <a:pt x="32" y="44"/>
                    <a:pt x="58" y="39"/>
                    <a:pt x="66" y="36"/>
                  </a:cubicBezTo>
                  <a:cubicBezTo>
                    <a:pt x="67" y="43"/>
                    <a:pt x="76" y="44"/>
                    <a:pt x="79" y="36"/>
                  </a:cubicBezTo>
                  <a:cubicBezTo>
                    <a:pt x="80" y="34"/>
                    <a:pt x="80" y="32"/>
                    <a:pt x="80" y="30"/>
                  </a:cubicBezTo>
                  <a:cubicBezTo>
                    <a:pt x="103" y="31"/>
                    <a:pt x="96" y="52"/>
                    <a:pt x="68" y="59"/>
                  </a:cubicBezTo>
                  <a:cubicBezTo>
                    <a:pt x="50" y="63"/>
                    <a:pt x="47" y="75"/>
                    <a:pt x="50" y="87"/>
                  </a:cubicBezTo>
                  <a:cubicBezTo>
                    <a:pt x="53" y="95"/>
                    <a:pt x="53" y="98"/>
                    <a:pt x="55" y="103"/>
                  </a:cubicBezTo>
                  <a:lnTo>
                    <a:pt x="76" y="97"/>
                  </a:lnTo>
                  <a:cubicBezTo>
                    <a:pt x="75" y="91"/>
                    <a:pt x="73" y="87"/>
                    <a:pt x="71" y="79"/>
                  </a:cubicBezTo>
                  <a:cubicBezTo>
                    <a:pt x="97" y="70"/>
                    <a:pt x="125" y="53"/>
                    <a:pt x="112" y="29"/>
                  </a:cubicBezTo>
                  <a:cubicBezTo>
                    <a:pt x="104" y="14"/>
                    <a:pt x="92" y="12"/>
                    <a:pt x="78" y="13"/>
                  </a:cubicBezTo>
                  <a:cubicBezTo>
                    <a:pt x="78" y="11"/>
                    <a:pt x="77" y="9"/>
                    <a:pt x="75" y="7"/>
                  </a:cubicBezTo>
                  <a:cubicBezTo>
                    <a:pt x="70" y="0"/>
                    <a:pt x="62" y="2"/>
                    <a:pt x="61" y="9"/>
                  </a:cubicBezTo>
                  <a:cubicBezTo>
                    <a:pt x="53" y="8"/>
                    <a:pt x="30" y="8"/>
                    <a:pt x="15" y="14"/>
                  </a:cubicBezTo>
                  <a:cubicBezTo>
                    <a:pt x="11" y="5"/>
                    <a:pt x="4" y="8"/>
                    <a:pt x="2" y="15"/>
                  </a:cubicBezTo>
                  <a:cubicBezTo>
                    <a:pt x="0" y="23"/>
                    <a:pt x="2" y="36"/>
                    <a:pt x="4" y="41"/>
                  </a:cubicBezTo>
                  <a:cubicBezTo>
                    <a:pt x="8" y="50"/>
                    <a:pt x="15" y="50"/>
                    <a:pt x="18" y="40"/>
                  </a:cubicBezTo>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233">
              <a:extLst>
                <a:ext uri="{FF2B5EF4-FFF2-40B4-BE49-F238E27FC236}">
                  <a16:creationId xmlns:a16="http://schemas.microsoft.com/office/drawing/2014/main" id="{9FBF80B9-D573-6BD1-E3BD-9FD7B1ACC35B}"/>
                </a:ext>
              </a:extLst>
            </p:cNvPr>
            <p:cNvSpPr>
              <a:spLocks noEditPoints="1"/>
            </p:cNvSpPr>
            <p:nvPr/>
          </p:nvSpPr>
          <p:spPr bwMode="auto">
            <a:xfrm>
              <a:off x="7512051" y="733426"/>
              <a:ext cx="347663" cy="349250"/>
            </a:xfrm>
            <a:custGeom>
              <a:avLst/>
              <a:gdLst>
                <a:gd name="T0" fmla="*/ 309 w 502"/>
                <a:gd name="T1" fmla="*/ 414 h 502"/>
                <a:gd name="T2" fmla="*/ 88 w 502"/>
                <a:gd name="T3" fmla="*/ 193 h 502"/>
                <a:gd name="T4" fmla="*/ 193 w 502"/>
                <a:gd name="T5" fmla="*/ 88 h 502"/>
                <a:gd name="T6" fmla="*/ 414 w 502"/>
                <a:gd name="T7" fmla="*/ 309 h 502"/>
                <a:gd name="T8" fmla="*/ 309 w 502"/>
                <a:gd name="T9" fmla="*/ 414 h 502"/>
                <a:gd name="T10" fmla="*/ 312 w 502"/>
                <a:gd name="T11" fmla="*/ 45 h 502"/>
                <a:gd name="T12" fmla="*/ 45 w 502"/>
                <a:gd name="T13" fmla="*/ 312 h 502"/>
                <a:gd name="T14" fmla="*/ 190 w 502"/>
                <a:gd name="T15" fmla="*/ 457 h 502"/>
                <a:gd name="T16" fmla="*/ 457 w 502"/>
                <a:gd name="T17" fmla="*/ 190 h 502"/>
                <a:gd name="T18" fmla="*/ 312 w 502"/>
                <a:gd name="T19" fmla="*/ 4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2" h="502">
                  <a:moveTo>
                    <a:pt x="309" y="414"/>
                  </a:moveTo>
                  <a:cubicBezTo>
                    <a:pt x="169" y="459"/>
                    <a:pt x="43" y="333"/>
                    <a:pt x="88" y="193"/>
                  </a:cubicBezTo>
                  <a:cubicBezTo>
                    <a:pt x="104" y="144"/>
                    <a:pt x="144" y="104"/>
                    <a:pt x="193" y="88"/>
                  </a:cubicBezTo>
                  <a:cubicBezTo>
                    <a:pt x="333" y="43"/>
                    <a:pt x="460" y="170"/>
                    <a:pt x="414" y="309"/>
                  </a:cubicBezTo>
                  <a:cubicBezTo>
                    <a:pt x="398" y="359"/>
                    <a:pt x="358" y="398"/>
                    <a:pt x="309" y="414"/>
                  </a:cubicBezTo>
                  <a:close/>
                  <a:moveTo>
                    <a:pt x="312" y="45"/>
                  </a:moveTo>
                  <a:cubicBezTo>
                    <a:pt x="147" y="0"/>
                    <a:pt x="0" y="147"/>
                    <a:pt x="45" y="312"/>
                  </a:cubicBezTo>
                  <a:cubicBezTo>
                    <a:pt x="65" y="382"/>
                    <a:pt x="120" y="437"/>
                    <a:pt x="190" y="457"/>
                  </a:cubicBezTo>
                  <a:cubicBezTo>
                    <a:pt x="355" y="502"/>
                    <a:pt x="502" y="355"/>
                    <a:pt x="457" y="190"/>
                  </a:cubicBezTo>
                  <a:cubicBezTo>
                    <a:pt x="437" y="120"/>
                    <a:pt x="382" y="65"/>
                    <a:pt x="312" y="45"/>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34">
              <a:extLst>
                <a:ext uri="{FF2B5EF4-FFF2-40B4-BE49-F238E27FC236}">
                  <a16:creationId xmlns:a16="http://schemas.microsoft.com/office/drawing/2014/main" id="{D9C1DF02-8563-B171-2A2E-72B66C2DFF6B}"/>
                </a:ext>
              </a:extLst>
            </p:cNvPr>
            <p:cNvSpPr>
              <a:spLocks/>
            </p:cNvSpPr>
            <p:nvPr/>
          </p:nvSpPr>
          <p:spPr bwMode="auto">
            <a:xfrm>
              <a:off x="7666039" y="890588"/>
              <a:ext cx="36513" cy="36513"/>
            </a:xfrm>
            <a:custGeom>
              <a:avLst/>
              <a:gdLst>
                <a:gd name="T0" fmla="*/ 32 w 53"/>
                <a:gd name="T1" fmla="*/ 3 h 53"/>
                <a:gd name="T2" fmla="*/ 4 w 53"/>
                <a:gd name="T3" fmla="*/ 31 h 53"/>
                <a:gd name="T4" fmla="*/ 22 w 53"/>
                <a:gd name="T5" fmla="*/ 49 h 53"/>
                <a:gd name="T6" fmla="*/ 50 w 53"/>
                <a:gd name="T7" fmla="*/ 21 h 53"/>
                <a:gd name="T8" fmla="*/ 32 w 53"/>
                <a:gd name="T9" fmla="*/ 3 h 53"/>
              </a:gdLst>
              <a:ahLst/>
              <a:cxnLst>
                <a:cxn ang="0">
                  <a:pos x="T0" y="T1"/>
                </a:cxn>
                <a:cxn ang="0">
                  <a:pos x="T2" y="T3"/>
                </a:cxn>
                <a:cxn ang="0">
                  <a:pos x="T4" y="T5"/>
                </a:cxn>
                <a:cxn ang="0">
                  <a:pos x="T6" y="T7"/>
                </a:cxn>
                <a:cxn ang="0">
                  <a:pos x="T8" y="T9"/>
                </a:cxn>
              </a:cxnLst>
              <a:rect l="0" t="0" r="r" b="b"/>
              <a:pathLst>
                <a:path w="53" h="53">
                  <a:moveTo>
                    <a:pt x="32" y="3"/>
                  </a:moveTo>
                  <a:cubicBezTo>
                    <a:pt x="15" y="0"/>
                    <a:pt x="0" y="14"/>
                    <a:pt x="4" y="31"/>
                  </a:cubicBezTo>
                  <a:cubicBezTo>
                    <a:pt x="5" y="40"/>
                    <a:pt x="13" y="48"/>
                    <a:pt x="22" y="49"/>
                  </a:cubicBezTo>
                  <a:cubicBezTo>
                    <a:pt x="39" y="53"/>
                    <a:pt x="53" y="38"/>
                    <a:pt x="50" y="21"/>
                  </a:cubicBezTo>
                  <a:cubicBezTo>
                    <a:pt x="49" y="12"/>
                    <a:pt x="41" y="5"/>
                    <a:pt x="32" y="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235">
              <a:extLst>
                <a:ext uri="{FF2B5EF4-FFF2-40B4-BE49-F238E27FC236}">
                  <a16:creationId xmlns:a16="http://schemas.microsoft.com/office/drawing/2014/main" id="{F9CA6A12-46C2-37A7-8CB4-C82568E84B99}"/>
                </a:ext>
              </a:extLst>
            </p:cNvPr>
            <p:cNvSpPr>
              <a:spLocks noEditPoints="1"/>
            </p:cNvSpPr>
            <p:nvPr/>
          </p:nvSpPr>
          <p:spPr bwMode="auto">
            <a:xfrm>
              <a:off x="7170739" y="793751"/>
              <a:ext cx="174625" cy="147638"/>
            </a:xfrm>
            <a:custGeom>
              <a:avLst/>
              <a:gdLst>
                <a:gd name="T0" fmla="*/ 59 w 252"/>
                <a:gd name="T1" fmla="*/ 187 h 215"/>
                <a:gd name="T2" fmla="*/ 34 w 252"/>
                <a:gd name="T3" fmla="*/ 161 h 215"/>
                <a:gd name="T4" fmla="*/ 49 w 252"/>
                <a:gd name="T5" fmla="*/ 146 h 215"/>
                <a:gd name="T6" fmla="*/ 75 w 252"/>
                <a:gd name="T7" fmla="*/ 171 h 215"/>
                <a:gd name="T8" fmla="*/ 59 w 252"/>
                <a:gd name="T9" fmla="*/ 187 h 215"/>
                <a:gd name="T10" fmla="*/ 103 w 252"/>
                <a:gd name="T11" fmla="*/ 164 h 215"/>
                <a:gd name="T12" fmla="*/ 94 w 252"/>
                <a:gd name="T13" fmla="*/ 138 h 215"/>
                <a:gd name="T14" fmla="*/ 196 w 252"/>
                <a:gd name="T15" fmla="*/ 25 h 215"/>
                <a:gd name="T16" fmla="*/ 188 w 252"/>
                <a:gd name="T17" fmla="*/ 0 h 215"/>
                <a:gd name="T18" fmla="*/ 76 w 252"/>
                <a:gd name="T19" fmla="*/ 123 h 215"/>
                <a:gd name="T20" fmla="*/ 44 w 252"/>
                <a:gd name="T21" fmla="*/ 118 h 215"/>
                <a:gd name="T22" fmla="*/ 6 w 252"/>
                <a:gd name="T23" fmla="*/ 156 h 215"/>
                <a:gd name="T24" fmla="*/ 54 w 252"/>
                <a:gd name="T25" fmla="*/ 215 h 215"/>
                <a:gd name="T26" fmla="*/ 99 w 252"/>
                <a:gd name="T27" fmla="*/ 185 h 215"/>
                <a:gd name="T28" fmla="*/ 252 w 252"/>
                <a:gd name="T29" fmla="*/ 200 h 215"/>
                <a:gd name="T30" fmla="*/ 245 w 252"/>
                <a:gd name="T31" fmla="*/ 178 h 215"/>
                <a:gd name="T32" fmla="*/ 103 w 252"/>
                <a:gd name="T33" fmla="*/ 16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2" h="215">
                  <a:moveTo>
                    <a:pt x="59" y="187"/>
                  </a:moveTo>
                  <a:cubicBezTo>
                    <a:pt x="44" y="190"/>
                    <a:pt x="30" y="177"/>
                    <a:pt x="34" y="161"/>
                  </a:cubicBezTo>
                  <a:cubicBezTo>
                    <a:pt x="35" y="153"/>
                    <a:pt x="41" y="147"/>
                    <a:pt x="49" y="146"/>
                  </a:cubicBezTo>
                  <a:cubicBezTo>
                    <a:pt x="65" y="142"/>
                    <a:pt x="78" y="156"/>
                    <a:pt x="75" y="171"/>
                  </a:cubicBezTo>
                  <a:cubicBezTo>
                    <a:pt x="73" y="179"/>
                    <a:pt x="67" y="185"/>
                    <a:pt x="59" y="187"/>
                  </a:cubicBezTo>
                  <a:close/>
                  <a:moveTo>
                    <a:pt x="103" y="164"/>
                  </a:moveTo>
                  <a:cubicBezTo>
                    <a:pt x="103" y="154"/>
                    <a:pt x="99" y="145"/>
                    <a:pt x="94" y="138"/>
                  </a:cubicBezTo>
                  <a:lnTo>
                    <a:pt x="196" y="25"/>
                  </a:lnTo>
                  <a:lnTo>
                    <a:pt x="188" y="0"/>
                  </a:lnTo>
                  <a:lnTo>
                    <a:pt x="76" y="123"/>
                  </a:lnTo>
                  <a:cubicBezTo>
                    <a:pt x="67" y="118"/>
                    <a:pt x="56" y="116"/>
                    <a:pt x="44" y="118"/>
                  </a:cubicBezTo>
                  <a:cubicBezTo>
                    <a:pt x="25" y="122"/>
                    <a:pt x="10" y="137"/>
                    <a:pt x="6" y="156"/>
                  </a:cubicBezTo>
                  <a:cubicBezTo>
                    <a:pt x="0" y="187"/>
                    <a:pt x="24" y="215"/>
                    <a:pt x="54" y="215"/>
                  </a:cubicBezTo>
                  <a:cubicBezTo>
                    <a:pt x="74" y="215"/>
                    <a:pt x="92" y="203"/>
                    <a:pt x="99" y="185"/>
                  </a:cubicBezTo>
                  <a:lnTo>
                    <a:pt x="252" y="200"/>
                  </a:lnTo>
                  <a:lnTo>
                    <a:pt x="245" y="178"/>
                  </a:lnTo>
                  <a:lnTo>
                    <a:pt x="103" y="164"/>
                  </a:lnTo>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236">
              <a:extLst>
                <a:ext uri="{FF2B5EF4-FFF2-40B4-BE49-F238E27FC236}">
                  <a16:creationId xmlns:a16="http://schemas.microsoft.com/office/drawing/2014/main" id="{09AC897D-1B59-4571-E8AE-510C118A4A92}"/>
                </a:ext>
              </a:extLst>
            </p:cNvPr>
            <p:cNvSpPr>
              <a:spLocks/>
            </p:cNvSpPr>
            <p:nvPr/>
          </p:nvSpPr>
          <p:spPr bwMode="auto">
            <a:xfrm>
              <a:off x="7408864" y="685801"/>
              <a:ext cx="282575" cy="306388"/>
            </a:xfrm>
            <a:custGeom>
              <a:avLst/>
              <a:gdLst>
                <a:gd name="T0" fmla="*/ 394 w 407"/>
                <a:gd name="T1" fmla="*/ 55 h 442"/>
                <a:gd name="T2" fmla="*/ 306 w 407"/>
                <a:gd name="T3" fmla="*/ 70 h 442"/>
                <a:gd name="T4" fmla="*/ 284 w 407"/>
                <a:gd name="T5" fmla="*/ 0 h 442"/>
                <a:gd name="T6" fmla="*/ 242 w 407"/>
                <a:gd name="T7" fmla="*/ 13 h 442"/>
                <a:gd name="T8" fmla="*/ 247 w 407"/>
                <a:gd name="T9" fmla="*/ 28 h 442"/>
                <a:gd name="T10" fmla="*/ 0 w 407"/>
                <a:gd name="T11" fmla="*/ 67 h 442"/>
                <a:gd name="T12" fmla="*/ 3 w 407"/>
                <a:gd name="T13" fmla="*/ 102 h 442"/>
                <a:gd name="T14" fmla="*/ 220 w 407"/>
                <a:gd name="T15" fmla="*/ 68 h 442"/>
                <a:gd name="T16" fmla="*/ 41 w 407"/>
                <a:gd name="T17" fmla="*/ 285 h 442"/>
                <a:gd name="T18" fmla="*/ 19 w 407"/>
                <a:gd name="T19" fmla="*/ 282 h 442"/>
                <a:gd name="T20" fmla="*/ 21 w 407"/>
                <a:gd name="T21" fmla="*/ 309 h 442"/>
                <a:gd name="T22" fmla="*/ 75 w 407"/>
                <a:gd name="T23" fmla="*/ 373 h 442"/>
                <a:gd name="T24" fmla="*/ 29 w 407"/>
                <a:gd name="T25" fmla="*/ 419 h 442"/>
                <a:gd name="T26" fmla="*/ 30 w 407"/>
                <a:gd name="T27" fmla="*/ 435 h 442"/>
                <a:gd name="T28" fmla="*/ 46 w 407"/>
                <a:gd name="T29" fmla="*/ 442 h 442"/>
                <a:gd name="T30" fmla="*/ 102 w 407"/>
                <a:gd name="T31" fmla="*/ 364 h 442"/>
                <a:gd name="T32" fmla="*/ 73 w 407"/>
                <a:gd name="T33" fmla="*/ 302 h 442"/>
                <a:gd name="T34" fmla="*/ 261 w 407"/>
                <a:gd name="T35" fmla="*/ 72 h 442"/>
                <a:gd name="T36" fmla="*/ 268 w 407"/>
                <a:gd name="T37" fmla="*/ 96 h 442"/>
                <a:gd name="T38" fmla="*/ 285 w 407"/>
                <a:gd name="T39" fmla="*/ 103 h 442"/>
                <a:gd name="T40" fmla="*/ 395 w 407"/>
                <a:gd name="T41" fmla="*/ 76 h 442"/>
                <a:gd name="T42" fmla="*/ 394 w 407"/>
                <a:gd name="T43" fmla="*/ 5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7" h="442">
                  <a:moveTo>
                    <a:pt x="394" y="55"/>
                  </a:moveTo>
                  <a:cubicBezTo>
                    <a:pt x="363" y="55"/>
                    <a:pt x="333" y="60"/>
                    <a:pt x="306" y="70"/>
                  </a:cubicBezTo>
                  <a:lnTo>
                    <a:pt x="284" y="0"/>
                  </a:lnTo>
                  <a:lnTo>
                    <a:pt x="242" y="13"/>
                  </a:lnTo>
                  <a:lnTo>
                    <a:pt x="247" y="28"/>
                  </a:lnTo>
                  <a:lnTo>
                    <a:pt x="0" y="67"/>
                  </a:lnTo>
                  <a:lnTo>
                    <a:pt x="3" y="102"/>
                  </a:lnTo>
                  <a:lnTo>
                    <a:pt x="220" y="68"/>
                  </a:lnTo>
                  <a:lnTo>
                    <a:pt x="41" y="285"/>
                  </a:lnTo>
                  <a:cubicBezTo>
                    <a:pt x="35" y="283"/>
                    <a:pt x="27" y="282"/>
                    <a:pt x="19" y="282"/>
                  </a:cubicBezTo>
                  <a:lnTo>
                    <a:pt x="21" y="309"/>
                  </a:lnTo>
                  <a:cubicBezTo>
                    <a:pt x="54" y="309"/>
                    <a:pt x="80" y="339"/>
                    <a:pt x="75" y="373"/>
                  </a:cubicBezTo>
                  <a:cubicBezTo>
                    <a:pt x="71" y="396"/>
                    <a:pt x="52" y="415"/>
                    <a:pt x="29" y="419"/>
                  </a:cubicBezTo>
                  <a:cubicBezTo>
                    <a:pt x="29" y="419"/>
                    <a:pt x="30" y="429"/>
                    <a:pt x="30" y="435"/>
                  </a:cubicBezTo>
                  <a:cubicBezTo>
                    <a:pt x="35" y="439"/>
                    <a:pt x="41" y="441"/>
                    <a:pt x="46" y="442"/>
                  </a:cubicBezTo>
                  <a:cubicBezTo>
                    <a:pt x="78" y="431"/>
                    <a:pt x="102" y="400"/>
                    <a:pt x="102" y="364"/>
                  </a:cubicBezTo>
                  <a:cubicBezTo>
                    <a:pt x="102" y="339"/>
                    <a:pt x="91" y="317"/>
                    <a:pt x="73" y="302"/>
                  </a:cubicBezTo>
                  <a:lnTo>
                    <a:pt x="261" y="72"/>
                  </a:lnTo>
                  <a:cubicBezTo>
                    <a:pt x="262" y="76"/>
                    <a:pt x="266" y="89"/>
                    <a:pt x="268" y="96"/>
                  </a:cubicBezTo>
                  <a:cubicBezTo>
                    <a:pt x="270" y="102"/>
                    <a:pt x="279" y="106"/>
                    <a:pt x="285" y="103"/>
                  </a:cubicBezTo>
                  <a:cubicBezTo>
                    <a:pt x="318" y="86"/>
                    <a:pt x="355" y="76"/>
                    <a:pt x="395" y="76"/>
                  </a:cubicBezTo>
                  <a:cubicBezTo>
                    <a:pt x="407" y="76"/>
                    <a:pt x="407" y="55"/>
                    <a:pt x="394" y="55"/>
                  </a:cubicBezTo>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237">
              <a:extLst>
                <a:ext uri="{FF2B5EF4-FFF2-40B4-BE49-F238E27FC236}">
                  <a16:creationId xmlns:a16="http://schemas.microsoft.com/office/drawing/2014/main" id="{0B7F39F9-8149-64D3-95DD-F4A649D6D0B2}"/>
                </a:ext>
              </a:extLst>
            </p:cNvPr>
            <p:cNvSpPr>
              <a:spLocks/>
            </p:cNvSpPr>
            <p:nvPr/>
          </p:nvSpPr>
          <p:spPr bwMode="auto">
            <a:xfrm>
              <a:off x="7424739" y="923926"/>
              <a:ext cx="15875" cy="28575"/>
            </a:xfrm>
            <a:custGeom>
              <a:avLst/>
              <a:gdLst>
                <a:gd name="T0" fmla="*/ 20 w 23"/>
                <a:gd name="T1" fmla="*/ 16 h 42"/>
                <a:gd name="T2" fmla="*/ 4 w 23"/>
                <a:gd name="T3" fmla="*/ 1 h 42"/>
                <a:gd name="T4" fmla="*/ 0 w 23"/>
                <a:gd name="T5" fmla="*/ 0 h 42"/>
                <a:gd name="T6" fmla="*/ 3 w 23"/>
                <a:gd name="T7" fmla="*/ 42 h 42"/>
                <a:gd name="T8" fmla="*/ 20 w 23"/>
                <a:gd name="T9" fmla="*/ 16 h 42"/>
              </a:gdLst>
              <a:ahLst/>
              <a:cxnLst>
                <a:cxn ang="0">
                  <a:pos x="T0" y="T1"/>
                </a:cxn>
                <a:cxn ang="0">
                  <a:pos x="T2" y="T3"/>
                </a:cxn>
                <a:cxn ang="0">
                  <a:pos x="T4" y="T5"/>
                </a:cxn>
                <a:cxn ang="0">
                  <a:pos x="T6" y="T7"/>
                </a:cxn>
                <a:cxn ang="0">
                  <a:pos x="T8" y="T9"/>
                </a:cxn>
              </a:cxnLst>
              <a:rect l="0" t="0" r="r" b="b"/>
              <a:pathLst>
                <a:path w="23" h="42">
                  <a:moveTo>
                    <a:pt x="20" y="16"/>
                  </a:moveTo>
                  <a:cubicBezTo>
                    <a:pt x="18" y="8"/>
                    <a:pt x="12" y="2"/>
                    <a:pt x="4" y="1"/>
                  </a:cubicBezTo>
                  <a:cubicBezTo>
                    <a:pt x="3" y="0"/>
                    <a:pt x="2" y="0"/>
                    <a:pt x="0" y="0"/>
                  </a:cubicBezTo>
                  <a:cubicBezTo>
                    <a:pt x="0" y="14"/>
                    <a:pt x="1" y="28"/>
                    <a:pt x="3" y="42"/>
                  </a:cubicBezTo>
                  <a:cubicBezTo>
                    <a:pt x="14" y="40"/>
                    <a:pt x="23" y="29"/>
                    <a:pt x="20" y="16"/>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238">
              <a:extLst>
                <a:ext uri="{FF2B5EF4-FFF2-40B4-BE49-F238E27FC236}">
                  <a16:creationId xmlns:a16="http://schemas.microsoft.com/office/drawing/2014/main" id="{6B53AFD5-A1C2-207F-765F-7351F01C7553}"/>
                </a:ext>
              </a:extLst>
            </p:cNvPr>
            <p:cNvSpPr>
              <a:spLocks/>
            </p:cNvSpPr>
            <p:nvPr/>
          </p:nvSpPr>
          <p:spPr bwMode="auto">
            <a:xfrm>
              <a:off x="7051676" y="755651"/>
              <a:ext cx="296863" cy="300038"/>
            </a:xfrm>
            <a:custGeom>
              <a:avLst/>
              <a:gdLst>
                <a:gd name="T0" fmla="*/ 227 w 430"/>
                <a:gd name="T1" fmla="*/ 392 h 433"/>
                <a:gd name="T2" fmla="*/ 54 w 430"/>
                <a:gd name="T3" fmla="*/ 221 h 433"/>
                <a:gd name="T4" fmla="*/ 221 w 430"/>
                <a:gd name="T5" fmla="*/ 47 h 433"/>
                <a:gd name="T6" fmla="*/ 309 w 430"/>
                <a:gd name="T7" fmla="*/ 67 h 433"/>
                <a:gd name="T8" fmla="*/ 334 w 430"/>
                <a:gd name="T9" fmla="*/ 34 h 433"/>
                <a:gd name="T10" fmla="*/ 199 w 430"/>
                <a:gd name="T11" fmla="*/ 7 h 433"/>
                <a:gd name="T12" fmla="*/ 14 w 430"/>
                <a:gd name="T13" fmla="*/ 195 h 433"/>
                <a:gd name="T14" fmla="*/ 227 w 430"/>
                <a:gd name="T15" fmla="*/ 433 h 433"/>
                <a:gd name="T16" fmla="*/ 430 w 430"/>
                <a:gd name="T17" fmla="*/ 287 h 433"/>
                <a:gd name="T18" fmla="*/ 387 w 430"/>
                <a:gd name="T19" fmla="*/ 282 h 433"/>
                <a:gd name="T20" fmla="*/ 227 w 430"/>
                <a:gd name="T21" fmla="*/ 39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0" h="433">
                  <a:moveTo>
                    <a:pt x="227" y="392"/>
                  </a:moveTo>
                  <a:cubicBezTo>
                    <a:pt x="132" y="392"/>
                    <a:pt x="55" y="315"/>
                    <a:pt x="54" y="221"/>
                  </a:cubicBezTo>
                  <a:cubicBezTo>
                    <a:pt x="53" y="131"/>
                    <a:pt x="131" y="50"/>
                    <a:pt x="221" y="47"/>
                  </a:cubicBezTo>
                  <a:cubicBezTo>
                    <a:pt x="253" y="46"/>
                    <a:pt x="283" y="53"/>
                    <a:pt x="309" y="67"/>
                  </a:cubicBezTo>
                  <a:cubicBezTo>
                    <a:pt x="317" y="56"/>
                    <a:pt x="325" y="45"/>
                    <a:pt x="334" y="34"/>
                  </a:cubicBezTo>
                  <a:cubicBezTo>
                    <a:pt x="295" y="11"/>
                    <a:pt x="248" y="0"/>
                    <a:pt x="199" y="7"/>
                  </a:cubicBezTo>
                  <a:cubicBezTo>
                    <a:pt x="102" y="19"/>
                    <a:pt x="25" y="98"/>
                    <a:pt x="14" y="195"/>
                  </a:cubicBezTo>
                  <a:cubicBezTo>
                    <a:pt x="0" y="324"/>
                    <a:pt x="101" y="433"/>
                    <a:pt x="227" y="433"/>
                  </a:cubicBezTo>
                  <a:cubicBezTo>
                    <a:pt x="321" y="433"/>
                    <a:pt x="401" y="372"/>
                    <a:pt x="430" y="287"/>
                  </a:cubicBezTo>
                  <a:lnTo>
                    <a:pt x="387" y="282"/>
                  </a:lnTo>
                  <a:cubicBezTo>
                    <a:pt x="362" y="346"/>
                    <a:pt x="300" y="392"/>
                    <a:pt x="227" y="392"/>
                  </a:cubicBezTo>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feld 41">
            <a:extLst>
              <a:ext uri="{FF2B5EF4-FFF2-40B4-BE49-F238E27FC236}">
                <a16:creationId xmlns:a16="http://schemas.microsoft.com/office/drawing/2014/main" id="{4861E9C6-4AA5-141A-265F-D0F051E209CA}"/>
              </a:ext>
            </a:extLst>
          </p:cNvPr>
          <p:cNvSpPr txBox="1"/>
          <p:nvPr/>
        </p:nvSpPr>
        <p:spPr>
          <a:xfrm>
            <a:off x="359997" y="2477350"/>
            <a:ext cx="3583353" cy="461665"/>
          </a:xfrm>
          <a:prstGeom prst="rect">
            <a:avLst/>
          </a:prstGeom>
          <a:noFill/>
        </p:spPr>
        <p:txBody>
          <a:bodyPr wrap="square" rtlCol="0">
            <a:spAutoFit/>
          </a:bodyPr>
          <a:lstStyle/>
          <a:p>
            <a:r>
              <a:rPr lang="en-US" sz="1200" b="1"/>
              <a:t>General Cost Reduction</a:t>
            </a:r>
          </a:p>
          <a:p>
            <a:endParaRPr lang="en-US" sz="1200" b="1"/>
          </a:p>
        </p:txBody>
      </p:sp>
      <p:grpSp>
        <p:nvGrpSpPr>
          <p:cNvPr id="68" name="Gruppieren 67">
            <a:extLst>
              <a:ext uri="{FF2B5EF4-FFF2-40B4-BE49-F238E27FC236}">
                <a16:creationId xmlns:a16="http://schemas.microsoft.com/office/drawing/2014/main" id="{FC60C023-677D-C400-B0D7-1041DBE92192}"/>
              </a:ext>
            </a:extLst>
          </p:cNvPr>
          <p:cNvGrpSpPr/>
          <p:nvPr/>
        </p:nvGrpSpPr>
        <p:grpSpPr>
          <a:xfrm>
            <a:off x="485814" y="2846727"/>
            <a:ext cx="587936" cy="606850"/>
            <a:chOff x="476249" y="3168482"/>
            <a:chExt cx="751222" cy="736600"/>
          </a:xfrm>
        </p:grpSpPr>
        <p:grpSp>
          <p:nvGrpSpPr>
            <p:cNvPr id="54" name="Savings4" descr="{&quot;Key&quot;:&quot;POWER_USER_SHAPE_ICON&quot;,&quot;Value&quot;:&quot;POWER_USER_SHAPE_ICON_STYLE_1&quot;}">
              <a:extLst>
                <a:ext uri="{FF2B5EF4-FFF2-40B4-BE49-F238E27FC236}">
                  <a16:creationId xmlns:a16="http://schemas.microsoft.com/office/drawing/2014/main" id="{12CF51E6-E2DA-68EA-9B2E-0BEF952BFAAB}"/>
                </a:ext>
              </a:extLst>
            </p:cNvPr>
            <p:cNvGrpSpPr>
              <a:grpSpLocks noChangeAspect="1"/>
            </p:cNvGrpSpPr>
            <p:nvPr/>
          </p:nvGrpSpPr>
          <p:grpSpPr>
            <a:xfrm>
              <a:off x="476249" y="3168482"/>
              <a:ext cx="751222" cy="736600"/>
              <a:chOff x="1310694" y="3935919"/>
              <a:chExt cx="652463" cy="639763"/>
            </a:xfrm>
            <a:solidFill>
              <a:schemeClr val="bg1"/>
            </a:solidFill>
          </p:grpSpPr>
          <p:sp>
            <p:nvSpPr>
              <p:cNvPr id="55" name="Arc 1058">
                <a:extLst>
                  <a:ext uri="{FF2B5EF4-FFF2-40B4-BE49-F238E27FC236}">
                    <a16:creationId xmlns:a16="http://schemas.microsoft.com/office/drawing/2014/main" id="{688162A0-9579-B05F-D6F5-D9195200594F}"/>
                  </a:ext>
                </a:extLst>
              </p:cNvPr>
              <p:cNvSpPr>
                <a:spLocks noChangeAspect="1"/>
              </p:cNvSpPr>
              <p:nvPr/>
            </p:nvSpPr>
            <p:spPr>
              <a:xfrm>
                <a:off x="1464682" y="3935919"/>
                <a:ext cx="220663" cy="220663"/>
              </a:xfrm>
              <a:prstGeom prst="arc">
                <a:avLst>
                  <a:gd name="adj1" fmla="val 8152489"/>
                  <a:gd name="adj2" fmla="val 1592111"/>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Oval 1581">
                <a:extLst>
                  <a:ext uri="{FF2B5EF4-FFF2-40B4-BE49-F238E27FC236}">
                    <a16:creationId xmlns:a16="http://schemas.microsoft.com/office/drawing/2014/main" id="{4AE38718-356D-1F24-FCC4-3667A66EF51E}"/>
                  </a:ext>
                </a:extLst>
              </p:cNvPr>
              <p:cNvSpPr>
                <a:spLocks noChangeArrowheads="1"/>
              </p:cNvSpPr>
              <p:nvPr/>
            </p:nvSpPr>
            <p:spPr bwMode="auto">
              <a:xfrm>
                <a:off x="1802819" y="4229606"/>
                <a:ext cx="33338" cy="34925"/>
              </a:xfrm>
              <a:prstGeom prst="ellipse">
                <a:avLst/>
              </a:prstGeom>
              <a:grp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Shape 1060">
                <a:extLst>
                  <a:ext uri="{FF2B5EF4-FFF2-40B4-BE49-F238E27FC236}">
                    <a16:creationId xmlns:a16="http://schemas.microsoft.com/office/drawing/2014/main" id="{0BD256BE-6176-05AB-0114-C122EF3C7105}"/>
                  </a:ext>
                </a:extLst>
              </p:cNvPr>
              <p:cNvSpPr>
                <a:spLocks/>
              </p:cNvSpPr>
              <p:nvPr/>
            </p:nvSpPr>
            <p:spPr bwMode="auto">
              <a:xfrm>
                <a:off x="1367844" y="4086691"/>
                <a:ext cx="595313" cy="488991"/>
              </a:xfrm>
              <a:custGeom>
                <a:avLst/>
                <a:gdLst>
                  <a:gd name="connsiteX0" fmla="*/ 441217 w 595313"/>
                  <a:gd name="connsiteY0" fmla="*/ 175 h 488991"/>
                  <a:gd name="connsiteX1" fmla="*/ 476251 w 595313"/>
                  <a:gd name="connsiteY1" fmla="*/ 2615 h 488991"/>
                  <a:gd name="connsiteX2" fmla="*/ 485152 w 595313"/>
                  <a:gd name="connsiteY2" fmla="*/ 26042 h 488991"/>
                  <a:gd name="connsiteX3" fmla="*/ 458447 w 595313"/>
                  <a:gd name="connsiteY3" fmla="*/ 81819 h 488991"/>
                  <a:gd name="connsiteX4" fmla="*/ 537451 w 595313"/>
                  <a:gd name="connsiteY4" fmla="*/ 182217 h 488991"/>
                  <a:gd name="connsiteX5" fmla="*/ 595313 w 595313"/>
                  <a:gd name="connsiteY5" fmla="*/ 198951 h 488991"/>
                  <a:gd name="connsiteX6" fmla="*/ 595313 w 595313"/>
                  <a:gd name="connsiteY6" fmla="*/ 294887 h 488991"/>
                  <a:gd name="connsiteX7" fmla="*/ 520760 w 595313"/>
                  <a:gd name="connsiteY7" fmla="*/ 314967 h 488991"/>
                  <a:gd name="connsiteX8" fmla="*/ 450658 w 595313"/>
                  <a:gd name="connsiteY8" fmla="*/ 384130 h 488991"/>
                  <a:gd name="connsiteX9" fmla="*/ 411712 w 595313"/>
                  <a:gd name="connsiteY9" fmla="*/ 488991 h 488991"/>
                  <a:gd name="connsiteX10" fmla="*/ 357188 w 595313"/>
                  <a:gd name="connsiteY10" fmla="*/ 488991 h 488991"/>
                  <a:gd name="connsiteX11" fmla="*/ 327144 w 595313"/>
                  <a:gd name="connsiteY11" fmla="*/ 429867 h 488991"/>
                  <a:gd name="connsiteX12" fmla="*/ 272620 w 595313"/>
                  <a:gd name="connsiteY12" fmla="*/ 434330 h 488991"/>
                  <a:gd name="connsiteX13" fmla="*/ 218096 w 595313"/>
                  <a:gd name="connsiteY13" fmla="*/ 429867 h 488991"/>
                  <a:gd name="connsiteX14" fmla="*/ 188052 w 595313"/>
                  <a:gd name="connsiteY14" fmla="*/ 488991 h 488991"/>
                  <a:gd name="connsiteX15" fmla="*/ 133528 w 595313"/>
                  <a:gd name="connsiteY15" fmla="*/ 488991 h 488991"/>
                  <a:gd name="connsiteX16" fmla="*/ 94583 w 595313"/>
                  <a:gd name="connsiteY16" fmla="*/ 384130 h 488991"/>
                  <a:gd name="connsiteX17" fmla="*/ 0 w 595313"/>
                  <a:gd name="connsiteY17" fmla="*/ 230186 h 488991"/>
                  <a:gd name="connsiteX18" fmla="*/ 79978 w 595313"/>
                  <a:gd name="connsiteY18" fmla="*/ 86420 h 488991"/>
                  <a:gd name="connsiteX19" fmla="*/ 149777 w 595313"/>
                  <a:gd name="connsiteY19" fmla="*/ 51482 h 488991"/>
                  <a:gd name="connsiteX20" fmla="*/ 164223 w 595313"/>
                  <a:gd name="connsiteY20" fmla="*/ 61222 h 488991"/>
                  <a:gd name="connsiteX21" fmla="*/ 207169 w 595313"/>
                  <a:gd name="connsiteY21" fmla="*/ 69892 h 488991"/>
                  <a:gd name="connsiteX22" fmla="*/ 285186 w 595313"/>
                  <a:gd name="connsiteY22" fmla="*/ 37577 h 488991"/>
                  <a:gd name="connsiteX23" fmla="*/ 290759 w 595313"/>
                  <a:gd name="connsiteY23" fmla="*/ 29311 h 488991"/>
                  <a:gd name="connsiteX24" fmla="*/ 357188 w 595313"/>
                  <a:gd name="connsiteY24" fmla="*/ 37197 h 488991"/>
                  <a:gd name="connsiteX25" fmla="*/ 441217 w 595313"/>
                  <a:gd name="connsiteY25" fmla="*/ 175 h 48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5313" h="488991">
                    <a:moveTo>
                      <a:pt x="441217" y="175"/>
                    </a:moveTo>
                    <a:cubicBezTo>
                      <a:pt x="452535" y="-383"/>
                      <a:pt x="464289" y="384"/>
                      <a:pt x="476251" y="2615"/>
                    </a:cubicBezTo>
                    <a:cubicBezTo>
                      <a:pt x="487378" y="4847"/>
                      <a:pt x="491829" y="18233"/>
                      <a:pt x="485152" y="26042"/>
                    </a:cubicBezTo>
                    <a:cubicBezTo>
                      <a:pt x="471800" y="43890"/>
                      <a:pt x="462898" y="63970"/>
                      <a:pt x="458447" y="81819"/>
                    </a:cubicBezTo>
                    <a:cubicBezTo>
                      <a:pt x="496280" y="108592"/>
                      <a:pt x="524098" y="143174"/>
                      <a:pt x="537451" y="182217"/>
                    </a:cubicBezTo>
                    <a:lnTo>
                      <a:pt x="595313" y="198951"/>
                    </a:lnTo>
                    <a:lnTo>
                      <a:pt x="595313" y="294887"/>
                    </a:lnTo>
                    <a:lnTo>
                      <a:pt x="520760" y="314967"/>
                    </a:lnTo>
                    <a:cubicBezTo>
                      <a:pt x="504069" y="341740"/>
                      <a:pt x="479589" y="365166"/>
                      <a:pt x="450658" y="384130"/>
                    </a:cubicBezTo>
                    <a:lnTo>
                      <a:pt x="411712" y="488991"/>
                    </a:lnTo>
                    <a:lnTo>
                      <a:pt x="357188" y="488991"/>
                    </a:lnTo>
                    <a:lnTo>
                      <a:pt x="327144" y="429867"/>
                    </a:lnTo>
                    <a:cubicBezTo>
                      <a:pt x="309340" y="432099"/>
                      <a:pt x="291537" y="434330"/>
                      <a:pt x="272620" y="434330"/>
                    </a:cubicBezTo>
                    <a:cubicBezTo>
                      <a:pt x="253704" y="434330"/>
                      <a:pt x="235900" y="432099"/>
                      <a:pt x="218096" y="429867"/>
                    </a:cubicBezTo>
                    <a:lnTo>
                      <a:pt x="188052" y="488991"/>
                    </a:lnTo>
                    <a:lnTo>
                      <a:pt x="133528" y="488991"/>
                    </a:lnTo>
                    <a:lnTo>
                      <a:pt x="94583" y="384130"/>
                    </a:lnTo>
                    <a:cubicBezTo>
                      <a:pt x="36720" y="347317"/>
                      <a:pt x="0" y="291540"/>
                      <a:pt x="0" y="230186"/>
                    </a:cubicBezTo>
                    <a:cubicBezTo>
                      <a:pt x="0" y="173851"/>
                      <a:pt x="30600" y="123094"/>
                      <a:pt x="79978" y="86420"/>
                    </a:cubicBezTo>
                    <a:lnTo>
                      <a:pt x="149777" y="51482"/>
                    </a:lnTo>
                    <a:lnTo>
                      <a:pt x="164223" y="61222"/>
                    </a:lnTo>
                    <a:cubicBezTo>
                      <a:pt x="177423" y="66805"/>
                      <a:pt x="191935" y="69892"/>
                      <a:pt x="207169" y="69892"/>
                    </a:cubicBezTo>
                    <a:cubicBezTo>
                      <a:pt x="237637" y="69892"/>
                      <a:pt x="265220" y="57543"/>
                      <a:pt x="285186" y="37577"/>
                    </a:cubicBezTo>
                    <a:lnTo>
                      <a:pt x="290759" y="29311"/>
                    </a:lnTo>
                    <a:lnTo>
                      <a:pt x="357188" y="37197"/>
                    </a:lnTo>
                    <a:cubicBezTo>
                      <a:pt x="377217" y="15444"/>
                      <a:pt x="407261" y="1849"/>
                      <a:pt x="441217" y="175"/>
                    </a:cubicBezTo>
                    <a:close/>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583">
                <a:extLst>
                  <a:ext uri="{FF2B5EF4-FFF2-40B4-BE49-F238E27FC236}">
                    <a16:creationId xmlns:a16="http://schemas.microsoft.com/office/drawing/2014/main" id="{F15C3850-75FC-C5FA-EB04-70CE4FFC3C37}"/>
                  </a:ext>
                </a:extLst>
              </p:cNvPr>
              <p:cNvSpPr>
                <a:spLocks/>
              </p:cNvSpPr>
              <p:nvPr/>
            </p:nvSpPr>
            <p:spPr bwMode="auto">
              <a:xfrm>
                <a:off x="1551994" y="4509006"/>
                <a:ext cx="33338" cy="7938"/>
              </a:xfrm>
              <a:custGeom>
                <a:avLst/>
                <a:gdLst>
                  <a:gd name="T0" fmla="*/ 0 w 31"/>
                  <a:gd name="T1" fmla="*/ 0 h 6"/>
                  <a:gd name="T2" fmla="*/ 31 w 31"/>
                  <a:gd name="T3" fmla="*/ 6 h 6"/>
                </a:gdLst>
                <a:ahLst/>
                <a:cxnLst>
                  <a:cxn ang="0">
                    <a:pos x="T0" y="T1"/>
                  </a:cxn>
                  <a:cxn ang="0">
                    <a:pos x="T2" y="T3"/>
                  </a:cxn>
                </a:cxnLst>
                <a:rect l="0" t="0" r="r" b="b"/>
                <a:pathLst>
                  <a:path w="31" h="6">
                    <a:moveTo>
                      <a:pt x="0" y="0"/>
                    </a:moveTo>
                    <a:cubicBezTo>
                      <a:pt x="10" y="2"/>
                      <a:pt x="21" y="4"/>
                      <a:pt x="31" y="6"/>
                    </a:cubicBezTo>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584">
                <a:extLst>
                  <a:ext uri="{FF2B5EF4-FFF2-40B4-BE49-F238E27FC236}">
                    <a16:creationId xmlns:a16="http://schemas.microsoft.com/office/drawing/2014/main" id="{F19B2815-C8A2-64A0-37DC-ED789D0C1A12}"/>
                  </a:ext>
                </a:extLst>
              </p:cNvPr>
              <p:cNvSpPr>
                <a:spLocks/>
              </p:cNvSpPr>
              <p:nvPr/>
            </p:nvSpPr>
            <p:spPr bwMode="auto">
              <a:xfrm>
                <a:off x="1310694" y="4116893"/>
                <a:ext cx="106363" cy="103188"/>
              </a:xfrm>
              <a:custGeom>
                <a:avLst/>
                <a:gdLst>
                  <a:gd name="T0" fmla="*/ 46 w 96"/>
                  <a:gd name="T1" fmla="*/ 36 h 93"/>
                  <a:gd name="T2" fmla="*/ 44 w 96"/>
                  <a:gd name="T3" fmla="*/ 36 h 93"/>
                  <a:gd name="T4" fmla="*/ 42 w 96"/>
                  <a:gd name="T5" fmla="*/ 37 h 93"/>
                  <a:gd name="T6" fmla="*/ 41 w 96"/>
                  <a:gd name="T7" fmla="*/ 38 h 93"/>
                  <a:gd name="T8" fmla="*/ 41 w 96"/>
                  <a:gd name="T9" fmla="*/ 41 h 93"/>
                  <a:gd name="T10" fmla="*/ 41 w 96"/>
                  <a:gd name="T11" fmla="*/ 44 h 93"/>
                  <a:gd name="T12" fmla="*/ 43 w 96"/>
                  <a:gd name="T13" fmla="*/ 46 h 93"/>
                  <a:gd name="T14" fmla="*/ 46 w 96"/>
                  <a:gd name="T15" fmla="*/ 48 h 93"/>
                  <a:gd name="T16" fmla="*/ 50 w 96"/>
                  <a:gd name="T17" fmla="*/ 50 h 93"/>
                  <a:gd name="T18" fmla="*/ 54 w 96"/>
                  <a:gd name="T19" fmla="*/ 50 h 93"/>
                  <a:gd name="T20" fmla="*/ 59 w 96"/>
                  <a:gd name="T21" fmla="*/ 49 h 93"/>
                  <a:gd name="T22" fmla="*/ 63 w 96"/>
                  <a:gd name="T23" fmla="*/ 46 h 93"/>
                  <a:gd name="T24" fmla="*/ 67 w 96"/>
                  <a:gd name="T25" fmla="*/ 41 h 93"/>
                  <a:gd name="T26" fmla="*/ 70 w 96"/>
                  <a:gd name="T27" fmla="*/ 36 h 93"/>
                  <a:gd name="T28" fmla="*/ 71 w 96"/>
                  <a:gd name="T29" fmla="*/ 29 h 93"/>
                  <a:gd name="T30" fmla="*/ 70 w 96"/>
                  <a:gd name="T31" fmla="*/ 22 h 93"/>
                  <a:gd name="T32" fmla="*/ 67 w 96"/>
                  <a:gd name="T33" fmla="*/ 15 h 93"/>
                  <a:gd name="T34" fmla="*/ 61 w 96"/>
                  <a:gd name="T35" fmla="*/ 9 h 93"/>
                  <a:gd name="T36" fmla="*/ 54 w 96"/>
                  <a:gd name="T37" fmla="*/ 4 h 93"/>
                  <a:gd name="T38" fmla="*/ 46 w 96"/>
                  <a:gd name="T39" fmla="*/ 1 h 93"/>
                  <a:gd name="T40" fmla="*/ 36 w 96"/>
                  <a:gd name="T41" fmla="*/ 0 h 93"/>
                  <a:gd name="T42" fmla="*/ 27 w 96"/>
                  <a:gd name="T43" fmla="*/ 2 h 93"/>
                  <a:gd name="T44" fmla="*/ 17 w 96"/>
                  <a:gd name="T45" fmla="*/ 7 h 93"/>
                  <a:gd name="T46" fmla="*/ 9 w 96"/>
                  <a:gd name="T47" fmla="*/ 15 h 93"/>
                  <a:gd name="T48" fmla="*/ 4 w 96"/>
                  <a:gd name="T49" fmla="*/ 24 h 93"/>
                  <a:gd name="T50" fmla="*/ 0 w 96"/>
                  <a:gd name="T51" fmla="*/ 36 h 93"/>
                  <a:gd name="T52" fmla="*/ 0 w 96"/>
                  <a:gd name="T53" fmla="*/ 48 h 93"/>
                  <a:gd name="T54" fmla="*/ 3 w 96"/>
                  <a:gd name="T55" fmla="*/ 60 h 93"/>
                  <a:gd name="T56" fmla="*/ 10 w 96"/>
                  <a:gd name="T57" fmla="*/ 72 h 93"/>
                  <a:gd name="T58" fmla="*/ 20 w 96"/>
                  <a:gd name="T59" fmla="*/ 82 h 93"/>
                  <a:gd name="T60" fmla="*/ 32 w 96"/>
                  <a:gd name="T61" fmla="*/ 89 h 93"/>
                  <a:gd name="T62" fmla="*/ 46 w 96"/>
                  <a:gd name="T63" fmla="*/ 92 h 93"/>
                  <a:gd name="T64" fmla="*/ 61 w 96"/>
                  <a:gd name="T65" fmla="*/ 92 h 93"/>
                  <a:gd name="T66" fmla="*/ 76 w 96"/>
                  <a:gd name="T67" fmla="*/ 88 h 93"/>
                  <a:gd name="T68" fmla="*/ 90 w 96"/>
                  <a:gd name="T69" fmla="*/ 80 h 93"/>
                  <a:gd name="T70" fmla="*/ 96 w 96"/>
                  <a:gd name="T71" fmla="*/ 7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93">
                    <a:moveTo>
                      <a:pt x="46" y="36"/>
                    </a:moveTo>
                    <a:cubicBezTo>
                      <a:pt x="46" y="36"/>
                      <a:pt x="44" y="36"/>
                      <a:pt x="44" y="36"/>
                    </a:cubicBezTo>
                    <a:cubicBezTo>
                      <a:pt x="44" y="36"/>
                      <a:pt x="43" y="36"/>
                      <a:pt x="42" y="37"/>
                    </a:cubicBezTo>
                    <a:cubicBezTo>
                      <a:pt x="42" y="37"/>
                      <a:pt x="41" y="38"/>
                      <a:pt x="41" y="38"/>
                    </a:cubicBezTo>
                    <a:cubicBezTo>
                      <a:pt x="41" y="39"/>
                      <a:pt x="41" y="40"/>
                      <a:pt x="41" y="41"/>
                    </a:cubicBezTo>
                    <a:cubicBezTo>
                      <a:pt x="41" y="41"/>
                      <a:pt x="41" y="43"/>
                      <a:pt x="41" y="44"/>
                    </a:cubicBezTo>
                    <a:cubicBezTo>
                      <a:pt x="42" y="44"/>
                      <a:pt x="42" y="46"/>
                      <a:pt x="43" y="46"/>
                    </a:cubicBezTo>
                    <a:cubicBezTo>
                      <a:pt x="44" y="47"/>
                      <a:pt x="45" y="48"/>
                      <a:pt x="46" y="48"/>
                    </a:cubicBezTo>
                    <a:cubicBezTo>
                      <a:pt x="47" y="49"/>
                      <a:pt x="48" y="50"/>
                      <a:pt x="50" y="50"/>
                    </a:cubicBezTo>
                    <a:cubicBezTo>
                      <a:pt x="51" y="50"/>
                      <a:pt x="53" y="50"/>
                      <a:pt x="54" y="50"/>
                    </a:cubicBezTo>
                    <a:cubicBezTo>
                      <a:pt x="56" y="50"/>
                      <a:pt x="57" y="49"/>
                      <a:pt x="59" y="49"/>
                    </a:cubicBezTo>
                    <a:cubicBezTo>
                      <a:pt x="60" y="48"/>
                      <a:pt x="62" y="47"/>
                      <a:pt x="63" y="46"/>
                    </a:cubicBezTo>
                    <a:cubicBezTo>
                      <a:pt x="65" y="45"/>
                      <a:pt x="66" y="43"/>
                      <a:pt x="67" y="41"/>
                    </a:cubicBezTo>
                    <a:cubicBezTo>
                      <a:pt x="68" y="40"/>
                      <a:pt x="69" y="38"/>
                      <a:pt x="70" y="36"/>
                    </a:cubicBezTo>
                    <a:cubicBezTo>
                      <a:pt x="70" y="34"/>
                      <a:pt x="71" y="31"/>
                      <a:pt x="71" y="29"/>
                    </a:cubicBezTo>
                    <a:cubicBezTo>
                      <a:pt x="71" y="27"/>
                      <a:pt x="70" y="24"/>
                      <a:pt x="70" y="22"/>
                    </a:cubicBezTo>
                    <a:cubicBezTo>
                      <a:pt x="69" y="20"/>
                      <a:pt x="68" y="17"/>
                      <a:pt x="67" y="15"/>
                    </a:cubicBezTo>
                    <a:cubicBezTo>
                      <a:pt x="65" y="13"/>
                      <a:pt x="63" y="11"/>
                      <a:pt x="61" y="9"/>
                    </a:cubicBezTo>
                    <a:cubicBezTo>
                      <a:pt x="59" y="7"/>
                      <a:pt x="57" y="5"/>
                      <a:pt x="54" y="4"/>
                    </a:cubicBezTo>
                    <a:cubicBezTo>
                      <a:pt x="52" y="3"/>
                      <a:pt x="49" y="1"/>
                      <a:pt x="46" y="1"/>
                    </a:cubicBezTo>
                    <a:cubicBezTo>
                      <a:pt x="43" y="0"/>
                      <a:pt x="40" y="0"/>
                      <a:pt x="36" y="0"/>
                    </a:cubicBezTo>
                    <a:cubicBezTo>
                      <a:pt x="33" y="1"/>
                      <a:pt x="30" y="1"/>
                      <a:pt x="27" y="2"/>
                    </a:cubicBezTo>
                    <a:cubicBezTo>
                      <a:pt x="24" y="4"/>
                      <a:pt x="20" y="5"/>
                      <a:pt x="17" y="7"/>
                    </a:cubicBezTo>
                    <a:cubicBezTo>
                      <a:pt x="15" y="9"/>
                      <a:pt x="12" y="12"/>
                      <a:pt x="9" y="15"/>
                    </a:cubicBezTo>
                    <a:cubicBezTo>
                      <a:pt x="7" y="18"/>
                      <a:pt x="5" y="21"/>
                      <a:pt x="4" y="24"/>
                    </a:cubicBezTo>
                    <a:cubicBezTo>
                      <a:pt x="2" y="28"/>
                      <a:pt x="1" y="32"/>
                      <a:pt x="0" y="36"/>
                    </a:cubicBezTo>
                    <a:cubicBezTo>
                      <a:pt x="0" y="40"/>
                      <a:pt x="0" y="44"/>
                      <a:pt x="0" y="48"/>
                    </a:cubicBezTo>
                    <a:cubicBezTo>
                      <a:pt x="1" y="52"/>
                      <a:pt x="2" y="56"/>
                      <a:pt x="3" y="60"/>
                    </a:cubicBezTo>
                    <a:cubicBezTo>
                      <a:pt x="5" y="64"/>
                      <a:pt x="7" y="68"/>
                      <a:pt x="10" y="72"/>
                    </a:cubicBezTo>
                    <a:cubicBezTo>
                      <a:pt x="13" y="75"/>
                      <a:pt x="16" y="79"/>
                      <a:pt x="20" y="82"/>
                    </a:cubicBezTo>
                    <a:cubicBezTo>
                      <a:pt x="23" y="84"/>
                      <a:pt x="27" y="87"/>
                      <a:pt x="32" y="89"/>
                    </a:cubicBezTo>
                    <a:cubicBezTo>
                      <a:pt x="36" y="90"/>
                      <a:pt x="41" y="92"/>
                      <a:pt x="46" y="92"/>
                    </a:cubicBezTo>
                    <a:cubicBezTo>
                      <a:pt x="51" y="93"/>
                      <a:pt x="56" y="93"/>
                      <a:pt x="61" y="92"/>
                    </a:cubicBezTo>
                    <a:cubicBezTo>
                      <a:pt x="66" y="91"/>
                      <a:pt x="71" y="90"/>
                      <a:pt x="76" y="88"/>
                    </a:cubicBezTo>
                    <a:cubicBezTo>
                      <a:pt x="81" y="86"/>
                      <a:pt x="86" y="83"/>
                      <a:pt x="90" y="80"/>
                    </a:cubicBezTo>
                    <a:cubicBezTo>
                      <a:pt x="92" y="78"/>
                      <a:pt x="94" y="76"/>
                      <a:pt x="96" y="74"/>
                    </a:cubicBezTo>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585">
                <a:extLst>
                  <a:ext uri="{FF2B5EF4-FFF2-40B4-BE49-F238E27FC236}">
                    <a16:creationId xmlns:a16="http://schemas.microsoft.com/office/drawing/2014/main" id="{4F2A969C-C309-A5F6-6295-2F460E4ECDE2}"/>
                  </a:ext>
                </a:extLst>
              </p:cNvPr>
              <p:cNvSpPr>
                <a:spLocks/>
              </p:cNvSpPr>
              <p:nvPr/>
            </p:nvSpPr>
            <p:spPr bwMode="auto">
              <a:xfrm>
                <a:off x="1769481" y="4470906"/>
                <a:ext cx="49213" cy="25400"/>
              </a:xfrm>
              <a:custGeom>
                <a:avLst/>
                <a:gdLst>
                  <a:gd name="T0" fmla="*/ 0 w 44"/>
                  <a:gd name="T1" fmla="*/ 23 h 23"/>
                  <a:gd name="T2" fmla="*/ 44 w 44"/>
                  <a:gd name="T3" fmla="*/ 0 h 23"/>
                </a:gdLst>
                <a:ahLst/>
                <a:cxnLst>
                  <a:cxn ang="0">
                    <a:pos x="T0" y="T1"/>
                  </a:cxn>
                  <a:cxn ang="0">
                    <a:pos x="T2" y="T3"/>
                  </a:cxn>
                </a:cxnLst>
                <a:rect l="0" t="0" r="r" b="b"/>
                <a:pathLst>
                  <a:path w="44" h="23">
                    <a:moveTo>
                      <a:pt x="0" y="23"/>
                    </a:moveTo>
                    <a:cubicBezTo>
                      <a:pt x="16" y="16"/>
                      <a:pt x="31" y="9"/>
                      <a:pt x="44" y="0"/>
                    </a:cubicBezTo>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586">
                <a:extLst>
                  <a:ext uri="{FF2B5EF4-FFF2-40B4-BE49-F238E27FC236}">
                    <a16:creationId xmlns:a16="http://schemas.microsoft.com/office/drawing/2014/main" id="{E14C3813-5001-0D95-358A-EEAB2A016268}"/>
                  </a:ext>
                </a:extLst>
              </p:cNvPr>
              <p:cNvSpPr>
                <a:spLocks/>
              </p:cNvSpPr>
              <p:nvPr/>
            </p:nvSpPr>
            <p:spPr bwMode="auto">
              <a:xfrm>
                <a:off x="1725031" y="4123243"/>
                <a:ext cx="38100" cy="12700"/>
              </a:xfrm>
              <a:custGeom>
                <a:avLst/>
                <a:gdLst>
                  <a:gd name="T0" fmla="*/ 34 w 34"/>
                  <a:gd name="T1" fmla="*/ 11 h 11"/>
                  <a:gd name="T2" fmla="*/ 0 w 34"/>
                  <a:gd name="T3" fmla="*/ 0 h 11"/>
                </a:gdLst>
                <a:ahLst/>
                <a:cxnLst>
                  <a:cxn ang="0">
                    <a:pos x="T0" y="T1"/>
                  </a:cxn>
                  <a:cxn ang="0">
                    <a:pos x="T2" y="T3"/>
                  </a:cxn>
                </a:cxnLst>
                <a:rect l="0" t="0" r="r" b="b"/>
                <a:pathLst>
                  <a:path w="34" h="11">
                    <a:moveTo>
                      <a:pt x="34" y="11"/>
                    </a:moveTo>
                    <a:cubicBezTo>
                      <a:pt x="23" y="6"/>
                      <a:pt x="12" y="3"/>
                      <a:pt x="0" y="0"/>
                    </a:cubicBezTo>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598">
                <a:extLst>
                  <a:ext uri="{FF2B5EF4-FFF2-40B4-BE49-F238E27FC236}">
                    <a16:creationId xmlns:a16="http://schemas.microsoft.com/office/drawing/2014/main" id="{28FC99EC-B356-0815-12D7-C36396DF3845}"/>
                  </a:ext>
                </a:extLst>
              </p:cNvPr>
              <p:cNvSpPr>
                <a:spLocks/>
              </p:cNvSpPr>
              <p:nvPr/>
            </p:nvSpPr>
            <p:spPr bwMode="auto">
              <a:xfrm>
                <a:off x="1507544" y="4171853"/>
                <a:ext cx="185738" cy="38100"/>
              </a:xfrm>
              <a:custGeom>
                <a:avLst/>
                <a:gdLst>
                  <a:gd name="T0" fmla="*/ 166 w 166"/>
                  <a:gd name="T1" fmla="*/ 3 h 34"/>
                  <a:gd name="T2" fmla="*/ 128 w 166"/>
                  <a:gd name="T3" fmla="*/ 0 h 34"/>
                  <a:gd name="T4" fmla="*/ 0 w 166"/>
                  <a:gd name="T5" fmla="*/ 34 h 34"/>
                </a:gdLst>
                <a:ahLst/>
                <a:cxnLst>
                  <a:cxn ang="0">
                    <a:pos x="T0" y="T1"/>
                  </a:cxn>
                  <a:cxn ang="0">
                    <a:pos x="T2" y="T3"/>
                  </a:cxn>
                  <a:cxn ang="0">
                    <a:pos x="T4" y="T5"/>
                  </a:cxn>
                </a:cxnLst>
                <a:rect l="0" t="0" r="r" b="b"/>
                <a:pathLst>
                  <a:path w="166" h="34">
                    <a:moveTo>
                      <a:pt x="166" y="3"/>
                    </a:moveTo>
                    <a:cubicBezTo>
                      <a:pt x="154" y="1"/>
                      <a:pt x="141" y="0"/>
                      <a:pt x="128" y="0"/>
                    </a:cubicBezTo>
                    <a:cubicBezTo>
                      <a:pt x="79" y="0"/>
                      <a:pt x="34" y="13"/>
                      <a:pt x="0" y="34"/>
                    </a:cubicBezTo>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3" name="Group 1261">
                <a:extLst>
                  <a:ext uri="{FF2B5EF4-FFF2-40B4-BE49-F238E27FC236}">
                    <a16:creationId xmlns:a16="http://schemas.microsoft.com/office/drawing/2014/main" id="{18CC38F9-E1C1-54DB-A223-C68D5F21A386}"/>
                  </a:ext>
                </a:extLst>
              </p:cNvPr>
              <p:cNvGrpSpPr>
                <a:grpSpLocks noChangeAspect="1"/>
              </p:cNvGrpSpPr>
              <p:nvPr/>
            </p:nvGrpSpPr>
            <p:grpSpPr>
              <a:xfrm>
                <a:off x="1496994" y="3982666"/>
                <a:ext cx="144066" cy="142145"/>
                <a:chOff x="1346360" y="5009188"/>
                <a:chExt cx="174320" cy="171995"/>
              </a:xfrm>
              <a:grpFill/>
            </p:grpSpPr>
            <p:sp>
              <p:nvSpPr>
                <p:cNvPr id="64" name="Freeform 244">
                  <a:extLst>
                    <a:ext uri="{FF2B5EF4-FFF2-40B4-BE49-F238E27FC236}">
                      <a16:creationId xmlns:a16="http://schemas.microsoft.com/office/drawing/2014/main" id="{6F9382EC-0C60-999C-DD21-B36831090543}"/>
                    </a:ext>
                  </a:extLst>
                </p:cNvPr>
                <p:cNvSpPr>
                  <a:spLocks/>
                </p:cNvSpPr>
                <p:nvPr/>
              </p:nvSpPr>
              <p:spPr bwMode="auto">
                <a:xfrm>
                  <a:off x="1371927" y="5009188"/>
                  <a:ext cx="148753" cy="171995"/>
                </a:xfrm>
                <a:custGeom>
                  <a:avLst/>
                  <a:gdLst>
                    <a:gd name="T0" fmla="*/ 65 w 111"/>
                    <a:gd name="T1" fmla="*/ 128 h 128"/>
                    <a:gd name="T2" fmla="*/ 0 w 111"/>
                    <a:gd name="T3" fmla="*/ 64 h 128"/>
                    <a:gd name="T4" fmla="*/ 65 w 111"/>
                    <a:gd name="T5" fmla="*/ 0 h 128"/>
                    <a:gd name="T6" fmla="*/ 108 w 111"/>
                    <a:gd name="T7" fmla="*/ 17 h 128"/>
                    <a:gd name="T8" fmla="*/ 108 w 111"/>
                    <a:gd name="T9" fmla="*/ 27 h 128"/>
                    <a:gd name="T10" fmla="*/ 98 w 111"/>
                    <a:gd name="T11" fmla="*/ 27 h 128"/>
                    <a:gd name="T12" fmla="*/ 65 w 111"/>
                    <a:gd name="T13" fmla="*/ 14 h 128"/>
                    <a:gd name="T14" fmla="*/ 15 w 111"/>
                    <a:gd name="T15" fmla="*/ 64 h 128"/>
                    <a:gd name="T16" fmla="*/ 65 w 111"/>
                    <a:gd name="T17" fmla="*/ 114 h 128"/>
                    <a:gd name="T18" fmla="*/ 98 w 111"/>
                    <a:gd name="T19" fmla="*/ 101 h 128"/>
                    <a:gd name="T20" fmla="*/ 108 w 111"/>
                    <a:gd name="T21" fmla="*/ 101 h 128"/>
                    <a:gd name="T22" fmla="*/ 108 w 111"/>
                    <a:gd name="T23" fmla="*/ 111 h 128"/>
                    <a:gd name="T24" fmla="*/ 65 w 111"/>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28">
                      <a:moveTo>
                        <a:pt x="65" y="128"/>
                      </a:moveTo>
                      <a:cubicBezTo>
                        <a:pt x="29" y="128"/>
                        <a:pt x="0" y="99"/>
                        <a:pt x="0" y="64"/>
                      </a:cubicBezTo>
                      <a:cubicBezTo>
                        <a:pt x="0" y="29"/>
                        <a:pt x="29" y="0"/>
                        <a:pt x="65" y="0"/>
                      </a:cubicBezTo>
                      <a:cubicBezTo>
                        <a:pt x="81" y="0"/>
                        <a:pt x="96" y="6"/>
                        <a:pt x="108" y="17"/>
                      </a:cubicBezTo>
                      <a:cubicBezTo>
                        <a:pt x="111" y="19"/>
                        <a:pt x="111" y="24"/>
                        <a:pt x="108" y="27"/>
                      </a:cubicBezTo>
                      <a:cubicBezTo>
                        <a:pt x="106" y="30"/>
                        <a:pt x="101" y="30"/>
                        <a:pt x="98" y="27"/>
                      </a:cubicBezTo>
                      <a:cubicBezTo>
                        <a:pt x="89" y="19"/>
                        <a:pt x="77" y="14"/>
                        <a:pt x="65" y="14"/>
                      </a:cubicBezTo>
                      <a:cubicBezTo>
                        <a:pt x="37" y="14"/>
                        <a:pt x="15" y="37"/>
                        <a:pt x="15" y="64"/>
                      </a:cubicBezTo>
                      <a:cubicBezTo>
                        <a:pt x="15" y="91"/>
                        <a:pt x="37" y="114"/>
                        <a:pt x="65" y="114"/>
                      </a:cubicBezTo>
                      <a:cubicBezTo>
                        <a:pt x="77" y="114"/>
                        <a:pt x="89" y="109"/>
                        <a:pt x="98" y="101"/>
                      </a:cubicBezTo>
                      <a:cubicBezTo>
                        <a:pt x="101" y="98"/>
                        <a:pt x="106" y="98"/>
                        <a:pt x="108" y="101"/>
                      </a:cubicBezTo>
                      <a:cubicBezTo>
                        <a:pt x="111" y="104"/>
                        <a:pt x="111" y="109"/>
                        <a:pt x="108" y="111"/>
                      </a:cubicBezTo>
                      <a:cubicBezTo>
                        <a:pt x="96" y="122"/>
                        <a:pt x="81" y="128"/>
                        <a:pt x="65" y="128"/>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245">
                  <a:extLst>
                    <a:ext uri="{FF2B5EF4-FFF2-40B4-BE49-F238E27FC236}">
                      <a16:creationId xmlns:a16="http://schemas.microsoft.com/office/drawing/2014/main" id="{BA95B332-626D-DD3F-E7D0-14154B1CA290}"/>
                    </a:ext>
                  </a:extLst>
                </p:cNvPr>
                <p:cNvSpPr>
                  <a:spLocks/>
                </p:cNvSpPr>
                <p:nvPr/>
              </p:nvSpPr>
              <p:spPr bwMode="auto">
                <a:xfrm>
                  <a:off x="1346360" y="5062645"/>
                  <a:ext cx="118538" cy="18594"/>
                </a:xfrm>
                <a:custGeom>
                  <a:avLst/>
                  <a:gdLst>
                    <a:gd name="T0" fmla="*/ 81 w 89"/>
                    <a:gd name="T1" fmla="*/ 15 h 15"/>
                    <a:gd name="T2" fmla="*/ 7 w 89"/>
                    <a:gd name="T3" fmla="*/ 15 h 15"/>
                    <a:gd name="T4" fmla="*/ 0 w 89"/>
                    <a:gd name="T5" fmla="*/ 8 h 15"/>
                    <a:gd name="T6" fmla="*/ 7 w 89"/>
                    <a:gd name="T7" fmla="*/ 0 h 15"/>
                    <a:gd name="T8" fmla="*/ 81 w 89"/>
                    <a:gd name="T9" fmla="*/ 0 h 15"/>
                    <a:gd name="T10" fmla="*/ 89 w 89"/>
                    <a:gd name="T11" fmla="*/ 8 h 15"/>
                    <a:gd name="T12" fmla="*/ 81 w 8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89" h="15">
                      <a:moveTo>
                        <a:pt x="81" y="15"/>
                      </a:moveTo>
                      <a:lnTo>
                        <a:pt x="7" y="15"/>
                      </a:lnTo>
                      <a:cubicBezTo>
                        <a:pt x="3" y="15"/>
                        <a:pt x="0" y="12"/>
                        <a:pt x="0" y="8"/>
                      </a:cubicBezTo>
                      <a:cubicBezTo>
                        <a:pt x="0" y="4"/>
                        <a:pt x="3" y="0"/>
                        <a:pt x="7" y="0"/>
                      </a:cubicBezTo>
                      <a:lnTo>
                        <a:pt x="81" y="0"/>
                      </a:lnTo>
                      <a:cubicBezTo>
                        <a:pt x="85" y="0"/>
                        <a:pt x="89" y="4"/>
                        <a:pt x="89" y="8"/>
                      </a:cubicBezTo>
                      <a:cubicBezTo>
                        <a:pt x="89" y="12"/>
                        <a:pt x="85" y="15"/>
                        <a:pt x="81" y="15"/>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246">
                  <a:extLst>
                    <a:ext uri="{FF2B5EF4-FFF2-40B4-BE49-F238E27FC236}">
                      <a16:creationId xmlns:a16="http://schemas.microsoft.com/office/drawing/2014/main" id="{37597916-DF7A-F8CD-768B-07AD60AA0EA4}"/>
                    </a:ext>
                  </a:extLst>
                </p:cNvPr>
                <p:cNvSpPr>
                  <a:spLocks/>
                </p:cNvSpPr>
                <p:nvPr/>
              </p:nvSpPr>
              <p:spPr bwMode="auto">
                <a:xfrm>
                  <a:off x="1346360" y="5109130"/>
                  <a:ext cx="118538" cy="18594"/>
                </a:xfrm>
                <a:custGeom>
                  <a:avLst/>
                  <a:gdLst>
                    <a:gd name="T0" fmla="*/ 81 w 89"/>
                    <a:gd name="T1" fmla="*/ 15 h 15"/>
                    <a:gd name="T2" fmla="*/ 7 w 89"/>
                    <a:gd name="T3" fmla="*/ 15 h 15"/>
                    <a:gd name="T4" fmla="*/ 0 w 89"/>
                    <a:gd name="T5" fmla="*/ 7 h 15"/>
                    <a:gd name="T6" fmla="*/ 7 w 89"/>
                    <a:gd name="T7" fmla="*/ 0 h 15"/>
                    <a:gd name="T8" fmla="*/ 81 w 89"/>
                    <a:gd name="T9" fmla="*/ 0 h 15"/>
                    <a:gd name="T10" fmla="*/ 89 w 89"/>
                    <a:gd name="T11" fmla="*/ 7 h 15"/>
                    <a:gd name="T12" fmla="*/ 81 w 8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89" h="15">
                      <a:moveTo>
                        <a:pt x="81" y="15"/>
                      </a:moveTo>
                      <a:lnTo>
                        <a:pt x="7" y="15"/>
                      </a:lnTo>
                      <a:cubicBezTo>
                        <a:pt x="3" y="15"/>
                        <a:pt x="0" y="11"/>
                        <a:pt x="0" y="7"/>
                      </a:cubicBezTo>
                      <a:cubicBezTo>
                        <a:pt x="0" y="3"/>
                        <a:pt x="3" y="0"/>
                        <a:pt x="7" y="0"/>
                      </a:cubicBezTo>
                      <a:lnTo>
                        <a:pt x="81" y="0"/>
                      </a:lnTo>
                      <a:cubicBezTo>
                        <a:pt x="85" y="0"/>
                        <a:pt x="89" y="3"/>
                        <a:pt x="89" y="7"/>
                      </a:cubicBezTo>
                      <a:cubicBezTo>
                        <a:pt x="89" y="11"/>
                        <a:pt x="85" y="15"/>
                        <a:pt x="81" y="15"/>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7" name="Ellipse 66">
              <a:extLst>
                <a:ext uri="{FF2B5EF4-FFF2-40B4-BE49-F238E27FC236}">
                  <a16:creationId xmlns:a16="http://schemas.microsoft.com/office/drawing/2014/main" id="{E42AB6EE-76CF-AFDD-759F-0405F8D4DD90}"/>
                </a:ext>
              </a:extLst>
            </p:cNvPr>
            <p:cNvSpPr/>
            <p:nvPr/>
          </p:nvSpPr>
          <p:spPr>
            <a:xfrm>
              <a:off x="1006033" y="3493390"/>
              <a:ext cx="69845" cy="66675"/>
            </a:xfrm>
            <a:prstGeom prst="ellipse">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9" name="Textfeld 68">
            <a:extLst>
              <a:ext uri="{FF2B5EF4-FFF2-40B4-BE49-F238E27FC236}">
                <a16:creationId xmlns:a16="http://schemas.microsoft.com/office/drawing/2014/main" id="{7A7CFD72-F984-5210-D210-6B99A1D7D59C}"/>
              </a:ext>
            </a:extLst>
          </p:cNvPr>
          <p:cNvSpPr txBox="1"/>
          <p:nvPr/>
        </p:nvSpPr>
        <p:spPr>
          <a:xfrm>
            <a:off x="385571" y="3475031"/>
            <a:ext cx="788421" cy="276999"/>
          </a:xfrm>
          <a:prstGeom prst="rect">
            <a:avLst/>
          </a:prstGeom>
          <a:noFill/>
        </p:spPr>
        <p:txBody>
          <a:bodyPr wrap="none" rtlCol="0">
            <a:spAutoFit/>
          </a:bodyPr>
          <a:lstStyle/>
          <a:p>
            <a:r>
              <a:rPr lang="en-US" sz="1200" b="1"/>
              <a:t>saving on</a:t>
            </a:r>
          </a:p>
        </p:txBody>
      </p:sp>
      <p:sp>
        <p:nvSpPr>
          <p:cNvPr id="71" name="Textfeld 70">
            <a:extLst>
              <a:ext uri="{FF2B5EF4-FFF2-40B4-BE49-F238E27FC236}">
                <a16:creationId xmlns:a16="http://schemas.microsoft.com/office/drawing/2014/main" id="{F4007D91-C03F-D4D9-4CEA-25CC3AAA4DFB}"/>
              </a:ext>
            </a:extLst>
          </p:cNvPr>
          <p:cNvSpPr txBox="1"/>
          <p:nvPr/>
        </p:nvSpPr>
        <p:spPr>
          <a:xfrm>
            <a:off x="1193698" y="2826116"/>
            <a:ext cx="3321594" cy="830997"/>
          </a:xfrm>
          <a:prstGeom prst="rect">
            <a:avLst/>
          </a:prstGeom>
          <a:noFill/>
        </p:spPr>
        <p:txBody>
          <a:bodyPr wrap="square" rtlCol="0">
            <a:spAutoFit/>
          </a:bodyPr>
          <a:lstStyle/>
          <a:p>
            <a:pPr marL="171450" indent="-171450">
              <a:buFont typeface="Arial" panose="020B0604020202020204" pitchFamily="34" charset="0"/>
              <a:buChar char="•"/>
            </a:pPr>
            <a:r>
              <a:rPr lang="en-US" sz="1200"/>
              <a:t>acquisition</a:t>
            </a:r>
          </a:p>
          <a:p>
            <a:pPr marL="171450" indent="-171450">
              <a:buFont typeface="Arial" panose="020B0604020202020204" pitchFamily="34" charset="0"/>
              <a:buChar char="•"/>
            </a:pPr>
            <a:r>
              <a:rPr lang="en-US" sz="1200"/>
              <a:t>operational costs</a:t>
            </a:r>
          </a:p>
          <a:p>
            <a:pPr marL="171450" indent="-171450">
              <a:buFont typeface="Arial" panose="020B0604020202020204" pitchFamily="34" charset="0"/>
              <a:buChar char="•"/>
            </a:pPr>
            <a:r>
              <a:rPr lang="en-US" sz="1200"/>
              <a:t>driver payments</a:t>
            </a:r>
          </a:p>
          <a:p>
            <a:pPr marL="171450" indent="-171450">
              <a:buFont typeface="Arial" panose="020B0604020202020204" pitchFamily="34" charset="0"/>
              <a:buChar char="•"/>
            </a:pPr>
            <a:r>
              <a:rPr lang="en-US" sz="1200"/>
              <a:t>customer cost</a:t>
            </a:r>
          </a:p>
        </p:txBody>
      </p:sp>
      <p:sp>
        <p:nvSpPr>
          <p:cNvPr id="72" name="Textfeld 71">
            <a:extLst>
              <a:ext uri="{FF2B5EF4-FFF2-40B4-BE49-F238E27FC236}">
                <a16:creationId xmlns:a16="http://schemas.microsoft.com/office/drawing/2014/main" id="{17FF5B36-133F-EAB5-456E-DB7C4C65AB15}"/>
              </a:ext>
            </a:extLst>
          </p:cNvPr>
          <p:cNvSpPr txBox="1"/>
          <p:nvPr/>
        </p:nvSpPr>
        <p:spPr>
          <a:xfrm>
            <a:off x="2889588" y="3062930"/>
            <a:ext cx="1625703" cy="461665"/>
          </a:xfrm>
          <a:prstGeom prst="rect">
            <a:avLst/>
          </a:prstGeom>
          <a:noFill/>
        </p:spPr>
        <p:txBody>
          <a:bodyPr wrap="square" rtlCol="0">
            <a:spAutoFit/>
          </a:bodyPr>
          <a:lstStyle/>
          <a:p>
            <a:pPr algn="ctr"/>
            <a:r>
              <a:rPr lang="en-US" sz="1200" b="1"/>
              <a:t>Increasing overall financial efficiency</a:t>
            </a:r>
          </a:p>
        </p:txBody>
      </p:sp>
      <p:sp>
        <p:nvSpPr>
          <p:cNvPr id="73" name="Textfeld 72">
            <a:extLst>
              <a:ext uri="{FF2B5EF4-FFF2-40B4-BE49-F238E27FC236}">
                <a16:creationId xmlns:a16="http://schemas.microsoft.com/office/drawing/2014/main" id="{7ECE28A5-B4A0-339F-93D0-8BD8F5338302}"/>
              </a:ext>
            </a:extLst>
          </p:cNvPr>
          <p:cNvSpPr txBox="1"/>
          <p:nvPr/>
        </p:nvSpPr>
        <p:spPr>
          <a:xfrm>
            <a:off x="368438" y="3680817"/>
            <a:ext cx="3583353" cy="276999"/>
          </a:xfrm>
          <a:prstGeom prst="rect">
            <a:avLst/>
          </a:prstGeom>
          <a:noFill/>
        </p:spPr>
        <p:txBody>
          <a:bodyPr wrap="square" rtlCol="0">
            <a:spAutoFit/>
          </a:bodyPr>
          <a:lstStyle/>
          <a:p>
            <a:r>
              <a:rPr lang="en-US" sz="1200" b="1"/>
              <a:t>General Revenue Growth and Productivity Increase</a:t>
            </a:r>
          </a:p>
        </p:txBody>
      </p:sp>
      <p:sp>
        <p:nvSpPr>
          <p:cNvPr id="89" name="Textfeld 88">
            <a:extLst>
              <a:ext uri="{FF2B5EF4-FFF2-40B4-BE49-F238E27FC236}">
                <a16:creationId xmlns:a16="http://schemas.microsoft.com/office/drawing/2014/main" id="{D4658FB7-F2D3-1ED3-6D5B-0BDE6E22B202}"/>
              </a:ext>
            </a:extLst>
          </p:cNvPr>
          <p:cNvSpPr txBox="1"/>
          <p:nvPr/>
        </p:nvSpPr>
        <p:spPr>
          <a:xfrm>
            <a:off x="362262" y="4678498"/>
            <a:ext cx="832151" cy="276999"/>
          </a:xfrm>
          <a:prstGeom prst="rect">
            <a:avLst/>
          </a:prstGeom>
          <a:noFill/>
        </p:spPr>
        <p:txBody>
          <a:bodyPr wrap="none" rtlCol="0">
            <a:spAutoFit/>
          </a:bodyPr>
          <a:lstStyle/>
          <a:p>
            <a:r>
              <a:rPr lang="en-US" sz="1200" b="1"/>
              <a:t>increasing</a:t>
            </a:r>
          </a:p>
        </p:txBody>
      </p:sp>
      <p:sp>
        <p:nvSpPr>
          <p:cNvPr id="90" name="Textfeld 89">
            <a:extLst>
              <a:ext uri="{FF2B5EF4-FFF2-40B4-BE49-F238E27FC236}">
                <a16:creationId xmlns:a16="http://schemas.microsoft.com/office/drawing/2014/main" id="{2D31FF3C-9F98-D2FE-CFF5-FD7DFB7B2D1E}"/>
              </a:ext>
            </a:extLst>
          </p:cNvPr>
          <p:cNvSpPr txBox="1"/>
          <p:nvPr/>
        </p:nvSpPr>
        <p:spPr>
          <a:xfrm>
            <a:off x="1202138" y="3959733"/>
            <a:ext cx="3583353" cy="1015663"/>
          </a:xfrm>
          <a:prstGeom prst="rect">
            <a:avLst/>
          </a:prstGeom>
          <a:noFill/>
        </p:spPr>
        <p:txBody>
          <a:bodyPr wrap="square" rtlCol="0">
            <a:spAutoFit/>
          </a:bodyPr>
          <a:lstStyle/>
          <a:p>
            <a:pPr marL="171450" indent="-171450">
              <a:buFont typeface="Arial" panose="020B0604020202020204" pitchFamily="34" charset="0"/>
              <a:buChar char="•"/>
            </a:pPr>
            <a:r>
              <a:rPr lang="en-US" sz="1200"/>
              <a:t>deliveries per shift</a:t>
            </a:r>
          </a:p>
          <a:p>
            <a:pPr marL="171450" indent="-171450">
              <a:buFont typeface="Arial" panose="020B0604020202020204" pitchFamily="34" charset="0"/>
              <a:buChar char="•"/>
            </a:pPr>
            <a:r>
              <a:rPr lang="en-US" sz="1200"/>
              <a:t>revenue</a:t>
            </a:r>
          </a:p>
          <a:p>
            <a:pPr marL="171450" indent="-171450">
              <a:buFont typeface="Arial" panose="020B0604020202020204" pitchFamily="34" charset="0"/>
              <a:buChar char="•"/>
            </a:pPr>
            <a:r>
              <a:rPr lang="en-US" sz="1200"/>
              <a:t>ESG ratings</a:t>
            </a:r>
          </a:p>
          <a:p>
            <a:pPr marL="171450" indent="-171450">
              <a:buFont typeface="Arial" panose="020B0604020202020204" pitchFamily="34" charset="0"/>
              <a:buChar char="•"/>
            </a:pPr>
            <a:r>
              <a:rPr lang="en-US" sz="1200"/>
              <a:t>customer satisfaction</a:t>
            </a:r>
          </a:p>
          <a:p>
            <a:pPr marL="171450" indent="-171450">
              <a:buFont typeface="Arial" panose="020B0604020202020204" pitchFamily="34" charset="0"/>
              <a:buChar char="•"/>
            </a:pPr>
            <a:r>
              <a:rPr lang="en-US" sz="1200"/>
              <a:t>delivery time</a:t>
            </a:r>
          </a:p>
        </p:txBody>
      </p:sp>
      <p:sp>
        <p:nvSpPr>
          <p:cNvPr id="91" name="Textfeld 90">
            <a:extLst>
              <a:ext uri="{FF2B5EF4-FFF2-40B4-BE49-F238E27FC236}">
                <a16:creationId xmlns:a16="http://schemas.microsoft.com/office/drawing/2014/main" id="{3CF2FBAD-38E4-F95C-D1FB-D3B9FBD36C22}"/>
              </a:ext>
            </a:extLst>
          </p:cNvPr>
          <p:cNvSpPr txBox="1"/>
          <p:nvPr/>
        </p:nvSpPr>
        <p:spPr>
          <a:xfrm>
            <a:off x="2898029" y="4145747"/>
            <a:ext cx="1625703" cy="646331"/>
          </a:xfrm>
          <a:prstGeom prst="rect">
            <a:avLst/>
          </a:prstGeom>
          <a:noFill/>
        </p:spPr>
        <p:txBody>
          <a:bodyPr wrap="square" rtlCol="0">
            <a:spAutoFit/>
          </a:bodyPr>
          <a:lstStyle/>
          <a:p>
            <a:pPr algn="ctr"/>
            <a:r>
              <a:rPr lang="en-US" sz="1200" b="1"/>
              <a:t>Attracting more Customers, Investors, Increasing loyalty</a:t>
            </a:r>
          </a:p>
        </p:txBody>
      </p:sp>
      <p:sp>
        <p:nvSpPr>
          <p:cNvPr id="92" name="Textfeld 91">
            <a:extLst>
              <a:ext uri="{FF2B5EF4-FFF2-40B4-BE49-F238E27FC236}">
                <a16:creationId xmlns:a16="http://schemas.microsoft.com/office/drawing/2014/main" id="{31954087-8855-3571-4B47-ED44AE416B9A}"/>
              </a:ext>
            </a:extLst>
          </p:cNvPr>
          <p:cNvSpPr txBox="1"/>
          <p:nvPr/>
        </p:nvSpPr>
        <p:spPr>
          <a:xfrm>
            <a:off x="359997" y="4947284"/>
            <a:ext cx="3583353" cy="276999"/>
          </a:xfrm>
          <a:prstGeom prst="rect">
            <a:avLst/>
          </a:prstGeom>
          <a:noFill/>
        </p:spPr>
        <p:txBody>
          <a:bodyPr wrap="square" rtlCol="0">
            <a:spAutoFit/>
          </a:bodyPr>
          <a:lstStyle/>
          <a:p>
            <a:r>
              <a:rPr lang="en-US" sz="1200" b="1" i="0">
                <a:effectLst/>
                <a:latin typeface="Söhne"/>
              </a:rPr>
              <a:t>General Improvement of Financial Valuation</a:t>
            </a:r>
            <a:endParaRPr lang="en-US" sz="1200" b="1"/>
          </a:p>
        </p:txBody>
      </p:sp>
      <p:sp>
        <p:nvSpPr>
          <p:cNvPr id="108" name="Textfeld 107">
            <a:extLst>
              <a:ext uri="{FF2B5EF4-FFF2-40B4-BE49-F238E27FC236}">
                <a16:creationId xmlns:a16="http://schemas.microsoft.com/office/drawing/2014/main" id="{26461FD8-7993-5A0B-F094-1E7CE21DA502}"/>
              </a:ext>
            </a:extLst>
          </p:cNvPr>
          <p:cNvSpPr txBox="1"/>
          <p:nvPr/>
        </p:nvSpPr>
        <p:spPr>
          <a:xfrm>
            <a:off x="258571" y="5944965"/>
            <a:ext cx="1079334" cy="276999"/>
          </a:xfrm>
          <a:prstGeom prst="rect">
            <a:avLst/>
          </a:prstGeom>
          <a:noFill/>
        </p:spPr>
        <p:txBody>
          <a:bodyPr wrap="none" rtlCol="0">
            <a:spAutoFit/>
          </a:bodyPr>
          <a:lstStyle/>
          <a:p>
            <a:pPr algn="ctr"/>
            <a:r>
              <a:rPr lang="en-US" sz="1200" b="1"/>
              <a:t>implementing</a:t>
            </a:r>
          </a:p>
        </p:txBody>
      </p:sp>
      <p:sp>
        <p:nvSpPr>
          <p:cNvPr id="109" name="Textfeld 108">
            <a:extLst>
              <a:ext uri="{FF2B5EF4-FFF2-40B4-BE49-F238E27FC236}">
                <a16:creationId xmlns:a16="http://schemas.microsoft.com/office/drawing/2014/main" id="{AF56EA8B-B81F-C0D3-2D0F-873827E56E7A}"/>
              </a:ext>
            </a:extLst>
          </p:cNvPr>
          <p:cNvSpPr txBox="1"/>
          <p:nvPr/>
        </p:nvSpPr>
        <p:spPr>
          <a:xfrm>
            <a:off x="1193697" y="5397650"/>
            <a:ext cx="3583353" cy="646331"/>
          </a:xfrm>
          <a:prstGeom prst="rect">
            <a:avLst/>
          </a:prstGeom>
          <a:noFill/>
        </p:spPr>
        <p:txBody>
          <a:bodyPr wrap="square" rtlCol="0">
            <a:spAutoFit/>
          </a:bodyPr>
          <a:lstStyle/>
          <a:p>
            <a:pPr marL="171450" indent="-171450">
              <a:buFont typeface="Arial" panose="020B0604020202020204" pitchFamily="34" charset="0"/>
              <a:buChar char="•"/>
            </a:pPr>
            <a:r>
              <a:rPr lang="en-US" sz="1200"/>
              <a:t>eco-friendly practices</a:t>
            </a:r>
          </a:p>
          <a:p>
            <a:pPr marL="171450" indent="-171450">
              <a:buFont typeface="Arial" panose="020B0604020202020204" pitchFamily="34" charset="0"/>
              <a:buChar char="•"/>
            </a:pPr>
            <a:r>
              <a:rPr lang="en-US" sz="1200"/>
              <a:t>cost savings practices</a:t>
            </a:r>
          </a:p>
          <a:p>
            <a:pPr marL="171450" indent="-171450">
              <a:buFont typeface="Arial" panose="020B0604020202020204" pitchFamily="34" charset="0"/>
              <a:buChar char="•"/>
            </a:pPr>
            <a:r>
              <a:rPr lang="en-US" sz="1200"/>
              <a:t>Increasing revenue</a:t>
            </a:r>
          </a:p>
        </p:txBody>
      </p:sp>
      <p:sp>
        <p:nvSpPr>
          <p:cNvPr id="110" name="Textfeld 109">
            <a:extLst>
              <a:ext uri="{FF2B5EF4-FFF2-40B4-BE49-F238E27FC236}">
                <a16:creationId xmlns:a16="http://schemas.microsoft.com/office/drawing/2014/main" id="{7B81213E-29FC-6453-0D4C-388E9E5EFDBC}"/>
              </a:ext>
            </a:extLst>
          </p:cNvPr>
          <p:cNvSpPr txBox="1"/>
          <p:nvPr/>
        </p:nvSpPr>
        <p:spPr>
          <a:xfrm>
            <a:off x="2889588" y="5532864"/>
            <a:ext cx="1625703" cy="461665"/>
          </a:xfrm>
          <a:prstGeom prst="rect">
            <a:avLst/>
          </a:prstGeom>
          <a:noFill/>
        </p:spPr>
        <p:txBody>
          <a:bodyPr wrap="square" rtlCol="0">
            <a:spAutoFit/>
          </a:bodyPr>
          <a:lstStyle/>
          <a:p>
            <a:pPr algn="ctr"/>
            <a:r>
              <a:rPr lang="en-US" sz="1200" b="1"/>
              <a:t>Higher market valuation</a:t>
            </a:r>
          </a:p>
        </p:txBody>
      </p:sp>
      <p:grpSp>
        <p:nvGrpSpPr>
          <p:cNvPr id="111" name="Bull_market" descr="{&quot;Key&quot;:&quot;POWER_USER_SHAPE_ICON&quot;,&quot;Value&quot;:&quot;POWER_USER_SHAPE_ICON_STYLE_1&quot;}">
            <a:extLst>
              <a:ext uri="{FF2B5EF4-FFF2-40B4-BE49-F238E27FC236}">
                <a16:creationId xmlns:a16="http://schemas.microsoft.com/office/drawing/2014/main" id="{65F6F7CD-ADAC-125C-68E8-1013FECDBEB4}"/>
              </a:ext>
            </a:extLst>
          </p:cNvPr>
          <p:cNvGrpSpPr>
            <a:grpSpLocks noChangeAspect="1"/>
          </p:cNvGrpSpPr>
          <p:nvPr/>
        </p:nvGrpSpPr>
        <p:grpSpPr>
          <a:xfrm>
            <a:off x="464332" y="4035698"/>
            <a:ext cx="630898" cy="652008"/>
            <a:chOff x="3962401" y="1992313"/>
            <a:chExt cx="427037" cy="441326"/>
          </a:xfrm>
          <a:solidFill>
            <a:schemeClr val="tx1"/>
          </a:solidFill>
        </p:grpSpPr>
        <p:sp>
          <p:nvSpPr>
            <p:cNvPr id="112" name="Freeform 962">
              <a:extLst>
                <a:ext uri="{FF2B5EF4-FFF2-40B4-BE49-F238E27FC236}">
                  <a16:creationId xmlns:a16="http://schemas.microsoft.com/office/drawing/2014/main" id="{6B4EA3A4-B661-C8D7-DC6E-DC5FFD79CE4A}"/>
                </a:ext>
              </a:extLst>
            </p:cNvPr>
            <p:cNvSpPr>
              <a:spLocks/>
            </p:cNvSpPr>
            <p:nvPr/>
          </p:nvSpPr>
          <p:spPr bwMode="auto">
            <a:xfrm>
              <a:off x="4052888" y="2289176"/>
              <a:ext cx="77788" cy="141288"/>
            </a:xfrm>
            <a:custGeom>
              <a:avLst/>
              <a:gdLst>
                <a:gd name="T0" fmla="*/ 26 w 103"/>
                <a:gd name="T1" fmla="*/ 185 h 185"/>
                <a:gd name="T2" fmla="*/ 24 w 103"/>
                <a:gd name="T3" fmla="*/ 109 h 185"/>
                <a:gd name="T4" fmla="*/ 71 w 103"/>
                <a:gd name="T5" fmla="*/ 4 h 185"/>
                <a:gd name="T6" fmla="*/ 87 w 103"/>
                <a:gd name="T7" fmla="*/ 0 h 185"/>
                <a:gd name="T8" fmla="*/ 35 w 103"/>
                <a:gd name="T9" fmla="*/ 122 h 185"/>
                <a:gd name="T10" fmla="*/ 41 w 103"/>
                <a:gd name="T11" fmla="*/ 177 h 185"/>
                <a:gd name="T12" fmla="*/ 26 w 103"/>
                <a:gd name="T13" fmla="*/ 185 h 185"/>
              </a:gdLst>
              <a:ahLst/>
              <a:cxnLst>
                <a:cxn ang="0">
                  <a:pos x="T0" y="T1"/>
                </a:cxn>
                <a:cxn ang="0">
                  <a:pos x="T2" y="T3"/>
                </a:cxn>
                <a:cxn ang="0">
                  <a:pos x="T4" y="T5"/>
                </a:cxn>
                <a:cxn ang="0">
                  <a:pos x="T6" y="T7"/>
                </a:cxn>
                <a:cxn ang="0">
                  <a:pos x="T8" y="T9"/>
                </a:cxn>
                <a:cxn ang="0">
                  <a:pos x="T10" y="T11"/>
                </a:cxn>
                <a:cxn ang="0">
                  <a:pos x="T12" y="T13"/>
                </a:cxn>
              </a:cxnLst>
              <a:rect l="0" t="0" r="r" b="b"/>
              <a:pathLst>
                <a:path w="103" h="185">
                  <a:moveTo>
                    <a:pt x="26" y="185"/>
                  </a:moveTo>
                  <a:cubicBezTo>
                    <a:pt x="0" y="134"/>
                    <a:pt x="23" y="110"/>
                    <a:pt x="24" y="109"/>
                  </a:cubicBezTo>
                  <a:cubicBezTo>
                    <a:pt x="84" y="60"/>
                    <a:pt x="71" y="6"/>
                    <a:pt x="71" y="4"/>
                  </a:cubicBezTo>
                  <a:lnTo>
                    <a:pt x="87" y="0"/>
                  </a:lnTo>
                  <a:cubicBezTo>
                    <a:pt x="87" y="2"/>
                    <a:pt x="103" y="66"/>
                    <a:pt x="35" y="122"/>
                  </a:cubicBezTo>
                  <a:cubicBezTo>
                    <a:pt x="35" y="122"/>
                    <a:pt x="21" y="138"/>
                    <a:pt x="41" y="177"/>
                  </a:cubicBezTo>
                  <a:lnTo>
                    <a:pt x="26" y="185"/>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963">
              <a:extLst>
                <a:ext uri="{FF2B5EF4-FFF2-40B4-BE49-F238E27FC236}">
                  <a16:creationId xmlns:a16="http://schemas.microsoft.com/office/drawing/2014/main" id="{80823FC0-6E91-D50A-D2FA-55A4C392DFFA}"/>
                </a:ext>
              </a:extLst>
            </p:cNvPr>
            <p:cNvSpPr>
              <a:spLocks/>
            </p:cNvSpPr>
            <p:nvPr/>
          </p:nvSpPr>
          <p:spPr bwMode="auto">
            <a:xfrm>
              <a:off x="4081463" y="2311401"/>
              <a:ext cx="80963" cy="120650"/>
            </a:xfrm>
            <a:custGeom>
              <a:avLst/>
              <a:gdLst>
                <a:gd name="T0" fmla="*/ 28 w 105"/>
                <a:gd name="T1" fmla="*/ 158 h 158"/>
                <a:gd name="T2" fmla="*/ 22 w 105"/>
                <a:gd name="T3" fmla="*/ 91 h 158"/>
                <a:gd name="T4" fmla="*/ 24 w 105"/>
                <a:gd name="T5" fmla="*/ 89 h 158"/>
                <a:gd name="T6" fmla="*/ 89 w 105"/>
                <a:gd name="T7" fmla="*/ 0 h 158"/>
                <a:gd name="T8" fmla="*/ 105 w 105"/>
                <a:gd name="T9" fmla="*/ 3 h 158"/>
                <a:gd name="T10" fmla="*/ 33 w 105"/>
                <a:gd name="T11" fmla="*/ 103 h 158"/>
                <a:gd name="T12" fmla="*/ 40 w 105"/>
                <a:gd name="T13" fmla="*/ 146 h 158"/>
                <a:gd name="T14" fmla="*/ 28 w 105"/>
                <a:gd name="T15" fmla="*/ 158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58">
                  <a:moveTo>
                    <a:pt x="28" y="158"/>
                  </a:moveTo>
                  <a:cubicBezTo>
                    <a:pt x="0" y="128"/>
                    <a:pt x="12" y="101"/>
                    <a:pt x="22" y="91"/>
                  </a:cubicBezTo>
                  <a:lnTo>
                    <a:pt x="24" y="89"/>
                  </a:lnTo>
                  <a:cubicBezTo>
                    <a:pt x="79" y="59"/>
                    <a:pt x="89" y="1"/>
                    <a:pt x="89" y="0"/>
                  </a:cubicBezTo>
                  <a:lnTo>
                    <a:pt x="105" y="3"/>
                  </a:lnTo>
                  <a:cubicBezTo>
                    <a:pt x="105" y="6"/>
                    <a:pt x="95" y="68"/>
                    <a:pt x="33" y="103"/>
                  </a:cubicBezTo>
                  <a:cubicBezTo>
                    <a:pt x="30" y="107"/>
                    <a:pt x="18" y="123"/>
                    <a:pt x="40" y="146"/>
                  </a:cubicBezTo>
                  <a:lnTo>
                    <a:pt x="28" y="158"/>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964">
              <a:extLst>
                <a:ext uri="{FF2B5EF4-FFF2-40B4-BE49-F238E27FC236}">
                  <a16:creationId xmlns:a16="http://schemas.microsoft.com/office/drawing/2014/main" id="{964CDE5E-FE2D-875C-0867-DEDE4C10ABDD}"/>
                </a:ext>
              </a:extLst>
            </p:cNvPr>
            <p:cNvSpPr>
              <a:spLocks noEditPoints="1"/>
            </p:cNvSpPr>
            <p:nvPr/>
          </p:nvSpPr>
          <p:spPr bwMode="auto">
            <a:xfrm>
              <a:off x="3962401" y="2189163"/>
              <a:ext cx="90488" cy="68263"/>
            </a:xfrm>
            <a:custGeom>
              <a:avLst/>
              <a:gdLst>
                <a:gd name="T0" fmla="*/ 52 w 120"/>
                <a:gd name="T1" fmla="*/ 24 h 89"/>
                <a:gd name="T2" fmla="*/ 21 w 120"/>
                <a:gd name="T3" fmla="*/ 36 h 89"/>
                <a:gd name="T4" fmla="*/ 21 w 120"/>
                <a:gd name="T5" fmla="*/ 51 h 89"/>
                <a:gd name="T6" fmla="*/ 31 w 120"/>
                <a:gd name="T7" fmla="*/ 61 h 89"/>
                <a:gd name="T8" fmla="*/ 57 w 120"/>
                <a:gd name="T9" fmla="*/ 24 h 89"/>
                <a:gd name="T10" fmla="*/ 52 w 120"/>
                <a:gd name="T11" fmla="*/ 24 h 89"/>
                <a:gd name="T12" fmla="*/ 65 w 120"/>
                <a:gd name="T13" fmla="*/ 89 h 89"/>
                <a:gd name="T14" fmla="*/ 50 w 120"/>
                <a:gd name="T15" fmla="*/ 86 h 89"/>
                <a:gd name="T16" fmla="*/ 6 w 120"/>
                <a:gd name="T17" fmla="*/ 58 h 89"/>
                <a:gd name="T18" fmla="*/ 6 w 120"/>
                <a:gd name="T19" fmla="*/ 29 h 89"/>
                <a:gd name="T20" fmla="*/ 80 w 120"/>
                <a:gd name="T21" fmla="*/ 11 h 89"/>
                <a:gd name="T22" fmla="*/ 93 w 120"/>
                <a:gd name="T23" fmla="*/ 17 h 89"/>
                <a:gd name="T24" fmla="*/ 81 w 120"/>
                <a:gd name="T25" fmla="*/ 26 h 89"/>
                <a:gd name="T26" fmla="*/ 48 w 120"/>
                <a:gd name="T27" fmla="*/ 63 h 89"/>
                <a:gd name="T28" fmla="*/ 49 w 120"/>
                <a:gd name="T29" fmla="*/ 66 h 89"/>
                <a:gd name="T30" fmla="*/ 56 w 120"/>
                <a:gd name="T31" fmla="*/ 71 h 89"/>
                <a:gd name="T32" fmla="*/ 63 w 120"/>
                <a:gd name="T33" fmla="*/ 72 h 89"/>
                <a:gd name="T34" fmla="*/ 109 w 120"/>
                <a:gd name="T35" fmla="*/ 54 h 89"/>
                <a:gd name="T36" fmla="*/ 120 w 120"/>
                <a:gd name="T37" fmla="*/ 67 h 89"/>
                <a:gd name="T38" fmla="*/ 65 w 120"/>
                <a:gd name="T3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89">
                  <a:moveTo>
                    <a:pt x="52" y="24"/>
                  </a:moveTo>
                  <a:cubicBezTo>
                    <a:pt x="40" y="24"/>
                    <a:pt x="26" y="26"/>
                    <a:pt x="21" y="36"/>
                  </a:cubicBezTo>
                  <a:cubicBezTo>
                    <a:pt x="18" y="43"/>
                    <a:pt x="19" y="48"/>
                    <a:pt x="21" y="51"/>
                  </a:cubicBezTo>
                  <a:cubicBezTo>
                    <a:pt x="23" y="54"/>
                    <a:pt x="27" y="58"/>
                    <a:pt x="31" y="61"/>
                  </a:cubicBezTo>
                  <a:cubicBezTo>
                    <a:pt x="33" y="47"/>
                    <a:pt x="46" y="33"/>
                    <a:pt x="57" y="24"/>
                  </a:cubicBezTo>
                  <a:cubicBezTo>
                    <a:pt x="55" y="24"/>
                    <a:pt x="54" y="24"/>
                    <a:pt x="52" y="24"/>
                  </a:cubicBezTo>
                  <a:close/>
                  <a:moveTo>
                    <a:pt x="65" y="89"/>
                  </a:moveTo>
                  <a:cubicBezTo>
                    <a:pt x="60" y="89"/>
                    <a:pt x="55" y="88"/>
                    <a:pt x="50" y="86"/>
                  </a:cubicBezTo>
                  <a:cubicBezTo>
                    <a:pt x="37" y="83"/>
                    <a:pt x="15" y="75"/>
                    <a:pt x="6" y="58"/>
                  </a:cubicBezTo>
                  <a:cubicBezTo>
                    <a:pt x="3" y="52"/>
                    <a:pt x="0" y="42"/>
                    <a:pt x="6" y="29"/>
                  </a:cubicBezTo>
                  <a:cubicBezTo>
                    <a:pt x="20" y="0"/>
                    <a:pt x="69" y="6"/>
                    <a:pt x="80" y="11"/>
                  </a:cubicBezTo>
                  <a:lnTo>
                    <a:pt x="93" y="17"/>
                  </a:lnTo>
                  <a:lnTo>
                    <a:pt x="81" y="26"/>
                  </a:lnTo>
                  <a:cubicBezTo>
                    <a:pt x="68" y="35"/>
                    <a:pt x="48" y="53"/>
                    <a:pt x="48" y="63"/>
                  </a:cubicBezTo>
                  <a:cubicBezTo>
                    <a:pt x="48" y="64"/>
                    <a:pt x="48" y="65"/>
                    <a:pt x="49" y="66"/>
                  </a:cubicBezTo>
                  <a:cubicBezTo>
                    <a:pt x="51" y="68"/>
                    <a:pt x="54" y="70"/>
                    <a:pt x="56" y="71"/>
                  </a:cubicBezTo>
                  <a:cubicBezTo>
                    <a:pt x="59" y="71"/>
                    <a:pt x="61" y="72"/>
                    <a:pt x="63" y="72"/>
                  </a:cubicBezTo>
                  <a:cubicBezTo>
                    <a:pt x="84" y="74"/>
                    <a:pt x="109" y="54"/>
                    <a:pt x="109" y="54"/>
                  </a:cubicBezTo>
                  <a:lnTo>
                    <a:pt x="120" y="67"/>
                  </a:lnTo>
                  <a:cubicBezTo>
                    <a:pt x="118" y="68"/>
                    <a:pt x="92" y="89"/>
                    <a:pt x="65" y="89"/>
                  </a:cubicBez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965">
              <a:extLst>
                <a:ext uri="{FF2B5EF4-FFF2-40B4-BE49-F238E27FC236}">
                  <a16:creationId xmlns:a16="http://schemas.microsoft.com/office/drawing/2014/main" id="{80763B48-CF43-D0C3-2605-BB260D8EDCBE}"/>
                </a:ext>
              </a:extLst>
            </p:cNvPr>
            <p:cNvSpPr>
              <a:spLocks/>
            </p:cNvSpPr>
            <p:nvPr/>
          </p:nvSpPr>
          <p:spPr bwMode="auto">
            <a:xfrm>
              <a:off x="4113213" y="2098676"/>
              <a:ext cx="276225" cy="334963"/>
            </a:xfrm>
            <a:custGeom>
              <a:avLst/>
              <a:gdLst>
                <a:gd name="T0" fmla="*/ 240 w 363"/>
                <a:gd name="T1" fmla="*/ 438 h 438"/>
                <a:gd name="T2" fmla="*/ 185 w 363"/>
                <a:gd name="T3" fmla="*/ 438 h 438"/>
                <a:gd name="T4" fmla="*/ 184 w 363"/>
                <a:gd name="T5" fmla="*/ 431 h 438"/>
                <a:gd name="T6" fmla="*/ 148 w 363"/>
                <a:gd name="T7" fmla="*/ 358 h 438"/>
                <a:gd name="T8" fmla="*/ 146 w 363"/>
                <a:gd name="T9" fmla="*/ 356 h 438"/>
                <a:gd name="T10" fmla="*/ 145 w 363"/>
                <a:gd name="T11" fmla="*/ 354 h 438"/>
                <a:gd name="T12" fmla="*/ 3 w 363"/>
                <a:gd name="T13" fmla="*/ 293 h 438"/>
                <a:gd name="T14" fmla="*/ 0 w 363"/>
                <a:gd name="T15" fmla="*/ 277 h 438"/>
                <a:gd name="T16" fmla="*/ 160 w 363"/>
                <a:gd name="T17" fmla="*/ 347 h 438"/>
                <a:gd name="T18" fmla="*/ 199 w 363"/>
                <a:gd name="T19" fmla="*/ 421 h 438"/>
                <a:gd name="T20" fmla="*/ 222 w 363"/>
                <a:gd name="T21" fmla="*/ 421 h 438"/>
                <a:gd name="T22" fmla="*/ 216 w 363"/>
                <a:gd name="T23" fmla="*/ 408 h 438"/>
                <a:gd name="T24" fmla="*/ 196 w 363"/>
                <a:gd name="T25" fmla="*/ 369 h 438"/>
                <a:gd name="T26" fmla="*/ 192 w 363"/>
                <a:gd name="T27" fmla="*/ 343 h 438"/>
                <a:gd name="T28" fmla="*/ 191 w 363"/>
                <a:gd name="T29" fmla="*/ 329 h 438"/>
                <a:gd name="T30" fmla="*/ 188 w 363"/>
                <a:gd name="T31" fmla="*/ 315 h 438"/>
                <a:gd name="T32" fmla="*/ 207 w 363"/>
                <a:gd name="T33" fmla="*/ 234 h 438"/>
                <a:gd name="T34" fmla="*/ 244 w 363"/>
                <a:gd name="T35" fmla="*/ 124 h 438"/>
                <a:gd name="T36" fmla="*/ 244 w 363"/>
                <a:gd name="T37" fmla="*/ 121 h 438"/>
                <a:gd name="T38" fmla="*/ 246 w 363"/>
                <a:gd name="T39" fmla="*/ 119 h 438"/>
                <a:gd name="T40" fmla="*/ 280 w 363"/>
                <a:gd name="T41" fmla="*/ 102 h 438"/>
                <a:gd name="T42" fmla="*/ 341 w 363"/>
                <a:gd name="T43" fmla="*/ 75 h 438"/>
                <a:gd name="T44" fmla="*/ 345 w 363"/>
                <a:gd name="T45" fmla="*/ 72 h 438"/>
                <a:gd name="T46" fmla="*/ 347 w 363"/>
                <a:gd name="T47" fmla="*/ 71 h 438"/>
                <a:gd name="T48" fmla="*/ 347 w 363"/>
                <a:gd name="T49" fmla="*/ 60 h 438"/>
                <a:gd name="T50" fmla="*/ 341 w 363"/>
                <a:gd name="T51" fmla="*/ 54 h 438"/>
                <a:gd name="T52" fmla="*/ 280 w 363"/>
                <a:gd name="T53" fmla="*/ 30 h 438"/>
                <a:gd name="T54" fmla="*/ 249 w 363"/>
                <a:gd name="T55" fmla="*/ 17 h 438"/>
                <a:gd name="T56" fmla="*/ 249 w 363"/>
                <a:gd name="T57" fmla="*/ 0 h 438"/>
                <a:gd name="T58" fmla="*/ 289 w 363"/>
                <a:gd name="T59" fmla="*/ 16 h 438"/>
                <a:gd name="T60" fmla="*/ 343 w 363"/>
                <a:gd name="T61" fmla="*/ 37 h 438"/>
                <a:gd name="T62" fmla="*/ 363 w 363"/>
                <a:gd name="T63" fmla="*/ 60 h 438"/>
                <a:gd name="T64" fmla="*/ 363 w 363"/>
                <a:gd name="T65" fmla="*/ 72 h 438"/>
                <a:gd name="T66" fmla="*/ 355 w 363"/>
                <a:gd name="T67" fmla="*/ 86 h 438"/>
                <a:gd name="T68" fmla="*/ 352 w 363"/>
                <a:gd name="T69" fmla="*/ 88 h 438"/>
                <a:gd name="T70" fmla="*/ 279 w 363"/>
                <a:gd name="T71" fmla="*/ 119 h 438"/>
                <a:gd name="T72" fmla="*/ 261 w 363"/>
                <a:gd name="T73" fmla="*/ 127 h 438"/>
                <a:gd name="T74" fmla="*/ 220 w 363"/>
                <a:gd name="T75" fmla="*/ 245 h 438"/>
                <a:gd name="T76" fmla="*/ 205 w 363"/>
                <a:gd name="T77" fmla="*/ 312 h 438"/>
                <a:gd name="T78" fmla="*/ 208 w 363"/>
                <a:gd name="T79" fmla="*/ 326 h 438"/>
                <a:gd name="T80" fmla="*/ 209 w 363"/>
                <a:gd name="T81" fmla="*/ 342 h 438"/>
                <a:gd name="T82" fmla="*/ 212 w 363"/>
                <a:gd name="T83" fmla="*/ 363 h 438"/>
                <a:gd name="T84" fmla="*/ 231 w 363"/>
                <a:gd name="T85" fmla="*/ 400 h 438"/>
                <a:gd name="T86" fmla="*/ 240 w 363"/>
                <a:gd name="T87" fmla="*/ 429 h 438"/>
                <a:gd name="T88" fmla="*/ 240 w 363"/>
                <a:gd name="T89" fmla="*/ 43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3" h="438">
                  <a:moveTo>
                    <a:pt x="240" y="438"/>
                  </a:moveTo>
                  <a:lnTo>
                    <a:pt x="185" y="438"/>
                  </a:lnTo>
                  <a:lnTo>
                    <a:pt x="184" y="431"/>
                  </a:lnTo>
                  <a:cubicBezTo>
                    <a:pt x="184" y="431"/>
                    <a:pt x="175" y="380"/>
                    <a:pt x="148" y="358"/>
                  </a:cubicBezTo>
                  <a:lnTo>
                    <a:pt x="146" y="356"/>
                  </a:lnTo>
                  <a:lnTo>
                    <a:pt x="145" y="354"/>
                  </a:lnTo>
                  <a:cubicBezTo>
                    <a:pt x="131" y="312"/>
                    <a:pt x="117" y="271"/>
                    <a:pt x="3" y="293"/>
                  </a:cubicBezTo>
                  <a:lnTo>
                    <a:pt x="0" y="277"/>
                  </a:lnTo>
                  <a:cubicBezTo>
                    <a:pt x="117" y="254"/>
                    <a:pt x="142" y="293"/>
                    <a:pt x="160" y="347"/>
                  </a:cubicBezTo>
                  <a:cubicBezTo>
                    <a:pt x="184" y="368"/>
                    <a:pt x="195" y="406"/>
                    <a:pt x="199" y="421"/>
                  </a:cubicBezTo>
                  <a:lnTo>
                    <a:pt x="222" y="421"/>
                  </a:lnTo>
                  <a:cubicBezTo>
                    <a:pt x="222" y="417"/>
                    <a:pt x="220" y="414"/>
                    <a:pt x="216" y="408"/>
                  </a:cubicBezTo>
                  <a:cubicBezTo>
                    <a:pt x="212" y="401"/>
                    <a:pt x="206" y="390"/>
                    <a:pt x="196" y="369"/>
                  </a:cubicBezTo>
                  <a:cubicBezTo>
                    <a:pt x="193" y="362"/>
                    <a:pt x="193" y="351"/>
                    <a:pt x="192" y="343"/>
                  </a:cubicBezTo>
                  <a:cubicBezTo>
                    <a:pt x="192" y="337"/>
                    <a:pt x="192" y="333"/>
                    <a:pt x="191" y="329"/>
                  </a:cubicBezTo>
                  <a:cubicBezTo>
                    <a:pt x="190" y="324"/>
                    <a:pt x="189" y="319"/>
                    <a:pt x="188" y="315"/>
                  </a:cubicBezTo>
                  <a:cubicBezTo>
                    <a:pt x="183" y="286"/>
                    <a:pt x="189" y="256"/>
                    <a:pt x="207" y="234"/>
                  </a:cubicBezTo>
                  <a:cubicBezTo>
                    <a:pt x="244" y="188"/>
                    <a:pt x="244" y="125"/>
                    <a:pt x="244" y="124"/>
                  </a:cubicBezTo>
                  <a:lnTo>
                    <a:pt x="244" y="121"/>
                  </a:lnTo>
                  <a:lnTo>
                    <a:pt x="246" y="119"/>
                  </a:lnTo>
                  <a:cubicBezTo>
                    <a:pt x="257" y="102"/>
                    <a:pt x="269" y="102"/>
                    <a:pt x="280" y="102"/>
                  </a:cubicBezTo>
                  <a:cubicBezTo>
                    <a:pt x="292" y="103"/>
                    <a:pt x="309" y="103"/>
                    <a:pt x="341" y="75"/>
                  </a:cubicBezTo>
                  <a:cubicBezTo>
                    <a:pt x="343" y="74"/>
                    <a:pt x="344" y="73"/>
                    <a:pt x="345" y="72"/>
                  </a:cubicBezTo>
                  <a:cubicBezTo>
                    <a:pt x="346" y="72"/>
                    <a:pt x="347" y="71"/>
                    <a:pt x="347" y="71"/>
                  </a:cubicBezTo>
                  <a:lnTo>
                    <a:pt x="347" y="60"/>
                  </a:lnTo>
                  <a:cubicBezTo>
                    <a:pt x="347" y="57"/>
                    <a:pt x="344" y="54"/>
                    <a:pt x="341" y="54"/>
                  </a:cubicBezTo>
                  <a:cubicBezTo>
                    <a:pt x="316" y="51"/>
                    <a:pt x="296" y="39"/>
                    <a:pt x="280" y="30"/>
                  </a:cubicBezTo>
                  <a:cubicBezTo>
                    <a:pt x="268" y="23"/>
                    <a:pt x="258" y="17"/>
                    <a:pt x="249" y="17"/>
                  </a:cubicBezTo>
                  <a:lnTo>
                    <a:pt x="249" y="0"/>
                  </a:lnTo>
                  <a:cubicBezTo>
                    <a:pt x="263" y="0"/>
                    <a:pt x="276" y="8"/>
                    <a:pt x="289" y="16"/>
                  </a:cubicBezTo>
                  <a:cubicBezTo>
                    <a:pt x="304" y="25"/>
                    <a:pt x="321" y="35"/>
                    <a:pt x="343" y="37"/>
                  </a:cubicBezTo>
                  <a:cubicBezTo>
                    <a:pt x="355" y="39"/>
                    <a:pt x="363" y="49"/>
                    <a:pt x="363" y="60"/>
                  </a:cubicBezTo>
                  <a:lnTo>
                    <a:pt x="363" y="72"/>
                  </a:lnTo>
                  <a:cubicBezTo>
                    <a:pt x="363" y="80"/>
                    <a:pt x="358" y="84"/>
                    <a:pt x="355" y="86"/>
                  </a:cubicBezTo>
                  <a:cubicBezTo>
                    <a:pt x="354" y="86"/>
                    <a:pt x="353" y="87"/>
                    <a:pt x="352" y="88"/>
                  </a:cubicBezTo>
                  <a:cubicBezTo>
                    <a:pt x="315" y="120"/>
                    <a:pt x="293" y="119"/>
                    <a:pt x="279" y="119"/>
                  </a:cubicBezTo>
                  <a:cubicBezTo>
                    <a:pt x="270" y="119"/>
                    <a:pt x="267" y="119"/>
                    <a:pt x="261" y="127"/>
                  </a:cubicBezTo>
                  <a:cubicBezTo>
                    <a:pt x="261" y="140"/>
                    <a:pt x="257" y="198"/>
                    <a:pt x="220" y="245"/>
                  </a:cubicBezTo>
                  <a:cubicBezTo>
                    <a:pt x="205" y="263"/>
                    <a:pt x="200" y="287"/>
                    <a:pt x="205" y="312"/>
                  </a:cubicBezTo>
                  <a:cubicBezTo>
                    <a:pt x="206" y="316"/>
                    <a:pt x="207" y="321"/>
                    <a:pt x="208" y="326"/>
                  </a:cubicBezTo>
                  <a:cubicBezTo>
                    <a:pt x="209" y="331"/>
                    <a:pt x="209" y="336"/>
                    <a:pt x="209" y="342"/>
                  </a:cubicBezTo>
                  <a:cubicBezTo>
                    <a:pt x="209" y="349"/>
                    <a:pt x="209" y="358"/>
                    <a:pt x="212" y="363"/>
                  </a:cubicBezTo>
                  <a:cubicBezTo>
                    <a:pt x="221" y="383"/>
                    <a:pt x="227" y="393"/>
                    <a:pt x="231" y="400"/>
                  </a:cubicBezTo>
                  <a:cubicBezTo>
                    <a:pt x="237" y="411"/>
                    <a:pt x="239" y="415"/>
                    <a:pt x="240" y="429"/>
                  </a:cubicBezTo>
                  <a:lnTo>
                    <a:pt x="240" y="438"/>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966">
              <a:extLst>
                <a:ext uri="{FF2B5EF4-FFF2-40B4-BE49-F238E27FC236}">
                  <a16:creationId xmlns:a16="http://schemas.microsoft.com/office/drawing/2014/main" id="{C21C7AD7-64AF-326B-3598-476C3F9094C7}"/>
                </a:ext>
              </a:extLst>
            </p:cNvPr>
            <p:cNvSpPr>
              <a:spLocks/>
            </p:cNvSpPr>
            <p:nvPr/>
          </p:nvSpPr>
          <p:spPr bwMode="auto">
            <a:xfrm>
              <a:off x="4183063" y="2344738"/>
              <a:ext cx="60325" cy="46038"/>
            </a:xfrm>
            <a:custGeom>
              <a:avLst/>
              <a:gdLst>
                <a:gd name="T0" fmla="*/ 78 w 80"/>
                <a:gd name="T1" fmla="*/ 61 h 61"/>
                <a:gd name="T2" fmla="*/ 51 w 80"/>
                <a:gd name="T3" fmla="*/ 60 h 61"/>
                <a:gd name="T4" fmla="*/ 14 w 80"/>
                <a:gd name="T5" fmla="*/ 60 h 61"/>
                <a:gd name="T6" fmla="*/ 10 w 80"/>
                <a:gd name="T7" fmla="*/ 61 h 61"/>
                <a:gd name="T8" fmla="*/ 0 w 80"/>
                <a:gd name="T9" fmla="*/ 53 h 61"/>
                <a:gd name="T10" fmla="*/ 0 w 80"/>
                <a:gd name="T11" fmla="*/ 4 h 61"/>
                <a:gd name="T12" fmla="*/ 15 w 80"/>
                <a:gd name="T13" fmla="*/ 0 h 61"/>
                <a:gd name="T14" fmla="*/ 29 w 80"/>
                <a:gd name="T15" fmla="*/ 11 h 61"/>
                <a:gd name="T16" fmla="*/ 57 w 80"/>
                <a:gd name="T17" fmla="*/ 10 h 61"/>
                <a:gd name="T18" fmla="*/ 58 w 80"/>
                <a:gd name="T19" fmla="*/ 27 h 61"/>
                <a:gd name="T20" fmla="*/ 24 w 80"/>
                <a:gd name="T21" fmla="*/ 28 h 61"/>
                <a:gd name="T22" fmla="*/ 16 w 80"/>
                <a:gd name="T23" fmla="*/ 22 h 61"/>
                <a:gd name="T24" fmla="*/ 16 w 80"/>
                <a:gd name="T25" fmla="*/ 42 h 61"/>
                <a:gd name="T26" fmla="*/ 53 w 80"/>
                <a:gd name="T27" fmla="*/ 43 h 61"/>
                <a:gd name="T28" fmla="*/ 79 w 80"/>
                <a:gd name="T29" fmla="*/ 45 h 61"/>
                <a:gd name="T30" fmla="*/ 80 w 80"/>
                <a:gd name="T31" fmla="*/ 61 h 61"/>
                <a:gd name="T32" fmla="*/ 78 w 80"/>
                <a:gd name="T33"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61">
                  <a:moveTo>
                    <a:pt x="78" y="61"/>
                  </a:moveTo>
                  <a:cubicBezTo>
                    <a:pt x="69" y="61"/>
                    <a:pt x="60" y="60"/>
                    <a:pt x="51" y="60"/>
                  </a:cubicBezTo>
                  <a:cubicBezTo>
                    <a:pt x="37" y="58"/>
                    <a:pt x="26" y="57"/>
                    <a:pt x="14" y="60"/>
                  </a:cubicBezTo>
                  <a:lnTo>
                    <a:pt x="10" y="61"/>
                  </a:lnTo>
                  <a:lnTo>
                    <a:pt x="0" y="53"/>
                  </a:lnTo>
                  <a:lnTo>
                    <a:pt x="0" y="4"/>
                  </a:lnTo>
                  <a:lnTo>
                    <a:pt x="15" y="0"/>
                  </a:lnTo>
                  <a:lnTo>
                    <a:pt x="29" y="11"/>
                  </a:lnTo>
                  <a:lnTo>
                    <a:pt x="57" y="10"/>
                  </a:lnTo>
                  <a:lnTo>
                    <a:pt x="58" y="27"/>
                  </a:lnTo>
                  <a:lnTo>
                    <a:pt x="24" y="28"/>
                  </a:lnTo>
                  <a:lnTo>
                    <a:pt x="16" y="22"/>
                  </a:lnTo>
                  <a:lnTo>
                    <a:pt x="16" y="42"/>
                  </a:lnTo>
                  <a:cubicBezTo>
                    <a:pt x="29" y="40"/>
                    <a:pt x="40" y="42"/>
                    <a:pt x="53" y="43"/>
                  </a:cubicBezTo>
                  <a:cubicBezTo>
                    <a:pt x="61" y="44"/>
                    <a:pt x="70" y="45"/>
                    <a:pt x="79" y="45"/>
                  </a:cubicBezTo>
                  <a:lnTo>
                    <a:pt x="80" y="61"/>
                  </a:lnTo>
                  <a:lnTo>
                    <a:pt x="78" y="61"/>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967">
              <a:extLst>
                <a:ext uri="{FF2B5EF4-FFF2-40B4-BE49-F238E27FC236}">
                  <a16:creationId xmlns:a16="http://schemas.microsoft.com/office/drawing/2014/main" id="{B3E35EFF-7EF5-F32E-B627-4524614B6BC4}"/>
                </a:ext>
              </a:extLst>
            </p:cNvPr>
            <p:cNvSpPr>
              <a:spLocks/>
            </p:cNvSpPr>
            <p:nvPr/>
          </p:nvSpPr>
          <p:spPr bwMode="auto">
            <a:xfrm>
              <a:off x="4265613" y="2255838"/>
              <a:ext cx="31750" cy="133350"/>
            </a:xfrm>
            <a:custGeom>
              <a:avLst/>
              <a:gdLst>
                <a:gd name="T0" fmla="*/ 4 w 41"/>
                <a:gd name="T1" fmla="*/ 175 h 175"/>
                <a:gd name="T2" fmla="*/ 0 w 41"/>
                <a:gd name="T3" fmla="*/ 159 h 175"/>
                <a:gd name="T4" fmla="*/ 21 w 41"/>
                <a:gd name="T5" fmla="*/ 130 h 175"/>
                <a:gd name="T6" fmla="*/ 19 w 41"/>
                <a:gd name="T7" fmla="*/ 100 h 175"/>
                <a:gd name="T8" fmla="*/ 15 w 41"/>
                <a:gd name="T9" fmla="*/ 78 h 175"/>
                <a:gd name="T10" fmla="*/ 25 w 41"/>
                <a:gd name="T11" fmla="*/ 0 h 175"/>
                <a:gd name="T12" fmla="*/ 41 w 41"/>
                <a:gd name="T13" fmla="*/ 4 h 175"/>
                <a:gd name="T14" fmla="*/ 32 w 41"/>
                <a:gd name="T15" fmla="*/ 79 h 175"/>
                <a:gd name="T16" fmla="*/ 35 w 41"/>
                <a:gd name="T17" fmla="*/ 95 h 175"/>
                <a:gd name="T18" fmla="*/ 37 w 41"/>
                <a:gd name="T19" fmla="*/ 133 h 175"/>
                <a:gd name="T20" fmla="*/ 4 w 41"/>
                <a:gd name="T21"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175">
                  <a:moveTo>
                    <a:pt x="4" y="175"/>
                  </a:moveTo>
                  <a:lnTo>
                    <a:pt x="0" y="159"/>
                  </a:lnTo>
                  <a:cubicBezTo>
                    <a:pt x="15" y="155"/>
                    <a:pt x="18" y="149"/>
                    <a:pt x="21" y="130"/>
                  </a:cubicBezTo>
                  <a:cubicBezTo>
                    <a:pt x="23" y="116"/>
                    <a:pt x="21" y="108"/>
                    <a:pt x="19" y="100"/>
                  </a:cubicBezTo>
                  <a:cubicBezTo>
                    <a:pt x="17" y="94"/>
                    <a:pt x="15" y="87"/>
                    <a:pt x="15" y="78"/>
                  </a:cubicBezTo>
                  <a:cubicBezTo>
                    <a:pt x="16" y="38"/>
                    <a:pt x="25" y="2"/>
                    <a:pt x="25" y="0"/>
                  </a:cubicBezTo>
                  <a:lnTo>
                    <a:pt x="41" y="4"/>
                  </a:lnTo>
                  <a:cubicBezTo>
                    <a:pt x="41" y="5"/>
                    <a:pt x="32" y="40"/>
                    <a:pt x="32" y="79"/>
                  </a:cubicBezTo>
                  <a:cubicBezTo>
                    <a:pt x="32" y="85"/>
                    <a:pt x="33" y="90"/>
                    <a:pt x="35" y="95"/>
                  </a:cubicBezTo>
                  <a:cubicBezTo>
                    <a:pt x="37" y="105"/>
                    <a:pt x="40" y="115"/>
                    <a:pt x="37" y="133"/>
                  </a:cubicBezTo>
                  <a:cubicBezTo>
                    <a:pt x="34" y="153"/>
                    <a:pt x="29" y="169"/>
                    <a:pt x="4" y="175"/>
                  </a:cubicBez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968">
              <a:extLst>
                <a:ext uri="{FF2B5EF4-FFF2-40B4-BE49-F238E27FC236}">
                  <a16:creationId xmlns:a16="http://schemas.microsoft.com/office/drawing/2014/main" id="{E0621A61-E8D4-2A94-FBD2-461BD5A39A5F}"/>
                </a:ext>
              </a:extLst>
            </p:cNvPr>
            <p:cNvSpPr>
              <a:spLocks/>
            </p:cNvSpPr>
            <p:nvPr/>
          </p:nvSpPr>
          <p:spPr bwMode="auto">
            <a:xfrm>
              <a:off x="4021138" y="2062163"/>
              <a:ext cx="292100" cy="365125"/>
            </a:xfrm>
            <a:custGeom>
              <a:avLst/>
              <a:gdLst>
                <a:gd name="T0" fmla="*/ 45 w 382"/>
                <a:gd name="T1" fmla="*/ 479 h 479"/>
                <a:gd name="T2" fmla="*/ 28 w 382"/>
                <a:gd name="T3" fmla="*/ 479 h 479"/>
                <a:gd name="T4" fmla="*/ 9 w 382"/>
                <a:gd name="T5" fmla="*/ 420 h 479"/>
                <a:gd name="T6" fmla="*/ 5 w 382"/>
                <a:gd name="T7" fmla="*/ 415 h 479"/>
                <a:gd name="T8" fmla="*/ 10 w 382"/>
                <a:gd name="T9" fmla="*/ 410 h 479"/>
                <a:gd name="T10" fmla="*/ 19 w 382"/>
                <a:gd name="T11" fmla="*/ 331 h 479"/>
                <a:gd name="T12" fmla="*/ 14 w 382"/>
                <a:gd name="T13" fmla="*/ 242 h 479"/>
                <a:gd name="T14" fmla="*/ 86 w 382"/>
                <a:gd name="T15" fmla="*/ 204 h 479"/>
                <a:gd name="T16" fmla="*/ 148 w 382"/>
                <a:gd name="T17" fmla="*/ 176 h 479"/>
                <a:gd name="T18" fmla="*/ 178 w 382"/>
                <a:gd name="T19" fmla="*/ 146 h 479"/>
                <a:gd name="T20" fmla="*/ 201 w 382"/>
                <a:gd name="T21" fmla="*/ 121 h 479"/>
                <a:gd name="T22" fmla="*/ 248 w 382"/>
                <a:gd name="T23" fmla="*/ 88 h 479"/>
                <a:gd name="T24" fmla="*/ 327 w 382"/>
                <a:gd name="T25" fmla="*/ 77 h 479"/>
                <a:gd name="T26" fmla="*/ 344 w 382"/>
                <a:gd name="T27" fmla="*/ 3 h 479"/>
                <a:gd name="T28" fmla="*/ 347 w 382"/>
                <a:gd name="T29" fmla="*/ 0 h 479"/>
                <a:gd name="T30" fmla="*/ 360 w 382"/>
                <a:gd name="T31" fmla="*/ 0 h 479"/>
                <a:gd name="T32" fmla="*/ 359 w 382"/>
                <a:gd name="T33" fmla="*/ 9 h 479"/>
                <a:gd name="T34" fmla="*/ 382 w 382"/>
                <a:gd name="T35" fmla="*/ 51 h 479"/>
                <a:gd name="T36" fmla="*/ 380 w 382"/>
                <a:gd name="T37" fmla="*/ 68 h 479"/>
                <a:gd name="T38" fmla="*/ 343 w 382"/>
                <a:gd name="T39" fmla="*/ 32 h 479"/>
                <a:gd name="T40" fmla="*/ 345 w 382"/>
                <a:gd name="T41" fmla="*/ 74 h 479"/>
                <a:gd name="T42" fmla="*/ 346 w 382"/>
                <a:gd name="T43" fmla="*/ 88 h 479"/>
                <a:gd name="T44" fmla="*/ 334 w 382"/>
                <a:gd name="T45" fmla="*/ 94 h 479"/>
                <a:gd name="T46" fmla="*/ 253 w 382"/>
                <a:gd name="T47" fmla="*/ 104 h 479"/>
                <a:gd name="T48" fmla="*/ 214 w 382"/>
                <a:gd name="T49" fmla="*/ 132 h 479"/>
                <a:gd name="T50" fmla="*/ 187 w 382"/>
                <a:gd name="T51" fmla="*/ 159 h 479"/>
                <a:gd name="T52" fmla="*/ 162 w 382"/>
                <a:gd name="T53" fmla="*/ 186 h 479"/>
                <a:gd name="T54" fmla="*/ 87 w 382"/>
                <a:gd name="T55" fmla="*/ 221 h 479"/>
                <a:gd name="T56" fmla="*/ 29 w 382"/>
                <a:gd name="T57" fmla="*/ 250 h 479"/>
                <a:gd name="T58" fmla="*/ 34 w 382"/>
                <a:gd name="T59" fmla="*/ 324 h 479"/>
                <a:gd name="T60" fmla="*/ 26 w 382"/>
                <a:gd name="T61" fmla="*/ 416 h 479"/>
                <a:gd name="T62" fmla="*/ 45 w 382"/>
                <a:gd name="T63" fmla="*/ 47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2" h="479">
                  <a:moveTo>
                    <a:pt x="45" y="479"/>
                  </a:moveTo>
                  <a:lnTo>
                    <a:pt x="28" y="479"/>
                  </a:lnTo>
                  <a:cubicBezTo>
                    <a:pt x="28" y="445"/>
                    <a:pt x="9" y="421"/>
                    <a:pt x="9" y="420"/>
                  </a:cubicBezTo>
                  <a:lnTo>
                    <a:pt x="5" y="415"/>
                  </a:lnTo>
                  <a:lnTo>
                    <a:pt x="10" y="410"/>
                  </a:lnTo>
                  <a:cubicBezTo>
                    <a:pt x="40" y="377"/>
                    <a:pt x="20" y="333"/>
                    <a:pt x="19" y="331"/>
                  </a:cubicBezTo>
                  <a:cubicBezTo>
                    <a:pt x="2" y="300"/>
                    <a:pt x="0" y="267"/>
                    <a:pt x="14" y="242"/>
                  </a:cubicBezTo>
                  <a:cubicBezTo>
                    <a:pt x="28" y="218"/>
                    <a:pt x="53" y="205"/>
                    <a:pt x="86" y="204"/>
                  </a:cubicBezTo>
                  <a:cubicBezTo>
                    <a:pt x="122" y="203"/>
                    <a:pt x="140" y="189"/>
                    <a:pt x="148" y="176"/>
                  </a:cubicBezTo>
                  <a:cubicBezTo>
                    <a:pt x="156" y="165"/>
                    <a:pt x="166" y="154"/>
                    <a:pt x="178" y="146"/>
                  </a:cubicBezTo>
                  <a:cubicBezTo>
                    <a:pt x="185" y="140"/>
                    <a:pt x="193" y="132"/>
                    <a:pt x="201" y="121"/>
                  </a:cubicBezTo>
                  <a:cubicBezTo>
                    <a:pt x="214" y="105"/>
                    <a:pt x="230" y="94"/>
                    <a:pt x="248" y="88"/>
                  </a:cubicBezTo>
                  <a:cubicBezTo>
                    <a:pt x="278" y="78"/>
                    <a:pt x="308" y="77"/>
                    <a:pt x="327" y="77"/>
                  </a:cubicBezTo>
                  <a:cubicBezTo>
                    <a:pt x="320" y="62"/>
                    <a:pt x="314" y="35"/>
                    <a:pt x="344" y="3"/>
                  </a:cubicBezTo>
                  <a:lnTo>
                    <a:pt x="347" y="0"/>
                  </a:lnTo>
                  <a:lnTo>
                    <a:pt x="360" y="0"/>
                  </a:lnTo>
                  <a:lnTo>
                    <a:pt x="359" y="9"/>
                  </a:lnTo>
                  <a:cubicBezTo>
                    <a:pt x="358" y="21"/>
                    <a:pt x="357" y="48"/>
                    <a:pt x="382" y="51"/>
                  </a:cubicBezTo>
                  <a:lnTo>
                    <a:pt x="380" y="68"/>
                  </a:lnTo>
                  <a:cubicBezTo>
                    <a:pt x="357" y="65"/>
                    <a:pt x="347" y="50"/>
                    <a:pt x="343" y="32"/>
                  </a:cubicBezTo>
                  <a:cubicBezTo>
                    <a:pt x="334" y="50"/>
                    <a:pt x="338" y="65"/>
                    <a:pt x="345" y="74"/>
                  </a:cubicBezTo>
                  <a:cubicBezTo>
                    <a:pt x="348" y="78"/>
                    <a:pt x="348" y="83"/>
                    <a:pt x="346" y="88"/>
                  </a:cubicBezTo>
                  <a:cubicBezTo>
                    <a:pt x="343" y="92"/>
                    <a:pt x="339" y="94"/>
                    <a:pt x="334" y="94"/>
                  </a:cubicBezTo>
                  <a:cubicBezTo>
                    <a:pt x="318" y="93"/>
                    <a:pt x="285" y="94"/>
                    <a:pt x="253" y="104"/>
                  </a:cubicBezTo>
                  <a:cubicBezTo>
                    <a:pt x="238" y="109"/>
                    <a:pt x="225" y="118"/>
                    <a:pt x="214" y="132"/>
                  </a:cubicBezTo>
                  <a:cubicBezTo>
                    <a:pt x="205" y="144"/>
                    <a:pt x="196" y="153"/>
                    <a:pt x="187" y="159"/>
                  </a:cubicBezTo>
                  <a:cubicBezTo>
                    <a:pt x="177" y="167"/>
                    <a:pt x="168" y="175"/>
                    <a:pt x="162" y="186"/>
                  </a:cubicBezTo>
                  <a:cubicBezTo>
                    <a:pt x="151" y="201"/>
                    <a:pt x="130" y="220"/>
                    <a:pt x="87" y="221"/>
                  </a:cubicBezTo>
                  <a:cubicBezTo>
                    <a:pt x="60" y="221"/>
                    <a:pt x="39" y="232"/>
                    <a:pt x="29" y="250"/>
                  </a:cubicBezTo>
                  <a:cubicBezTo>
                    <a:pt x="17" y="270"/>
                    <a:pt x="19" y="297"/>
                    <a:pt x="34" y="324"/>
                  </a:cubicBezTo>
                  <a:cubicBezTo>
                    <a:pt x="36" y="326"/>
                    <a:pt x="58" y="376"/>
                    <a:pt x="26" y="416"/>
                  </a:cubicBezTo>
                  <a:cubicBezTo>
                    <a:pt x="33" y="426"/>
                    <a:pt x="45" y="449"/>
                    <a:pt x="45" y="479"/>
                  </a:cubicBez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Rectangle 969">
              <a:extLst>
                <a:ext uri="{FF2B5EF4-FFF2-40B4-BE49-F238E27FC236}">
                  <a16:creationId xmlns:a16="http://schemas.microsoft.com/office/drawing/2014/main" id="{082D1BC7-27B9-957E-8EEF-1D31BE2692C9}"/>
                </a:ext>
              </a:extLst>
            </p:cNvPr>
            <p:cNvSpPr>
              <a:spLocks noChangeArrowheads="1"/>
            </p:cNvSpPr>
            <p:nvPr/>
          </p:nvSpPr>
          <p:spPr bwMode="auto">
            <a:xfrm>
              <a:off x="3992563" y="2419351"/>
              <a:ext cx="347663" cy="14288"/>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970">
              <a:extLst>
                <a:ext uri="{FF2B5EF4-FFF2-40B4-BE49-F238E27FC236}">
                  <a16:creationId xmlns:a16="http://schemas.microsoft.com/office/drawing/2014/main" id="{316EE3EC-5D6A-5DB6-A9A1-00CB99CEF0ED}"/>
                </a:ext>
              </a:extLst>
            </p:cNvPr>
            <p:cNvSpPr>
              <a:spLocks/>
            </p:cNvSpPr>
            <p:nvPr/>
          </p:nvSpPr>
          <p:spPr bwMode="auto">
            <a:xfrm>
              <a:off x="4051301" y="1998663"/>
              <a:ext cx="239713" cy="174625"/>
            </a:xfrm>
            <a:custGeom>
              <a:avLst/>
              <a:gdLst>
                <a:gd name="T0" fmla="*/ 5 w 151"/>
                <a:gd name="T1" fmla="*/ 110 h 110"/>
                <a:gd name="T2" fmla="*/ 0 w 151"/>
                <a:gd name="T3" fmla="*/ 104 h 110"/>
                <a:gd name="T4" fmla="*/ 81 w 151"/>
                <a:gd name="T5" fmla="*/ 34 h 110"/>
                <a:gd name="T6" fmla="*/ 94 w 151"/>
                <a:gd name="T7" fmla="*/ 46 h 110"/>
                <a:gd name="T8" fmla="*/ 145 w 151"/>
                <a:gd name="T9" fmla="*/ 0 h 110"/>
                <a:gd name="T10" fmla="*/ 151 w 151"/>
                <a:gd name="T11" fmla="*/ 7 h 110"/>
                <a:gd name="T12" fmla="*/ 94 w 151"/>
                <a:gd name="T13" fmla="*/ 57 h 110"/>
                <a:gd name="T14" fmla="*/ 81 w 151"/>
                <a:gd name="T15" fmla="*/ 45 h 110"/>
                <a:gd name="T16" fmla="*/ 5 w 151"/>
                <a:gd name="T1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10">
                  <a:moveTo>
                    <a:pt x="5" y="110"/>
                  </a:moveTo>
                  <a:lnTo>
                    <a:pt x="0" y="104"/>
                  </a:lnTo>
                  <a:lnTo>
                    <a:pt x="81" y="34"/>
                  </a:lnTo>
                  <a:lnTo>
                    <a:pt x="94" y="46"/>
                  </a:lnTo>
                  <a:lnTo>
                    <a:pt x="145" y="0"/>
                  </a:lnTo>
                  <a:lnTo>
                    <a:pt x="151" y="7"/>
                  </a:lnTo>
                  <a:lnTo>
                    <a:pt x="94" y="57"/>
                  </a:lnTo>
                  <a:lnTo>
                    <a:pt x="81" y="45"/>
                  </a:lnTo>
                  <a:lnTo>
                    <a:pt x="5" y="11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971">
              <a:extLst>
                <a:ext uri="{FF2B5EF4-FFF2-40B4-BE49-F238E27FC236}">
                  <a16:creationId xmlns:a16="http://schemas.microsoft.com/office/drawing/2014/main" id="{D8DB3713-71BE-2686-253D-587E2B10D90B}"/>
                </a:ext>
              </a:extLst>
            </p:cNvPr>
            <p:cNvSpPr>
              <a:spLocks/>
            </p:cNvSpPr>
            <p:nvPr/>
          </p:nvSpPr>
          <p:spPr bwMode="auto">
            <a:xfrm>
              <a:off x="4244976" y="1992313"/>
              <a:ext cx="52388" cy="53975"/>
            </a:xfrm>
            <a:custGeom>
              <a:avLst/>
              <a:gdLst>
                <a:gd name="T0" fmla="*/ 33 w 33"/>
                <a:gd name="T1" fmla="*/ 34 h 34"/>
                <a:gd name="T2" fmla="*/ 24 w 33"/>
                <a:gd name="T3" fmla="*/ 33 h 34"/>
                <a:gd name="T4" fmla="*/ 25 w 33"/>
                <a:gd name="T5" fmla="*/ 9 h 34"/>
                <a:gd name="T6" fmla="*/ 0 w 33"/>
                <a:gd name="T7" fmla="*/ 8 h 34"/>
                <a:gd name="T8" fmla="*/ 0 w 33"/>
                <a:gd name="T9" fmla="*/ 0 h 34"/>
                <a:gd name="T10" fmla="*/ 33 w 33"/>
                <a:gd name="T11" fmla="*/ 1 h 34"/>
                <a:gd name="T12" fmla="*/ 33 w 33"/>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33" h="34">
                  <a:moveTo>
                    <a:pt x="33" y="34"/>
                  </a:moveTo>
                  <a:lnTo>
                    <a:pt x="24" y="33"/>
                  </a:lnTo>
                  <a:lnTo>
                    <a:pt x="25" y="9"/>
                  </a:lnTo>
                  <a:lnTo>
                    <a:pt x="0" y="8"/>
                  </a:lnTo>
                  <a:lnTo>
                    <a:pt x="0" y="0"/>
                  </a:lnTo>
                  <a:lnTo>
                    <a:pt x="33" y="1"/>
                  </a:lnTo>
                  <a:lnTo>
                    <a:pt x="33" y="3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2" name="Economy" descr="{&quot;Key&quot;:&quot;POWER_USER_SHAPE_ICON&quot;,&quot;Value&quot;:&quot;POWER_USER_SHAPE_ICON_STYLE_1&quot;}">
            <a:extLst>
              <a:ext uri="{FF2B5EF4-FFF2-40B4-BE49-F238E27FC236}">
                <a16:creationId xmlns:a16="http://schemas.microsoft.com/office/drawing/2014/main" id="{5766AB53-3A53-283F-C68E-8CAD26467DF1}"/>
              </a:ext>
            </a:extLst>
          </p:cNvPr>
          <p:cNvGrpSpPr>
            <a:grpSpLocks noChangeAspect="1"/>
          </p:cNvGrpSpPr>
          <p:nvPr>
            <p:custDataLst>
              <p:tags r:id="rId3"/>
            </p:custDataLst>
          </p:nvPr>
        </p:nvGrpSpPr>
        <p:grpSpPr>
          <a:xfrm>
            <a:off x="464332" y="5359492"/>
            <a:ext cx="622592" cy="625984"/>
            <a:chOff x="5805489" y="1347788"/>
            <a:chExt cx="582613" cy="585788"/>
          </a:xfrm>
          <a:solidFill>
            <a:schemeClr val="tx1"/>
          </a:solidFill>
        </p:grpSpPr>
        <p:sp>
          <p:nvSpPr>
            <p:cNvPr id="123" name="Freeform 81">
              <a:extLst>
                <a:ext uri="{FF2B5EF4-FFF2-40B4-BE49-F238E27FC236}">
                  <a16:creationId xmlns:a16="http://schemas.microsoft.com/office/drawing/2014/main" id="{3123433E-5B47-60BF-A53A-8AC7BC5691E1}"/>
                </a:ext>
              </a:extLst>
            </p:cNvPr>
            <p:cNvSpPr>
              <a:spLocks noEditPoints="1"/>
            </p:cNvSpPr>
            <p:nvPr/>
          </p:nvSpPr>
          <p:spPr bwMode="auto">
            <a:xfrm>
              <a:off x="6248401" y="1468438"/>
              <a:ext cx="136525" cy="465138"/>
            </a:xfrm>
            <a:custGeom>
              <a:avLst/>
              <a:gdLst>
                <a:gd name="T0" fmla="*/ 164 w 200"/>
                <a:gd name="T1" fmla="*/ 644 h 679"/>
                <a:gd name="T2" fmla="*/ 35 w 200"/>
                <a:gd name="T3" fmla="*/ 644 h 679"/>
                <a:gd name="T4" fmla="*/ 35 w 200"/>
                <a:gd name="T5" fmla="*/ 180 h 679"/>
                <a:gd name="T6" fmla="*/ 164 w 200"/>
                <a:gd name="T7" fmla="*/ 60 h 679"/>
                <a:gd name="T8" fmla="*/ 164 w 200"/>
                <a:gd name="T9" fmla="*/ 644 h 679"/>
                <a:gd name="T10" fmla="*/ 189 w 200"/>
                <a:gd name="T11" fmla="*/ 3 h 679"/>
                <a:gd name="T12" fmla="*/ 170 w 200"/>
                <a:gd name="T13" fmla="*/ 6 h 679"/>
                <a:gd name="T14" fmla="*/ 8 w 200"/>
                <a:gd name="T15" fmla="*/ 157 h 679"/>
                <a:gd name="T16" fmla="*/ 5 w 200"/>
                <a:gd name="T17" fmla="*/ 159 h 679"/>
                <a:gd name="T18" fmla="*/ 0 w 200"/>
                <a:gd name="T19" fmla="*/ 172 h 679"/>
                <a:gd name="T20" fmla="*/ 0 w 200"/>
                <a:gd name="T21" fmla="*/ 662 h 679"/>
                <a:gd name="T22" fmla="*/ 17 w 200"/>
                <a:gd name="T23" fmla="*/ 679 h 679"/>
                <a:gd name="T24" fmla="*/ 182 w 200"/>
                <a:gd name="T25" fmla="*/ 679 h 679"/>
                <a:gd name="T26" fmla="*/ 200 w 200"/>
                <a:gd name="T27" fmla="*/ 662 h 679"/>
                <a:gd name="T28" fmla="*/ 200 w 200"/>
                <a:gd name="T29" fmla="*/ 19 h 679"/>
                <a:gd name="T30" fmla="*/ 189 w 200"/>
                <a:gd name="T31" fmla="*/ 3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 h="679">
                  <a:moveTo>
                    <a:pt x="164" y="644"/>
                  </a:moveTo>
                  <a:lnTo>
                    <a:pt x="35" y="644"/>
                  </a:lnTo>
                  <a:lnTo>
                    <a:pt x="35" y="180"/>
                  </a:lnTo>
                  <a:lnTo>
                    <a:pt x="164" y="60"/>
                  </a:lnTo>
                  <a:lnTo>
                    <a:pt x="164" y="644"/>
                  </a:lnTo>
                  <a:close/>
                  <a:moveTo>
                    <a:pt x="189" y="3"/>
                  </a:moveTo>
                  <a:cubicBezTo>
                    <a:pt x="183" y="0"/>
                    <a:pt x="175" y="1"/>
                    <a:pt x="170" y="6"/>
                  </a:cubicBezTo>
                  <a:lnTo>
                    <a:pt x="8" y="157"/>
                  </a:lnTo>
                  <a:lnTo>
                    <a:pt x="5" y="159"/>
                  </a:lnTo>
                  <a:cubicBezTo>
                    <a:pt x="2" y="163"/>
                    <a:pt x="0" y="167"/>
                    <a:pt x="0" y="172"/>
                  </a:cubicBezTo>
                  <a:lnTo>
                    <a:pt x="0" y="662"/>
                  </a:lnTo>
                  <a:cubicBezTo>
                    <a:pt x="0" y="671"/>
                    <a:pt x="8" y="679"/>
                    <a:pt x="17" y="679"/>
                  </a:cubicBezTo>
                  <a:lnTo>
                    <a:pt x="182" y="679"/>
                  </a:lnTo>
                  <a:cubicBezTo>
                    <a:pt x="192" y="679"/>
                    <a:pt x="200" y="671"/>
                    <a:pt x="200" y="662"/>
                  </a:cubicBezTo>
                  <a:lnTo>
                    <a:pt x="200" y="19"/>
                  </a:lnTo>
                  <a:cubicBezTo>
                    <a:pt x="200" y="12"/>
                    <a:pt x="196" y="6"/>
                    <a:pt x="189"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82">
              <a:extLst>
                <a:ext uri="{FF2B5EF4-FFF2-40B4-BE49-F238E27FC236}">
                  <a16:creationId xmlns:a16="http://schemas.microsoft.com/office/drawing/2014/main" id="{B7D37635-5D0A-9473-2054-785D5C2E8FE4}"/>
                </a:ext>
              </a:extLst>
            </p:cNvPr>
            <p:cNvSpPr>
              <a:spLocks noEditPoints="1"/>
            </p:cNvSpPr>
            <p:nvPr/>
          </p:nvSpPr>
          <p:spPr bwMode="auto">
            <a:xfrm>
              <a:off x="6105526" y="1603375"/>
              <a:ext cx="136525" cy="330200"/>
            </a:xfrm>
            <a:custGeom>
              <a:avLst/>
              <a:gdLst>
                <a:gd name="T0" fmla="*/ 165 w 201"/>
                <a:gd name="T1" fmla="*/ 448 h 483"/>
                <a:gd name="T2" fmla="*/ 36 w 201"/>
                <a:gd name="T3" fmla="*/ 448 h 483"/>
                <a:gd name="T4" fmla="*/ 36 w 201"/>
                <a:gd name="T5" fmla="*/ 114 h 483"/>
                <a:gd name="T6" fmla="*/ 98 w 201"/>
                <a:gd name="T7" fmla="*/ 115 h 483"/>
                <a:gd name="T8" fmla="*/ 110 w 201"/>
                <a:gd name="T9" fmla="*/ 110 h 483"/>
                <a:gd name="T10" fmla="*/ 165 w 201"/>
                <a:gd name="T11" fmla="*/ 59 h 483"/>
                <a:gd name="T12" fmla="*/ 165 w 201"/>
                <a:gd name="T13" fmla="*/ 448 h 483"/>
                <a:gd name="T14" fmla="*/ 185 w 201"/>
                <a:gd name="T15" fmla="*/ 1 h 483"/>
                <a:gd name="T16" fmla="*/ 185 w 201"/>
                <a:gd name="T17" fmla="*/ 1 h 483"/>
                <a:gd name="T18" fmla="*/ 170 w 201"/>
                <a:gd name="T19" fmla="*/ 5 h 483"/>
                <a:gd name="T20" fmla="*/ 91 w 201"/>
                <a:gd name="T21" fmla="*/ 79 h 483"/>
                <a:gd name="T22" fmla="*/ 18 w 201"/>
                <a:gd name="T23" fmla="*/ 78 h 483"/>
                <a:gd name="T24" fmla="*/ 5 w 201"/>
                <a:gd name="T25" fmla="*/ 84 h 483"/>
                <a:gd name="T26" fmla="*/ 0 w 201"/>
                <a:gd name="T27" fmla="*/ 96 h 483"/>
                <a:gd name="T28" fmla="*/ 0 w 201"/>
                <a:gd name="T29" fmla="*/ 466 h 483"/>
                <a:gd name="T30" fmla="*/ 18 w 201"/>
                <a:gd name="T31" fmla="*/ 483 h 483"/>
                <a:gd name="T32" fmla="*/ 183 w 201"/>
                <a:gd name="T33" fmla="*/ 483 h 483"/>
                <a:gd name="T34" fmla="*/ 201 w 201"/>
                <a:gd name="T35" fmla="*/ 466 h 483"/>
                <a:gd name="T36" fmla="*/ 201 w 201"/>
                <a:gd name="T37" fmla="*/ 19 h 483"/>
                <a:gd name="T38" fmla="*/ 185 w 201"/>
                <a:gd name="T39" fmla="*/ 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483">
                  <a:moveTo>
                    <a:pt x="165" y="448"/>
                  </a:moveTo>
                  <a:lnTo>
                    <a:pt x="36" y="448"/>
                  </a:lnTo>
                  <a:lnTo>
                    <a:pt x="36" y="114"/>
                  </a:lnTo>
                  <a:lnTo>
                    <a:pt x="98" y="115"/>
                  </a:lnTo>
                  <a:cubicBezTo>
                    <a:pt x="102" y="115"/>
                    <a:pt x="107" y="113"/>
                    <a:pt x="110" y="110"/>
                  </a:cubicBezTo>
                  <a:lnTo>
                    <a:pt x="165" y="59"/>
                  </a:lnTo>
                  <a:lnTo>
                    <a:pt x="165" y="448"/>
                  </a:lnTo>
                  <a:close/>
                  <a:moveTo>
                    <a:pt x="185" y="1"/>
                  </a:moveTo>
                  <a:lnTo>
                    <a:pt x="185" y="1"/>
                  </a:lnTo>
                  <a:cubicBezTo>
                    <a:pt x="179" y="0"/>
                    <a:pt x="174" y="2"/>
                    <a:pt x="170" y="5"/>
                  </a:cubicBezTo>
                  <a:lnTo>
                    <a:pt x="91" y="79"/>
                  </a:lnTo>
                  <a:lnTo>
                    <a:pt x="18" y="78"/>
                  </a:lnTo>
                  <a:cubicBezTo>
                    <a:pt x="13" y="78"/>
                    <a:pt x="9" y="80"/>
                    <a:pt x="5" y="84"/>
                  </a:cubicBezTo>
                  <a:cubicBezTo>
                    <a:pt x="2" y="87"/>
                    <a:pt x="0" y="92"/>
                    <a:pt x="0" y="96"/>
                  </a:cubicBezTo>
                  <a:lnTo>
                    <a:pt x="0" y="466"/>
                  </a:lnTo>
                  <a:cubicBezTo>
                    <a:pt x="0" y="475"/>
                    <a:pt x="8" y="483"/>
                    <a:pt x="18" y="483"/>
                  </a:cubicBezTo>
                  <a:lnTo>
                    <a:pt x="183" y="483"/>
                  </a:lnTo>
                  <a:cubicBezTo>
                    <a:pt x="193" y="483"/>
                    <a:pt x="201" y="475"/>
                    <a:pt x="201" y="466"/>
                  </a:cubicBezTo>
                  <a:lnTo>
                    <a:pt x="201" y="19"/>
                  </a:lnTo>
                  <a:cubicBezTo>
                    <a:pt x="201" y="10"/>
                    <a:pt x="194" y="2"/>
                    <a:pt x="185"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83">
              <a:extLst>
                <a:ext uri="{FF2B5EF4-FFF2-40B4-BE49-F238E27FC236}">
                  <a16:creationId xmlns:a16="http://schemas.microsoft.com/office/drawing/2014/main" id="{6480BD09-1A7C-09FA-318A-DF3A89BB61CE}"/>
                </a:ext>
              </a:extLst>
            </p:cNvPr>
            <p:cNvSpPr>
              <a:spLocks noEditPoints="1"/>
            </p:cNvSpPr>
            <p:nvPr/>
          </p:nvSpPr>
          <p:spPr bwMode="auto">
            <a:xfrm>
              <a:off x="5961064" y="1655763"/>
              <a:ext cx="138113" cy="277813"/>
            </a:xfrm>
            <a:custGeom>
              <a:avLst/>
              <a:gdLst>
                <a:gd name="T0" fmla="*/ 165 w 201"/>
                <a:gd name="T1" fmla="*/ 371 h 406"/>
                <a:gd name="T2" fmla="*/ 36 w 201"/>
                <a:gd name="T3" fmla="*/ 371 h 406"/>
                <a:gd name="T4" fmla="*/ 36 w 201"/>
                <a:gd name="T5" fmla="*/ 74 h 406"/>
                <a:gd name="T6" fmla="*/ 105 w 201"/>
                <a:gd name="T7" fmla="*/ 36 h 406"/>
                <a:gd name="T8" fmla="*/ 165 w 201"/>
                <a:gd name="T9" fmla="*/ 37 h 406"/>
                <a:gd name="T10" fmla="*/ 165 w 201"/>
                <a:gd name="T11" fmla="*/ 371 h 406"/>
                <a:gd name="T12" fmla="*/ 183 w 201"/>
                <a:gd name="T13" fmla="*/ 1 h 406"/>
                <a:gd name="T14" fmla="*/ 101 w 201"/>
                <a:gd name="T15" fmla="*/ 0 h 406"/>
                <a:gd name="T16" fmla="*/ 92 w 201"/>
                <a:gd name="T17" fmla="*/ 3 h 406"/>
                <a:gd name="T18" fmla="*/ 10 w 201"/>
                <a:gd name="T19" fmla="*/ 48 h 406"/>
                <a:gd name="T20" fmla="*/ 0 w 201"/>
                <a:gd name="T21" fmla="*/ 64 h 406"/>
                <a:gd name="T22" fmla="*/ 0 w 201"/>
                <a:gd name="T23" fmla="*/ 389 h 406"/>
                <a:gd name="T24" fmla="*/ 18 w 201"/>
                <a:gd name="T25" fmla="*/ 406 h 406"/>
                <a:gd name="T26" fmla="*/ 183 w 201"/>
                <a:gd name="T27" fmla="*/ 406 h 406"/>
                <a:gd name="T28" fmla="*/ 201 w 201"/>
                <a:gd name="T29" fmla="*/ 389 h 406"/>
                <a:gd name="T30" fmla="*/ 201 w 201"/>
                <a:gd name="T31" fmla="*/ 19 h 406"/>
                <a:gd name="T32" fmla="*/ 183 w 201"/>
                <a:gd name="T33"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406">
                  <a:moveTo>
                    <a:pt x="165" y="371"/>
                  </a:moveTo>
                  <a:lnTo>
                    <a:pt x="36" y="371"/>
                  </a:lnTo>
                  <a:lnTo>
                    <a:pt x="36" y="74"/>
                  </a:lnTo>
                  <a:lnTo>
                    <a:pt x="105" y="36"/>
                  </a:lnTo>
                  <a:lnTo>
                    <a:pt x="165" y="37"/>
                  </a:lnTo>
                  <a:lnTo>
                    <a:pt x="165" y="371"/>
                  </a:lnTo>
                  <a:close/>
                  <a:moveTo>
                    <a:pt x="183" y="1"/>
                  </a:moveTo>
                  <a:lnTo>
                    <a:pt x="101" y="0"/>
                  </a:lnTo>
                  <a:cubicBezTo>
                    <a:pt x="98" y="0"/>
                    <a:pt x="95" y="1"/>
                    <a:pt x="92" y="3"/>
                  </a:cubicBezTo>
                  <a:lnTo>
                    <a:pt x="10" y="48"/>
                  </a:lnTo>
                  <a:cubicBezTo>
                    <a:pt x="4" y="51"/>
                    <a:pt x="0" y="57"/>
                    <a:pt x="0" y="64"/>
                  </a:cubicBezTo>
                  <a:lnTo>
                    <a:pt x="0" y="389"/>
                  </a:lnTo>
                  <a:cubicBezTo>
                    <a:pt x="0" y="398"/>
                    <a:pt x="8" y="406"/>
                    <a:pt x="18" y="406"/>
                  </a:cubicBezTo>
                  <a:lnTo>
                    <a:pt x="183" y="406"/>
                  </a:lnTo>
                  <a:cubicBezTo>
                    <a:pt x="193" y="406"/>
                    <a:pt x="201" y="398"/>
                    <a:pt x="201" y="389"/>
                  </a:cubicBezTo>
                  <a:lnTo>
                    <a:pt x="201" y="19"/>
                  </a:lnTo>
                  <a:cubicBezTo>
                    <a:pt x="201" y="9"/>
                    <a:pt x="193" y="1"/>
                    <a:pt x="183"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84">
              <a:extLst>
                <a:ext uri="{FF2B5EF4-FFF2-40B4-BE49-F238E27FC236}">
                  <a16:creationId xmlns:a16="http://schemas.microsoft.com/office/drawing/2014/main" id="{FAEBC94C-6831-6CBC-696E-82CB1CCF0C5C}"/>
                </a:ext>
              </a:extLst>
            </p:cNvPr>
            <p:cNvSpPr>
              <a:spLocks/>
            </p:cNvSpPr>
            <p:nvPr/>
          </p:nvSpPr>
          <p:spPr bwMode="auto">
            <a:xfrm>
              <a:off x="5805489" y="1347788"/>
              <a:ext cx="582613" cy="328613"/>
            </a:xfrm>
            <a:custGeom>
              <a:avLst/>
              <a:gdLst>
                <a:gd name="T0" fmla="*/ 834 w 852"/>
                <a:gd name="T1" fmla="*/ 0 h 480"/>
                <a:gd name="T2" fmla="*/ 722 w 852"/>
                <a:gd name="T3" fmla="*/ 0 h 480"/>
                <a:gd name="T4" fmla="*/ 704 w 852"/>
                <a:gd name="T5" fmla="*/ 18 h 480"/>
                <a:gd name="T6" fmla="*/ 722 w 852"/>
                <a:gd name="T7" fmla="*/ 35 h 480"/>
                <a:gd name="T8" fmla="*/ 787 w 852"/>
                <a:gd name="T9" fmla="*/ 35 h 480"/>
                <a:gd name="T10" fmla="*/ 529 w 852"/>
                <a:gd name="T11" fmla="*/ 276 h 480"/>
                <a:gd name="T12" fmla="*/ 329 w 852"/>
                <a:gd name="T13" fmla="*/ 274 h 480"/>
                <a:gd name="T14" fmla="*/ 320 w 852"/>
                <a:gd name="T15" fmla="*/ 276 h 480"/>
                <a:gd name="T16" fmla="*/ 12 w 852"/>
                <a:gd name="T17" fmla="*/ 447 h 480"/>
                <a:gd name="T18" fmla="*/ 5 w 852"/>
                <a:gd name="T19" fmla="*/ 471 h 480"/>
                <a:gd name="T20" fmla="*/ 20 w 852"/>
                <a:gd name="T21" fmla="*/ 480 h 480"/>
                <a:gd name="T22" fmla="*/ 29 w 852"/>
                <a:gd name="T23" fmla="*/ 478 h 480"/>
                <a:gd name="T24" fmla="*/ 333 w 852"/>
                <a:gd name="T25" fmla="*/ 310 h 480"/>
                <a:gd name="T26" fmla="*/ 536 w 852"/>
                <a:gd name="T27" fmla="*/ 312 h 480"/>
                <a:gd name="T28" fmla="*/ 548 w 852"/>
                <a:gd name="T29" fmla="*/ 307 h 480"/>
                <a:gd name="T30" fmla="*/ 816 w 852"/>
                <a:gd name="T31" fmla="*/ 57 h 480"/>
                <a:gd name="T32" fmla="*/ 816 w 852"/>
                <a:gd name="T33" fmla="*/ 126 h 480"/>
                <a:gd name="T34" fmla="*/ 834 w 852"/>
                <a:gd name="T35" fmla="*/ 143 h 480"/>
                <a:gd name="T36" fmla="*/ 852 w 852"/>
                <a:gd name="T37" fmla="*/ 126 h 480"/>
                <a:gd name="T38" fmla="*/ 852 w 852"/>
                <a:gd name="T39" fmla="*/ 18 h 480"/>
                <a:gd name="T40" fmla="*/ 834 w 852"/>
                <a:gd name="T4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2" h="480">
                  <a:moveTo>
                    <a:pt x="834" y="0"/>
                  </a:moveTo>
                  <a:lnTo>
                    <a:pt x="722" y="0"/>
                  </a:lnTo>
                  <a:cubicBezTo>
                    <a:pt x="712" y="0"/>
                    <a:pt x="704" y="8"/>
                    <a:pt x="704" y="18"/>
                  </a:cubicBezTo>
                  <a:cubicBezTo>
                    <a:pt x="704" y="27"/>
                    <a:pt x="712" y="35"/>
                    <a:pt x="722" y="35"/>
                  </a:cubicBezTo>
                  <a:lnTo>
                    <a:pt x="787" y="35"/>
                  </a:lnTo>
                  <a:lnTo>
                    <a:pt x="529" y="276"/>
                  </a:lnTo>
                  <a:lnTo>
                    <a:pt x="329" y="274"/>
                  </a:lnTo>
                  <a:cubicBezTo>
                    <a:pt x="326" y="274"/>
                    <a:pt x="323" y="275"/>
                    <a:pt x="320" y="276"/>
                  </a:cubicBezTo>
                  <a:lnTo>
                    <a:pt x="12" y="447"/>
                  </a:lnTo>
                  <a:cubicBezTo>
                    <a:pt x="3" y="451"/>
                    <a:pt x="0" y="462"/>
                    <a:pt x="5" y="471"/>
                  </a:cubicBezTo>
                  <a:cubicBezTo>
                    <a:pt x="8" y="477"/>
                    <a:pt x="14" y="480"/>
                    <a:pt x="20" y="480"/>
                  </a:cubicBezTo>
                  <a:cubicBezTo>
                    <a:pt x="23" y="480"/>
                    <a:pt x="26" y="480"/>
                    <a:pt x="29" y="478"/>
                  </a:cubicBezTo>
                  <a:lnTo>
                    <a:pt x="333" y="310"/>
                  </a:lnTo>
                  <a:lnTo>
                    <a:pt x="536" y="312"/>
                  </a:lnTo>
                  <a:cubicBezTo>
                    <a:pt x="540" y="312"/>
                    <a:pt x="545" y="310"/>
                    <a:pt x="548" y="307"/>
                  </a:cubicBezTo>
                  <a:lnTo>
                    <a:pt x="816" y="57"/>
                  </a:lnTo>
                  <a:lnTo>
                    <a:pt x="816" y="126"/>
                  </a:lnTo>
                  <a:cubicBezTo>
                    <a:pt x="816" y="135"/>
                    <a:pt x="824" y="143"/>
                    <a:pt x="834" y="143"/>
                  </a:cubicBezTo>
                  <a:cubicBezTo>
                    <a:pt x="844" y="143"/>
                    <a:pt x="852" y="135"/>
                    <a:pt x="852" y="126"/>
                  </a:cubicBezTo>
                  <a:lnTo>
                    <a:pt x="852" y="18"/>
                  </a:lnTo>
                  <a:cubicBezTo>
                    <a:pt x="852" y="8"/>
                    <a:pt x="844" y="0"/>
                    <a:pt x="83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85">
              <a:extLst>
                <a:ext uri="{FF2B5EF4-FFF2-40B4-BE49-F238E27FC236}">
                  <a16:creationId xmlns:a16="http://schemas.microsoft.com/office/drawing/2014/main" id="{E3BA604E-69A7-F5D2-B7BB-0D0D7C02C0A7}"/>
                </a:ext>
              </a:extLst>
            </p:cNvPr>
            <p:cNvSpPr>
              <a:spLocks noEditPoints="1"/>
            </p:cNvSpPr>
            <p:nvPr/>
          </p:nvSpPr>
          <p:spPr bwMode="auto">
            <a:xfrm>
              <a:off x="5818189" y="1703388"/>
              <a:ext cx="136525" cy="230188"/>
            </a:xfrm>
            <a:custGeom>
              <a:avLst/>
              <a:gdLst>
                <a:gd name="T0" fmla="*/ 165 w 200"/>
                <a:gd name="T1" fmla="*/ 301 h 336"/>
                <a:gd name="T2" fmla="*/ 36 w 200"/>
                <a:gd name="T3" fmla="*/ 301 h 336"/>
                <a:gd name="T4" fmla="*/ 36 w 200"/>
                <a:gd name="T5" fmla="*/ 120 h 336"/>
                <a:gd name="T6" fmla="*/ 165 w 200"/>
                <a:gd name="T7" fmla="*/ 49 h 336"/>
                <a:gd name="T8" fmla="*/ 165 w 200"/>
                <a:gd name="T9" fmla="*/ 301 h 336"/>
                <a:gd name="T10" fmla="*/ 192 w 200"/>
                <a:gd name="T11" fmla="*/ 3 h 336"/>
                <a:gd name="T12" fmla="*/ 174 w 200"/>
                <a:gd name="T13" fmla="*/ 3 h 336"/>
                <a:gd name="T14" fmla="*/ 9 w 200"/>
                <a:gd name="T15" fmla="*/ 94 h 336"/>
                <a:gd name="T16" fmla="*/ 0 w 200"/>
                <a:gd name="T17" fmla="*/ 110 h 336"/>
                <a:gd name="T18" fmla="*/ 0 w 200"/>
                <a:gd name="T19" fmla="*/ 319 h 336"/>
                <a:gd name="T20" fmla="*/ 18 w 200"/>
                <a:gd name="T21" fmla="*/ 336 h 336"/>
                <a:gd name="T22" fmla="*/ 183 w 200"/>
                <a:gd name="T23" fmla="*/ 336 h 336"/>
                <a:gd name="T24" fmla="*/ 200 w 200"/>
                <a:gd name="T25" fmla="*/ 319 h 336"/>
                <a:gd name="T26" fmla="*/ 200 w 200"/>
                <a:gd name="T27" fmla="*/ 19 h 336"/>
                <a:gd name="T28" fmla="*/ 192 w 200"/>
                <a:gd name="T29" fmla="*/ 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336">
                  <a:moveTo>
                    <a:pt x="165" y="301"/>
                  </a:moveTo>
                  <a:lnTo>
                    <a:pt x="36" y="301"/>
                  </a:lnTo>
                  <a:lnTo>
                    <a:pt x="36" y="120"/>
                  </a:lnTo>
                  <a:lnTo>
                    <a:pt x="165" y="49"/>
                  </a:lnTo>
                  <a:lnTo>
                    <a:pt x="165" y="301"/>
                  </a:lnTo>
                  <a:close/>
                  <a:moveTo>
                    <a:pt x="192" y="3"/>
                  </a:moveTo>
                  <a:cubicBezTo>
                    <a:pt x="186" y="0"/>
                    <a:pt x="179" y="0"/>
                    <a:pt x="174" y="3"/>
                  </a:cubicBezTo>
                  <a:lnTo>
                    <a:pt x="9" y="94"/>
                  </a:lnTo>
                  <a:cubicBezTo>
                    <a:pt x="3" y="97"/>
                    <a:pt x="0" y="103"/>
                    <a:pt x="0" y="110"/>
                  </a:cubicBezTo>
                  <a:lnTo>
                    <a:pt x="0" y="319"/>
                  </a:lnTo>
                  <a:cubicBezTo>
                    <a:pt x="0" y="328"/>
                    <a:pt x="8" y="336"/>
                    <a:pt x="18" y="336"/>
                  </a:cubicBezTo>
                  <a:lnTo>
                    <a:pt x="183" y="336"/>
                  </a:lnTo>
                  <a:cubicBezTo>
                    <a:pt x="192" y="336"/>
                    <a:pt x="200" y="328"/>
                    <a:pt x="200" y="319"/>
                  </a:cubicBezTo>
                  <a:lnTo>
                    <a:pt x="200" y="19"/>
                  </a:lnTo>
                  <a:cubicBezTo>
                    <a:pt x="200" y="12"/>
                    <a:pt x="197" y="6"/>
                    <a:pt x="192"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Rechteck 2">
            <a:extLst>
              <a:ext uri="{FF2B5EF4-FFF2-40B4-BE49-F238E27FC236}">
                <a16:creationId xmlns:a16="http://schemas.microsoft.com/office/drawing/2014/main" id="{C14104A4-F0BE-8198-6A11-B1190B7183CE}"/>
              </a:ext>
            </a:extLst>
          </p:cNvPr>
          <p:cNvSpPr/>
          <p:nvPr/>
        </p:nvSpPr>
        <p:spPr>
          <a:xfrm>
            <a:off x="6456707" y="2496711"/>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BB</a:t>
            </a:r>
          </a:p>
        </p:txBody>
      </p:sp>
      <p:sp>
        <p:nvSpPr>
          <p:cNvPr id="5" name="Rechteck 4">
            <a:extLst>
              <a:ext uri="{FF2B5EF4-FFF2-40B4-BE49-F238E27FC236}">
                <a16:creationId xmlns:a16="http://schemas.microsoft.com/office/drawing/2014/main" id="{6A15BB8D-2553-88B4-21B4-626769A15C17}"/>
              </a:ext>
            </a:extLst>
          </p:cNvPr>
          <p:cNvSpPr/>
          <p:nvPr/>
        </p:nvSpPr>
        <p:spPr>
          <a:xfrm>
            <a:off x="6888707" y="2496711"/>
            <a:ext cx="432000" cy="21600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rPr>
              <a:t>A</a:t>
            </a:r>
          </a:p>
        </p:txBody>
      </p:sp>
      <p:sp>
        <p:nvSpPr>
          <p:cNvPr id="6" name="Rechteck 5">
            <a:extLst>
              <a:ext uri="{FF2B5EF4-FFF2-40B4-BE49-F238E27FC236}">
                <a16:creationId xmlns:a16="http://schemas.microsoft.com/office/drawing/2014/main" id="{8AE3424B-6869-882F-1312-10ED936E4328}"/>
              </a:ext>
            </a:extLst>
          </p:cNvPr>
          <p:cNvSpPr/>
          <p:nvPr/>
        </p:nvSpPr>
        <p:spPr>
          <a:xfrm>
            <a:off x="7320707" y="2496711"/>
            <a:ext cx="432000" cy="216000"/>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a:t>
            </a:r>
          </a:p>
        </p:txBody>
      </p:sp>
      <p:sp>
        <p:nvSpPr>
          <p:cNvPr id="8" name="Rechteck 7">
            <a:extLst>
              <a:ext uri="{FF2B5EF4-FFF2-40B4-BE49-F238E27FC236}">
                <a16:creationId xmlns:a16="http://schemas.microsoft.com/office/drawing/2014/main" id="{1A238CEA-CC80-6362-E009-E6FF17CFA256}"/>
              </a:ext>
            </a:extLst>
          </p:cNvPr>
          <p:cNvSpPr/>
          <p:nvPr/>
        </p:nvSpPr>
        <p:spPr>
          <a:xfrm>
            <a:off x="7752707" y="2496711"/>
            <a:ext cx="432000" cy="216000"/>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A</a:t>
            </a:r>
          </a:p>
        </p:txBody>
      </p:sp>
      <p:sp>
        <p:nvSpPr>
          <p:cNvPr id="11" name="Rechteck 10">
            <a:extLst>
              <a:ext uri="{FF2B5EF4-FFF2-40B4-BE49-F238E27FC236}">
                <a16:creationId xmlns:a16="http://schemas.microsoft.com/office/drawing/2014/main" id="{35363A1F-B676-2A19-9DDD-171E5A2CB794}"/>
              </a:ext>
            </a:extLst>
          </p:cNvPr>
          <p:cNvSpPr/>
          <p:nvPr/>
        </p:nvSpPr>
        <p:spPr>
          <a:xfrm>
            <a:off x="5160707" y="2496711"/>
            <a:ext cx="432000" cy="21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CCC</a:t>
            </a:r>
          </a:p>
        </p:txBody>
      </p:sp>
      <p:sp>
        <p:nvSpPr>
          <p:cNvPr id="12" name="Rechteck 11">
            <a:extLst>
              <a:ext uri="{FF2B5EF4-FFF2-40B4-BE49-F238E27FC236}">
                <a16:creationId xmlns:a16="http://schemas.microsoft.com/office/drawing/2014/main" id="{FD0D5283-A6E0-A877-866D-509A28DB79E4}"/>
              </a:ext>
            </a:extLst>
          </p:cNvPr>
          <p:cNvSpPr/>
          <p:nvPr/>
        </p:nvSpPr>
        <p:spPr>
          <a:xfrm>
            <a:off x="5592707" y="2496711"/>
            <a:ext cx="432000" cy="21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a:t>
            </a:r>
          </a:p>
        </p:txBody>
      </p:sp>
      <p:sp>
        <p:nvSpPr>
          <p:cNvPr id="13" name="Rechteck 12">
            <a:extLst>
              <a:ext uri="{FF2B5EF4-FFF2-40B4-BE49-F238E27FC236}">
                <a16:creationId xmlns:a16="http://schemas.microsoft.com/office/drawing/2014/main" id="{0BF679C9-84D0-F6FD-5457-A0BAAFCDE8B3}"/>
              </a:ext>
            </a:extLst>
          </p:cNvPr>
          <p:cNvSpPr/>
          <p:nvPr/>
        </p:nvSpPr>
        <p:spPr>
          <a:xfrm>
            <a:off x="6024707" y="2496711"/>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B</a:t>
            </a:r>
          </a:p>
        </p:txBody>
      </p:sp>
      <p:sp>
        <p:nvSpPr>
          <p:cNvPr id="15" name="Rechteck 14">
            <a:extLst>
              <a:ext uri="{FF2B5EF4-FFF2-40B4-BE49-F238E27FC236}">
                <a16:creationId xmlns:a16="http://schemas.microsoft.com/office/drawing/2014/main" id="{4201963A-4B42-7696-5522-C735DD5AF604}"/>
              </a:ext>
            </a:extLst>
          </p:cNvPr>
          <p:cNvSpPr/>
          <p:nvPr/>
        </p:nvSpPr>
        <p:spPr>
          <a:xfrm>
            <a:off x="6455794" y="3631968"/>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BB</a:t>
            </a:r>
          </a:p>
        </p:txBody>
      </p:sp>
      <p:sp>
        <p:nvSpPr>
          <p:cNvPr id="16" name="Rechteck 15">
            <a:extLst>
              <a:ext uri="{FF2B5EF4-FFF2-40B4-BE49-F238E27FC236}">
                <a16:creationId xmlns:a16="http://schemas.microsoft.com/office/drawing/2014/main" id="{744510F5-A8F1-2C64-70E9-E3C9462F9797}"/>
              </a:ext>
            </a:extLst>
          </p:cNvPr>
          <p:cNvSpPr/>
          <p:nvPr/>
        </p:nvSpPr>
        <p:spPr>
          <a:xfrm>
            <a:off x="6887794" y="3631968"/>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t>
            </a:r>
          </a:p>
        </p:txBody>
      </p:sp>
      <p:sp>
        <p:nvSpPr>
          <p:cNvPr id="17" name="Rechteck 16">
            <a:extLst>
              <a:ext uri="{FF2B5EF4-FFF2-40B4-BE49-F238E27FC236}">
                <a16:creationId xmlns:a16="http://schemas.microsoft.com/office/drawing/2014/main" id="{8A9CDEC8-892C-C3DB-3E2A-4562F86F787F}"/>
              </a:ext>
            </a:extLst>
          </p:cNvPr>
          <p:cNvSpPr/>
          <p:nvPr/>
        </p:nvSpPr>
        <p:spPr>
          <a:xfrm>
            <a:off x="7319794" y="3631968"/>
            <a:ext cx="432000" cy="216000"/>
          </a:xfrm>
          <a:prstGeom prst="rect">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rPr>
              <a:t>AA</a:t>
            </a:r>
          </a:p>
        </p:txBody>
      </p:sp>
      <p:sp>
        <p:nvSpPr>
          <p:cNvPr id="22" name="Rechteck 21">
            <a:extLst>
              <a:ext uri="{FF2B5EF4-FFF2-40B4-BE49-F238E27FC236}">
                <a16:creationId xmlns:a16="http://schemas.microsoft.com/office/drawing/2014/main" id="{FC3B076D-6F4E-9409-61AA-24245440E79C}"/>
              </a:ext>
            </a:extLst>
          </p:cNvPr>
          <p:cNvSpPr/>
          <p:nvPr/>
        </p:nvSpPr>
        <p:spPr>
          <a:xfrm>
            <a:off x="7751794" y="3631968"/>
            <a:ext cx="432000" cy="216000"/>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A</a:t>
            </a:r>
          </a:p>
        </p:txBody>
      </p:sp>
      <p:sp>
        <p:nvSpPr>
          <p:cNvPr id="23" name="Rechteck 22">
            <a:extLst>
              <a:ext uri="{FF2B5EF4-FFF2-40B4-BE49-F238E27FC236}">
                <a16:creationId xmlns:a16="http://schemas.microsoft.com/office/drawing/2014/main" id="{E6613962-62BD-736A-C5E3-E2F23DCE1098}"/>
              </a:ext>
            </a:extLst>
          </p:cNvPr>
          <p:cNvSpPr/>
          <p:nvPr/>
        </p:nvSpPr>
        <p:spPr>
          <a:xfrm>
            <a:off x="5159794" y="3631968"/>
            <a:ext cx="432000" cy="21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CCC</a:t>
            </a:r>
          </a:p>
        </p:txBody>
      </p:sp>
      <p:sp>
        <p:nvSpPr>
          <p:cNvPr id="24" name="Rechteck 23">
            <a:extLst>
              <a:ext uri="{FF2B5EF4-FFF2-40B4-BE49-F238E27FC236}">
                <a16:creationId xmlns:a16="http://schemas.microsoft.com/office/drawing/2014/main" id="{58BF21FA-24A0-72BB-F438-8BBC9F6B22A2}"/>
              </a:ext>
            </a:extLst>
          </p:cNvPr>
          <p:cNvSpPr/>
          <p:nvPr/>
        </p:nvSpPr>
        <p:spPr>
          <a:xfrm>
            <a:off x="5591794" y="3631968"/>
            <a:ext cx="432000" cy="21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a:t>
            </a:r>
          </a:p>
        </p:txBody>
      </p:sp>
      <p:sp>
        <p:nvSpPr>
          <p:cNvPr id="25" name="Rechteck 24">
            <a:extLst>
              <a:ext uri="{FF2B5EF4-FFF2-40B4-BE49-F238E27FC236}">
                <a16:creationId xmlns:a16="http://schemas.microsoft.com/office/drawing/2014/main" id="{EEC3DB19-90A7-936C-8F43-B01CACACAF26}"/>
              </a:ext>
            </a:extLst>
          </p:cNvPr>
          <p:cNvSpPr/>
          <p:nvPr/>
        </p:nvSpPr>
        <p:spPr>
          <a:xfrm>
            <a:off x="6023794" y="3631968"/>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B</a:t>
            </a:r>
          </a:p>
        </p:txBody>
      </p:sp>
      <p:sp>
        <p:nvSpPr>
          <p:cNvPr id="44" name="Rechteck 43">
            <a:extLst>
              <a:ext uri="{FF2B5EF4-FFF2-40B4-BE49-F238E27FC236}">
                <a16:creationId xmlns:a16="http://schemas.microsoft.com/office/drawing/2014/main" id="{05351679-B115-8A23-6156-E63291449B9E}"/>
              </a:ext>
            </a:extLst>
          </p:cNvPr>
          <p:cNvSpPr/>
          <p:nvPr/>
        </p:nvSpPr>
        <p:spPr>
          <a:xfrm>
            <a:off x="6475309" y="4704037"/>
            <a:ext cx="432000" cy="21600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rPr>
              <a:t>BBB</a:t>
            </a:r>
          </a:p>
        </p:txBody>
      </p:sp>
      <p:sp>
        <p:nvSpPr>
          <p:cNvPr id="45" name="Rechteck 44">
            <a:extLst>
              <a:ext uri="{FF2B5EF4-FFF2-40B4-BE49-F238E27FC236}">
                <a16:creationId xmlns:a16="http://schemas.microsoft.com/office/drawing/2014/main" id="{2E3873CB-1378-AB2A-0A82-AB374AE9A143}"/>
              </a:ext>
            </a:extLst>
          </p:cNvPr>
          <p:cNvSpPr/>
          <p:nvPr/>
        </p:nvSpPr>
        <p:spPr>
          <a:xfrm>
            <a:off x="6907309" y="4704037"/>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t>
            </a:r>
          </a:p>
        </p:txBody>
      </p:sp>
      <p:sp>
        <p:nvSpPr>
          <p:cNvPr id="46" name="Rechteck 45">
            <a:extLst>
              <a:ext uri="{FF2B5EF4-FFF2-40B4-BE49-F238E27FC236}">
                <a16:creationId xmlns:a16="http://schemas.microsoft.com/office/drawing/2014/main" id="{FCD3D6F2-E11E-8154-1BD9-B708830C9150}"/>
              </a:ext>
            </a:extLst>
          </p:cNvPr>
          <p:cNvSpPr/>
          <p:nvPr/>
        </p:nvSpPr>
        <p:spPr>
          <a:xfrm>
            <a:off x="7339309" y="4704037"/>
            <a:ext cx="432000" cy="216000"/>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a:t>
            </a:r>
          </a:p>
        </p:txBody>
      </p:sp>
      <p:sp>
        <p:nvSpPr>
          <p:cNvPr id="47" name="Rechteck 46">
            <a:extLst>
              <a:ext uri="{FF2B5EF4-FFF2-40B4-BE49-F238E27FC236}">
                <a16:creationId xmlns:a16="http://schemas.microsoft.com/office/drawing/2014/main" id="{94D27D64-A45B-4673-5853-CBC803F36550}"/>
              </a:ext>
            </a:extLst>
          </p:cNvPr>
          <p:cNvSpPr/>
          <p:nvPr/>
        </p:nvSpPr>
        <p:spPr>
          <a:xfrm>
            <a:off x="7771309" y="4704037"/>
            <a:ext cx="432000" cy="216000"/>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A</a:t>
            </a:r>
          </a:p>
        </p:txBody>
      </p:sp>
      <p:sp>
        <p:nvSpPr>
          <p:cNvPr id="48" name="Rechteck 47">
            <a:extLst>
              <a:ext uri="{FF2B5EF4-FFF2-40B4-BE49-F238E27FC236}">
                <a16:creationId xmlns:a16="http://schemas.microsoft.com/office/drawing/2014/main" id="{A1B28934-C33D-7C18-388B-CF7785F543EE}"/>
              </a:ext>
            </a:extLst>
          </p:cNvPr>
          <p:cNvSpPr/>
          <p:nvPr/>
        </p:nvSpPr>
        <p:spPr>
          <a:xfrm>
            <a:off x="5179309" y="4704037"/>
            <a:ext cx="432000" cy="21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CCC</a:t>
            </a:r>
          </a:p>
        </p:txBody>
      </p:sp>
      <p:sp>
        <p:nvSpPr>
          <p:cNvPr id="49" name="Rechteck 48">
            <a:extLst>
              <a:ext uri="{FF2B5EF4-FFF2-40B4-BE49-F238E27FC236}">
                <a16:creationId xmlns:a16="http://schemas.microsoft.com/office/drawing/2014/main" id="{FA82E168-FD5F-DB91-35B3-045E71C3394E}"/>
              </a:ext>
            </a:extLst>
          </p:cNvPr>
          <p:cNvSpPr/>
          <p:nvPr/>
        </p:nvSpPr>
        <p:spPr>
          <a:xfrm>
            <a:off x="5611309" y="4704037"/>
            <a:ext cx="432000" cy="21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a:t>
            </a:r>
          </a:p>
        </p:txBody>
      </p:sp>
      <p:sp>
        <p:nvSpPr>
          <p:cNvPr id="50" name="Rechteck 49">
            <a:extLst>
              <a:ext uri="{FF2B5EF4-FFF2-40B4-BE49-F238E27FC236}">
                <a16:creationId xmlns:a16="http://schemas.microsoft.com/office/drawing/2014/main" id="{6AE06FF9-3239-EBD3-F8F7-F1D5C2A35B65}"/>
              </a:ext>
            </a:extLst>
          </p:cNvPr>
          <p:cNvSpPr/>
          <p:nvPr/>
        </p:nvSpPr>
        <p:spPr>
          <a:xfrm>
            <a:off x="6043309" y="4704037"/>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B</a:t>
            </a:r>
          </a:p>
        </p:txBody>
      </p:sp>
      <p:sp>
        <p:nvSpPr>
          <p:cNvPr id="83" name="Textfeld 82">
            <a:extLst>
              <a:ext uri="{FF2B5EF4-FFF2-40B4-BE49-F238E27FC236}">
                <a16:creationId xmlns:a16="http://schemas.microsoft.com/office/drawing/2014/main" id="{16824470-945C-E5E0-BE95-59FB964CBCCA}"/>
              </a:ext>
            </a:extLst>
          </p:cNvPr>
          <p:cNvSpPr txBox="1"/>
          <p:nvPr/>
        </p:nvSpPr>
        <p:spPr>
          <a:xfrm>
            <a:off x="4670466" y="3031301"/>
            <a:ext cx="4574380" cy="461665"/>
          </a:xfrm>
          <a:prstGeom prst="rect">
            <a:avLst/>
          </a:prstGeom>
          <a:noFill/>
        </p:spPr>
        <p:txBody>
          <a:bodyPr wrap="square">
            <a:spAutoFit/>
          </a:bodyPr>
          <a:lstStyle/>
          <a:p>
            <a:pPr marL="171450" indent="-171450">
              <a:buFont typeface="Arial" panose="020B0604020202020204" pitchFamily="34" charset="0"/>
              <a:buChar char="•"/>
            </a:pPr>
            <a:r>
              <a:rPr lang="en-US" sz="1200" b="1"/>
              <a:t>Labor Management</a:t>
            </a:r>
            <a:r>
              <a:rPr lang="en-US" sz="1200"/>
              <a:t>: Uber trails in fair labor practices.</a:t>
            </a:r>
          </a:p>
          <a:p>
            <a:pPr marL="171450" indent="-171450">
              <a:buFont typeface="Arial" panose="020B0604020202020204" pitchFamily="34" charset="0"/>
              <a:buChar char="•"/>
            </a:pPr>
            <a:r>
              <a:rPr lang="en-US" sz="1200" b="1"/>
              <a:t>Privacy/Data Security</a:t>
            </a:r>
            <a:r>
              <a:rPr lang="en-US" sz="1200"/>
              <a:t>: Uber needs to bolster data safeguards.</a:t>
            </a:r>
          </a:p>
        </p:txBody>
      </p:sp>
      <p:sp>
        <p:nvSpPr>
          <p:cNvPr id="85" name="Textfeld 84">
            <a:extLst>
              <a:ext uri="{FF2B5EF4-FFF2-40B4-BE49-F238E27FC236}">
                <a16:creationId xmlns:a16="http://schemas.microsoft.com/office/drawing/2014/main" id="{5069BA15-BBAD-B17D-7ED2-442EC0EB2322}"/>
              </a:ext>
            </a:extLst>
          </p:cNvPr>
          <p:cNvSpPr txBox="1"/>
          <p:nvPr/>
        </p:nvSpPr>
        <p:spPr>
          <a:xfrm>
            <a:off x="4720741" y="2820018"/>
            <a:ext cx="4574380" cy="276999"/>
          </a:xfrm>
          <a:prstGeom prst="rect">
            <a:avLst/>
          </a:prstGeom>
          <a:noFill/>
        </p:spPr>
        <p:txBody>
          <a:bodyPr wrap="square">
            <a:spAutoFit/>
          </a:bodyPr>
          <a:lstStyle/>
          <a:p>
            <a:r>
              <a:rPr lang="en-US" sz="1200" b="1"/>
              <a:t>ESG-Laggard:</a:t>
            </a:r>
          </a:p>
        </p:txBody>
      </p:sp>
      <p:pic>
        <p:nvPicPr>
          <p:cNvPr id="1026" name="Picture 2">
            <a:extLst>
              <a:ext uri="{FF2B5EF4-FFF2-40B4-BE49-F238E27FC236}">
                <a16:creationId xmlns:a16="http://schemas.microsoft.com/office/drawing/2014/main" id="{DDBB76A9-E55A-A890-DDE8-D40B39E8355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72657" y="2446510"/>
            <a:ext cx="304800" cy="3048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1330C67-F1FD-8980-02DA-F3D4CC6F690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85491" y="3589487"/>
            <a:ext cx="304800" cy="304800"/>
          </a:xfrm>
          <a:prstGeom prst="rect">
            <a:avLst/>
          </a:prstGeom>
          <a:noFill/>
          <a:extLst>
            <a:ext uri="{909E8E84-426E-40DD-AFC4-6F175D3DCCD1}">
              <a14:hiddenFill xmlns:a14="http://schemas.microsoft.com/office/drawing/2010/main">
                <a:solidFill>
                  <a:srgbClr val="FFFFFF"/>
                </a:solidFill>
              </a14:hiddenFill>
            </a:ext>
          </a:extLst>
        </p:spPr>
      </p:pic>
      <p:sp>
        <p:nvSpPr>
          <p:cNvPr id="86" name="Textfeld 85">
            <a:extLst>
              <a:ext uri="{FF2B5EF4-FFF2-40B4-BE49-F238E27FC236}">
                <a16:creationId xmlns:a16="http://schemas.microsoft.com/office/drawing/2014/main" id="{634E1AC4-1F38-0B78-1764-D432CA99176D}"/>
              </a:ext>
            </a:extLst>
          </p:cNvPr>
          <p:cNvSpPr txBox="1"/>
          <p:nvPr/>
        </p:nvSpPr>
        <p:spPr>
          <a:xfrm>
            <a:off x="4739973" y="3932504"/>
            <a:ext cx="4574380" cy="276999"/>
          </a:xfrm>
          <a:prstGeom prst="rect">
            <a:avLst/>
          </a:prstGeom>
          <a:noFill/>
        </p:spPr>
        <p:txBody>
          <a:bodyPr wrap="square">
            <a:spAutoFit/>
          </a:bodyPr>
          <a:lstStyle/>
          <a:p>
            <a:r>
              <a:rPr lang="en-US" sz="1200" b="1"/>
              <a:t>ESG-Leader:</a:t>
            </a:r>
          </a:p>
        </p:txBody>
      </p:sp>
      <p:sp>
        <p:nvSpPr>
          <p:cNvPr id="87" name="Textfeld 86">
            <a:extLst>
              <a:ext uri="{FF2B5EF4-FFF2-40B4-BE49-F238E27FC236}">
                <a16:creationId xmlns:a16="http://schemas.microsoft.com/office/drawing/2014/main" id="{A9CF7267-51AE-3A26-2863-2104197E8440}"/>
              </a:ext>
            </a:extLst>
          </p:cNvPr>
          <p:cNvSpPr txBox="1"/>
          <p:nvPr/>
        </p:nvSpPr>
        <p:spPr>
          <a:xfrm>
            <a:off x="4720741" y="4153845"/>
            <a:ext cx="4574380" cy="461665"/>
          </a:xfrm>
          <a:prstGeom prst="rect">
            <a:avLst/>
          </a:prstGeom>
          <a:noFill/>
        </p:spPr>
        <p:txBody>
          <a:bodyPr wrap="square">
            <a:spAutoFit/>
          </a:bodyPr>
          <a:lstStyle/>
          <a:p>
            <a:pPr marL="171450" indent="-171450">
              <a:buFont typeface="Arial" panose="020B0604020202020204" pitchFamily="34" charset="0"/>
              <a:buChar char="•"/>
            </a:pPr>
            <a:r>
              <a:rPr lang="en-US" sz="1200" b="1"/>
              <a:t>Labor Management: </a:t>
            </a:r>
            <a:r>
              <a:rPr lang="en-US" sz="1200"/>
              <a:t>Exceling in employee welfare and compensation </a:t>
            </a:r>
          </a:p>
        </p:txBody>
      </p:sp>
      <p:pic>
        <p:nvPicPr>
          <p:cNvPr id="1030" name="Picture 6">
            <a:extLst>
              <a:ext uri="{FF2B5EF4-FFF2-40B4-BE49-F238E27FC236}">
                <a16:creationId xmlns:a16="http://schemas.microsoft.com/office/drawing/2014/main" id="{B6E2D85D-FAA2-1EA4-DBDF-8524FF1D0DA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72657" y="4672672"/>
            <a:ext cx="304800" cy="304800"/>
          </a:xfrm>
          <a:prstGeom prst="rect">
            <a:avLst/>
          </a:prstGeom>
          <a:noFill/>
          <a:extLst>
            <a:ext uri="{909E8E84-426E-40DD-AFC4-6F175D3DCCD1}">
              <a14:hiddenFill xmlns:a14="http://schemas.microsoft.com/office/drawing/2010/main">
                <a:solidFill>
                  <a:srgbClr val="FFFFFF"/>
                </a:solidFill>
              </a14:hiddenFill>
            </a:ext>
          </a:extLst>
        </p:spPr>
      </p:pic>
      <p:sp>
        <p:nvSpPr>
          <p:cNvPr id="88" name="Textfeld 87">
            <a:extLst>
              <a:ext uri="{FF2B5EF4-FFF2-40B4-BE49-F238E27FC236}">
                <a16:creationId xmlns:a16="http://schemas.microsoft.com/office/drawing/2014/main" id="{09A1E3F6-88C7-ACF7-2492-A3604EF19480}"/>
              </a:ext>
            </a:extLst>
          </p:cNvPr>
          <p:cNvSpPr txBox="1"/>
          <p:nvPr/>
        </p:nvSpPr>
        <p:spPr>
          <a:xfrm>
            <a:off x="4739973" y="5007135"/>
            <a:ext cx="4574380" cy="276999"/>
          </a:xfrm>
          <a:prstGeom prst="rect">
            <a:avLst/>
          </a:prstGeom>
          <a:noFill/>
        </p:spPr>
        <p:txBody>
          <a:bodyPr wrap="square">
            <a:spAutoFit/>
          </a:bodyPr>
          <a:lstStyle/>
          <a:p>
            <a:r>
              <a:rPr lang="en-US" sz="1200" b="1"/>
              <a:t>ESG-Leader:</a:t>
            </a:r>
          </a:p>
        </p:txBody>
      </p:sp>
      <p:sp>
        <p:nvSpPr>
          <p:cNvPr id="93" name="Textfeld 92">
            <a:extLst>
              <a:ext uri="{FF2B5EF4-FFF2-40B4-BE49-F238E27FC236}">
                <a16:creationId xmlns:a16="http://schemas.microsoft.com/office/drawing/2014/main" id="{811BA2E4-7E50-D30B-0554-57D4F1F2A88C}"/>
              </a:ext>
            </a:extLst>
          </p:cNvPr>
          <p:cNvSpPr txBox="1"/>
          <p:nvPr/>
        </p:nvSpPr>
        <p:spPr>
          <a:xfrm>
            <a:off x="4769114" y="5205619"/>
            <a:ext cx="4114528" cy="461665"/>
          </a:xfrm>
          <a:prstGeom prst="rect">
            <a:avLst/>
          </a:prstGeom>
          <a:noFill/>
        </p:spPr>
        <p:txBody>
          <a:bodyPr wrap="square">
            <a:spAutoFit/>
          </a:bodyPr>
          <a:lstStyle/>
          <a:p>
            <a:pPr marL="171450" indent="-171450">
              <a:buFont typeface="Arial" panose="020B0604020202020204" pitchFamily="34" charset="0"/>
              <a:buChar char="•"/>
            </a:pPr>
            <a:r>
              <a:rPr lang="en-US" sz="1200" b="1"/>
              <a:t>Product Safety &amp; Quality: </a:t>
            </a:r>
            <a:r>
              <a:rPr lang="en-US" sz="1200"/>
              <a:t>Surpasses in service safety and excellence</a:t>
            </a:r>
          </a:p>
        </p:txBody>
      </p:sp>
      <p:cxnSp>
        <p:nvCxnSpPr>
          <p:cNvPr id="95" name="Gerader Verbinder 94">
            <a:extLst>
              <a:ext uri="{FF2B5EF4-FFF2-40B4-BE49-F238E27FC236}">
                <a16:creationId xmlns:a16="http://schemas.microsoft.com/office/drawing/2014/main" id="{4F5EC465-998E-9670-4040-1095F0A16FC4}"/>
              </a:ext>
            </a:extLst>
          </p:cNvPr>
          <p:cNvCxnSpPr/>
          <p:nvPr/>
        </p:nvCxnSpPr>
        <p:spPr>
          <a:xfrm>
            <a:off x="4911874" y="5667284"/>
            <a:ext cx="3703320" cy="0"/>
          </a:xfrm>
          <a:prstGeom prst="line">
            <a:avLst/>
          </a:prstGeom>
        </p:spPr>
        <p:style>
          <a:lnRef idx="1">
            <a:schemeClr val="accent2"/>
          </a:lnRef>
          <a:fillRef idx="0">
            <a:schemeClr val="accent2"/>
          </a:fillRef>
          <a:effectRef idx="0">
            <a:schemeClr val="accent2"/>
          </a:effectRef>
          <a:fontRef idx="minor">
            <a:schemeClr val="tx1"/>
          </a:fontRef>
        </p:style>
      </p:cxnSp>
      <p:sp>
        <p:nvSpPr>
          <p:cNvPr id="101" name="Textfeld 100">
            <a:extLst>
              <a:ext uri="{FF2B5EF4-FFF2-40B4-BE49-F238E27FC236}">
                <a16:creationId xmlns:a16="http://schemas.microsoft.com/office/drawing/2014/main" id="{1220FCEC-4982-D12A-CCDE-591E4196BF6D}"/>
              </a:ext>
            </a:extLst>
          </p:cNvPr>
          <p:cNvSpPr txBox="1"/>
          <p:nvPr/>
        </p:nvSpPr>
        <p:spPr>
          <a:xfrm>
            <a:off x="4670466" y="5847083"/>
            <a:ext cx="4659630" cy="646331"/>
          </a:xfrm>
          <a:prstGeom prst="rect">
            <a:avLst/>
          </a:prstGeom>
          <a:noFill/>
        </p:spPr>
        <p:txBody>
          <a:bodyPr wrap="square">
            <a:spAutoFit/>
          </a:bodyPr>
          <a:lstStyle/>
          <a:p>
            <a:pPr marL="171450" indent="-171450">
              <a:buFont typeface="Arial" panose="020B0604020202020204" pitchFamily="34" charset="0"/>
              <a:buChar char="•"/>
            </a:pPr>
            <a:r>
              <a:rPr lang="en-US" sz="1200" b="1"/>
              <a:t>Governance &amp; Labor: </a:t>
            </a:r>
            <a:r>
              <a:rPr lang="en-US" sz="1200"/>
              <a:t>Adopt Grabs transparency and fair employment</a:t>
            </a:r>
          </a:p>
          <a:p>
            <a:pPr marL="171450" indent="-171450">
              <a:buFont typeface="Arial" panose="020B0604020202020204" pitchFamily="34" charset="0"/>
              <a:buChar char="•"/>
            </a:pPr>
            <a:r>
              <a:rPr lang="en-US" sz="1200" b="1"/>
              <a:t>Human Capital:</a:t>
            </a:r>
            <a:r>
              <a:rPr lang="en-US" sz="1200"/>
              <a:t> Emulate DoorDashs training for skill growth</a:t>
            </a:r>
          </a:p>
        </p:txBody>
      </p:sp>
      <p:sp>
        <p:nvSpPr>
          <p:cNvPr id="14" name="Textfeld 13">
            <a:extLst>
              <a:ext uri="{FF2B5EF4-FFF2-40B4-BE49-F238E27FC236}">
                <a16:creationId xmlns:a16="http://schemas.microsoft.com/office/drawing/2014/main" id="{B3B240A6-25FE-3C86-7F28-AA6B25D7692D}"/>
              </a:ext>
            </a:extLst>
          </p:cNvPr>
          <p:cNvSpPr txBox="1"/>
          <p:nvPr/>
        </p:nvSpPr>
        <p:spPr>
          <a:xfrm>
            <a:off x="4720741" y="5667284"/>
            <a:ext cx="4574380" cy="276999"/>
          </a:xfrm>
          <a:prstGeom prst="rect">
            <a:avLst/>
          </a:prstGeom>
          <a:noFill/>
        </p:spPr>
        <p:txBody>
          <a:bodyPr wrap="square">
            <a:spAutoFit/>
          </a:bodyPr>
          <a:lstStyle/>
          <a:p>
            <a:r>
              <a:rPr lang="en-US" sz="1200" b="1"/>
              <a:t>Learnings for Uber:</a:t>
            </a:r>
          </a:p>
        </p:txBody>
      </p:sp>
    </p:spTree>
    <p:extLst>
      <p:ext uri="{BB962C8B-B14F-4D97-AF65-F5344CB8AC3E}">
        <p14:creationId xmlns:p14="http://schemas.microsoft.com/office/powerpoint/2010/main" val="3534520235"/>
      </p:ext>
    </p:extLst>
  </p:cSld>
  <p:clrMapOvr>
    <a:masterClrMapping/>
  </p:clrMapOvr>
  <p:extLst>
    <p:ext uri="{6950BFC3-D8DA-4A85-94F7-54DA5524770B}">
      <p188:commentRel xmlns:p188="http://schemas.microsoft.com/office/powerpoint/2018/8/main" r:id="rId6"/>
    </p:ext>
  </p:extLs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7F14C88-CA21-1906-B7C0-05888224D698}"/>
              </a:ext>
            </a:extLst>
          </p:cNvPr>
          <p:cNvGraphicFramePr>
            <a:graphicFrameLocks noChangeAspect="1"/>
          </p:cNvGraphicFramePr>
          <p:nvPr>
            <p:custDataLst>
              <p:tags r:id="rId1"/>
            </p:custDataLst>
            <p:extLst>
              <p:ext uri="{D42A27DB-BD31-4B8C-83A1-F6EECF244321}">
                <p14:modId xmlns:p14="http://schemas.microsoft.com/office/powerpoint/2010/main" val="3433167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4" name="think-cell data - do not delete" hidden="1">
                        <a:extLst>
                          <a:ext uri="{FF2B5EF4-FFF2-40B4-BE49-F238E27FC236}">
                            <a16:creationId xmlns:a16="http://schemas.microsoft.com/office/drawing/2014/main" id="{B7F14C88-CA21-1906-B7C0-05888224D6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8FC5D07-42BE-15E4-72CB-9F559B366C14}"/>
              </a:ext>
            </a:extLst>
          </p:cNvPr>
          <p:cNvSpPr>
            <a:spLocks noGrp="1"/>
          </p:cNvSpPr>
          <p:nvPr>
            <p:ph type="title"/>
          </p:nvPr>
        </p:nvSpPr>
        <p:spPr>
          <a:xfrm>
            <a:off x="360000" y="1980000"/>
            <a:ext cx="8550000" cy="692497"/>
          </a:xfrm>
        </p:spPr>
        <p:txBody>
          <a:bodyPr vert="horz"/>
          <a:lstStyle/>
          <a:p>
            <a:r>
              <a:rPr lang="en-US"/>
              <a:t>Frage 4: ESG Anhang</a:t>
            </a:r>
          </a:p>
        </p:txBody>
      </p:sp>
      <p:sp>
        <p:nvSpPr>
          <p:cNvPr id="3" name="Textplatzhalter 2">
            <a:extLst>
              <a:ext uri="{FF2B5EF4-FFF2-40B4-BE49-F238E27FC236}">
                <a16:creationId xmlns:a16="http://schemas.microsoft.com/office/drawing/2014/main" id="{8B8445DB-E7F2-BAC9-08C4-70B0CD4C80DE}"/>
              </a:ext>
            </a:extLst>
          </p:cNvPr>
          <p:cNvSpPr>
            <a:spLocks noGrp="1"/>
          </p:cNvSpPr>
          <p:nvPr>
            <p:ph type="body" idx="1"/>
          </p:nvPr>
        </p:nvSpPr>
        <p:spPr/>
        <p:txBody>
          <a:bodyPr/>
          <a:lstStyle/>
          <a:p>
            <a:r>
              <a:rPr lang="en-US"/>
              <a:t>Kevin Clausen</a:t>
            </a:r>
          </a:p>
        </p:txBody>
      </p:sp>
    </p:spTree>
    <p:extLst>
      <p:ext uri="{BB962C8B-B14F-4D97-AF65-F5344CB8AC3E}">
        <p14:creationId xmlns:p14="http://schemas.microsoft.com/office/powerpoint/2010/main" val="12981774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C8CF66-F642-0630-3312-985B94710D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32" imgH="530" progId="TCLayout.ActiveDocument.1">
                  <p:embed/>
                </p:oleObj>
              </mc:Choice>
              <mc:Fallback>
                <p:oleObj name="think-cell Folie" r:id="rId5" imgW="532" imgH="530" progId="TCLayout.ActiveDocument.1">
                  <p:embed/>
                  <p:pic>
                    <p:nvPicPr>
                      <p:cNvPr id="8" name="think-cell data - do not delete" hidden="1">
                        <a:extLst>
                          <a:ext uri="{FF2B5EF4-FFF2-40B4-BE49-F238E27FC236}">
                            <a16:creationId xmlns:a16="http://schemas.microsoft.com/office/drawing/2014/main" id="{B2C8CF66-F642-0630-3312-985B94710D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Autofit/>
          </a:bodyPr>
          <a:lstStyle/>
          <a:p>
            <a:r>
              <a:rPr lang="en-US"/>
              <a:t>As a Transportation Company Uber puts its focus on the reduction of emissions and tries to mitigate its climate impact</a:t>
            </a:r>
          </a:p>
        </p:txBody>
      </p:sp>
      <p:sp>
        <p:nvSpPr>
          <p:cNvPr id="4" name="Inhaltsplatzhalter 3">
            <a:extLst>
              <a:ext uri="{FF2B5EF4-FFF2-40B4-BE49-F238E27FC236}">
                <a16:creationId xmlns:a16="http://schemas.microsoft.com/office/drawing/2014/main" id="{58F03B6E-0ABD-9A45-A8AD-1D337471F166}"/>
              </a:ext>
            </a:extLst>
          </p:cNvPr>
          <p:cNvSpPr>
            <a:spLocks noGrp="1"/>
          </p:cNvSpPr>
          <p:nvPr>
            <p:ph idx="10"/>
          </p:nvPr>
        </p:nvSpPr>
        <p:spPr/>
        <p:txBody>
          <a:bodyPr/>
          <a:lstStyle/>
          <a:p>
            <a:r>
              <a:rPr lang="en-US"/>
              <a:t>ESG-Goals of UBER - Anhang</a:t>
            </a:r>
          </a:p>
        </p:txBody>
      </p:sp>
      <p:sp>
        <p:nvSpPr>
          <p:cNvPr id="6" name="Inhaltsplatzhalter 5">
            <a:extLst>
              <a:ext uri="{FF2B5EF4-FFF2-40B4-BE49-F238E27FC236}">
                <a16:creationId xmlns:a16="http://schemas.microsoft.com/office/drawing/2014/main" id="{31E6ED68-EB48-E469-2265-11FFFB30CDC0}"/>
              </a:ext>
            </a:extLst>
          </p:cNvPr>
          <p:cNvSpPr>
            <a:spLocks noGrp="1"/>
          </p:cNvSpPr>
          <p:nvPr>
            <p:ph idx="12"/>
          </p:nvPr>
        </p:nvSpPr>
        <p:spPr/>
        <p:txBody>
          <a:bodyPr/>
          <a:lstStyle/>
          <a:p>
            <a:r>
              <a:rPr lang="en-US"/>
              <a:t>ESG</a:t>
            </a:r>
          </a:p>
        </p:txBody>
      </p:sp>
      <p:sp>
        <p:nvSpPr>
          <p:cNvPr id="18" name="Freeform: Shape 17">
            <a:extLst>
              <a:ext uri="{FF2B5EF4-FFF2-40B4-BE49-F238E27FC236}">
                <a16:creationId xmlns:a16="http://schemas.microsoft.com/office/drawing/2014/main" id="{26F57D5F-805A-329F-D436-4551E25C0373}"/>
              </a:ext>
            </a:extLst>
          </p:cNvPr>
          <p:cNvSpPr/>
          <p:nvPr/>
        </p:nvSpPr>
        <p:spPr>
          <a:xfrm>
            <a:off x="457199" y="2462224"/>
            <a:ext cx="2700000" cy="3735376"/>
          </a:xfrm>
          <a:custGeom>
            <a:avLst/>
            <a:gdLst>
              <a:gd name="connsiteX0" fmla="*/ 0 w 3600000"/>
              <a:gd name="connsiteY0" fmla="*/ 0 h 3012602"/>
              <a:gd name="connsiteX1" fmla="*/ 1800001 w 3600000"/>
              <a:gd name="connsiteY1" fmla="*/ 265125 h 3012602"/>
              <a:gd name="connsiteX2" fmla="*/ 3600000 w 3600000"/>
              <a:gd name="connsiteY2" fmla="*/ 0 h 3012602"/>
              <a:gd name="connsiteX3" fmla="*/ 3600000 w 3600000"/>
              <a:gd name="connsiteY3" fmla="*/ 3012602 h 3012602"/>
              <a:gd name="connsiteX4" fmla="*/ 0 w 3600000"/>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3012602">
                <a:moveTo>
                  <a:pt x="0" y="0"/>
                </a:moveTo>
                <a:lnTo>
                  <a:pt x="1800001" y="265125"/>
                </a:lnTo>
                <a:lnTo>
                  <a:pt x="3600000" y="0"/>
                </a:lnTo>
                <a:lnTo>
                  <a:pt x="3600000" y="3012602"/>
                </a:lnTo>
                <a:lnTo>
                  <a:pt x="0" y="3012602"/>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6675" tIns="270000" rIns="66675" bIns="28575" rtlCol="0" anchor="t">
            <a:noAutofit/>
          </a:bodyPr>
          <a:lstStyle/>
          <a:p>
            <a:pPr marL="214308" indent="-214308" defTabSz="685800">
              <a:buFont typeface="Arial" panose="020B0604020202020204" pitchFamily="34" charset="0"/>
              <a:buChar char="•"/>
              <a:defRPr/>
            </a:pPr>
            <a:r>
              <a:rPr lang="en-US" sz="1200" b="1" kern="0">
                <a:solidFill>
                  <a:schemeClr val="tx1"/>
                </a:solidFill>
              </a:rPr>
              <a:t>Air quality: </a:t>
            </a:r>
            <a:r>
              <a:rPr lang="en-US" sz="1200" kern="0">
                <a:solidFill>
                  <a:schemeClr val="tx1"/>
                </a:solidFill>
              </a:rPr>
              <a:t>Implement initiatives to improve air quality by integrating more hybrid and electric vehicles into the fleet</a:t>
            </a:r>
          </a:p>
          <a:p>
            <a:pPr marL="214308" indent="-214308" defTabSz="685800">
              <a:buFont typeface="Arial" panose="020B0604020202020204" pitchFamily="34" charset="0"/>
              <a:buChar char="•"/>
              <a:defRPr/>
            </a:pPr>
            <a:r>
              <a:rPr lang="en-US" sz="1200" b="1" kern="0">
                <a:solidFill>
                  <a:schemeClr val="tx1"/>
                </a:solidFill>
              </a:rPr>
              <a:t>Climate Risks and Chances: </a:t>
            </a:r>
            <a:r>
              <a:rPr lang="en-US" sz="1200" kern="0">
                <a:solidFill>
                  <a:schemeClr val="tx1"/>
                </a:solidFill>
              </a:rPr>
              <a:t>Develop strategies to mitigate risks and capitalize on opportunities presented by the climate change, such as investing in sustainable technologies</a:t>
            </a:r>
          </a:p>
          <a:p>
            <a:pPr marL="214308" indent="-214308" defTabSz="685800">
              <a:buFont typeface="Arial" panose="020B0604020202020204" pitchFamily="34" charset="0"/>
              <a:buChar char="•"/>
              <a:defRPr/>
            </a:pPr>
            <a:r>
              <a:rPr lang="en-US" sz="1200" b="1" kern="0">
                <a:solidFill>
                  <a:schemeClr val="tx1"/>
                </a:solidFill>
              </a:rPr>
              <a:t>General Economic Sustainability: </a:t>
            </a:r>
            <a:r>
              <a:rPr lang="en-US" sz="1200" kern="0">
                <a:solidFill>
                  <a:schemeClr val="tx1"/>
                </a:solidFill>
              </a:rPr>
              <a:t>Adopt business practices that ensure long-term economic sustainability without compromising environmental integrity</a:t>
            </a:r>
          </a:p>
        </p:txBody>
      </p:sp>
      <p:sp>
        <p:nvSpPr>
          <p:cNvPr id="11" name="Nom4"/>
          <p:cNvSpPr/>
          <p:nvPr/>
        </p:nvSpPr>
        <p:spPr>
          <a:xfrm rot="5400000">
            <a:off x="1590857" y="1038146"/>
            <a:ext cx="432686" cy="2700000"/>
          </a:xfrm>
          <a:prstGeom prst="homePlat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algn="ctr" defTabSz="685800">
              <a:defRPr/>
            </a:pPr>
            <a:r>
              <a:rPr lang="en-US" sz="1200" b="1" kern="0"/>
              <a:t>Environment</a:t>
            </a:r>
          </a:p>
        </p:txBody>
      </p:sp>
      <p:sp>
        <p:nvSpPr>
          <p:cNvPr id="13" name="Textfeld 12">
            <a:extLst>
              <a:ext uri="{FF2B5EF4-FFF2-40B4-BE49-F238E27FC236}">
                <a16:creationId xmlns:a16="http://schemas.microsoft.com/office/drawing/2014/main" id="{F3ADBC87-5EC1-FC39-39C0-CA4C14145966}"/>
              </a:ext>
            </a:extLst>
          </p:cNvPr>
          <p:cNvSpPr txBox="1"/>
          <p:nvPr/>
        </p:nvSpPr>
        <p:spPr>
          <a:xfrm>
            <a:off x="3502660" y="2133012"/>
            <a:ext cx="5037377" cy="1200329"/>
          </a:xfrm>
          <a:prstGeom prst="rect">
            <a:avLst/>
          </a:prstGeom>
          <a:noFill/>
        </p:spPr>
        <p:txBody>
          <a:bodyPr wrap="square" rtlCol="0">
            <a:spAutoFit/>
          </a:bodyPr>
          <a:lstStyle/>
          <a:p>
            <a:pPr marL="171450" indent="-171450">
              <a:buFont typeface="Arial" panose="020B0604020202020204" pitchFamily="34" charset="0"/>
              <a:buChar char="•"/>
            </a:pPr>
            <a:r>
              <a:rPr lang="en-US" sz="1200"/>
              <a:t>31 million unique riders experiencing an EV-Ride</a:t>
            </a:r>
          </a:p>
          <a:p>
            <a:pPr marL="171450" indent="-171450">
              <a:buFont typeface="Arial" panose="020B0604020202020204" pitchFamily="34" charset="0"/>
              <a:buChar char="•"/>
            </a:pPr>
            <a:r>
              <a:rPr lang="en-US" sz="1200"/>
              <a:t>77 million trips in zero-emission vehicles</a:t>
            </a:r>
          </a:p>
          <a:p>
            <a:pPr marL="171450" indent="-171450">
              <a:buFont typeface="Arial" panose="020B0604020202020204" pitchFamily="34" charset="0"/>
              <a:buChar char="•"/>
            </a:pPr>
            <a:r>
              <a:rPr lang="en-US" sz="1200"/>
              <a:t>3.5-Fold increase in Number of active electric vehicles YoY</a:t>
            </a:r>
          </a:p>
          <a:p>
            <a:pPr marL="171450" indent="-171450">
              <a:buFont typeface="Arial" panose="020B0604020202020204" pitchFamily="34" charset="0"/>
              <a:buChar char="•"/>
            </a:pPr>
            <a:r>
              <a:rPr lang="en-US" sz="1200"/>
              <a:t>150 % YoY growth in the usage of sustainable ride products</a:t>
            </a:r>
          </a:p>
          <a:p>
            <a:pPr marL="171450" indent="-171450">
              <a:buFont typeface="Arial" panose="020B0604020202020204" pitchFamily="34" charset="0"/>
              <a:buChar char="•"/>
            </a:pPr>
            <a:r>
              <a:rPr lang="en-US" sz="1200"/>
              <a:t>Over 200 cities offering </a:t>
            </a:r>
            <a:r>
              <a:rPr lang="en-US" sz="1200">
                <a:effectLst/>
              </a:rPr>
              <a:t>Uber Green, Uber Comfort Electric and or Uber Planet services</a:t>
            </a:r>
            <a:endParaRPr lang="en-US" sz="1200"/>
          </a:p>
        </p:txBody>
      </p:sp>
      <p:sp>
        <p:nvSpPr>
          <p:cNvPr id="23" name="Inhaltsplatzhalter 22">
            <a:extLst>
              <a:ext uri="{FF2B5EF4-FFF2-40B4-BE49-F238E27FC236}">
                <a16:creationId xmlns:a16="http://schemas.microsoft.com/office/drawing/2014/main" id="{BE83C5AD-449A-04C3-309F-04A78E3B67C4}"/>
              </a:ext>
            </a:extLst>
          </p:cNvPr>
          <p:cNvSpPr>
            <a:spLocks noGrp="1"/>
          </p:cNvSpPr>
          <p:nvPr>
            <p:ph idx="11"/>
          </p:nvPr>
        </p:nvSpPr>
        <p:spPr/>
        <p:txBody>
          <a:bodyPr/>
          <a:lstStyle/>
          <a:p>
            <a:r>
              <a:rPr lang="en-US"/>
              <a:t>Uber ESG-Report</a:t>
            </a:r>
          </a:p>
        </p:txBody>
      </p:sp>
      <p:graphicFrame>
        <p:nvGraphicFramePr>
          <p:cNvPr id="24" name="Inhaltsplatzhalter 20">
            <a:extLst>
              <a:ext uri="{FF2B5EF4-FFF2-40B4-BE49-F238E27FC236}">
                <a16:creationId xmlns:a16="http://schemas.microsoft.com/office/drawing/2014/main" id="{55C3801A-8F17-2A31-5108-09246B31A4CF}"/>
              </a:ext>
            </a:extLst>
          </p:cNvPr>
          <p:cNvGraphicFramePr>
            <a:graphicFrameLocks/>
          </p:cNvGraphicFramePr>
          <p:nvPr>
            <p:extLst>
              <p:ext uri="{D42A27DB-BD31-4B8C-83A1-F6EECF244321}">
                <p14:modId xmlns:p14="http://schemas.microsoft.com/office/powerpoint/2010/main" val="3891686667"/>
              </p:ext>
            </p:extLst>
          </p:nvPr>
        </p:nvGraphicFramePr>
        <p:xfrm>
          <a:off x="3492500" y="3451363"/>
          <a:ext cx="5394981" cy="2743200"/>
        </p:xfrm>
        <a:graphic>
          <a:graphicData uri="http://schemas.openxmlformats.org/drawingml/2006/table">
            <a:tbl>
              <a:tblPr firstRow="1" bandRow="1">
                <a:tableStyleId>{073A0DAA-6AF3-43AB-8588-CEC1D06C72B9}</a:tableStyleId>
              </a:tblPr>
              <a:tblGrid>
                <a:gridCol w="1151494">
                  <a:extLst>
                    <a:ext uri="{9D8B030D-6E8A-4147-A177-3AD203B41FA5}">
                      <a16:colId xmlns:a16="http://schemas.microsoft.com/office/drawing/2014/main" val="2840044204"/>
                    </a:ext>
                  </a:extLst>
                </a:gridCol>
                <a:gridCol w="2798228">
                  <a:extLst>
                    <a:ext uri="{9D8B030D-6E8A-4147-A177-3AD203B41FA5}">
                      <a16:colId xmlns:a16="http://schemas.microsoft.com/office/drawing/2014/main" val="3269776166"/>
                    </a:ext>
                  </a:extLst>
                </a:gridCol>
                <a:gridCol w="1445259">
                  <a:extLst>
                    <a:ext uri="{9D8B030D-6E8A-4147-A177-3AD203B41FA5}">
                      <a16:colId xmlns:a16="http://schemas.microsoft.com/office/drawing/2014/main" val="3856229576"/>
                    </a:ext>
                  </a:extLst>
                </a:gridCol>
              </a:tblGrid>
              <a:tr h="244337">
                <a:tc>
                  <a:txBody>
                    <a:bodyPr/>
                    <a:lstStyle/>
                    <a:p>
                      <a:pPr algn="ctr" rtl="0"/>
                      <a:r>
                        <a:rPr lang="en-US" sz="1200"/>
                        <a:t>Service</a:t>
                      </a:r>
                    </a:p>
                  </a:txBody>
                  <a:tcPr/>
                </a:tc>
                <a:tc>
                  <a:txBody>
                    <a:bodyPr/>
                    <a:lstStyle/>
                    <a:p>
                      <a:pPr algn="ctr" rtl="0"/>
                      <a:r>
                        <a:rPr lang="en-US" sz="1200"/>
                        <a:t>Description</a:t>
                      </a:r>
                    </a:p>
                  </a:txBody>
                  <a:tcPr/>
                </a:tc>
                <a:tc>
                  <a:txBody>
                    <a:bodyPr/>
                    <a:lstStyle/>
                    <a:p>
                      <a:pPr algn="ctr" rtl="0"/>
                      <a:r>
                        <a:rPr lang="en-US" sz="1200"/>
                        <a:t>Availability</a:t>
                      </a:r>
                    </a:p>
                  </a:txBody>
                  <a:tcPr/>
                </a:tc>
                <a:extLst>
                  <a:ext uri="{0D108BD9-81ED-4DB2-BD59-A6C34878D82A}">
                    <a16:rowId xmlns:a16="http://schemas.microsoft.com/office/drawing/2014/main" val="4054847673"/>
                  </a:ext>
                </a:extLst>
              </a:tr>
              <a:tr h="490741">
                <a:tc>
                  <a:txBody>
                    <a:bodyPr/>
                    <a:lstStyle/>
                    <a:p>
                      <a:pPr algn="ctr" rtl="0"/>
                      <a:r>
                        <a:rPr lang="en-US" sz="1200"/>
                        <a:t>Uber Planet</a:t>
                      </a:r>
                    </a:p>
                  </a:txBody>
                  <a:tcPr/>
                </a:tc>
                <a:tc>
                  <a:txBody>
                    <a:bodyPr/>
                    <a:lstStyle/>
                    <a:p>
                      <a:pPr rtl="0"/>
                      <a:r>
                        <a:rPr lang="en-US" sz="1200"/>
                        <a:t>Mobility Product that offers net-zero-emission rides through a price surcharge, allowing riders to offset their carbon footprint with carbon credits invested in </a:t>
                      </a:r>
                      <a:r>
                        <a:rPr lang="en-US" sz="1200">
                          <a:effectLst/>
                        </a:rPr>
                        <a:t>certified projects</a:t>
                      </a:r>
                      <a:endParaRPr lang="en-US" sz="1200"/>
                    </a:p>
                  </a:txBody>
                  <a:tcPr/>
                </a:tc>
                <a:tc>
                  <a:txBody>
                    <a:bodyPr/>
                    <a:lstStyle/>
                    <a:p>
                      <a:pPr rtl="0"/>
                      <a:r>
                        <a:rPr lang="en-US" sz="1200"/>
                        <a:t>80+ Cities in 11 countries</a:t>
                      </a:r>
                    </a:p>
                  </a:txBody>
                  <a:tcPr/>
                </a:tc>
                <a:extLst>
                  <a:ext uri="{0D108BD9-81ED-4DB2-BD59-A6C34878D82A}">
                    <a16:rowId xmlns:a16="http://schemas.microsoft.com/office/drawing/2014/main" val="3156823051"/>
                  </a:ext>
                </a:extLst>
              </a:tr>
              <a:tr h="490741">
                <a:tc>
                  <a:txBody>
                    <a:bodyPr/>
                    <a:lstStyle/>
                    <a:p>
                      <a:pPr algn="ctr" rtl="0"/>
                      <a:r>
                        <a:rPr lang="en-US" sz="1200"/>
                        <a:t>Uber Comfort Electric</a:t>
                      </a:r>
                    </a:p>
                  </a:txBody>
                  <a:tcPr/>
                </a:tc>
                <a:tc>
                  <a:txBody>
                    <a:bodyPr/>
                    <a:lstStyle/>
                    <a:p>
                      <a:pPr rtl="0"/>
                      <a:r>
                        <a:rPr lang="en-US" sz="1200"/>
                        <a:t>An EV-only service allowing riders to request trips in premium electric vehicles like Tesla or Polestar</a:t>
                      </a:r>
                    </a:p>
                  </a:txBody>
                  <a:tcPr/>
                </a:tc>
                <a:tc>
                  <a:txBody>
                    <a:bodyPr/>
                    <a:lstStyle/>
                    <a:p>
                      <a:pPr rtl="0"/>
                      <a:r>
                        <a:rPr lang="en-US" sz="1200"/>
                        <a:t>Bogota, plus 40 markets across Canada and the US</a:t>
                      </a:r>
                    </a:p>
                  </a:txBody>
                  <a:tcPr/>
                </a:tc>
                <a:extLst>
                  <a:ext uri="{0D108BD9-81ED-4DB2-BD59-A6C34878D82A}">
                    <a16:rowId xmlns:a16="http://schemas.microsoft.com/office/drawing/2014/main" val="4070805059"/>
                  </a:ext>
                </a:extLst>
              </a:tr>
              <a:tr h="490741">
                <a:tc>
                  <a:txBody>
                    <a:bodyPr/>
                    <a:lstStyle/>
                    <a:p>
                      <a:pPr algn="ctr" rtl="0"/>
                      <a:r>
                        <a:rPr lang="en-US" sz="1200"/>
                        <a:t>Uber Green</a:t>
                      </a:r>
                    </a:p>
                  </a:txBody>
                  <a:tcPr/>
                </a:tc>
                <a:tc>
                  <a:txBody>
                    <a:bodyPr/>
                    <a:lstStyle/>
                    <a:p>
                      <a:pPr rtl="0"/>
                      <a:r>
                        <a:rPr lang="en-US" sz="1200"/>
                        <a:t>Offers rides in electric and hybrid vehicles. It’s a widely available on-demand mobility solution for no- or low-emission rides, prices the same as UberX where available</a:t>
                      </a:r>
                    </a:p>
                  </a:txBody>
                  <a:tcPr/>
                </a:tc>
                <a:tc>
                  <a:txBody>
                    <a:bodyPr/>
                    <a:lstStyle/>
                    <a:p>
                      <a:pPr rtl="0"/>
                      <a:r>
                        <a:rPr lang="en-US" sz="1200"/>
                        <a:t>110+ Cities in 20 Countries on 3 Continents</a:t>
                      </a:r>
                    </a:p>
                  </a:txBody>
                  <a:tcPr/>
                </a:tc>
                <a:extLst>
                  <a:ext uri="{0D108BD9-81ED-4DB2-BD59-A6C34878D82A}">
                    <a16:rowId xmlns:a16="http://schemas.microsoft.com/office/drawing/2014/main" val="4123145613"/>
                  </a:ext>
                </a:extLst>
              </a:tr>
            </a:tbl>
          </a:graphicData>
        </a:graphic>
      </p:graphicFrame>
    </p:spTree>
    <p:custDataLst>
      <p:tags r:id="rId1"/>
    </p:custDataLst>
    <p:extLst>
      <p:ext uri="{BB962C8B-B14F-4D97-AF65-F5344CB8AC3E}">
        <p14:creationId xmlns:p14="http://schemas.microsoft.com/office/powerpoint/2010/main" val="227642887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C8CF66-F642-0630-3312-985B94710D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32" imgH="530" progId="TCLayout.ActiveDocument.1">
                  <p:embed/>
                </p:oleObj>
              </mc:Choice>
              <mc:Fallback>
                <p:oleObj name="think-cell Folie" r:id="rId5" imgW="532" imgH="530" progId="TCLayout.ActiveDocument.1">
                  <p:embed/>
                  <p:pic>
                    <p:nvPicPr>
                      <p:cNvPr id="8" name="think-cell data - do not delete" hidden="1">
                        <a:extLst>
                          <a:ext uri="{FF2B5EF4-FFF2-40B4-BE49-F238E27FC236}">
                            <a16:creationId xmlns:a16="http://schemas.microsoft.com/office/drawing/2014/main" id="{B2C8CF66-F642-0630-3312-985B94710D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Autofit/>
          </a:bodyPr>
          <a:lstStyle/>
          <a:p>
            <a:r>
              <a:rPr lang="en-US"/>
              <a:t>Ubers Social ESG-Goals focus mainly on the wellbeing of their Workforce, their customers and the impact on the community</a:t>
            </a:r>
          </a:p>
        </p:txBody>
      </p:sp>
      <p:sp>
        <p:nvSpPr>
          <p:cNvPr id="4" name="Inhaltsplatzhalter 3">
            <a:extLst>
              <a:ext uri="{FF2B5EF4-FFF2-40B4-BE49-F238E27FC236}">
                <a16:creationId xmlns:a16="http://schemas.microsoft.com/office/drawing/2014/main" id="{58F03B6E-0ABD-9A45-A8AD-1D337471F166}"/>
              </a:ext>
            </a:extLst>
          </p:cNvPr>
          <p:cNvSpPr>
            <a:spLocks noGrp="1"/>
          </p:cNvSpPr>
          <p:nvPr>
            <p:ph idx="10"/>
          </p:nvPr>
        </p:nvSpPr>
        <p:spPr/>
        <p:txBody>
          <a:bodyPr/>
          <a:lstStyle/>
          <a:p>
            <a:r>
              <a:rPr lang="en-US"/>
              <a:t>ESG-Goals of UBER - Anhang</a:t>
            </a:r>
          </a:p>
        </p:txBody>
      </p:sp>
      <p:sp>
        <p:nvSpPr>
          <p:cNvPr id="5" name="Inhaltsplatzhalter 4">
            <a:extLst>
              <a:ext uri="{FF2B5EF4-FFF2-40B4-BE49-F238E27FC236}">
                <a16:creationId xmlns:a16="http://schemas.microsoft.com/office/drawing/2014/main" id="{E1061BD4-B7F4-9711-4C6F-155DC696033A}"/>
              </a:ext>
            </a:extLst>
          </p:cNvPr>
          <p:cNvSpPr>
            <a:spLocks noGrp="1"/>
          </p:cNvSpPr>
          <p:nvPr>
            <p:ph idx="11"/>
          </p:nvPr>
        </p:nvSpPr>
        <p:spPr/>
        <p:txBody>
          <a:bodyPr/>
          <a:lstStyle/>
          <a:p>
            <a:r>
              <a:rPr lang="en-US"/>
              <a:t>Uber ESG-Report</a:t>
            </a:r>
          </a:p>
        </p:txBody>
      </p:sp>
      <p:sp>
        <p:nvSpPr>
          <p:cNvPr id="6" name="Inhaltsplatzhalter 5">
            <a:extLst>
              <a:ext uri="{FF2B5EF4-FFF2-40B4-BE49-F238E27FC236}">
                <a16:creationId xmlns:a16="http://schemas.microsoft.com/office/drawing/2014/main" id="{31E6ED68-EB48-E469-2265-11FFFB30CDC0}"/>
              </a:ext>
            </a:extLst>
          </p:cNvPr>
          <p:cNvSpPr>
            <a:spLocks noGrp="1"/>
          </p:cNvSpPr>
          <p:nvPr>
            <p:ph idx="12"/>
          </p:nvPr>
        </p:nvSpPr>
        <p:spPr/>
        <p:txBody>
          <a:bodyPr/>
          <a:lstStyle/>
          <a:p>
            <a:r>
              <a:rPr lang="en-US"/>
              <a:t>ESG</a:t>
            </a:r>
          </a:p>
        </p:txBody>
      </p:sp>
      <p:sp>
        <p:nvSpPr>
          <p:cNvPr id="7" name="Nom3">
            <a:extLst>
              <a:ext uri="{FF2B5EF4-FFF2-40B4-BE49-F238E27FC236}">
                <a16:creationId xmlns:a16="http://schemas.microsoft.com/office/drawing/2014/main" id="{F19E25CD-7E78-6B8C-D8A0-8F42EB7A5A03}"/>
              </a:ext>
            </a:extLst>
          </p:cNvPr>
          <p:cNvSpPr/>
          <p:nvPr/>
        </p:nvSpPr>
        <p:spPr>
          <a:xfrm rot="5400000">
            <a:off x="1590855" y="1035110"/>
            <a:ext cx="432686" cy="270000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lang="en-US" sz="1200" b="1" kern="0"/>
              <a:t>Social</a:t>
            </a:r>
          </a:p>
        </p:txBody>
      </p:sp>
      <p:sp>
        <p:nvSpPr>
          <p:cNvPr id="12" name="Freeform: Shape 18">
            <a:extLst>
              <a:ext uri="{FF2B5EF4-FFF2-40B4-BE49-F238E27FC236}">
                <a16:creationId xmlns:a16="http://schemas.microsoft.com/office/drawing/2014/main" id="{715FE74A-F784-B6A1-BBE1-4819EBD55F01}"/>
              </a:ext>
            </a:extLst>
          </p:cNvPr>
          <p:cNvSpPr/>
          <p:nvPr/>
        </p:nvSpPr>
        <p:spPr>
          <a:xfrm>
            <a:off x="457199" y="2459187"/>
            <a:ext cx="2699999" cy="3735376"/>
          </a:xfrm>
          <a:custGeom>
            <a:avLst/>
            <a:gdLst>
              <a:gd name="connsiteX0" fmla="*/ 0 w 3599998"/>
              <a:gd name="connsiteY0" fmla="*/ 0 h 3012602"/>
              <a:gd name="connsiteX1" fmla="*/ 1800000 w 3599998"/>
              <a:gd name="connsiteY1" fmla="*/ 265125 h 3012602"/>
              <a:gd name="connsiteX2" fmla="*/ 3599998 w 3599998"/>
              <a:gd name="connsiteY2" fmla="*/ 0 h 3012602"/>
              <a:gd name="connsiteX3" fmla="*/ 3599998 w 3599998"/>
              <a:gd name="connsiteY3" fmla="*/ 3012602 h 3012602"/>
              <a:gd name="connsiteX4" fmla="*/ 0 w 3599998"/>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8" h="3012602">
                <a:moveTo>
                  <a:pt x="0" y="0"/>
                </a:moveTo>
                <a:lnTo>
                  <a:pt x="1800000" y="265125"/>
                </a:lnTo>
                <a:lnTo>
                  <a:pt x="3599998" y="0"/>
                </a:lnTo>
                <a:lnTo>
                  <a:pt x="3599998" y="3012602"/>
                </a:lnTo>
                <a:lnTo>
                  <a:pt x="0" y="3012602"/>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6675" tIns="270000" rIns="66675" bIns="28575" rtlCol="0" anchor="t">
            <a:noAutofit/>
          </a:bodyPr>
          <a:lstStyle/>
          <a:p>
            <a:pPr marL="171450" indent="-171450">
              <a:buFont typeface="Arial" panose="020B0604020202020204" pitchFamily="34" charset="0"/>
              <a:buChar char="•"/>
              <a:defRPr/>
            </a:pPr>
            <a:r>
              <a:rPr lang="en-US" sz="1200" b="1" kern="0">
                <a:solidFill>
                  <a:schemeClr val="tx1"/>
                </a:solidFill>
              </a:rPr>
              <a:t>Safety and Well-being of Drivers and Customers</a:t>
            </a:r>
            <a:r>
              <a:rPr lang="en-US" sz="1200" kern="0">
                <a:solidFill>
                  <a:schemeClr val="tx1"/>
                </a:solidFill>
              </a:rPr>
              <a:t>: Enhance safety measures with advanced in-ride technologies and support systems for driver and passenger well-being</a:t>
            </a:r>
          </a:p>
          <a:p>
            <a:pPr marL="171450" indent="-171450">
              <a:buFont typeface="Arial" panose="020B0604020202020204" pitchFamily="34" charset="0"/>
              <a:buChar char="•"/>
              <a:defRPr/>
            </a:pPr>
            <a:r>
              <a:rPr lang="en-US" sz="1200" b="1" kern="0">
                <a:solidFill>
                  <a:schemeClr val="tx1"/>
                </a:solidFill>
              </a:rPr>
              <a:t>Diversity and Integration: </a:t>
            </a:r>
            <a:r>
              <a:rPr lang="en-US" sz="1200" kern="0">
                <a:solidFill>
                  <a:schemeClr val="tx1"/>
                </a:solidFill>
              </a:rPr>
              <a:t>Commit to creating an inclusive workplace and service that reflects the diversity of the communities served.</a:t>
            </a:r>
          </a:p>
          <a:p>
            <a:pPr marL="171450" indent="-171450">
              <a:buFont typeface="Arial" panose="020B0604020202020204" pitchFamily="34" charset="0"/>
              <a:buChar char="•"/>
              <a:defRPr/>
            </a:pPr>
            <a:r>
              <a:rPr lang="en-US" sz="1200" b="1" kern="0">
                <a:solidFill>
                  <a:schemeClr val="tx1"/>
                </a:solidFill>
              </a:rPr>
              <a:t>Human Rights</a:t>
            </a:r>
            <a:r>
              <a:rPr lang="en-US" sz="1200" kern="0">
                <a:solidFill>
                  <a:schemeClr val="tx1"/>
                </a:solidFill>
              </a:rPr>
              <a:t>: Uphold stringent human rights standards within the company and the supply chain.</a:t>
            </a:r>
          </a:p>
          <a:p>
            <a:pPr marL="171450" indent="-171450">
              <a:buFont typeface="Arial" panose="020B0604020202020204" pitchFamily="34" charset="0"/>
              <a:buChar char="•"/>
              <a:defRPr/>
            </a:pPr>
            <a:r>
              <a:rPr lang="en-US" sz="1200" b="1" kern="0">
                <a:solidFill>
                  <a:schemeClr val="tx1"/>
                </a:solidFill>
              </a:rPr>
              <a:t>Innovation: </a:t>
            </a:r>
            <a:r>
              <a:rPr lang="en-US" sz="1200" kern="0">
                <a:solidFill>
                  <a:schemeClr val="tx1"/>
                </a:solidFill>
              </a:rPr>
              <a:t>Invest in innovative technologies and services that enhance the user experience and improve societal impact.</a:t>
            </a:r>
          </a:p>
          <a:p>
            <a:pPr marL="214308" indent="-214308">
              <a:buFont typeface="Arial" panose="020B0604020202020204" pitchFamily="34" charset="0"/>
              <a:buChar char="•"/>
              <a:defRPr/>
            </a:pPr>
            <a:endParaRPr lang="en-US" sz="1200" kern="0">
              <a:solidFill>
                <a:schemeClr val="tx1"/>
              </a:solidFill>
            </a:endParaRPr>
          </a:p>
          <a:p>
            <a:pPr>
              <a:defRPr/>
            </a:pPr>
            <a:endParaRPr lang="en-US" sz="1200" kern="0">
              <a:solidFill>
                <a:schemeClr val="tx1"/>
              </a:solidFill>
            </a:endParaRPr>
          </a:p>
        </p:txBody>
      </p:sp>
      <p:grpSp>
        <p:nvGrpSpPr>
          <p:cNvPr id="14" name="Group 1">
            <a:extLst>
              <a:ext uri="{FF2B5EF4-FFF2-40B4-BE49-F238E27FC236}">
                <a16:creationId xmlns:a16="http://schemas.microsoft.com/office/drawing/2014/main" id="{EAF3B1F2-5651-6376-4F8C-ED253FEC2A84}"/>
              </a:ext>
            </a:extLst>
          </p:cNvPr>
          <p:cNvGrpSpPr/>
          <p:nvPr/>
        </p:nvGrpSpPr>
        <p:grpSpPr>
          <a:xfrm>
            <a:off x="3502660" y="2008925"/>
            <a:ext cx="5012690" cy="1955368"/>
            <a:chOff x="623392" y="1472067"/>
            <a:chExt cx="11045694" cy="1447594"/>
          </a:xfrm>
        </p:grpSpPr>
        <p:sp>
          <p:nvSpPr>
            <p:cNvPr id="15" name="Rectangle 17">
              <a:extLst>
                <a:ext uri="{FF2B5EF4-FFF2-40B4-BE49-F238E27FC236}">
                  <a16:creationId xmlns:a16="http://schemas.microsoft.com/office/drawing/2014/main" id="{781FBB8A-EF6B-E63E-ABD9-793EEB7BEAE1}"/>
                </a:ext>
              </a:extLst>
            </p:cNvPr>
            <p:cNvSpPr/>
            <p:nvPr/>
          </p:nvSpPr>
          <p:spPr>
            <a:xfrm>
              <a:off x="623392" y="1610857"/>
              <a:ext cx="11045694" cy="130880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kern="0">
                  <a:solidFill>
                    <a:schemeClr val="tx1"/>
                  </a:solidFill>
                </a:rPr>
                <a:t>Over 32,000 employees globally</a:t>
              </a:r>
            </a:p>
            <a:p>
              <a:pPr marL="214313" indent="-214313" defTabSz="685800">
                <a:buFont typeface="Arial" panose="020B0604020202020204" pitchFamily="34" charset="0"/>
                <a:buChar char="•"/>
                <a:defRPr/>
              </a:pPr>
              <a:r>
                <a:rPr lang="en-US" sz="1200" kern="0">
                  <a:solidFill>
                    <a:schemeClr val="tx1"/>
                  </a:solidFill>
                </a:rPr>
                <a:t>Fulfilled 11 Anti Racism commitments</a:t>
              </a:r>
            </a:p>
            <a:p>
              <a:pPr marL="214313" indent="-214313" defTabSz="685800">
                <a:buFont typeface="Arial" panose="020B0604020202020204" pitchFamily="34" charset="0"/>
                <a:buChar char="•"/>
                <a:defRPr/>
              </a:pPr>
              <a:r>
                <a:rPr lang="en-US" sz="1200" kern="0">
                  <a:solidFill>
                    <a:schemeClr val="tx1"/>
                  </a:solidFill>
                </a:rPr>
                <a:t>Increased the representation of underrepresented people in leadership by 1.5%</a:t>
              </a:r>
            </a:p>
            <a:p>
              <a:pPr marL="214313" indent="-214313" defTabSz="685800">
                <a:buFont typeface="Arial" panose="020B0604020202020204" pitchFamily="34" charset="0"/>
                <a:buChar char="•"/>
                <a:defRPr/>
              </a:pPr>
              <a:r>
                <a:rPr lang="en-US" sz="1200" kern="0">
                  <a:solidFill>
                    <a:schemeClr val="tx1"/>
                  </a:solidFill>
                </a:rPr>
                <a:t>Made progress in demographic representation, pay equity and expanded diversity, equity and inclusion efforts</a:t>
              </a:r>
            </a:p>
            <a:p>
              <a:pPr marL="214313" indent="-214313" defTabSz="685800">
                <a:buFont typeface="Arial" panose="020B0604020202020204" pitchFamily="34" charset="0"/>
                <a:buChar char="•"/>
                <a:defRPr/>
              </a:pPr>
              <a:r>
                <a:rPr lang="en-US" sz="1200" kern="0">
                  <a:solidFill>
                    <a:schemeClr val="tx1"/>
                  </a:solidFill>
                </a:rPr>
                <a:t>Created workplaces with flexible and hybrid work options and robust benefits including mental health and family building programs</a:t>
              </a:r>
            </a:p>
          </p:txBody>
        </p:sp>
        <p:sp>
          <p:nvSpPr>
            <p:cNvPr id="16" name="Rectangle 18">
              <a:extLst>
                <a:ext uri="{FF2B5EF4-FFF2-40B4-BE49-F238E27FC236}">
                  <a16:creationId xmlns:a16="http://schemas.microsoft.com/office/drawing/2014/main" id="{05F79B05-6E2A-8CB1-8ACD-4388A43BCABB}"/>
                </a:ext>
              </a:extLst>
            </p:cNvPr>
            <p:cNvSpPr/>
            <p:nvPr/>
          </p:nvSpPr>
          <p:spPr>
            <a:xfrm>
              <a:off x="986497" y="1472067"/>
              <a:ext cx="2806714"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tx1"/>
                  </a:solidFill>
                </a:rPr>
                <a:t>For its Employees</a:t>
              </a:r>
            </a:p>
          </p:txBody>
        </p:sp>
      </p:grpSp>
      <p:grpSp>
        <p:nvGrpSpPr>
          <p:cNvPr id="17" name="Group 2">
            <a:extLst>
              <a:ext uri="{FF2B5EF4-FFF2-40B4-BE49-F238E27FC236}">
                <a16:creationId xmlns:a16="http://schemas.microsoft.com/office/drawing/2014/main" id="{69043DD5-02FF-E6CD-37F1-8E83EF86CBC0}"/>
              </a:ext>
            </a:extLst>
          </p:cNvPr>
          <p:cNvGrpSpPr/>
          <p:nvPr/>
        </p:nvGrpSpPr>
        <p:grpSpPr>
          <a:xfrm>
            <a:off x="3502660" y="4043968"/>
            <a:ext cx="5012690" cy="1755347"/>
            <a:chOff x="623392" y="3115348"/>
            <a:chExt cx="11045694" cy="1818903"/>
          </a:xfrm>
        </p:grpSpPr>
        <p:sp>
          <p:nvSpPr>
            <p:cNvPr id="21" name="Rectangle 19">
              <a:extLst>
                <a:ext uri="{FF2B5EF4-FFF2-40B4-BE49-F238E27FC236}">
                  <a16:creationId xmlns:a16="http://schemas.microsoft.com/office/drawing/2014/main" id="{5CE7ED7F-1F18-2C04-4E6D-F566AA89488D}"/>
                </a:ext>
              </a:extLst>
            </p:cNvPr>
            <p:cNvSpPr/>
            <p:nvPr/>
          </p:nvSpPr>
          <p:spPr>
            <a:xfrm>
              <a:off x="623392" y="3254138"/>
              <a:ext cx="11045694" cy="1680113"/>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kern="0">
                  <a:solidFill>
                    <a:schemeClr val="tx1"/>
                  </a:solidFill>
                </a:rPr>
                <a:t>Improved satisfaction and well-being</a:t>
              </a:r>
            </a:p>
            <a:p>
              <a:pPr marL="214313" indent="-214313" defTabSz="685800">
                <a:buFont typeface="Arial" panose="020B0604020202020204" pitchFamily="34" charset="0"/>
                <a:buChar char="•"/>
                <a:defRPr/>
              </a:pPr>
              <a:r>
                <a:rPr lang="en-US" sz="1200" kern="0">
                  <a:solidFill>
                    <a:schemeClr val="tx1"/>
                  </a:solidFill>
                </a:rPr>
                <a:t>Welcomed legislative advances in benefits and protection for independent contractors</a:t>
              </a:r>
            </a:p>
            <a:p>
              <a:pPr marL="214313" indent="-214313" defTabSz="685800">
                <a:buFont typeface="Arial" panose="020B0604020202020204" pitchFamily="34" charset="0"/>
                <a:buChar char="•"/>
                <a:defRPr/>
              </a:pPr>
              <a:r>
                <a:rPr lang="en-US" sz="1200" kern="0">
                  <a:solidFill>
                    <a:schemeClr val="tx1"/>
                  </a:solidFill>
                </a:rPr>
                <a:t>Made over 400 App improvements focusing on flexibility, transparency and choice</a:t>
              </a:r>
            </a:p>
            <a:p>
              <a:pPr marL="214313" indent="-214313" defTabSz="685800">
                <a:buFont typeface="Arial" panose="020B0604020202020204" pitchFamily="34" charset="0"/>
                <a:buChar char="•"/>
                <a:defRPr/>
              </a:pPr>
              <a:r>
                <a:rPr lang="en-US" sz="1200" kern="0">
                  <a:solidFill>
                    <a:schemeClr val="tx1"/>
                  </a:solidFill>
                </a:rPr>
                <a:t>Expanded the Vaccine access fund and launched a community access fund for equitable transportation access</a:t>
              </a:r>
            </a:p>
            <a:p>
              <a:pPr marL="214313" indent="-214313" defTabSz="685800">
                <a:buFont typeface="Arial" panose="020B0604020202020204" pitchFamily="34" charset="0"/>
                <a:buChar char="•"/>
                <a:defRPr/>
              </a:pPr>
              <a:r>
                <a:rPr lang="en-US" sz="1200" kern="0">
                  <a:solidFill>
                    <a:schemeClr val="tx1"/>
                  </a:solidFill>
                </a:rPr>
                <a:t>Increased transit partnerships and expanded micro mobility option</a:t>
              </a:r>
            </a:p>
          </p:txBody>
        </p:sp>
        <p:sp>
          <p:nvSpPr>
            <p:cNvPr id="22" name="Rectangle 20">
              <a:extLst>
                <a:ext uri="{FF2B5EF4-FFF2-40B4-BE49-F238E27FC236}">
                  <a16:creationId xmlns:a16="http://schemas.microsoft.com/office/drawing/2014/main" id="{7EAF475B-93CF-7C5D-7EEB-A6EF0CFFFEDD}"/>
                </a:ext>
              </a:extLst>
            </p:cNvPr>
            <p:cNvSpPr/>
            <p:nvPr/>
          </p:nvSpPr>
          <p:spPr>
            <a:xfrm>
              <a:off x="986499" y="3115348"/>
              <a:ext cx="3657735"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accent2"/>
                  </a:solidFill>
                </a:rPr>
                <a:t>For drivers and couriers</a:t>
              </a:r>
            </a:p>
          </p:txBody>
        </p:sp>
      </p:grpSp>
    </p:spTree>
    <p:custDataLst>
      <p:tags r:id="rId1"/>
    </p:custDataLst>
    <p:extLst>
      <p:ext uri="{BB962C8B-B14F-4D97-AF65-F5344CB8AC3E}">
        <p14:creationId xmlns:p14="http://schemas.microsoft.com/office/powerpoint/2010/main" val="34579779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C8CF66-F642-0630-3312-985B94710D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32" imgH="530" progId="TCLayout.ActiveDocument.1">
                  <p:embed/>
                </p:oleObj>
              </mc:Choice>
              <mc:Fallback>
                <p:oleObj name="think-cell Folie" r:id="rId5" imgW="532" imgH="530" progId="TCLayout.ActiveDocument.1">
                  <p:embed/>
                  <p:pic>
                    <p:nvPicPr>
                      <p:cNvPr id="8" name="think-cell data - do not delete" hidden="1">
                        <a:extLst>
                          <a:ext uri="{FF2B5EF4-FFF2-40B4-BE49-F238E27FC236}">
                            <a16:creationId xmlns:a16="http://schemas.microsoft.com/office/drawing/2014/main" id="{B2C8CF66-F642-0630-3312-985B94710D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Autofit/>
          </a:bodyPr>
          <a:lstStyle/>
          <a:p>
            <a:r>
              <a:rPr lang="en-US"/>
              <a:t>Ubers Governance structure, plays a huge role in the implementation of different strategies through a diverse skillset</a:t>
            </a:r>
          </a:p>
        </p:txBody>
      </p:sp>
      <p:sp>
        <p:nvSpPr>
          <p:cNvPr id="4" name="Inhaltsplatzhalter 3">
            <a:extLst>
              <a:ext uri="{FF2B5EF4-FFF2-40B4-BE49-F238E27FC236}">
                <a16:creationId xmlns:a16="http://schemas.microsoft.com/office/drawing/2014/main" id="{58F03B6E-0ABD-9A45-A8AD-1D337471F166}"/>
              </a:ext>
            </a:extLst>
          </p:cNvPr>
          <p:cNvSpPr>
            <a:spLocks noGrp="1"/>
          </p:cNvSpPr>
          <p:nvPr>
            <p:ph idx="10"/>
          </p:nvPr>
        </p:nvSpPr>
        <p:spPr/>
        <p:txBody>
          <a:bodyPr/>
          <a:lstStyle/>
          <a:p>
            <a:r>
              <a:rPr lang="en-US"/>
              <a:t>ESG-Goals of UBER - Anhang</a:t>
            </a:r>
          </a:p>
        </p:txBody>
      </p:sp>
      <p:sp>
        <p:nvSpPr>
          <p:cNvPr id="5" name="Inhaltsplatzhalter 4">
            <a:extLst>
              <a:ext uri="{FF2B5EF4-FFF2-40B4-BE49-F238E27FC236}">
                <a16:creationId xmlns:a16="http://schemas.microsoft.com/office/drawing/2014/main" id="{E1061BD4-B7F4-9711-4C6F-155DC696033A}"/>
              </a:ext>
            </a:extLst>
          </p:cNvPr>
          <p:cNvSpPr>
            <a:spLocks noGrp="1"/>
          </p:cNvSpPr>
          <p:nvPr>
            <p:ph idx="11"/>
          </p:nvPr>
        </p:nvSpPr>
        <p:spPr/>
        <p:txBody>
          <a:bodyPr/>
          <a:lstStyle/>
          <a:p>
            <a:r>
              <a:rPr lang="en-US"/>
              <a:t>Uber ESG-Report</a:t>
            </a:r>
          </a:p>
        </p:txBody>
      </p:sp>
      <p:sp>
        <p:nvSpPr>
          <p:cNvPr id="6" name="Inhaltsplatzhalter 5">
            <a:extLst>
              <a:ext uri="{FF2B5EF4-FFF2-40B4-BE49-F238E27FC236}">
                <a16:creationId xmlns:a16="http://schemas.microsoft.com/office/drawing/2014/main" id="{31E6ED68-EB48-E469-2265-11FFFB30CDC0}"/>
              </a:ext>
            </a:extLst>
          </p:cNvPr>
          <p:cNvSpPr>
            <a:spLocks noGrp="1"/>
          </p:cNvSpPr>
          <p:nvPr>
            <p:ph idx="12"/>
          </p:nvPr>
        </p:nvSpPr>
        <p:spPr/>
        <p:txBody>
          <a:bodyPr/>
          <a:lstStyle/>
          <a:p>
            <a:r>
              <a:rPr lang="en-US"/>
              <a:t>ESG</a:t>
            </a:r>
          </a:p>
        </p:txBody>
      </p:sp>
      <p:sp>
        <p:nvSpPr>
          <p:cNvPr id="7" name="Nom2">
            <a:extLst>
              <a:ext uri="{FF2B5EF4-FFF2-40B4-BE49-F238E27FC236}">
                <a16:creationId xmlns:a16="http://schemas.microsoft.com/office/drawing/2014/main" id="{C31C96A8-7DCF-C7E4-DEE0-0F32444F8964}"/>
              </a:ext>
            </a:extLst>
          </p:cNvPr>
          <p:cNvSpPr/>
          <p:nvPr/>
        </p:nvSpPr>
        <p:spPr>
          <a:xfrm rot="5400000">
            <a:off x="1590854" y="1035110"/>
            <a:ext cx="432686" cy="2700000"/>
          </a:xfrm>
          <a:prstGeom prst="homePlat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lvl="0" algn="ctr">
              <a:defRPr/>
            </a:pPr>
            <a:r>
              <a:rPr lang="en-US" sz="1200" b="1" kern="0"/>
              <a:t>Governance</a:t>
            </a:r>
          </a:p>
        </p:txBody>
      </p:sp>
      <p:sp>
        <p:nvSpPr>
          <p:cNvPr id="12" name="Freeform: Shape 19">
            <a:extLst>
              <a:ext uri="{FF2B5EF4-FFF2-40B4-BE49-F238E27FC236}">
                <a16:creationId xmlns:a16="http://schemas.microsoft.com/office/drawing/2014/main" id="{4CE46A5A-CC66-AEE9-8102-1CE3565DF799}"/>
              </a:ext>
            </a:extLst>
          </p:cNvPr>
          <p:cNvSpPr/>
          <p:nvPr/>
        </p:nvSpPr>
        <p:spPr>
          <a:xfrm>
            <a:off x="457197" y="2459187"/>
            <a:ext cx="2699999" cy="3735376"/>
          </a:xfrm>
          <a:custGeom>
            <a:avLst/>
            <a:gdLst>
              <a:gd name="connsiteX0" fmla="*/ 0 w 3599999"/>
              <a:gd name="connsiteY0" fmla="*/ 0 h 3012602"/>
              <a:gd name="connsiteX1" fmla="*/ 1800001 w 3599999"/>
              <a:gd name="connsiteY1" fmla="*/ 265125 h 3012602"/>
              <a:gd name="connsiteX2" fmla="*/ 3599999 w 3599999"/>
              <a:gd name="connsiteY2" fmla="*/ 0 h 3012602"/>
              <a:gd name="connsiteX3" fmla="*/ 3599999 w 3599999"/>
              <a:gd name="connsiteY3" fmla="*/ 3012602 h 3012602"/>
              <a:gd name="connsiteX4" fmla="*/ 0 w 3599999"/>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9" h="3012602">
                <a:moveTo>
                  <a:pt x="0" y="0"/>
                </a:moveTo>
                <a:lnTo>
                  <a:pt x="1800001" y="265125"/>
                </a:lnTo>
                <a:lnTo>
                  <a:pt x="3599999" y="0"/>
                </a:lnTo>
                <a:lnTo>
                  <a:pt x="3599999" y="3012602"/>
                </a:lnTo>
                <a:lnTo>
                  <a:pt x="0" y="3012602"/>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6675" tIns="270000" rIns="66675" bIns="28575" rtlCol="0" anchor="t">
            <a:noAutofit/>
          </a:bodyPr>
          <a:lstStyle/>
          <a:p>
            <a:pPr marL="214308" indent="-214308">
              <a:buFont typeface="Arial" panose="020B0604020202020204" pitchFamily="34" charset="0"/>
              <a:buChar char="•"/>
              <a:defRPr/>
            </a:pPr>
            <a:r>
              <a:rPr lang="en-US" sz="1200" b="1" kern="0">
                <a:solidFill>
                  <a:schemeClr val="tx1"/>
                </a:solidFill>
              </a:rPr>
              <a:t>ESG-Governance: </a:t>
            </a:r>
            <a:r>
              <a:rPr lang="en-US" sz="1200" kern="0">
                <a:solidFill>
                  <a:schemeClr val="tx1"/>
                </a:solidFill>
              </a:rPr>
              <a:t>Strengthen governance structures to oversee and integrate ESG priorities effectively across all levels of the organization.</a:t>
            </a:r>
          </a:p>
          <a:p>
            <a:pPr marL="214308" indent="-214308">
              <a:buFont typeface="Arial" panose="020B0604020202020204" pitchFamily="34" charset="0"/>
              <a:buChar char="•"/>
              <a:defRPr/>
            </a:pPr>
            <a:r>
              <a:rPr lang="en-US" sz="1200" b="1" kern="0">
                <a:solidFill>
                  <a:schemeClr val="tx1"/>
                </a:solidFill>
              </a:rPr>
              <a:t>Regulatory Changes: </a:t>
            </a:r>
            <a:r>
              <a:rPr lang="en-US" sz="1200" kern="0">
                <a:solidFill>
                  <a:schemeClr val="tx1"/>
                </a:solidFill>
              </a:rPr>
              <a:t>Stay proactive in adapting to global regulatory changes affecting the transportation and technology sectors.</a:t>
            </a:r>
          </a:p>
          <a:p>
            <a:pPr marL="214308" indent="-214308">
              <a:buFont typeface="Arial" panose="020B0604020202020204" pitchFamily="34" charset="0"/>
              <a:buChar char="•"/>
              <a:defRPr/>
            </a:pPr>
            <a:r>
              <a:rPr lang="en-US" sz="1200" b="1" kern="0">
                <a:solidFill>
                  <a:schemeClr val="tx1"/>
                </a:solidFill>
              </a:rPr>
              <a:t>Lobbying and Political Campaigning: </a:t>
            </a:r>
            <a:r>
              <a:rPr lang="en-US" sz="1200" kern="0">
                <a:solidFill>
                  <a:schemeClr val="tx1"/>
                </a:solidFill>
              </a:rPr>
              <a:t>Maintain ethical lobbying practices and transparent political contributions.</a:t>
            </a:r>
          </a:p>
          <a:p>
            <a:pPr marL="214308" indent="-214308">
              <a:buFont typeface="Arial" panose="020B0604020202020204" pitchFamily="34" charset="0"/>
              <a:buChar char="•"/>
              <a:defRPr/>
            </a:pPr>
            <a:r>
              <a:rPr lang="en-US" sz="1200" b="1" kern="0">
                <a:solidFill>
                  <a:schemeClr val="tx1"/>
                </a:solidFill>
              </a:rPr>
              <a:t>Data Safety</a:t>
            </a:r>
            <a:r>
              <a:rPr lang="en-US" sz="1200" kern="0">
                <a:solidFill>
                  <a:schemeClr val="tx1"/>
                </a:solidFill>
              </a:rPr>
              <a:t>: Ensure the highest standards of data privacy and security for users and employees.</a:t>
            </a:r>
          </a:p>
        </p:txBody>
      </p:sp>
      <p:sp>
        <p:nvSpPr>
          <p:cNvPr id="13" name="Textfeld 12">
            <a:extLst>
              <a:ext uri="{FF2B5EF4-FFF2-40B4-BE49-F238E27FC236}">
                <a16:creationId xmlns:a16="http://schemas.microsoft.com/office/drawing/2014/main" id="{4BB0C18B-5C9C-E66E-16C6-9BA27182F364}"/>
              </a:ext>
            </a:extLst>
          </p:cNvPr>
          <p:cNvSpPr txBox="1"/>
          <p:nvPr/>
        </p:nvSpPr>
        <p:spPr>
          <a:xfrm>
            <a:off x="3502660" y="2133012"/>
            <a:ext cx="5037377" cy="1569660"/>
          </a:xfrm>
          <a:prstGeom prst="rect">
            <a:avLst/>
          </a:prstGeom>
          <a:noFill/>
        </p:spPr>
        <p:txBody>
          <a:bodyPr wrap="square" rtlCol="0">
            <a:spAutoFit/>
          </a:bodyPr>
          <a:lstStyle/>
          <a:p>
            <a:pPr marL="171450" indent="-171450">
              <a:buFont typeface="Arial" panose="020B0604020202020204" pitchFamily="34" charset="0"/>
              <a:buChar char="•"/>
            </a:pPr>
            <a:r>
              <a:rPr lang="en-US" sz="1200"/>
              <a:t>Board Composition with 90% independence and 30% ethnic minorities – S&amp;P Average: 86% and  22%</a:t>
            </a:r>
          </a:p>
          <a:p>
            <a:pPr marL="171450" indent="-171450">
              <a:buFont typeface="Arial" panose="020B0604020202020204" pitchFamily="34" charset="0"/>
              <a:buChar char="•"/>
            </a:pPr>
            <a:r>
              <a:rPr lang="en-US" sz="1200"/>
              <a:t>Gender diversity – 40% female directors – S&amp;P Average: 32%</a:t>
            </a:r>
          </a:p>
          <a:p>
            <a:pPr marL="171450" indent="-171450">
              <a:buFont typeface="Arial" panose="020B0604020202020204" pitchFamily="34" charset="0"/>
              <a:buChar char="•"/>
            </a:pPr>
            <a:r>
              <a:rPr lang="en-US" sz="1200"/>
              <a:t>Conducting a civil rights assessment and enhancing political engagement reporting</a:t>
            </a:r>
          </a:p>
          <a:p>
            <a:pPr marL="171450" indent="-171450">
              <a:buFont typeface="Arial" panose="020B0604020202020204" pitchFamily="34" charset="0"/>
              <a:buChar char="•"/>
            </a:pPr>
            <a:r>
              <a:rPr lang="en-US" sz="1200"/>
              <a:t>Skills in financial expertise, sustainability, human capital management, consumer and digital experience, innovation, technology, and regulatory experience</a:t>
            </a:r>
          </a:p>
        </p:txBody>
      </p:sp>
      <p:graphicFrame>
        <p:nvGraphicFramePr>
          <p:cNvPr id="17" name="Bars_1">
            <a:extLst>
              <a:ext uri="{FF2B5EF4-FFF2-40B4-BE49-F238E27FC236}">
                <a16:creationId xmlns:a16="http://schemas.microsoft.com/office/drawing/2014/main" id="{9D2849DF-080D-B770-669D-BCABF36C56C6}"/>
              </a:ext>
            </a:extLst>
          </p:cNvPr>
          <p:cNvGraphicFramePr>
            <a:graphicFrameLocks noChangeAspect="1"/>
          </p:cNvGraphicFramePr>
          <p:nvPr/>
        </p:nvGraphicFramePr>
        <p:xfrm>
          <a:off x="3502659" y="3702672"/>
          <a:ext cx="5037377" cy="2355779"/>
        </p:xfrm>
        <a:graphic>
          <a:graphicData uri="http://schemas.openxmlformats.org/drawingml/2006/chart">
            <c:chart xmlns:c="http://schemas.openxmlformats.org/drawingml/2006/chart" xmlns:r="http://schemas.openxmlformats.org/officeDocument/2006/relationships" r:id="rId7"/>
          </a:graphicData>
        </a:graphic>
      </p:graphicFrame>
    </p:spTree>
    <p:custDataLst>
      <p:tags r:id="rId1"/>
    </p:custDataLst>
    <p:extLst>
      <p:ext uri="{BB962C8B-B14F-4D97-AF65-F5344CB8AC3E}">
        <p14:creationId xmlns:p14="http://schemas.microsoft.com/office/powerpoint/2010/main" val="1237877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36AEA3A-D9FD-83F2-AD97-72E78CD487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3" name="think-cell data - do not delete" hidden="1">
                        <a:extLst>
                          <a:ext uri="{FF2B5EF4-FFF2-40B4-BE49-F238E27FC236}">
                            <a16:creationId xmlns:a16="http://schemas.microsoft.com/office/drawing/2014/main" id="{436AEA3A-D9FD-83F2-AD97-72E78CD487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A638107-BB38-D78B-EEA1-E706A1E14DCB}"/>
              </a:ext>
            </a:extLst>
          </p:cNvPr>
          <p:cNvSpPr>
            <a:spLocks noGrp="1"/>
          </p:cNvSpPr>
          <p:nvPr>
            <p:ph type="title"/>
          </p:nvPr>
        </p:nvSpPr>
        <p:spPr/>
        <p:txBody>
          <a:bodyPr vert="horz"/>
          <a:lstStyle/>
          <a:p>
            <a:r>
              <a:rPr lang="en-US"/>
              <a:t>The Board of Directors is directly involved in many different ESG-Subjects through different means</a:t>
            </a:r>
          </a:p>
        </p:txBody>
      </p:sp>
      <p:sp>
        <p:nvSpPr>
          <p:cNvPr id="4" name="Foliennummernplatzhalter 3">
            <a:extLst>
              <a:ext uri="{FF2B5EF4-FFF2-40B4-BE49-F238E27FC236}">
                <a16:creationId xmlns:a16="http://schemas.microsoft.com/office/drawing/2014/main" id="{D67C19B5-6324-B114-EA67-CDE824B6C833}"/>
              </a:ext>
            </a:extLst>
          </p:cNvPr>
          <p:cNvSpPr>
            <a:spLocks noGrp="1"/>
          </p:cNvSpPr>
          <p:nvPr>
            <p:ph type="sldNum" sz="quarter" idx="4"/>
          </p:nvPr>
        </p:nvSpPr>
        <p:spPr/>
        <p:txBody>
          <a:bodyPr/>
          <a:lstStyle/>
          <a:p>
            <a:fld id="{BAF04893-69FB-435D-AB2E-CA259D85B32F}" type="slidenum">
              <a:rPr lang="en-US" smtClean="0"/>
              <a:pPr/>
              <a:t>59</a:t>
            </a:fld>
            <a:endParaRPr lang="en-US"/>
          </a:p>
        </p:txBody>
      </p:sp>
      <p:sp>
        <p:nvSpPr>
          <p:cNvPr id="5" name="Inhaltsplatzhalter 4">
            <a:extLst>
              <a:ext uri="{FF2B5EF4-FFF2-40B4-BE49-F238E27FC236}">
                <a16:creationId xmlns:a16="http://schemas.microsoft.com/office/drawing/2014/main" id="{A3B275E9-7B27-F4F5-EAF9-63A0E910857B}"/>
              </a:ext>
            </a:extLst>
          </p:cNvPr>
          <p:cNvSpPr>
            <a:spLocks noGrp="1"/>
          </p:cNvSpPr>
          <p:nvPr>
            <p:ph idx="10"/>
          </p:nvPr>
        </p:nvSpPr>
        <p:spPr/>
        <p:txBody>
          <a:bodyPr/>
          <a:lstStyle/>
          <a:p>
            <a:r>
              <a:rPr lang="en-US"/>
              <a:t>Active Engagement of the Board of Directors - Anhang</a:t>
            </a:r>
          </a:p>
        </p:txBody>
      </p:sp>
      <p:sp>
        <p:nvSpPr>
          <p:cNvPr id="6" name="Inhaltsplatzhalter 5">
            <a:extLst>
              <a:ext uri="{FF2B5EF4-FFF2-40B4-BE49-F238E27FC236}">
                <a16:creationId xmlns:a16="http://schemas.microsoft.com/office/drawing/2014/main" id="{CA9178D6-1C01-E290-F423-E5C616CD4663}"/>
              </a:ext>
            </a:extLst>
          </p:cNvPr>
          <p:cNvSpPr>
            <a:spLocks noGrp="1"/>
          </p:cNvSpPr>
          <p:nvPr>
            <p:ph idx="11"/>
          </p:nvPr>
        </p:nvSpPr>
        <p:spPr/>
        <p:txBody>
          <a:bodyPr/>
          <a:lstStyle/>
          <a:p>
            <a:r>
              <a:rPr lang="en-US"/>
              <a:t>Uber ESG-Report</a:t>
            </a:r>
          </a:p>
        </p:txBody>
      </p:sp>
      <p:sp>
        <p:nvSpPr>
          <p:cNvPr id="7" name="Inhaltsplatzhalter 6">
            <a:extLst>
              <a:ext uri="{FF2B5EF4-FFF2-40B4-BE49-F238E27FC236}">
                <a16:creationId xmlns:a16="http://schemas.microsoft.com/office/drawing/2014/main" id="{8E8711EA-E530-E635-CACE-27489BE05199}"/>
              </a:ext>
            </a:extLst>
          </p:cNvPr>
          <p:cNvSpPr>
            <a:spLocks noGrp="1"/>
          </p:cNvSpPr>
          <p:nvPr>
            <p:ph idx="12"/>
          </p:nvPr>
        </p:nvSpPr>
        <p:spPr/>
        <p:txBody>
          <a:bodyPr/>
          <a:lstStyle/>
          <a:p>
            <a:r>
              <a:rPr lang="en-US"/>
              <a:t>ESG</a:t>
            </a:r>
          </a:p>
        </p:txBody>
      </p:sp>
      <p:sp>
        <p:nvSpPr>
          <p:cNvPr id="8" name="Rectangle 17">
            <a:extLst>
              <a:ext uri="{FF2B5EF4-FFF2-40B4-BE49-F238E27FC236}">
                <a16:creationId xmlns:a16="http://schemas.microsoft.com/office/drawing/2014/main" id="{06B5135D-E6BC-FE65-8469-685BEFDC6CB7}"/>
              </a:ext>
            </a:extLst>
          </p:cNvPr>
          <p:cNvSpPr/>
          <p:nvPr/>
        </p:nvSpPr>
        <p:spPr>
          <a:xfrm>
            <a:off x="359997" y="2145077"/>
            <a:ext cx="8155353" cy="87804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kern="0">
                <a:solidFill>
                  <a:schemeClr val="tx1"/>
                </a:solidFill>
              </a:rPr>
              <a:t>The Board and the Nominating and Governance Committee receive periodic updates on policy and regulatory trends at various levels regarding climate and emissions-related developments.</a:t>
            </a:r>
          </a:p>
          <a:p>
            <a:pPr marL="214313" indent="-214313" defTabSz="685800">
              <a:buFont typeface="Arial" panose="020B0604020202020204" pitchFamily="34" charset="0"/>
              <a:buChar char="•"/>
              <a:defRPr/>
            </a:pPr>
            <a:r>
              <a:rPr lang="en-US" sz="1200" kern="0">
                <a:solidFill>
                  <a:schemeClr val="tx1"/>
                </a:solidFill>
              </a:rPr>
              <a:t>Reports on Uber’s climate change commitments are provided, and key executives oversee the work related to climate change issues, policies, and emissions reduction programs.</a:t>
            </a:r>
          </a:p>
        </p:txBody>
      </p:sp>
      <p:sp>
        <p:nvSpPr>
          <p:cNvPr id="9" name="Rectangle 18">
            <a:extLst>
              <a:ext uri="{FF2B5EF4-FFF2-40B4-BE49-F238E27FC236}">
                <a16:creationId xmlns:a16="http://schemas.microsoft.com/office/drawing/2014/main" id="{DA555E98-088F-4321-CE4D-EF5A89873089}"/>
              </a:ext>
            </a:extLst>
          </p:cNvPr>
          <p:cNvSpPr/>
          <p:nvPr/>
        </p:nvSpPr>
        <p:spPr>
          <a:xfrm>
            <a:off x="535621" y="2008925"/>
            <a:ext cx="3093041" cy="272302"/>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tx1"/>
                </a:solidFill>
              </a:rPr>
              <a:t>Climate and Emissions-Related Developments</a:t>
            </a:r>
          </a:p>
        </p:txBody>
      </p:sp>
      <p:sp>
        <p:nvSpPr>
          <p:cNvPr id="11" name="Rectangle 17">
            <a:extLst>
              <a:ext uri="{FF2B5EF4-FFF2-40B4-BE49-F238E27FC236}">
                <a16:creationId xmlns:a16="http://schemas.microsoft.com/office/drawing/2014/main" id="{4EE8697D-ED79-19E0-304B-42A1454CA856}"/>
              </a:ext>
            </a:extLst>
          </p:cNvPr>
          <p:cNvSpPr/>
          <p:nvPr/>
        </p:nvSpPr>
        <p:spPr>
          <a:xfrm>
            <a:off x="359997" y="3159277"/>
            <a:ext cx="8155353" cy="51110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kern="0">
                <a:solidFill>
                  <a:schemeClr val="tx1"/>
                </a:solidFill>
              </a:rPr>
              <a:t>The well-being, satisfaction, retention, and classification of drivers and couriers are regularly considered by the Board. This includes tying executive compensation to the achievement of satisfaction and retention metrics for drivers and couriers.</a:t>
            </a:r>
          </a:p>
        </p:txBody>
      </p:sp>
      <p:sp>
        <p:nvSpPr>
          <p:cNvPr id="12" name="Rectangle 18">
            <a:extLst>
              <a:ext uri="{FF2B5EF4-FFF2-40B4-BE49-F238E27FC236}">
                <a16:creationId xmlns:a16="http://schemas.microsoft.com/office/drawing/2014/main" id="{A813662D-C90B-B800-62A9-DA726286448A}"/>
              </a:ext>
            </a:extLst>
          </p:cNvPr>
          <p:cNvSpPr/>
          <p:nvPr/>
        </p:nvSpPr>
        <p:spPr>
          <a:xfrm>
            <a:off x="535622" y="3023125"/>
            <a:ext cx="2349566" cy="272302"/>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tx1"/>
                </a:solidFill>
              </a:rPr>
              <a:t>Well-being of Drivers and Couriers</a:t>
            </a:r>
          </a:p>
        </p:txBody>
      </p:sp>
      <p:sp>
        <p:nvSpPr>
          <p:cNvPr id="13" name="Rectangle 17">
            <a:extLst>
              <a:ext uri="{FF2B5EF4-FFF2-40B4-BE49-F238E27FC236}">
                <a16:creationId xmlns:a16="http://schemas.microsoft.com/office/drawing/2014/main" id="{A38E23A1-1011-37BA-F2AA-978F3FC826A1}"/>
              </a:ext>
            </a:extLst>
          </p:cNvPr>
          <p:cNvSpPr/>
          <p:nvPr/>
        </p:nvSpPr>
        <p:spPr>
          <a:xfrm>
            <a:off x="359997" y="3906777"/>
            <a:ext cx="8155353" cy="91129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kern="0">
                <a:solidFill>
                  <a:schemeClr val="tx1"/>
                </a:solidFill>
              </a:rPr>
              <a:t>The Board receives quarterly reports from the Office of Diversity and Inclusion about Uber’s progress towards its diversity goals.</a:t>
            </a:r>
          </a:p>
          <a:p>
            <a:pPr marL="214313" indent="-214313" defTabSz="685800">
              <a:buFont typeface="Arial" panose="020B0604020202020204" pitchFamily="34" charset="0"/>
              <a:buChar char="•"/>
              <a:defRPr/>
            </a:pPr>
            <a:r>
              <a:rPr lang="en-US" sz="1200" kern="0">
                <a:solidFill>
                  <a:schemeClr val="tx1"/>
                </a:solidFill>
              </a:rPr>
              <a:t>DEI metrics are considered in the development of compensation plans for senior executives. The CEO also reviews DEI operating targets and plans with direct reports and employee resource groups.</a:t>
            </a:r>
          </a:p>
        </p:txBody>
      </p:sp>
      <p:sp>
        <p:nvSpPr>
          <p:cNvPr id="14" name="Rectangle 18">
            <a:extLst>
              <a:ext uri="{FF2B5EF4-FFF2-40B4-BE49-F238E27FC236}">
                <a16:creationId xmlns:a16="http://schemas.microsoft.com/office/drawing/2014/main" id="{00BE5586-CB44-335C-6B47-D853D8BB7854}"/>
              </a:ext>
            </a:extLst>
          </p:cNvPr>
          <p:cNvSpPr/>
          <p:nvPr/>
        </p:nvSpPr>
        <p:spPr>
          <a:xfrm>
            <a:off x="535622" y="3770625"/>
            <a:ext cx="2466370" cy="272302"/>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tx1"/>
                </a:solidFill>
              </a:rPr>
              <a:t>Diversity, Equity, and Inclusion (DEI)</a:t>
            </a:r>
          </a:p>
        </p:txBody>
      </p:sp>
      <p:sp>
        <p:nvSpPr>
          <p:cNvPr id="15" name="Rectangle 17">
            <a:extLst>
              <a:ext uri="{FF2B5EF4-FFF2-40B4-BE49-F238E27FC236}">
                <a16:creationId xmlns:a16="http://schemas.microsoft.com/office/drawing/2014/main" id="{2B5DAA22-5796-1488-05B4-6B094741073A}"/>
              </a:ext>
            </a:extLst>
          </p:cNvPr>
          <p:cNvSpPr/>
          <p:nvPr/>
        </p:nvSpPr>
        <p:spPr>
          <a:xfrm>
            <a:off x="359997" y="5014389"/>
            <a:ext cx="8155353" cy="10461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kern="0">
                <a:solidFill>
                  <a:schemeClr val="tx1"/>
                </a:solidFill>
              </a:rPr>
              <a:t>The Board's Audit Committee meets quarterly with the Chief Ethics and Compliance Officer and the Global Head of Internal Audit. These meetings cover the state of compliance and ethics, internal investigations, and the operation of the Integrity Helpline.</a:t>
            </a:r>
          </a:p>
          <a:p>
            <a:pPr marL="214313" indent="-214313" defTabSz="685800">
              <a:buFont typeface="Arial" panose="020B0604020202020204" pitchFamily="34" charset="0"/>
              <a:buChar char="•"/>
              <a:defRPr/>
            </a:pPr>
            <a:r>
              <a:rPr lang="en-US" sz="1200" kern="0">
                <a:solidFill>
                  <a:schemeClr val="tx1"/>
                </a:solidFill>
              </a:rPr>
              <a:t>The performance evaluations of executive officers incorporate aspects of the compliance and ethics program, and the Board plays a key role in maintaining the desired workplace culture.</a:t>
            </a:r>
          </a:p>
        </p:txBody>
      </p:sp>
      <p:sp>
        <p:nvSpPr>
          <p:cNvPr id="16" name="Rectangle 18">
            <a:extLst>
              <a:ext uri="{FF2B5EF4-FFF2-40B4-BE49-F238E27FC236}">
                <a16:creationId xmlns:a16="http://schemas.microsoft.com/office/drawing/2014/main" id="{DCAF27FE-0760-22E2-C7B3-9DD760E15768}"/>
              </a:ext>
            </a:extLst>
          </p:cNvPr>
          <p:cNvSpPr/>
          <p:nvPr/>
        </p:nvSpPr>
        <p:spPr>
          <a:xfrm>
            <a:off x="535622" y="4878237"/>
            <a:ext cx="1616910" cy="272302"/>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tx1"/>
                </a:solidFill>
              </a:rPr>
              <a:t>Ethics and Compliance</a:t>
            </a:r>
          </a:p>
        </p:txBody>
      </p:sp>
    </p:spTree>
    <p:extLst>
      <p:ext uri="{BB962C8B-B14F-4D97-AF65-F5344CB8AC3E}">
        <p14:creationId xmlns:p14="http://schemas.microsoft.com/office/powerpoint/2010/main" val="27270421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2CEF7A7-BD3C-6FAC-EFED-6CE40BA931A2}"/>
              </a:ext>
            </a:extLst>
          </p:cNvPr>
          <p:cNvGraphicFramePr>
            <a:graphicFrameLocks noChangeAspect="1"/>
          </p:cNvGraphicFramePr>
          <p:nvPr>
            <p:custDataLst>
              <p:tags r:id="rId1"/>
            </p:custDataLst>
            <p:extLst>
              <p:ext uri="{D42A27DB-BD31-4B8C-83A1-F6EECF244321}">
                <p14:modId xmlns:p14="http://schemas.microsoft.com/office/powerpoint/2010/main" val="1654443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0" name="think-cell data - do not delete" hidden="1">
                        <a:extLst>
                          <a:ext uri="{FF2B5EF4-FFF2-40B4-BE49-F238E27FC236}">
                            <a16:creationId xmlns:a16="http://schemas.microsoft.com/office/drawing/2014/main" id="{D2CEF7A7-BD3C-6FAC-EFED-6CE40BA931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4487E85-24CC-0D41-5EA8-6502DA5669D5}"/>
              </a:ext>
            </a:extLst>
          </p:cNvPr>
          <p:cNvSpPr>
            <a:spLocks noGrp="1"/>
          </p:cNvSpPr>
          <p:nvPr>
            <p:ph type="title"/>
          </p:nvPr>
        </p:nvSpPr>
        <p:spPr/>
        <p:txBody>
          <a:bodyPr/>
          <a:lstStyle/>
          <a:p>
            <a:endParaRPr lang="en-US"/>
          </a:p>
        </p:txBody>
      </p:sp>
      <p:sp>
        <p:nvSpPr>
          <p:cNvPr id="4" name="Foliennummernplatzhalter 3">
            <a:extLst>
              <a:ext uri="{FF2B5EF4-FFF2-40B4-BE49-F238E27FC236}">
                <a16:creationId xmlns:a16="http://schemas.microsoft.com/office/drawing/2014/main" id="{722911A7-B64D-6F43-E140-538239B2EB0F}"/>
              </a:ext>
            </a:extLst>
          </p:cNvPr>
          <p:cNvSpPr>
            <a:spLocks noGrp="1"/>
          </p:cNvSpPr>
          <p:nvPr>
            <p:ph type="sldNum" sz="quarter" idx="4"/>
          </p:nvPr>
        </p:nvSpPr>
        <p:spPr/>
        <p:txBody>
          <a:bodyPr/>
          <a:lstStyle/>
          <a:p>
            <a:fld id="{BAF04893-69FB-435D-AB2E-CA259D85B32F}" type="slidenum">
              <a:rPr lang="de-DE" smtClean="0"/>
              <a:pPr/>
              <a:t>6</a:t>
            </a:fld>
            <a:endParaRPr lang="de-DE"/>
          </a:p>
        </p:txBody>
      </p:sp>
      <p:sp>
        <p:nvSpPr>
          <p:cNvPr id="5" name="Inhaltsplatzhalter 4">
            <a:extLst>
              <a:ext uri="{FF2B5EF4-FFF2-40B4-BE49-F238E27FC236}">
                <a16:creationId xmlns:a16="http://schemas.microsoft.com/office/drawing/2014/main" id="{FB516DD5-8194-3D5E-8679-E941621B37F1}"/>
              </a:ext>
            </a:extLst>
          </p:cNvPr>
          <p:cNvSpPr>
            <a:spLocks noGrp="1"/>
          </p:cNvSpPr>
          <p:nvPr>
            <p:ph idx="10"/>
          </p:nvPr>
        </p:nvSpPr>
        <p:spPr/>
        <p:txBody>
          <a:bodyPr/>
          <a:lstStyle/>
          <a:p>
            <a:r>
              <a:rPr lang="en-US" err="1"/>
              <a:t>Vergleich</a:t>
            </a:r>
            <a:r>
              <a:rPr lang="en-US"/>
              <a:t> mit </a:t>
            </a:r>
            <a:r>
              <a:rPr lang="en-US" err="1"/>
              <a:t>Konkurenten</a:t>
            </a:r>
            <a:endParaRPr lang="en-US"/>
          </a:p>
        </p:txBody>
      </p:sp>
      <p:sp>
        <p:nvSpPr>
          <p:cNvPr id="6" name="Inhaltsplatzhalter 5">
            <a:extLst>
              <a:ext uri="{FF2B5EF4-FFF2-40B4-BE49-F238E27FC236}">
                <a16:creationId xmlns:a16="http://schemas.microsoft.com/office/drawing/2014/main" id="{9D425C61-4C1B-D1E6-B94B-4DC98A9EEFFE}"/>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D4D492A0-3E4E-8526-69AA-82F1E14534A3}"/>
              </a:ext>
            </a:extLst>
          </p:cNvPr>
          <p:cNvSpPr>
            <a:spLocks noGrp="1"/>
          </p:cNvSpPr>
          <p:nvPr>
            <p:ph idx="12"/>
          </p:nvPr>
        </p:nvSpPr>
        <p:spPr/>
        <p:txBody>
          <a:bodyPr/>
          <a:lstStyle/>
          <a:p>
            <a:endParaRPr lang="en-US"/>
          </a:p>
        </p:txBody>
      </p:sp>
      <p:graphicFrame>
        <p:nvGraphicFramePr>
          <p:cNvPr id="8" name="Inhaltsplatzhalter 7">
            <a:extLst>
              <a:ext uri="{FF2B5EF4-FFF2-40B4-BE49-F238E27FC236}">
                <a16:creationId xmlns:a16="http://schemas.microsoft.com/office/drawing/2014/main" id="{937D3BF9-B449-B824-1D9C-0F7968C2DC98}"/>
              </a:ext>
            </a:extLst>
          </p:cNvPr>
          <p:cNvGraphicFramePr>
            <a:graphicFrameLocks noGrp="1"/>
          </p:cNvGraphicFramePr>
          <p:nvPr>
            <p:ph idx="1"/>
            <p:extLst>
              <p:ext uri="{D42A27DB-BD31-4B8C-83A1-F6EECF244321}">
                <p14:modId xmlns:p14="http://schemas.microsoft.com/office/powerpoint/2010/main" val="1722561010"/>
              </p:ext>
            </p:extLst>
          </p:nvPr>
        </p:nvGraphicFramePr>
        <p:xfrm>
          <a:off x="360363" y="2422278"/>
          <a:ext cx="8567736" cy="1727200"/>
        </p:xfrm>
        <a:graphic>
          <a:graphicData uri="http://schemas.openxmlformats.org/drawingml/2006/table">
            <a:tbl>
              <a:tblPr firstRow="1" bandRow="1">
                <a:tableStyleId>{073A0DAA-6AF3-43AB-8588-CEC1D06C72B9}</a:tableStyleId>
              </a:tblPr>
              <a:tblGrid>
                <a:gridCol w="1095458">
                  <a:extLst>
                    <a:ext uri="{9D8B030D-6E8A-4147-A177-3AD203B41FA5}">
                      <a16:colId xmlns:a16="http://schemas.microsoft.com/office/drawing/2014/main" val="349886750"/>
                    </a:ext>
                  </a:extLst>
                </a:gridCol>
                <a:gridCol w="3627521">
                  <a:extLst>
                    <a:ext uri="{9D8B030D-6E8A-4147-A177-3AD203B41FA5}">
                      <a16:colId xmlns:a16="http://schemas.microsoft.com/office/drawing/2014/main" val="857868009"/>
                    </a:ext>
                  </a:extLst>
                </a:gridCol>
                <a:gridCol w="3844757">
                  <a:extLst>
                    <a:ext uri="{9D8B030D-6E8A-4147-A177-3AD203B41FA5}">
                      <a16:colId xmlns:a16="http://schemas.microsoft.com/office/drawing/2014/main" val="2253940520"/>
                    </a:ext>
                  </a:extLst>
                </a:gridCol>
              </a:tblGrid>
              <a:tr h="370840">
                <a:tc>
                  <a:txBody>
                    <a:bodyPr/>
                    <a:lstStyle/>
                    <a:p>
                      <a:r>
                        <a:rPr lang="en-US" sz="1100"/>
                        <a:t>Unternehmen</a:t>
                      </a:r>
                    </a:p>
                  </a:txBody>
                  <a:tcPr/>
                </a:tc>
                <a:tc>
                  <a:txBody>
                    <a:bodyPr/>
                    <a:lstStyle/>
                    <a:p>
                      <a:r>
                        <a:rPr lang="en-US" sz="1100" err="1"/>
                        <a:t>Ähnlichkeiten</a:t>
                      </a:r>
                      <a:endParaRPr lang="en-US" sz="1100"/>
                    </a:p>
                  </a:txBody>
                  <a:tcPr/>
                </a:tc>
                <a:tc>
                  <a:txBody>
                    <a:bodyPr/>
                    <a:lstStyle/>
                    <a:p>
                      <a:r>
                        <a:rPr lang="en-US" sz="1100"/>
                        <a:t>Unterschiede</a:t>
                      </a:r>
                    </a:p>
                  </a:txBody>
                  <a:tcPr/>
                </a:tc>
                <a:extLst>
                  <a:ext uri="{0D108BD9-81ED-4DB2-BD59-A6C34878D82A}">
                    <a16:rowId xmlns:a16="http://schemas.microsoft.com/office/drawing/2014/main" val="2495574209"/>
                  </a:ext>
                </a:extLst>
              </a:tr>
              <a:tr h="370840">
                <a:tc>
                  <a:txBody>
                    <a:bodyPr/>
                    <a:lstStyle/>
                    <a:p>
                      <a:r>
                        <a:rPr lang="en-US" sz="1100" b="1"/>
                        <a:t>Uber</a:t>
                      </a:r>
                    </a:p>
                  </a:txBody>
                  <a:tcPr/>
                </a:tc>
                <a:tc>
                  <a:txBody>
                    <a:bodyPr/>
                    <a:lstStyle/>
                    <a:p>
                      <a:pPr marL="171450" indent="-171450">
                        <a:buFont typeface="Arial" panose="020B0604020202020204" pitchFamily="34" charset="0"/>
                        <a:buChar char="•"/>
                      </a:pPr>
                      <a:r>
                        <a:rPr lang="de-DE" sz="1100"/>
                        <a:t>Bereitstellung von Ride-Hailing per App</a:t>
                      </a:r>
                    </a:p>
                    <a:p>
                      <a:pPr marL="171450" indent="-171450">
                        <a:buFont typeface="Arial" panose="020B0604020202020204" pitchFamily="34" charset="0"/>
                        <a:buChar char="•"/>
                      </a:pPr>
                      <a:r>
                        <a:rPr lang="de-DE" sz="1100"/>
                        <a:t>Eigenes Fahrernetzwerk</a:t>
                      </a:r>
                    </a:p>
                    <a:p>
                      <a:pPr marL="171450" indent="-171450">
                        <a:buFont typeface="Arial" panose="020B0604020202020204" pitchFamily="34" charset="0"/>
                        <a:buChar char="•"/>
                      </a:pPr>
                      <a:r>
                        <a:rPr lang="de-DE" sz="1100"/>
                        <a:t>Global agierend und technologiebasiert</a:t>
                      </a:r>
                      <a:endParaRPr lang="en-US" sz="1100"/>
                    </a:p>
                  </a:txBody>
                  <a:tcPr/>
                </a:tc>
                <a:tc>
                  <a:txBody>
                    <a:bodyPr/>
                    <a:lstStyle/>
                    <a:p>
                      <a:pPr marL="171450" indent="-171450">
                        <a:buFont typeface="Arial" panose="020B0604020202020204" pitchFamily="34" charset="0"/>
                        <a:buChar char="•"/>
                      </a:pPr>
                      <a:r>
                        <a:rPr lang="de-DE" sz="1100"/>
                        <a:t>Größere Nutzerbasis auf globaler Ebene</a:t>
                      </a:r>
                    </a:p>
                    <a:p>
                      <a:pPr marL="171450" indent="-171450">
                        <a:buFont typeface="Arial" panose="020B0604020202020204" pitchFamily="34" charset="0"/>
                        <a:buChar char="•"/>
                      </a:pPr>
                      <a:r>
                        <a:rPr lang="de-DE" sz="1100"/>
                        <a:t>Umfangreiches Fahrernetzwerk international</a:t>
                      </a:r>
                    </a:p>
                    <a:p>
                      <a:pPr marL="171450" indent="-171450">
                        <a:buFont typeface="Arial" panose="020B0604020202020204" pitchFamily="34" charset="0"/>
                        <a:buChar char="•"/>
                      </a:pPr>
                      <a:r>
                        <a:rPr lang="de-DE" sz="1100"/>
                        <a:t>Globale, technologiezentrierte Marketingstrategie</a:t>
                      </a:r>
                      <a:endParaRPr lang="en-US" sz="1100"/>
                    </a:p>
                  </a:txBody>
                  <a:tcPr/>
                </a:tc>
                <a:extLst>
                  <a:ext uri="{0D108BD9-81ED-4DB2-BD59-A6C34878D82A}">
                    <a16:rowId xmlns:a16="http://schemas.microsoft.com/office/drawing/2014/main" val="1328977324"/>
                  </a:ext>
                </a:extLst>
              </a:tr>
              <a:tr h="370840">
                <a:tc>
                  <a:txBody>
                    <a:bodyPr/>
                    <a:lstStyle/>
                    <a:p>
                      <a:r>
                        <a:rPr lang="en-US" sz="1100" b="1"/>
                        <a:t>Lyft</a:t>
                      </a:r>
                    </a:p>
                  </a:txBody>
                  <a:tcPr/>
                </a:tc>
                <a:tc>
                  <a:txBody>
                    <a:bodyPr/>
                    <a:lstStyle/>
                    <a:p>
                      <a:pPr marL="171450" indent="-171450">
                        <a:buFont typeface="Arial" panose="020B0604020202020204" pitchFamily="34" charset="0"/>
                        <a:buChar char="•"/>
                      </a:pPr>
                      <a:r>
                        <a:rPr lang="de-DE" sz="1100"/>
                        <a:t>Bereitstellung von Ride-Hailing per App</a:t>
                      </a:r>
                    </a:p>
                    <a:p>
                      <a:pPr marL="171450" indent="-171450">
                        <a:buFont typeface="Arial" panose="020B0604020202020204" pitchFamily="34" charset="0"/>
                        <a:buChar char="•"/>
                      </a:pPr>
                      <a:r>
                        <a:rPr lang="de-DE" sz="1100"/>
                        <a:t>Eigenes Fahrernetzwerk</a:t>
                      </a:r>
                    </a:p>
                    <a:p>
                      <a:pPr marL="171450" indent="-171450">
                        <a:buFont typeface="Arial" panose="020B0604020202020204" pitchFamily="34" charset="0"/>
                        <a:buChar char="•"/>
                      </a:pPr>
                      <a:r>
                        <a:rPr lang="de-DE" sz="1100"/>
                        <a:t>Global agierend und technologiebasiert</a:t>
                      </a:r>
                      <a:endParaRPr lang="en-US" sz="1100"/>
                    </a:p>
                  </a:txBody>
                  <a:tcPr/>
                </a:tc>
                <a:tc>
                  <a:txBody>
                    <a:bodyPr/>
                    <a:lstStyle/>
                    <a:p>
                      <a:pPr marL="171450" indent="-171450">
                        <a:buFont typeface="Arial" panose="020B0604020202020204" pitchFamily="34" charset="0"/>
                        <a:buChar char="•"/>
                      </a:pPr>
                      <a:r>
                        <a:rPr lang="de-DE" sz="1100"/>
                        <a:t>Stärkerer Fokus auf den US-Markt</a:t>
                      </a:r>
                    </a:p>
                    <a:p>
                      <a:pPr marL="171450" indent="-171450">
                        <a:buFont typeface="Arial" panose="020B0604020202020204" pitchFamily="34" charset="0"/>
                        <a:buChar char="•"/>
                      </a:pPr>
                      <a:r>
                        <a:rPr lang="de-DE" sz="1100"/>
                        <a:t>Kleinere, aber treue Nutzer- und Fahrergemeinschaft</a:t>
                      </a:r>
                    </a:p>
                    <a:p>
                      <a:pPr marL="171450" indent="-171450">
                        <a:buFont typeface="Arial" panose="020B0604020202020204" pitchFamily="34" charset="0"/>
                        <a:buChar char="•"/>
                      </a:pPr>
                      <a:r>
                        <a:rPr lang="de-DE" sz="1100"/>
                        <a:t>Marketing ausgerichtet auf Fahrerunterstützung und Community</a:t>
                      </a:r>
                      <a:endParaRPr lang="en-US" sz="1100"/>
                    </a:p>
                  </a:txBody>
                  <a:tcPr/>
                </a:tc>
                <a:extLst>
                  <a:ext uri="{0D108BD9-81ED-4DB2-BD59-A6C34878D82A}">
                    <a16:rowId xmlns:a16="http://schemas.microsoft.com/office/drawing/2014/main" val="1310488180"/>
                  </a:ext>
                </a:extLst>
              </a:tr>
            </a:tbl>
          </a:graphicData>
        </a:graphic>
      </p:graphicFrame>
      <p:sp>
        <p:nvSpPr>
          <p:cNvPr id="9" name="Textfeld 8">
            <a:extLst>
              <a:ext uri="{FF2B5EF4-FFF2-40B4-BE49-F238E27FC236}">
                <a16:creationId xmlns:a16="http://schemas.microsoft.com/office/drawing/2014/main" id="{8CF8FA5A-B8A0-4321-D122-CAC996596163}"/>
              </a:ext>
            </a:extLst>
          </p:cNvPr>
          <p:cNvSpPr txBox="1"/>
          <p:nvPr/>
        </p:nvSpPr>
        <p:spPr>
          <a:xfrm>
            <a:off x="359997" y="2145279"/>
            <a:ext cx="3922295" cy="276999"/>
          </a:xfrm>
          <a:prstGeom prst="rect">
            <a:avLst/>
          </a:prstGeom>
          <a:noFill/>
        </p:spPr>
        <p:txBody>
          <a:bodyPr wrap="square" rtlCol="0">
            <a:spAutoFit/>
          </a:bodyPr>
          <a:lstStyle/>
          <a:p>
            <a:r>
              <a:rPr lang="de-DE" sz="1200" b="1"/>
              <a:t>Vergleich Personentransport Uber und Lyft</a:t>
            </a:r>
          </a:p>
        </p:txBody>
      </p:sp>
      <p:graphicFrame>
        <p:nvGraphicFramePr>
          <p:cNvPr id="11" name="Inhaltsplatzhalter 7">
            <a:extLst>
              <a:ext uri="{FF2B5EF4-FFF2-40B4-BE49-F238E27FC236}">
                <a16:creationId xmlns:a16="http://schemas.microsoft.com/office/drawing/2014/main" id="{70330986-D89A-B110-A4C9-B5C8BA0ECF84}"/>
              </a:ext>
            </a:extLst>
          </p:cNvPr>
          <p:cNvGraphicFramePr>
            <a:graphicFrameLocks/>
          </p:cNvGraphicFramePr>
          <p:nvPr>
            <p:extLst>
              <p:ext uri="{D42A27DB-BD31-4B8C-83A1-F6EECF244321}">
                <p14:modId xmlns:p14="http://schemas.microsoft.com/office/powerpoint/2010/main" val="2175806839"/>
              </p:ext>
            </p:extLst>
          </p:nvPr>
        </p:nvGraphicFramePr>
        <p:xfrm>
          <a:off x="359997" y="4469068"/>
          <a:ext cx="8567736" cy="1559560"/>
        </p:xfrm>
        <a:graphic>
          <a:graphicData uri="http://schemas.openxmlformats.org/drawingml/2006/table">
            <a:tbl>
              <a:tblPr firstRow="1" bandRow="1">
                <a:tableStyleId>{073A0DAA-6AF3-43AB-8588-CEC1D06C72B9}</a:tableStyleId>
              </a:tblPr>
              <a:tblGrid>
                <a:gridCol w="1095458">
                  <a:extLst>
                    <a:ext uri="{9D8B030D-6E8A-4147-A177-3AD203B41FA5}">
                      <a16:colId xmlns:a16="http://schemas.microsoft.com/office/drawing/2014/main" val="349886750"/>
                    </a:ext>
                  </a:extLst>
                </a:gridCol>
                <a:gridCol w="3627521">
                  <a:extLst>
                    <a:ext uri="{9D8B030D-6E8A-4147-A177-3AD203B41FA5}">
                      <a16:colId xmlns:a16="http://schemas.microsoft.com/office/drawing/2014/main" val="857868009"/>
                    </a:ext>
                  </a:extLst>
                </a:gridCol>
                <a:gridCol w="3844757">
                  <a:extLst>
                    <a:ext uri="{9D8B030D-6E8A-4147-A177-3AD203B41FA5}">
                      <a16:colId xmlns:a16="http://schemas.microsoft.com/office/drawing/2014/main" val="2253940520"/>
                    </a:ext>
                  </a:extLst>
                </a:gridCol>
              </a:tblGrid>
              <a:tr h="370840">
                <a:tc>
                  <a:txBody>
                    <a:bodyPr/>
                    <a:lstStyle/>
                    <a:p>
                      <a:r>
                        <a:rPr lang="en-US" sz="1100"/>
                        <a:t>Unternehmen</a:t>
                      </a:r>
                    </a:p>
                  </a:txBody>
                  <a:tcPr/>
                </a:tc>
                <a:tc>
                  <a:txBody>
                    <a:bodyPr/>
                    <a:lstStyle/>
                    <a:p>
                      <a:r>
                        <a:rPr lang="en-US" sz="1100" err="1"/>
                        <a:t>Ähnlichkeiten</a:t>
                      </a:r>
                      <a:endParaRPr lang="en-US" sz="1100"/>
                    </a:p>
                  </a:txBody>
                  <a:tcPr/>
                </a:tc>
                <a:tc>
                  <a:txBody>
                    <a:bodyPr/>
                    <a:lstStyle/>
                    <a:p>
                      <a:r>
                        <a:rPr lang="en-US" sz="1100" err="1"/>
                        <a:t>Unterschiede</a:t>
                      </a:r>
                      <a:endParaRPr lang="en-US" sz="1100"/>
                    </a:p>
                  </a:txBody>
                  <a:tcPr/>
                </a:tc>
                <a:extLst>
                  <a:ext uri="{0D108BD9-81ED-4DB2-BD59-A6C34878D82A}">
                    <a16:rowId xmlns:a16="http://schemas.microsoft.com/office/drawing/2014/main" val="2495574209"/>
                  </a:ext>
                </a:extLst>
              </a:tr>
              <a:tr h="370840">
                <a:tc>
                  <a:txBody>
                    <a:bodyPr/>
                    <a:lstStyle/>
                    <a:p>
                      <a:r>
                        <a:rPr lang="en-US" sz="1100" b="1"/>
                        <a:t>UberEats</a:t>
                      </a:r>
                    </a:p>
                  </a:txBody>
                  <a:tcPr/>
                </a:tc>
                <a:tc>
                  <a:txBody>
                    <a:bodyPr/>
                    <a:lstStyle/>
                    <a:p>
                      <a:pPr marL="171450" indent="-171450">
                        <a:buFont typeface="Arial" panose="020B0604020202020204" pitchFamily="34" charset="0"/>
                        <a:buChar char="•"/>
                      </a:pPr>
                      <a:r>
                        <a:rPr lang="de-DE" sz="1100"/>
                        <a:t>Intensive Nutzung von Social Media und TV für Marketing</a:t>
                      </a:r>
                    </a:p>
                    <a:p>
                      <a:pPr marL="171450" indent="-171450">
                        <a:buFont typeface="Arial" panose="020B0604020202020204" pitchFamily="34" charset="0"/>
                        <a:buChar char="•"/>
                      </a:pPr>
                      <a:r>
                        <a:rPr lang="de-DE" sz="1100"/>
                        <a:t>Umfangreiche Restaurantauswahl auf Online-Plattform</a:t>
                      </a:r>
                    </a:p>
                    <a:p>
                      <a:pPr marL="171450" indent="-171450">
                        <a:buFont typeface="Arial" panose="020B0604020202020204" pitchFamily="34" charset="0"/>
                        <a:buChar char="•"/>
                      </a:pPr>
                      <a:r>
                        <a:rPr lang="de-DE" sz="1100"/>
                        <a:t>Benutzerfreundliche Bestell- und Lieferservice-App</a:t>
                      </a:r>
                      <a:endParaRPr lang="en-US" sz="1100"/>
                    </a:p>
                  </a:txBody>
                  <a:tcPr/>
                </a:tc>
                <a:tc>
                  <a:txBody>
                    <a:bodyPr/>
                    <a:lstStyle/>
                    <a:p>
                      <a:pPr marL="171450" indent="-171450">
                        <a:buFont typeface="Arial" panose="020B0604020202020204" pitchFamily="34" charset="0"/>
                        <a:buChar char="•"/>
                      </a:pPr>
                      <a:r>
                        <a:rPr lang="de-DE" sz="1100"/>
                        <a:t>Etablierte globale Marke mit zusätzlichen Diensten</a:t>
                      </a:r>
                    </a:p>
                    <a:p>
                      <a:pPr marL="171450" indent="-171450">
                        <a:buFont typeface="Arial" panose="020B0604020202020204" pitchFamily="34" charset="0"/>
                        <a:buChar char="•"/>
                      </a:pPr>
                      <a:r>
                        <a:rPr lang="de-DE" sz="1100"/>
                        <a:t>Vermittlung und Lieferung mit eigener Flotte integriert</a:t>
                      </a:r>
                    </a:p>
                    <a:p>
                      <a:pPr marL="171450" indent="-171450">
                        <a:buFont typeface="Arial" panose="020B0604020202020204" pitchFamily="34" charset="0"/>
                        <a:buChar char="•"/>
                      </a:pPr>
                      <a:r>
                        <a:rPr lang="de-DE" sz="1100"/>
                        <a:t>Stark genutzt von jüngeren Generationen in Großstädten</a:t>
                      </a:r>
                      <a:endParaRPr lang="en-US" sz="1100"/>
                    </a:p>
                  </a:txBody>
                  <a:tcPr/>
                </a:tc>
                <a:extLst>
                  <a:ext uri="{0D108BD9-81ED-4DB2-BD59-A6C34878D82A}">
                    <a16:rowId xmlns:a16="http://schemas.microsoft.com/office/drawing/2014/main" val="1328977324"/>
                  </a:ext>
                </a:extLst>
              </a:tr>
              <a:tr h="370840">
                <a:tc>
                  <a:txBody>
                    <a:bodyPr/>
                    <a:lstStyle/>
                    <a:p>
                      <a:r>
                        <a:rPr lang="en-US" sz="1100" b="1" err="1"/>
                        <a:t>Lieferando</a:t>
                      </a:r>
                      <a:endParaRPr lang="en-US" sz="1100" b="1"/>
                    </a:p>
                  </a:txBody>
                  <a:tcPr/>
                </a:tc>
                <a:tc>
                  <a:txBody>
                    <a:bodyPr/>
                    <a:lstStyle/>
                    <a:p>
                      <a:pPr marL="171450" indent="-171450">
                        <a:buFont typeface="Arial" panose="020B0604020202020204" pitchFamily="34" charset="0"/>
                        <a:buChar char="•"/>
                      </a:pPr>
                      <a:r>
                        <a:rPr lang="de-DE" sz="1100"/>
                        <a:t>Intensive Nutzung von Social Media und TV für Marketing</a:t>
                      </a:r>
                    </a:p>
                    <a:p>
                      <a:pPr marL="171450" indent="-171450">
                        <a:buFont typeface="Arial" panose="020B0604020202020204" pitchFamily="34" charset="0"/>
                        <a:buChar char="•"/>
                      </a:pPr>
                      <a:r>
                        <a:rPr lang="de-DE" sz="1100"/>
                        <a:t>Umfangreiche Restaurantauswahl auf Online-Plattform</a:t>
                      </a:r>
                    </a:p>
                    <a:p>
                      <a:pPr marL="171450" indent="-171450">
                        <a:buFont typeface="Arial" panose="020B0604020202020204" pitchFamily="34" charset="0"/>
                        <a:buChar char="•"/>
                      </a:pPr>
                      <a:r>
                        <a:rPr lang="de-DE" sz="1100"/>
                        <a:t>Benutzerfreundliche Bestell- und Lieferservice-App</a:t>
                      </a:r>
                      <a:endParaRPr lang="en-US" sz="1100"/>
                    </a:p>
                  </a:txBody>
                  <a:tcPr/>
                </a:tc>
                <a:tc>
                  <a:txBody>
                    <a:bodyPr/>
                    <a:lstStyle/>
                    <a:p>
                      <a:pPr marL="171450" indent="-171450">
                        <a:buFont typeface="Arial" panose="020B0604020202020204" pitchFamily="34" charset="0"/>
                        <a:buChar char="•"/>
                      </a:pPr>
                      <a:r>
                        <a:rPr lang="de-DE" sz="1100"/>
                        <a:t>Bekannte Marke in Deutschland mit starkem lokalem Fokus</a:t>
                      </a:r>
                    </a:p>
                    <a:p>
                      <a:pPr marL="171450" indent="-171450">
                        <a:buFont typeface="Arial" panose="020B0604020202020204" pitchFamily="34" charset="0"/>
                        <a:buChar char="•"/>
                      </a:pPr>
                      <a:r>
                        <a:rPr lang="de-DE" sz="1100"/>
                        <a:t>Plattform ausschließlich für Essenbestellung und -lieferung</a:t>
                      </a:r>
                    </a:p>
                    <a:p>
                      <a:pPr marL="171450" indent="-171450">
                        <a:buFont typeface="Arial" panose="020B0604020202020204" pitchFamily="34" charset="0"/>
                        <a:buChar char="•"/>
                      </a:pPr>
                      <a:r>
                        <a:rPr lang="de-DE" sz="1100"/>
                        <a:t>Breite Kundendemografie über urbane und ländliche Gebiete</a:t>
                      </a:r>
                      <a:endParaRPr lang="en-US" sz="1100"/>
                    </a:p>
                  </a:txBody>
                  <a:tcPr/>
                </a:tc>
                <a:extLst>
                  <a:ext uri="{0D108BD9-81ED-4DB2-BD59-A6C34878D82A}">
                    <a16:rowId xmlns:a16="http://schemas.microsoft.com/office/drawing/2014/main" val="1310488180"/>
                  </a:ext>
                </a:extLst>
              </a:tr>
            </a:tbl>
          </a:graphicData>
        </a:graphic>
      </p:graphicFrame>
      <p:sp>
        <p:nvSpPr>
          <p:cNvPr id="12" name="Textfeld 11">
            <a:extLst>
              <a:ext uri="{FF2B5EF4-FFF2-40B4-BE49-F238E27FC236}">
                <a16:creationId xmlns:a16="http://schemas.microsoft.com/office/drawing/2014/main" id="{29AC1C8C-5BF5-F87D-97DD-3DB2B7A6FA2C}"/>
              </a:ext>
            </a:extLst>
          </p:cNvPr>
          <p:cNvSpPr txBox="1"/>
          <p:nvPr/>
        </p:nvSpPr>
        <p:spPr>
          <a:xfrm>
            <a:off x="359997" y="4195863"/>
            <a:ext cx="5192577" cy="276999"/>
          </a:xfrm>
          <a:prstGeom prst="rect">
            <a:avLst/>
          </a:prstGeom>
          <a:noFill/>
        </p:spPr>
        <p:txBody>
          <a:bodyPr wrap="square" rtlCol="0">
            <a:spAutoFit/>
          </a:bodyPr>
          <a:lstStyle/>
          <a:p>
            <a:r>
              <a:rPr lang="de-DE" sz="1200" b="1"/>
              <a:t>Vergleich Lieferungen von Waren UberEats and Lieferando</a:t>
            </a:r>
          </a:p>
        </p:txBody>
      </p:sp>
    </p:spTree>
    <p:extLst>
      <p:ext uri="{BB962C8B-B14F-4D97-AF65-F5344CB8AC3E}">
        <p14:creationId xmlns:p14="http://schemas.microsoft.com/office/powerpoint/2010/main" val="23550632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3B55962-7DAE-03F1-BC22-C93C24B1E1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3" name="think-cell data - do not delete" hidden="1">
                        <a:extLst>
                          <a:ext uri="{FF2B5EF4-FFF2-40B4-BE49-F238E27FC236}">
                            <a16:creationId xmlns:a16="http://schemas.microsoft.com/office/drawing/2014/main" id="{23B55962-7DAE-03F1-BC22-C93C24B1E1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FF9C6B6A-83AA-78B0-1950-1387393B2623}"/>
              </a:ext>
            </a:extLst>
          </p:cNvPr>
          <p:cNvSpPr>
            <a:spLocks noGrp="1"/>
          </p:cNvSpPr>
          <p:nvPr>
            <p:ph type="sldNum" sz="quarter" idx="4"/>
          </p:nvPr>
        </p:nvSpPr>
        <p:spPr/>
        <p:txBody>
          <a:bodyPr/>
          <a:lstStyle/>
          <a:p>
            <a:fld id="{BAF04893-69FB-435D-AB2E-CA259D85B32F}" type="slidenum">
              <a:rPr lang="en-US" smtClean="0"/>
              <a:pPr/>
              <a:t>60</a:t>
            </a:fld>
            <a:endParaRPr lang="en-US"/>
          </a:p>
        </p:txBody>
      </p:sp>
      <p:sp>
        <p:nvSpPr>
          <p:cNvPr id="6" name="Inhaltsplatzhalter 5">
            <a:extLst>
              <a:ext uri="{FF2B5EF4-FFF2-40B4-BE49-F238E27FC236}">
                <a16:creationId xmlns:a16="http://schemas.microsoft.com/office/drawing/2014/main" id="{073E0487-9A1C-FA4E-7B2D-F18FB1D35F0F}"/>
              </a:ext>
            </a:extLst>
          </p:cNvPr>
          <p:cNvSpPr>
            <a:spLocks noGrp="1"/>
          </p:cNvSpPr>
          <p:nvPr>
            <p:ph idx="11"/>
          </p:nvPr>
        </p:nvSpPr>
        <p:spPr/>
        <p:txBody>
          <a:bodyPr/>
          <a:lstStyle/>
          <a:p>
            <a:r>
              <a:rPr lang="en-US"/>
              <a:t>Uber ESG-Report, SDGs United Nations, Own Representation</a:t>
            </a:r>
          </a:p>
        </p:txBody>
      </p:sp>
      <p:sp>
        <p:nvSpPr>
          <p:cNvPr id="7" name="Inhaltsplatzhalter 6">
            <a:extLst>
              <a:ext uri="{FF2B5EF4-FFF2-40B4-BE49-F238E27FC236}">
                <a16:creationId xmlns:a16="http://schemas.microsoft.com/office/drawing/2014/main" id="{4511DF48-208A-6F74-86D3-9A08E02423D3}"/>
              </a:ext>
            </a:extLst>
          </p:cNvPr>
          <p:cNvSpPr>
            <a:spLocks noGrp="1"/>
          </p:cNvSpPr>
          <p:nvPr>
            <p:ph idx="12"/>
          </p:nvPr>
        </p:nvSpPr>
        <p:spPr/>
        <p:txBody>
          <a:bodyPr/>
          <a:lstStyle/>
          <a:p>
            <a:r>
              <a:rPr lang="en-US"/>
              <a:t>ESG</a:t>
            </a:r>
          </a:p>
        </p:txBody>
      </p:sp>
      <p:sp>
        <p:nvSpPr>
          <p:cNvPr id="12" name="Inhaltsplatzhalter 11">
            <a:extLst>
              <a:ext uri="{FF2B5EF4-FFF2-40B4-BE49-F238E27FC236}">
                <a16:creationId xmlns:a16="http://schemas.microsoft.com/office/drawing/2014/main" id="{BA8E07C9-AAA6-B12B-F170-2878DABE3741}"/>
              </a:ext>
            </a:extLst>
          </p:cNvPr>
          <p:cNvSpPr>
            <a:spLocks noGrp="1"/>
          </p:cNvSpPr>
          <p:nvPr>
            <p:ph idx="10"/>
          </p:nvPr>
        </p:nvSpPr>
        <p:spPr/>
        <p:txBody>
          <a:bodyPr/>
          <a:lstStyle/>
          <a:p>
            <a:r>
              <a:rPr lang="en-US"/>
              <a:t>SDG Matrix</a:t>
            </a:r>
          </a:p>
        </p:txBody>
      </p:sp>
      <p:graphicFrame>
        <p:nvGraphicFramePr>
          <p:cNvPr id="13" name="Inhaltsplatzhalter 9">
            <a:extLst>
              <a:ext uri="{FF2B5EF4-FFF2-40B4-BE49-F238E27FC236}">
                <a16:creationId xmlns:a16="http://schemas.microsoft.com/office/drawing/2014/main" id="{DB9F1ABB-609B-E7C1-3D04-959AF7D3E2C0}"/>
              </a:ext>
            </a:extLst>
          </p:cNvPr>
          <p:cNvGraphicFramePr>
            <a:graphicFrameLocks/>
          </p:cNvGraphicFramePr>
          <p:nvPr>
            <p:extLst>
              <p:ext uri="{D42A27DB-BD31-4B8C-83A1-F6EECF244321}">
                <p14:modId xmlns:p14="http://schemas.microsoft.com/office/powerpoint/2010/main" val="3979933839"/>
              </p:ext>
            </p:extLst>
          </p:nvPr>
        </p:nvGraphicFramePr>
        <p:xfrm>
          <a:off x="359997" y="1254557"/>
          <a:ext cx="8582617" cy="5142503"/>
        </p:xfrm>
        <a:graphic>
          <a:graphicData uri="http://schemas.openxmlformats.org/drawingml/2006/table">
            <a:tbl>
              <a:tblPr firstRow="1" bandRow="1">
                <a:tableStyleId>{073A0DAA-6AF3-43AB-8588-CEC1D06C72B9}</a:tableStyleId>
              </a:tblPr>
              <a:tblGrid>
                <a:gridCol w="2125980">
                  <a:extLst>
                    <a:ext uri="{9D8B030D-6E8A-4147-A177-3AD203B41FA5}">
                      <a16:colId xmlns:a16="http://schemas.microsoft.com/office/drawing/2014/main" val="1271278673"/>
                    </a:ext>
                  </a:extLst>
                </a:gridCol>
                <a:gridCol w="360001">
                  <a:extLst>
                    <a:ext uri="{9D8B030D-6E8A-4147-A177-3AD203B41FA5}">
                      <a16:colId xmlns:a16="http://schemas.microsoft.com/office/drawing/2014/main" val="3203959908"/>
                    </a:ext>
                  </a:extLst>
                </a:gridCol>
                <a:gridCol w="360001">
                  <a:extLst>
                    <a:ext uri="{9D8B030D-6E8A-4147-A177-3AD203B41FA5}">
                      <a16:colId xmlns:a16="http://schemas.microsoft.com/office/drawing/2014/main" val="4176778569"/>
                    </a:ext>
                  </a:extLst>
                </a:gridCol>
                <a:gridCol w="468023">
                  <a:extLst>
                    <a:ext uri="{9D8B030D-6E8A-4147-A177-3AD203B41FA5}">
                      <a16:colId xmlns:a16="http://schemas.microsoft.com/office/drawing/2014/main" val="912992883"/>
                    </a:ext>
                  </a:extLst>
                </a:gridCol>
                <a:gridCol w="360001">
                  <a:extLst>
                    <a:ext uri="{9D8B030D-6E8A-4147-A177-3AD203B41FA5}">
                      <a16:colId xmlns:a16="http://schemas.microsoft.com/office/drawing/2014/main" val="4248427446"/>
                    </a:ext>
                  </a:extLst>
                </a:gridCol>
                <a:gridCol w="468023">
                  <a:extLst>
                    <a:ext uri="{9D8B030D-6E8A-4147-A177-3AD203B41FA5}">
                      <a16:colId xmlns:a16="http://schemas.microsoft.com/office/drawing/2014/main" val="2403717412"/>
                    </a:ext>
                  </a:extLst>
                </a:gridCol>
                <a:gridCol w="360001">
                  <a:extLst>
                    <a:ext uri="{9D8B030D-6E8A-4147-A177-3AD203B41FA5}">
                      <a16:colId xmlns:a16="http://schemas.microsoft.com/office/drawing/2014/main" val="505048116"/>
                    </a:ext>
                  </a:extLst>
                </a:gridCol>
                <a:gridCol w="464837">
                  <a:extLst>
                    <a:ext uri="{9D8B030D-6E8A-4147-A177-3AD203B41FA5}">
                      <a16:colId xmlns:a16="http://schemas.microsoft.com/office/drawing/2014/main" val="4171056665"/>
                    </a:ext>
                  </a:extLst>
                </a:gridCol>
                <a:gridCol w="464837">
                  <a:extLst>
                    <a:ext uri="{9D8B030D-6E8A-4147-A177-3AD203B41FA5}">
                      <a16:colId xmlns:a16="http://schemas.microsoft.com/office/drawing/2014/main" val="3964119492"/>
                    </a:ext>
                  </a:extLst>
                </a:gridCol>
                <a:gridCol w="360001">
                  <a:extLst>
                    <a:ext uri="{9D8B030D-6E8A-4147-A177-3AD203B41FA5}">
                      <a16:colId xmlns:a16="http://schemas.microsoft.com/office/drawing/2014/main" val="2156221197"/>
                    </a:ext>
                  </a:extLst>
                </a:gridCol>
                <a:gridCol w="360001">
                  <a:extLst>
                    <a:ext uri="{9D8B030D-6E8A-4147-A177-3AD203B41FA5}">
                      <a16:colId xmlns:a16="http://schemas.microsoft.com/office/drawing/2014/main" val="3964718852"/>
                    </a:ext>
                  </a:extLst>
                </a:gridCol>
                <a:gridCol w="360001">
                  <a:extLst>
                    <a:ext uri="{9D8B030D-6E8A-4147-A177-3AD203B41FA5}">
                      <a16:colId xmlns:a16="http://schemas.microsoft.com/office/drawing/2014/main" val="1763818268"/>
                    </a:ext>
                  </a:extLst>
                </a:gridCol>
                <a:gridCol w="468023">
                  <a:extLst>
                    <a:ext uri="{9D8B030D-6E8A-4147-A177-3AD203B41FA5}">
                      <a16:colId xmlns:a16="http://schemas.microsoft.com/office/drawing/2014/main" val="3771919887"/>
                    </a:ext>
                  </a:extLst>
                </a:gridCol>
                <a:gridCol w="464837">
                  <a:extLst>
                    <a:ext uri="{9D8B030D-6E8A-4147-A177-3AD203B41FA5}">
                      <a16:colId xmlns:a16="http://schemas.microsoft.com/office/drawing/2014/main" val="1977510563"/>
                    </a:ext>
                  </a:extLst>
                </a:gridCol>
                <a:gridCol w="379350">
                  <a:extLst>
                    <a:ext uri="{9D8B030D-6E8A-4147-A177-3AD203B41FA5}">
                      <a16:colId xmlns:a16="http://schemas.microsoft.com/office/drawing/2014/main" val="781614953"/>
                    </a:ext>
                  </a:extLst>
                </a:gridCol>
                <a:gridCol w="379350">
                  <a:extLst>
                    <a:ext uri="{9D8B030D-6E8A-4147-A177-3AD203B41FA5}">
                      <a16:colId xmlns:a16="http://schemas.microsoft.com/office/drawing/2014/main" val="3300030096"/>
                    </a:ext>
                  </a:extLst>
                </a:gridCol>
                <a:gridCol w="379350">
                  <a:extLst>
                    <a:ext uri="{9D8B030D-6E8A-4147-A177-3AD203B41FA5}">
                      <a16:colId xmlns:a16="http://schemas.microsoft.com/office/drawing/2014/main" val="2818781208"/>
                    </a:ext>
                  </a:extLst>
                </a:gridCol>
              </a:tblGrid>
              <a:tr h="0">
                <a:tc>
                  <a:txBody>
                    <a:bodyPr/>
                    <a:lstStyle/>
                    <a:p>
                      <a:endParaRPr lang="en-US" sz="1000" b="1"/>
                    </a:p>
                  </a:txBody>
                  <a:tcPr>
                    <a:solidFill>
                      <a:schemeClr val="bg1"/>
                    </a:solidFill>
                  </a:tcPr>
                </a:tc>
                <a:tc gridSpan="8">
                  <a:txBody>
                    <a:bodyPr/>
                    <a:lstStyle/>
                    <a:p>
                      <a:pPr algn="ctr"/>
                      <a:r>
                        <a:rPr lang="en-US" sz="1000" b="1">
                          <a:solidFill>
                            <a:schemeClr val="bg1"/>
                          </a:solidFill>
                        </a:rPr>
                        <a:t>Environmental</a:t>
                      </a:r>
                    </a:p>
                  </a:txBody>
                  <a:tcPr marL="36000" marR="36000" marT="36000" marB="36000" anchor="ctr">
                    <a:solidFill>
                      <a:schemeClr val="tx1"/>
                    </a:solidFill>
                  </a:tcPr>
                </a:tc>
                <a:tc hMerge="1">
                  <a:txBody>
                    <a:bodyPr/>
                    <a:lstStyle/>
                    <a:p>
                      <a:pPr algn="ctr"/>
                      <a:endParaRPr lang="en-US" sz="1000" b="0">
                        <a:solidFill>
                          <a:schemeClr val="tx1"/>
                        </a:solidFill>
                      </a:endParaRPr>
                    </a:p>
                  </a:txBody>
                  <a:tcPr marL="36000" marR="36000" marT="36000" marB="36000" vert="vert" anchor="ctr">
                    <a:solidFill>
                      <a:srgbClr val="FFC000"/>
                    </a:solidFill>
                  </a:tcPr>
                </a:tc>
                <a:tc hMerge="1">
                  <a:txBody>
                    <a:bodyPr/>
                    <a:lstStyle/>
                    <a:p>
                      <a:pPr algn="ctr"/>
                      <a:endParaRPr lang="en-US" sz="1000" b="0">
                        <a:solidFill>
                          <a:schemeClr val="tx1"/>
                        </a:solidFill>
                      </a:endParaRPr>
                    </a:p>
                  </a:txBody>
                  <a:tcPr marL="36000" marR="36000" marT="36000" marB="36000" vert="vert" anchor="ctr">
                    <a:solidFill>
                      <a:srgbClr val="FFC000"/>
                    </a:solidFill>
                  </a:tcPr>
                </a:tc>
                <a:tc hMerge="1">
                  <a:txBody>
                    <a:bodyPr/>
                    <a:lstStyle/>
                    <a:p>
                      <a:pPr algn="ctr"/>
                      <a:endParaRPr lang="en-US" sz="1000" b="0">
                        <a:solidFill>
                          <a:schemeClr val="tx1"/>
                        </a:solidFill>
                      </a:endParaRPr>
                    </a:p>
                  </a:txBody>
                  <a:tcPr marL="36000" marR="36000" marT="36000" marB="36000" vert="vert" anchor="ctr">
                    <a:solidFill>
                      <a:srgbClr val="FFC000"/>
                    </a:solidFill>
                  </a:tcPr>
                </a:tc>
                <a:tc hMerge="1">
                  <a:txBody>
                    <a:bodyPr/>
                    <a:lstStyle/>
                    <a:p>
                      <a:pPr algn="ctr"/>
                      <a:endParaRPr lang="en-US" sz="1000" b="0">
                        <a:solidFill>
                          <a:schemeClr val="tx1"/>
                        </a:solidFill>
                      </a:endParaRPr>
                    </a:p>
                  </a:txBody>
                  <a:tcPr marL="36000" marR="36000" marT="36000" marB="36000" vert="vert" anchor="ctr">
                    <a:solidFill>
                      <a:srgbClr val="FFC000"/>
                    </a:solidFill>
                  </a:tcPr>
                </a:tc>
                <a:tc hMerge="1">
                  <a:txBody>
                    <a:bodyPr/>
                    <a:lstStyle/>
                    <a:p>
                      <a:pPr algn="ctr"/>
                      <a:endParaRPr lang="en-US" sz="1000" b="0">
                        <a:solidFill>
                          <a:schemeClr val="tx1"/>
                        </a:solidFill>
                      </a:endParaRPr>
                    </a:p>
                  </a:txBody>
                  <a:tcPr marL="36000" marR="36000" marT="36000" marB="36000" vert="vert" anchor="ctr">
                    <a:solidFill>
                      <a:srgbClr val="FFC000"/>
                    </a:solidFill>
                  </a:tcPr>
                </a:tc>
                <a:tc hMerge="1">
                  <a:txBody>
                    <a:bodyPr/>
                    <a:lstStyle/>
                    <a:p>
                      <a:pPr algn="ctr"/>
                      <a:endParaRPr lang="en-US" sz="1000" b="0">
                        <a:solidFill>
                          <a:schemeClr val="tx1"/>
                        </a:solidFill>
                      </a:endParaRPr>
                    </a:p>
                  </a:txBody>
                  <a:tcPr marL="36000" marR="36000" marT="36000" marB="36000" vert="vert" anchor="ctr">
                    <a:solidFill>
                      <a:srgbClr val="FFC000"/>
                    </a:solidFill>
                  </a:tcPr>
                </a:tc>
                <a:tc hMerge="1">
                  <a:txBody>
                    <a:bodyPr/>
                    <a:lstStyle/>
                    <a:p>
                      <a:pPr algn="ctr"/>
                      <a:endParaRPr lang="en-US" sz="1000" b="0">
                        <a:solidFill>
                          <a:schemeClr val="tx1"/>
                        </a:solidFill>
                      </a:endParaRPr>
                    </a:p>
                  </a:txBody>
                  <a:tcPr marL="36000" marR="36000" marT="36000" marB="36000" vert="vert" anchor="ctr">
                    <a:solidFill>
                      <a:srgbClr val="FFC000"/>
                    </a:solidFill>
                  </a:tcPr>
                </a:tc>
                <a:tc gridSpan="8">
                  <a:txBody>
                    <a:bodyPr/>
                    <a:lstStyle/>
                    <a:p>
                      <a:pPr algn="ctr"/>
                      <a:r>
                        <a:rPr lang="en-US" sz="1000"/>
                        <a:t>Social</a:t>
                      </a:r>
                    </a:p>
                  </a:txBody>
                  <a:tcPr marL="36000" marR="36000" marT="36000" marB="36000" anchor="ctr"/>
                </a:tc>
                <a:tc hMerge="1">
                  <a:txBody>
                    <a:bodyPr/>
                    <a:lstStyle/>
                    <a:p>
                      <a:pPr algn="ctr"/>
                      <a:endParaRPr lang="en-US" sz="1000"/>
                    </a:p>
                  </a:txBody>
                  <a:tcPr marL="36000" marR="36000" marT="36000" marB="36000" vert="vert" anchor="ctr"/>
                </a:tc>
                <a:tc hMerge="1">
                  <a:txBody>
                    <a:bodyPr/>
                    <a:lstStyle/>
                    <a:p>
                      <a:pPr algn="ctr"/>
                      <a:endParaRPr lang="en-US" sz="1000"/>
                    </a:p>
                  </a:txBody>
                  <a:tcPr marL="36000" marR="36000" marT="36000" marB="36000" vert="vert" anchor="ctr"/>
                </a:tc>
                <a:tc hMerge="1">
                  <a:txBody>
                    <a:bodyPr/>
                    <a:lstStyle/>
                    <a:p>
                      <a:pPr algn="ctr"/>
                      <a:endParaRPr lang="en-US" sz="1000"/>
                    </a:p>
                  </a:txBody>
                  <a:tcPr marL="36000" marR="36000" marT="36000" marB="36000" vert="vert" anchor="ctr"/>
                </a:tc>
                <a:tc hMerge="1">
                  <a:txBody>
                    <a:bodyPr/>
                    <a:lstStyle/>
                    <a:p>
                      <a:pPr algn="ctr"/>
                      <a:endParaRPr lang="en-US" sz="1000"/>
                    </a:p>
                  </a:txBody>
                  <a:tcPr marL="36000" marR="36000" marT="36000" marB="36000" vert="vert" anchor="ctr"/>
                </a:tc>
                <a:tc hMerge="1">
                  <a:txBody>
                    <a:bodyPr/>
                    <a:lstStyle/>
                    <a:p>
                      <a:pPr algn="ctr"/>
                      <a:endParaRPr lang="en-US" sz="1000"/>
                    </a:p>
                  </a:txBody>
                  <a:tcPr marL="36000" marR="36000" marT="36000" marB="36000" vert="vert" anchor="ctr"/>
                </a:tc>
                <a:tc hMerge="1">
                  <a:txBody>
                    <a:bodyPr/>
                    <a:lstStyle/>
                    <a:p>
                      <a:pPr algn="ctr"/>
                      <a:endParaRPr lang="en-US" sz="1000"/>
                    </a:p>
                  </a:txBody>
                  <a:tcPr marL="36000" marR="36000" marT="36000" marB="36000" vert="vert" anchor="ctr"/>
                </a:tc>
                <a:tc hMerge="1">
                  <a:txBody>
                    <a:bodyPr/>
                    <a:lstStyle/>
                    <a:p>
                      <a:pPr algn="ctr"/>
                      <a:endParaRPr lang="en-US" sz="1000"/>
                    </a:p>
                  </a:txBody>
                  <a:tcPr marL="36000" marR="36000" marT="36000" marB="36000" vert="vert" anchor="ctr"/>
                </a:tc>
                <a:extLst>
                  <a:ext uri="{0D108BD9-81ED-4DB2-BD59-A6C34878D82A}">
                    <a16:rowId xmlns:a16="http://schemas.microsoft.com/office/drawing/2014/main" val="2056543470"/>
                  </a:ext>
                </a:extLst>
              </a:tr>
              <a:tr h="1289253">
                <a:tc>
                  <a:txBody>
                    <a:bodyPr/>
                    <a:lstStyle/>
                    <a:p>
                      <a:endParaRPr lang="en-US" sz="1000" b="1"/>
                    </a:p>
                  </a:txBody>
                  <a:tcPr>
                    <a:solidFill>
                      <a:schemeClr val="bg1"/>
                    </a:solidFill>
                  </a:tcPr>
                </a:tc>
                <a:tc>
                  <a:txBody>
                    <a:bodyPr/>
                    <a:lstStyle/>
                    <a:p>
                      <a:pPr algn="ctr"/>
                      <a:r>
                        <a:rPr lang="en-US" sz="1000" b="0">
                          <a:solidFill>
                            <a:schemeClr val="tx1"/>
                          </a:solidFill>
                        </a:rPr>
                        <a:t>Uber Comfort Electric</a:t>
                      </a:r>
                    </a:p>
                  </a:txBody>
                  <a:tcPr marL="36000" marR="36000" marT="36000" marB="36000" vert="vert" anchor="ctr"/>
                </a:tc>
                <a:tc>
                  <a:txBody>
                    <a:bodyPr/>
                    <a:lstStyle/>
                    <a:p>
                      <a:pPr algn="ctr"/>
                      <a:r>
                        <a:rPr lang="en-US" sz="1000" b="0">
                          <a:solidFill>
                            <a:schemeClr val="tx1"/>
                          </a:solidFill>
                        </a:rPr>
                        <a:t>Uber Green</a:t>
                      </a:r>
                    </a:p>
                  </a:txBody>
                  <a:tcPr marL="36000" marR="36000" marT="36000" marB="36000" vert="vert" anchor="ctr"/>
                </a:tc>
                <a:tc>
                  <a:txBody>
                    <a:bodyPr/>
                    <a:lstStyle/>
                    <a:p>
                      <a:pPr algn="ctr"/>
                      <a:r>
                        <a:rPr lang="en-US" sz="1000" b="0">
                          <a:solidFill>
                            <a:schemeClr val="tx1"/>
                          </a:solidFill>
                        </a:rPr>
                        <a:t>Science-Based </a:t>
                      </a:r>
                      <a:br>
                        <a:rPr lang="en-US" sz="1000" b="0">
                          <a:solidFill>
                            <a:schemeClr val="tx1"/>
                          </a:solidFill>
                        </a:rPr>
                      </a:br>
                      <a:r>
                        <a:rPr lang="en-US" sz="1000" b="0">
                          <a:solidFill>
                            <a:schemeClr val="tx1"/>
                          </a:solidFill>
                        </a:rPr>
                        <a:t>Emission Targets</a:t>
                      </a:r>
                    </a:p>
                  </a:txBody>
                  <a:tcPr marL="36000" marR="36000" marT="36000" marB="36000" vert="vert" anchor="ctr"/>
                </a:tc>
                <a:tc>
                  <a:txBody>
                    <a:bodyPr/>
                    <a:lstStyle/>
                    <a:p>
                      <a:pPr algn="ctr"/>
                      <a:r>
                        <a:rPr lang="en-US" sz="1000" b="0">
                          <a:solidFill>
                            <a:schemeClr val="tx1"/>
                          </a:solidFill>
                        </a:rPr>
                        <a:t>Green Options </a:t>
                      </a:r>
                      <a:br>
                        <a:rPr lang="en-US" sz="1000" b="0">
                          <a:solidFill>
                            <a:schemeClr val="tx1"/>
                          </a:solidFill>
                        </a:rPr>
                      </a:br>
                      <a:r>
                        <a:rPr lang="en-US" sz="1000" b="0">
                          <a:solidFill>
                            <a:schemeClr val="tx1"/>
                          </a:solidFill>
                        </a:rPr>
                        <a:t>Expansion</a:t>
                      </a:r>
                    </a:p>
                  </a:txBody>
                  <a:tcPr marL="36000" marR="36000" marT="36000" marB="36000" vert="vert" anchor="ctr"/>
                </a:tc>
                <a:tc>
                  <a:txBody>
                    <a:bodyPr/>
                    <a:lstStyle/>
                    <a:p>
                      <a:pPr algn="ctr"/>
                      <a:r>
                        <a:rPr lang="en-US" sz="1000" b="0">
                          <a:solidFill>
                            <a:schemeClr val="tx1"/>
                          </a:solidFill>
                        </a:rPr>
                        <a:t>Emission Tracking Dashboard</a:t>
                      </a:r>
                    </a:p>
                  </a:txBody>
                  <a:tcPr marL="36000" marR="36000" marT="36000" marB="36000" vert="vert" anchor="ctr"/>
                </a:tc>
                <a:tc>
                  <a:txBody>
                    <a:bodyPr/>
                    <a:lstStyle/>
                    <a:p>
                      <a:pPr algn="ctr"/>
                      <a:r>
                        <a:rPr lang="en-US" sz="1000" b="0">
                          <a:solidFill>
                            <a:schemeClr val="tx1"/>
                          </a:solidFill>
                        </a:rPr>
                        <a:t>Lime Integration</a:t>
                      </a:r>
                    </a:p>
                  </a:txBody>
                  <a:tcPr marL="36000" marR="36000" marT="36000" marB="36000" vert="vert" anchor="ctr"/>
                </a:tc>
                <a:tc>
                  <a:txBody>
                    <a:bodyPr/>
                    <a:lstStyle/>
                    <a:p>
                      <a:pPr algn="ctr"/>
                      <a:r>
                        <a:rPr lang="en-US" sz="1000" b="0">
                          <a:solidFill>
                            <a:schemeClr val="tx1"/>
                          </a:solidFill>
                        </a:rPr>
                        <a:t>Support for Sustainable Packaging</a:t>
                      </a:r>
                    </a:p>
                  </a:txBody>
                  <a:tcPr marL="36000" marR="36000" marT="36000" marB="36000" vert="vert" anchor="ctr"/>
                </a:tc>
                <a:tc>
                  <a:txBody>
                    <a:bodyPr/>
                    <a:lstStyle/>
                    <a:p>
                      <a:pPr algn="ctr"/>
                      <a:r>
                        <a:rPr lang="en-US" sz="1000" b="0">
                          <a:solidFill>
                            <a:schemeClr val="tx1"/>
                          </a:solidFill>
                        </a:rPr>
                        <a:t>Partnerships to Fight Climate Change</a:t>
                      </a:r>
                    </a:p>
                  </a:txBody>
                  <a:tcPr marL="36000" marR="36000" marT="36000" marB="36000" vert="vert" anchor="ctr"/>
                </a:tc>
                <a:tc>
                  <a:txBody>
                    <a:bodyPr/>
                    <a:lstStyle/>
                    <a:p>
                      <a:pPr algn="ctr"/>
                      <a:r>
                        <a:rPr lang="en-US" sz="1000"/>
                        <a:t>Health Access fund</a:t>
                      </a:r>
                    </a:p>
                  </a:txBody>
                  <a:tcPr marL="36000" marR="36000" marT="36000" marB="36000" vert="vert" anchor="ctr"/>
                </a:tc>
                <a:tc>
                  <a:txBody>
                    <a:bodyPr/>
                    <a:lstStyle/>
                    <a:p>
                      <a:pPr algn="ctr"/>
                      <a:r>
                        <a:rPr lang="en-US" sz="1000"/>
                        <a:t>Vaccine Access fund</a:t>
                      </a:r>
                    </a:p>
                  </a:txBody>
                  <a:tcPr marL="36000" marR="36000" marT="36000" marB="36000" vert="vert" anchor="ctr"/>
                </a:tc>
                <a:tc>
                  <a:txBody>
                    <a:bodyPr/>
                    <a:lstStyle/>
                    <a:p>
                      <a:pPr algn="ctr"/>
                      <a:r>
                        <a:rPr lang="en-US" sz="1000"/>
                        <a:t>Disaster Response</a:t>
                      </a:r>
                    </a:p>
                  </a:txBody>
                  <a:tcPr marL="36000" marR="36000" marT="36000" marB="36000" vert="vert" anchor="ctr"/>
                </a:tc>
                <a:tc>
                  <a:txBody>
                    <a:bodyPr/>
                    <a:lstStyle/>
                    <a:p>
                      <a:pPr algn="ctr"/>
                      <a:r>
                        <a:rPr lang="en-US" sz="1000"/>
                        <a:t>Flexible working opportunities</a:t>
                      </a:r>
                    </a:p>
                  </a:txBody>
                  <a:tcPr marL="36000" marR="36000" marT="36000" marB="36000" vert="vert" anchor="ctr"/>
                </a:tc>
                <a:tc>
                  <a:txBody>
                    <a:bodyPr/>
                    <a:lstStyle/>
                    <a:p>
                      <a:pPr algn="ctr"/>
                      <a:r>
                        <a:rPr lang="en-US" sz="1000"/>
                        <a:t>Driver and Delivery Personnel Support</a:t>
                      </a:r>
                    </a:p>
                  </a:txBody>
                  <a:tcPr marL="36000" marR="36000" marT="36000" marB="36000" vert="vert" anchor="ctr"/>
                </a:tc>
                <a:tc>
                  <a:txBody>
                    <a:bodyPr/>
                    <a:lstStyle/>
                    <a:p>
                      <a:pPr algn="ctr"/>
                      <a:r>
                        <a:rPr lang="en-US" sz="1000"/>
                        <a:t>Restaurant Support</a:t>
                      </a:r>
                    </a:p>
                  </a:txBody>
                  <a:tcPr marL="36000" marR="36000" marT="36000" marB="36000" vert="vert" anchor="ctr"/>
                </a:tc>
                <a:tc>
                  <a:txBody>
                    <a:bodyPr/>
                    <a:lstStyle/>
                    <a:p>
                      <a:pPr algn="ctr"/>
                      <a:r>
                        <a:rPr lang="en-US" sz="1000"/>
                        <a:t>Community Partnerships</a:t>
                      </a:r>
                    </a:p>
                  </a:txBody>
                  <a:tcPr marL="36000" marR="36000" marT="36000" marB="36000" vert="vert" anchor="ctr"/>
                </a:tc>
                <a:tc>
                  <a:txBody>
                    <a:bodyPr/>
                    <a:lstStyle/>
                    <a:p>
                      <a:pPr algn="ctr"/>
                      <a:r>
                        <a:rPr lang="en-US" sz="1000"/>
                        <a:t>Women Empowerment</a:t>
                      </a:r>
                    </a:p>
                  </a:txBody>
                  <a:tcPr marL="36000" marR="36000" marT="36000" marB="36000" vert="vert" anchor="ctr"/>
                </a:tc>
                <a:extLst>
                  <a:ext uri="{0D108BD9-81ED-4DB2-BD59-A6C34878D82A}">
                    <a16:rowId xmlns:a16="http://schemas.microsoft.com/office/drawing/2014/main" val="3123538913"/>
                  </a:ext>
                </a:extLst>
              </a:tr>
              <a:tr h="206410">
                <a:tc>
                  <a:txBody>
                    <a:bodyPr/>
                    <a:lstStyle/>
                    <a:p>
                      <a:r>
                        <a:rPr lang="en-US" sz="1000" b="0"/>
                        <a:t>No Poverty</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2129697"/>
                  </a:ext>
                </a:extLst>
              </a:tr>
              <a:tr h="206410">
                <a:tc>
                  <a:txBody>
                    <a:bodyPr/>
                    <a:lstStyle/>
                    <a:p>
                      <a:r>
                        <a:rPr lang="en-US" sz="1000" b="0"/>
                        <a:t>Zero Hunger</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3168453453"/>
                  </a:ext>
                </a:extLst>
              </a:tr>
              <a:tr h="206410">
                <a:tc>
                  <a:txBody>
                    <a:bodyPr/>
                    <a:lstStyle/>
                    <a:p>
                      <a:r>
                        <a:rPr lang="en-US" sz="1000" b="0"/>
                        <a:t>Good Health and Well-being</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58638874"/>
                  </a:ext>
                </a:extLst>
              </a:tr>
              <a:tr h="206410">
                <a:tc>
                  <a:txBody>
                    <a:bodyPr/>
                    <a:lstStyle/>
                    <a:p>
                      <a:r>
                        <a:rPr lang="en-US" sz="1000" b="0"/>
                        <a:t>Quality Education</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extLst>
                  <a:ext uri="{0D108BD9-81ED-4DB2-BD59-A6C34878D82A}">
                    <a16:rowId xmlns:a16="http://schemas.microsoft.com/office/drawing/2014/main" val="1842510460"/>
                  </a:ext>
                </a:extLst>
              </a:tr>
              <a:tr h="206410">
                <a:tc>
                  <a:txBody>
                    <a:bodyPr/>
                    <a:lstStyle/>
                    <a:p>
                      <a:r>
                        <a:rPr lang="en-US" sz="1000" b="0"/>
                        <a:t>Gender Equality</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extLst>
                  <a:ext uri="{0D108BD9-81ED-4DB2-BD59-A6C34878D82A}">
                    <a16:rowId xmlns:a16="http://schemas.microsoft.com/office/drawing/2014/main" val="2350595333"/>
                  </a:ext>
                </a:extLst>
              </a:tr>
              <a:tr h="206410">
                <a:tc>
                  <a:txBody>
                    <a:bodyPr/>
                    <a:lstStyle/>
                    <a:p>
                      <a:r>
                        <a:rPr lang="en-US" sz="1000" b="0"/>
                        <a:t>Clean Water and Sanitation</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3768785057"/>
                  </a:ext>
                </a:extLst>
              </a:tr>
              <a:tr h="206410">
                <a:tc>
                  <a:txBody>
                    <a:bodyPr/>
                    <a:lstStyle/>
                    <a:p>
                      <a:r>
                        <a:rPr lang="en-US" sz="1000" b="0"/>
                        <a:t>Affordable and Clean Energy</a:t>
                      </a:r>
                    </a:p>
                  </a:txBody>
                  <a:tcPr marT="0" marB="0"/>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2654647883"/>
                  </a:ext>
                </a:extLst>
              </a:tr>
              <a:tr h="206410">
                <a:tc>
                  <a:txBody>
                    <a:bodyPr/>
                    <a:lstStyle/>
                    <a:p>
                      <a:r>
                        <a:rPr lang="en-US" sz="1000" b="0"/>
                        <a:t>Decent Work</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extLst>
                  <a:ext uri="{0D108BD9-81ED-4DB2-BD59-A6C34878D82A}">
                    <a16:rowId xmlns:a16="http://schemas.microsoft.com/office/drawing/2014/main" val="1024650191"/>
                  </a:ext>
                </a:extLst>
              </a:tr>
              <a:tr h="206410">
                <a:tc>
                  <a:txBody>
                    <a:bodyPr/>
                    <a:lstStyle/>
                    <a:p>
                      <a:r>
                        <a:rPr lang="en-US" sz="1000" b="0"/>
                        <a:t>Industry, Innovation, Infrastructure</a:t>
                      </a:r>
                    </a:p>
                  </a:txBody>
                  <a:tcPr marT="0" marB="0"/>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2067900857"/>
                  </a:ext>
                </a:extLst>
              </a:tr>
              <a:tr h="206410">
                <a:tc>
                  <a:txBody>
                    <a:bodyPr/>
                    <a:lstStyle/>
                    <a:p>
                      <a:r>
                        <a:rPr lang="en-US" sz="1000" b="0"/>
                        <a:t>Reduced Inequalities</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extLst>
                  <a:ext uri="{0D108BD9-81ED-4DB2-BD59-A6C34878D82A}">
                    <a16:rowId xmlns:a16="http://schemas.microsoft.com/office/drawing/2014/main" val="1275208926"/>
                  </a:ext>
                </a:extLst>
              </a:tr>
              <a:tr h="206410">
                <a:tc>
                  <a:txBody>
                    <a:bodyPr/>
                    <a:lstStyle/>
                    <a:p>
                      <a:r>
                        <a:rPr lang="en-US" sz="1000" b="0"/>
                        <a:t>Sustainable Cities</a:t>
                      </a:r>
                    </a:p>
                  </a:txBody>
                  <a:tcPr marT="0" marB="0"/>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extLst>
                  <a:ext uri="{0D108BD9-81ED-4DB2-BD59-A6C34878D82A}">
                    <a16:rowId xmlns:a16="http://schemas.microsoft.com/office/drawing/2014/main" val="3839869687"/>
                  </a:ext>
                </a:extLst>
              </a:tr>
              <a:tr h="206410">
                <a:tc>
                  <a:txBody>
                    <a:bodyPr/>
                    <a:lstStyle/>
                    <a:p>
                      <a:r>
                        <a:rPr lang="en-US" sz="1000" b="0"/>
                        <a:t>Responsible Consumption</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4257815258"/>
                  </a:ext>
                </a:extLst>
              </a:tr>
              <a:tr h="206410">
                <a:tc>
                  <a:txBody>
                    <a:bodyPr/>
                    <a:lstStyle/>
                    <a:p>
                      <a:r>
                        <a:rPr lang="en-US" sz="1000" b="0"/>
                        <a:t>Climate Action</a:t>
                      </a:r>
                    </a:p>
                  </a:txBody>
                  <a:tcPr marT="0" marB="0"/>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959847095"/>
                  </a:ext>
                </a:extLst>
              </a:tr>
              <a:tr h="206410">
                <a:tc>
                  <a:txBody>
                    <a:bodyPr/>
                    <a:lstStyle/>
                    <a:p>
                      <a:r>
                        <a:rPr lang="en-US" sz="1000" b="0"/>
                        <a:t>Life below Water</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845070972"/>
                  </a:ext>
                </a:extLst>
              </a:tr>
              <a:tr h="206410">
                <a:tc>
                  <a:txBody>
                    <a:bodyPr/>
                    <a:lstStyle/>
                    <a:p>
                      <a:r>
                        <a:rPr lang="en-US" sz="1000" b="0"/>
                        <a:t>Life on Land</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3044519136"/>
                  </a:ext>
                </a:extLst>
              </a:tr>
              <a:tr h="306850">
                <a:tc>
                  <a:txBody>
                    <a:bodyPr/>
                    <a:lstStyle/>
                    <a:p>
                      <a:r>
                        <a:rPr lang="en-US" sz="1000" b="0"/>
                        <a:t>Peace, Justice and Strong Institutions</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extLst>
                  <a:ext uri="{0D108BD9-81ED-4DB2-BD59-A6C34878D82A}">
                    <a16:rowId xmlns:a16="http://schemas.microsoft.com/office/drawing/2014/main" val="2724346955"/>
                  </a:ext>
                </a:extLst>
              </a:tr>
              <a:tr h="206410">
                <a:tc>
                  <a:txBody>
                    <a:bodyPr/>
                    <a:lstStyle/>
                    <a:p>
                      <a:r>
                        <a:rPr lang="en-US" sz="1000" b="0"/>
                        <a:t>Partnership for Goals</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extLst>
                  <a:ext uri="{0D108BD9-81ED-4DB2-BD59-A6C34878D82A}">
                    <a16:rowId xmlns:a16="http://schemas.microsoft.com/office/drawing/2014/main" val="1497592031"/>
                  </a:ext>
                </a:extLst>
              </a:tr>
            </a:tbl>
          </a:graphicData>
        </a:graphic>
      </p:graphicFrame>
      <p:cxnSp>
        <p:nvCxnSpPr>
          <p:cNvPr id="5" name="Gerader Verbinder 4">
            <a:extLst>
              <a:ext uri="{FF2B5EF4-FFF2-40B4-BE49-F238E27FC236}">
                <a16:creationId xmlns:a16="http://schemas.microsoft.com/office/drawing/2014/main" id="{5E845043-580A-ACFB-D439-CB1564E3AFE7}"/>
              </a:ext>
            </a:extLst>
          </p:cNvPr>
          <p:cNvCxnSpPr>
            <a:cxnSpLocks/>
          </p:cNvCxnSpPr>
          <p:nvPr/>
        </p:nvCxnSpPr>
        <p:spPr>
          <a:xfrm>
            <a:off x="5784850" y="1497413"/>
            <a:ext cx="0" cy="4899647"/>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470090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3B55962-7DAE-03F1-BC22-C93C24B1E1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3" name="think-cell data - do not delete" hidden="1">
                        <a:extLst>
                          <a:ext uri="{FF2B5EF4-FFF2-40B4-BE49-F238E27FC236}">
                            <a16:creationId xmlns:a16="http://schemas.microsoft.com/office/drawing/2014/main" id="{23B55962-7DAE-03F1-BC22-C93C24B1E1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FF9C6B6A-83AA-78B0-1950-1387393B2623}"/>
              </a:ext>
            </a:extLst>
          </p:cNvPr>
          <p:cNvSpPr>
            <a:spLocks noGrp="1"/>
          </p:cNvSpPr>
          <p:nvPr>
            <p:ph type="sldNum" sz="quarter" idx="4"/>
          </p:nvPr>
        </p:nvSpPr>
        <p:spPr/>
        <p:txBody>
          <a:bodyPr/>
          <a:lstStyle/>
          <a:p>
            <a:fld id="{BAF04893-69FB-435D-AB2E-CA259D85B32F}" type="slidenum">
              <a:rPr lang="en-US" smtClean="0"/>
              <a:pPr/>
              <a:t>61</a:t>
            </a:fld>
            <a:endParaRPr lang="en-US"/>
          </a:p>
        </p:txBody>
      </p:sp>
      <p:sp>
        <p:nvSpPr>
          <p:cNvPr id="6" name="Inhaltsplatzhalter 5">
            <a:extLst>
              <a:ext uri="{FF2B5EF4-FFF2-40B4-BE49-F238E27FC236}">
                <a16:creationId xmlns:a16="http://schemas.microsoft.com/office/drawing/2014/main" id="{073E0487-9A1C-FA4E-7B2D-F18FB1D35F0F}"/>
              </a:ext>
            </a:extLst>
          </p:cNvPr>
          <p:cNvSpPr>
            <a:spLocks noGrp="1"/>
          </p:cNvSpPr>
          <p:nvPr>
            <p:ph idx="11"/>
          </p:nvPr>
        </p:nvSpPr>
        <p:spPr/>
        <p:txBody>
          <a:bodyPr/>
          <a:lstStyle/>
          <a:p>
            <a:r>
              <a:rPr lang="en-US"/>
              <a:t>Uber ESG-Report, SDGs United Nations, Own Representation</a:t>
            </a:r>
          </a:p>
          <a:p>
            <a:endParaRPr lang="en-US"/>
          </a:p>
        </p:txBody>
      </p:sp>
      <p:sp>
        <p:nvSpPr>
          <p:cNvPr id="7" name="Inhaltsplatzhalter 6">
            <a:extLst>
              <a:ext uri="{FF2B5EF4-FFF2-40B4-BE49-F238E27FC236}">
                <a16:creationId xmlns:a16="http://schemas.microsoft.com/office/drawing/2014/main" id="{4511DF48-208A-6F74-86D3-9A08E02423D3}"/>
              </a:ext>
            </a:extLst>
          </p:cNvPr>
          <p:cNvSpPr>
            <a:spLocks noGrp="1"/>
          </p:cNvSpPr>
          <p:nvPr>
            <p:ph idx="12"/>
          </p:nvPr>
        </p:nvSpPr>
        <p:spPr/>
        <p:txBody>
          <a:bodyPr/>
          <a:lstStyle/>
          <a:p>
            <a:r>
              <a:rPr lang="en-US"/>
              <a:t>ESG</a:t>
            </a:r>
          </a:p>
        </p:txBody>
      </p:sp>
      <p:sp>
        <p:nvSpPr>
          <p:cNvPr id="12" name="Inhaltsplatzhalter 11">
            <a:extLst>
              <a:ext uri="{FF2B5EF4-FFF2-40B4-BE49-F238E27FC236}">
                <a16:creationId xmlns:a16="http://schemas.microsoft.com/office/drawing/2014/main" id="{BA8E07C9-AAA6-B12B-F170-2878DABE3741}"/>
              </a:ext>
            </a:extLst>
          </p:cNvPr>
          <p:cNvSpPr>
            <a:spLocks noGrp="1"/>
          </p:cNvSpPr>
          <p:nvPr>
            <p:ph idx="10"/>
          </p:nvPr>
        </p:nvSpPr>
        <p:spPr/>
        <p:txBody>
          <a:bodyPr/>
          <a:lstStyle/>
          <a:p>
            <a:r>
              <a:rPr lang="en-US"/>
              <a:t>SDG Matrix</a:t>
            </a:r>
          </a:p>
          <a:p>
            <a:endParaRPr lang="en-US"/>
          </a:p>
        </p:txBody>
      </p:sp>
      <p:graphicFrame>
        <p:nvGraphicFramePr>
          <p:cNvPr id="13" name="Inhaltsplatzhalter 9">
            <a:extLst>
              <a:ext uri="{FF2B5EF4-FFF2-40B4-BE49-F238E27FC236}">
                <a16:creationId xmlns:a16="http://schemas.microsoft.com/office/drawing/2014/main" id="{DB9F1ABB-609B-E7C1-3D04-959AF7D3E2C0}"/>
              </a:ext>
            </a:extLst>
          </p:cNvPr>
          <p:cNvGraphicFramePr>
            <a:graphicFrameLocks/>
          </p:cNvGraphicFramePr>
          <p:nvPr>
            <p:extLst>
              <p:ext uri="{D42A27DB-BD31-4B8C-83A1-F6EECF244321}">
                <p14:modId xmlns:p14="http://schemas.microsoft.com/office/powerpoint/2010/main" val="1361638818"/>
              </p:ext>
            </p:extLst>
          </p:nvPr>
        </p:nvGraphicFramePr>
        <p:xfrm>
          <a:off x="359997" y="1254557"/>
          <a:ext cx="4487518" cy="5142503"/>
        </p:xfrm>
        <a:graphic>
          <a:graphicData uri="http://schemas.openxmlformats.org/drawingml/2006/table">
            <a:tbl>
              <a:tblPr firstRow="1" bandRow="1">
                <a:tableStyleId>{073A0DAA-6AF3-43AB-8588-CEC1D06C72B9}</a:tableStyleId>
              </a:tblPr>
              <a:tblGrid>
                <a:gridCol w="2111468">
                  <a:extLst>
                    <a:ext uri="{9D8B030D-6E8A-4147-A177-3AD203B41FA5}">
                      <a16:colId xmlns:a16="http://schemas.microsoft.com/office/drawing/2014/main" val="1271278673"/>
                    </a:ext>
                  </a:extLst>
                </a:gridCol>
                <a:gridCol w="360001">
                  <a:extLst>
                    <a:ext uri="{9D8B030D-6E8A-4147-A177-3AD203B41FA5}">
                      <a16:colId xmlns:a16="http://schemas.microsoft.com/office/drawing/2014/main" val="3203959908"/>
                    </a:ext>
                  </a:extLst>
                </a:gridCol>
                <a:gridCol w="360001">
                  <a:extLst>
                    <a:ext uri="{9D8B030D-6E8A-4147-A177-3AD203B41FA5}">
                      <a16:colId xmlns:a16="http://schemas.microsoft.com/office/drawing/2014/main" val="4176778569"/>
                    </a:ext>
                  </a:extLst>
                </a:gridCol>
                <a:gridCol w="468023">
                  <a:extLst>
                    <a:ext uri="{9D8B030D-6E8A-4147-A177-3AD203B41FA5}">
                      <a16:colId xmlns:a16="http://schemas.microsoft.com/office/drawing/2014/main" val="912992883"/>
                    </a:ext>
                  </a:extLst>
                </a:gridCol>
                <a:gridCol w="360001">
                  <a:extLst>
                    <a:ext uri="{9D8B030D-6E8A-4147-A177-3AD203B41FA5}">
                      <a16:colId xmlns:a16="http://schemas.microsoft.com/office/drawing/2014/main" val="4248427446"/>
                    </a:ext>
                  </a:extLst>
                </a:gridCol>
                <a:gridCol w="468023">
                  <a:extLst>
                    <a:ext uri="{9D8B030D-6E8A-4147-A177-3AD203B41FA5}">
                      <a16:colId xmlns:a16="http://schemas.microsoft.com/office/drawing/2014/main" val="2403717412"/>
                    </a:ext>
                  </a:extLst>
                </a:gridCol>
                <a:gridCol w="360001">
                  <a:extLst>
                    <a:ext uri="{9D8B030D-6E8A-4147-A177-3AD203B41FA5}">
                      <a16:colId xmlns:a16="http://schemas.microsoft.com/office/drawing/2014/main" val="505048116"/>
                    </a:ext>
                  </a:extLst>
                </a:gridCol>
              </a:tblGrid>
              <a:tr h="0">
                <a:tc>
                  <a:txBody>
                    <a:bodyPr/>
                    <a:lstStyle/>
                    <a:p>
                      <a:endParaRPr lang="en-US" sz="1000" b="1"/>
                    </a:p>
                  </a:txBody>
                  <a:tcPr>
                    <a:solidFill>
                      <a:schemeClr val="bg1"/>
                    </a:solidFill>
                  </a:tcPr>
                </a:tc>
                <a:tc gridSpan="6">
                  <a:txBody>
                    <a:bodyPr/>
                    <a:lstStyle/>
                    <a:p>
                      <a:pPr algn="ctr"/>
                      <a:r>
                        <a:rPr lang="en-US" sz="1000" b="1">
                          <a:solidFill>
                            <a:schemeClr val="bg1"/>
                          </a:solidFill>
                        </a:rPr>
                        <a:t>Governance</a:t>
                      </a:r>
                    </a:p>
                  </a:txBody>
                  <a:tcPr marL="36000" marR="36000" marT="36000" marB="36000" anchor="ctr">
                    <a:solidFill>
                      <a:schemeClr val="tx1"/>
                    </a:solidFill>
                  </a:tcPr>
                </a:tc>
                <a:tc hMerge="1">
                  <a:txBody>
                    <a:bodyPr/>
                    <a:lstStyle/>
                    <a:p>
                      <a:pPr algn="ctr"/>
                      <a:endParaRPr lang="en-US" sz="1000" b="0">
                        <a:solidFill>
                          <a:schemeClr val="tx1"/>
                        </a:solidFill>
                      </a:endParaRPr>
                    </a:p>
                  </a:txBody>
                  <a:tcPr marL="36000" marR="36000" marT="36000" marB="36000" vert="vert" anchor="ctr">
                    <a:solidFill>
                      <a:srgbClr val="FFC000"/>
                    </a:solidFill>
                  </a:tcPr>
                </a:tc>
                <a:tc hMerge="1">
                  <a:txBody>
                    <a:bodyPr/>
                    <a:lstStyle/>
                    <a:p>
                      <a:pPr algn="ctr"/>
                      <a:endParaRPr lang="en-US" sz="1000" b="0">
                        <a:solidFill>
                          <a:schemeClr val="tx1"/>
                        </a:solidFill>
                      </a:endParaRPr>
                    </a:p>
                  </a:txBody>
                  <a:tcPr marL="36000" marR="36000" marT="36000" marB="36000" vert="vert" anchor="ctr">
                    <a:solidFill>
                      <a:srgbClr val="FFC000"/>
                    </a:solidFill>
                  </a:tcPr>
                </a:tc>
                <a:tc hMerge="1">
                  <a:txBody>
                    <a:bodyPr/>
                    <a:lstStyle/>
                    <a:p>
                      <a:pPr algn="ctr"/>
                      <a:endParaRPr lang="en-US" sz="1000" b="0">
                        <a:solidFill>
                          <a:schemeClr val="tx1"/>
                        </a:solidFill>
                      </a:endParaRPr>
                    </a:p>
                  </a:txBody>
                  <a:tcPr marL="36000" marR="36000" marT="36000" marB="36000" vert="vert" anchor="ctr">
                    <a:solidFill>
                      <a:srgbClr val="FFC000"/>
                    </a:solidFill>
                  </a:tcPr>
                </a:tc>
                <a:tc hMerge="1">
                  <a:txBody>
                    <a:bodyPr/>
                    <a:lstStyle/>
                    <a:p>
                      <a:pPr algn="ctr"/>
                      <a:endParaRPr lang="en-US" sz="1000" b="0">
                        <a:solidFill>
                          <a:schemeClr val="tx1"/>
                        </a:solidFill>
                      </a:endParaRPr>
                    </a:p>
                  </a:txBody>
                  <a:tcPr marL="36000" marR="36000" marT="36000" marB="36000" vert="vert" anchor="ctr">
                    <a:solidFill>
                      <a:srgbClr val="FFC000"/>
                    </a:solidFill>
                  </a:tcPr>
                </a:tc>
                <a:tc hMerge="1">
                  <a:txBody>
                    <a:bodyPr/>
                    <a:lstStyle/>
                    <a:p>
                      <a:pPr algn="ctr"/>
                      <a:endParaRPr lang="en-US" sz="1000" b="0">
                        <a:solidFill>
                          <a:schemeClr val="tx1"/>
                        </a:solidFill>
                      </a:endParaRPr>
                    </a:p>
                  </a:txBody>
                  <a:tcPr marL="36000" marR="36000" marT="36000" marB="36000" vert="vert" anchor="ctr">
                    <a:solidFill>
                      <a:srgbClr val="FFC000"/>
                    </a:solidFill>
                  </a:tcPr>
                </a:tc>
                <a:extLst>
                  <a:ext uri="{0D108BD9-81ED-4DB2-BD59-A6C34878D82A}">
                    <a16:rowId xmlns:a16="http://schemas.microsoft.com/office/drawing/2014/main" val="2056543470"/>
                  </a:ext>
                </a:extLst>
              </a:tr>
              <a:tr h="1289253">
                <a:tc>
                  <a:txBody>
                    <a:bodyPr/>
                    <a:lstStyle/>
                    <a:p>
                      <a:endParaRPr lang="en-US" sz="1000" b="1"/>
                    </a:p>
                  </a:txBody>
                  <a:tcPr>
                    <a:solidFill>
                      <a:schemeClr val="bg1"/>
                    </a:solidFill>
                  </a:tcPr>
                </a:tc>
                <a:tc>
                  <a:txBody>
                    <a:bodyPr/>
                    <a:lstStyle/>
                    <a:p>
                      <a:pPr algn="ctr"/>
                      <a:r>
                        <a:rPr lang="en-US" sz="1000" b="0">
                          <a:solidFill>
                            <a:schemeClr val="tx1"/>
                          </a:solidFill>
                        </a:rPr>
                        <a:t>Diversity in Workforce</a:t>
                      </a:r>
                    </a:p>
                  </a:txBody>
                  <a:tcPr marL="36000" marR="36000" marT="36000" marB="36000" vert="vert" anchor="ctr"/>
                </a:tc>
                <a:tc>
                  <a:txBody>
                    <a:bodyPr/>
                    <a:lstStyle/>
                    <a:p>
                      <a:pPr algn="ctr"/>
                      <a:r>
                        <a:rPr lang="en-US" sz="1000" b="0">
                          <a:solidFill>
                            <a:schemeClr val="tx1"/>
                          </a:solidFill>
                        </a:rPr>
                        <a:t>Board Diversity</a:t>
                      </a:r>
                    </a:p>
                  </a:txBody>
                  <a:tcPr marL="36000" marR="36000" marT="36000" marB="36000" vert="vert" anchor="ctr"/>
                </a:tc>
                <a:tc>
                  <a:txBody>
                    <a:bodyPr/>
                    <a:lstStyle/>
                    <a:p>
                      <a:pPr algn="ctr"/>
                      <a:r>
                        <a:rPr lang="en-US" sz="1000" b="0">
                          <a:solidFill>
                            <a:schemeClr val="tx1"/>
                          </a:solidFill>
                        </a:rPr>
                        <a:t>Increased Representation</a:t>
                      </a:r>
                    </a:p>
                  </a:txBody>
                  <a:tcPr marL="36000" marR="36000" marT="36000" marB="36000" vert="vert" anchor="ctr"/>
                </a:tc>
                <a:tc>
                  <a:txBody>
                    <a:bodyPr/>
                    <a:lstStyle/>
                    <a:p>
                      <a:pPr algn="ctr"/>
                      <a:r>
                        <a:rPr lang="en-US" sz="1000" b="0">
                          <a:solidFill>
                            <a:schemeClr val="tx1"/>
                          </a:solidFill>
                        </a:rPr>
                        <a:t>Transparency and Accountability</a:t>
                      </a:r>
                    </a:p>
                  </a:txBody>
                  <a:tcPr marL="36000" marR="36000" marT="36000" marB="36000" vert="vert" anchor="ctr"/>
                </a:tc>
                <a:tc>
                  <a:txBody>
                    <a:bodyPr/>
                    <a:lstStyle/>
                    <a:p>
                      <a:pPr algn="ctr"/>
                      <a:r>
                        <a:rPr lang="en-US" sz="1000" b="0">
                          <a:solidFill>
                            <a:schemeClr val="tx1"/>
                          </a:solidFill>
                        </a:rPr>
                        <a:t>ESG Reporting and Verification</a:t>
                      </a:r>
                    </a:p>
                  </a:txBody>
                  <a:tcPr marL="36000" marR="36000" marT="36000" marB="36000" vert="vert" anchor="ctr"/>
                </a:tc>
                <a:tc>
                  <a:txBody>
                    <a:bodyPr/>
                    <a:lstStyle/>
                    <a:p>
                      <a:pPr algn="ctr"/>
                      <a:r>
                        <a:rPr lang="en-US" sz="1000" b="0">
                          <a:solidFill>
                            <a:schemeClr val="tx1"/>
                          </a:solidFill>
                        </a:rPr>
                        <a:t>Ethical Business Practices</a:t>
                      </a:r>
                    </a:p>
                  </a:txBody>
                  <a:tcPr marL="36000" marR="36000" marT="36000" marB="36000" vert="vert" anchor="ctr"/>
                </a:tc>
                <a:extLst>
                  <a:ext uri="{0D108BD9-81ED-4DB2-BD59-A6C34878D82A}">
                    <a16:rowId xmlns:a16="http://schemas.microsoft.com/office/drawing/2014/main" val="3123538913"/>
                  </a:ext>
                </a:extLst>
              </a:tr>
              <a:tr h="206410">
                <a:tc>
                  <a:txBody>
                    <a:bodyPr/>
                    <a:lstStyle/>
                    <a:p>
                      <a:r>
                        <a:rPr lang="en-US" sz="1000" b="0"/>
                        <a:t>No Poverty</a:t>
                      </a:r>
                    </a:p>
                  </a:txBody>
                  <a:tcPr marT="0" marB="0"/>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extLst>
                  <a:ext uri="{0D108BD9-81ED-4DB2-BD59-A6C34878D82A}">
                    <a16:rowId xmlns:a16="http://schemas.microsoft.com/office/drawing/2014/main" val="2129697"/>
                  </a:ext>
                </a:extLst>
              </a:tr>
              <a:tr h="206410">
                <a:tc>
                  <a:txBody>
                    <a:bodyPr/>
                    <a:lstStyle/>
                    <a:p>
                      <a:r>
                        <a:rPr lang="en-US" sz="1000" b="0"/>
                        <a:t>Zero Hunger</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3168453453"/>
                  </a:ext>
                </a:extLst>
              </a:tr>
              <a:tr h="206410">
                <a:tc>
                  <a:txBody>
                    <a:bodyPr/>
                    <a:lstStyle/>
                    <a:p>
                      <a:r>
                        <a:rPr lang="en-US" sz="1000" b="0"/>
                        <a:t>Good Health and Well-being</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extLst>
                  <a:ext uri="{0D108BD9-81ED-4DB2-BD59-A6C34878D82A}">
                    <a16:rowId xmlns:a16="http://schemas.microsoft.com/office/drawing/2014/main" val="58638874"/>
                  </a:ext>
                </a:extLst>
              </a:tr>
              <a:tr h="206410">
                <a:tc>
                  <a:txBody>
                    <a:bodyPr/>
                    <a:lstStyle/>
                    <a:p>
                      <a:r>
                        <a:rPr lang="en-US" sz="1000" b="0"/>
                        <a:t>Quality Education</a:t>
                      </a:r>
                    </a:p>
                  </a:txBody>
                  <a:tcPr marT="0" marB="0"/>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1842510460"/>
                  </a:ext>
                </a:extLst>
              </a:tr>
              <a:tr h="206410">
                <a:tc>
                  <a:txBody>
                    <a:bodyPr/>
                    <a:lstStyle/>
                    <a:p>
                      <a:r>
                        <a:rPr lang="en-US" sz="1000" b="0"/>
                        <a:t>Gender Equality</a:t>
                      </a:r>
                    </a:p>
                  </a:txBody>
                  <a:tcPr marT="0" marB="0"/>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extLst>
                  <a:ext uri="{0D108BD9-81ED-4DB2-BD59-A6C34878D82A}">
                    <a16:rowId xmlns:a16="http://schemas.microsoft.com/office/drawing/2014/main" val="2350595333"/>
                  </a:ext>
                </a:extLst>
              </a:tr>
              <a:tr h="206410">
                <a:tc>
                  <a:txBody>
                    <a:bodyPr/>
                    <a:lstStyle/>
                    <a:p>
                      <a:r>
                        <a:rPr lang="en-US" sz="1000" b="0"/>
                        <a:t>Clean Water and Sanitation</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3768785057"/>
                  </a:ext>
                </a:extLst>
              </a:tr>
              <a:tr h="206410">
                <a:tc>
                  <a:txBody>
                    <a:bodyPr/>
                    <a:lstStyle/>
                    <a:p>
                      <a:r>
                        <a:rPr lang="en-US" sz="1000" b="0"/>
                        <a:t>Affordable and Clean Energy</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extLst>
                  <a:ext uri="{0D108BD9-81ED-4DB2-BD59-A6C34878D82A}">
                    <a16:rowId xmlns:a16="http://schemas.microsoft.com/office/drawing/2014/main" val="2654647883"/>
                  </a:ext>
                </a:extLst>
              </a:tr>
              <a:tr h="206410">
                <a:tc>
                  <a:txBody>
                    <a:bodyPr/>
                    <a:lstStyle/>
                    <a:p>
                      <a:r>
                        <a:rPr lang="en-US" sz="1000" b="0"/>
                        <a:t>Decent Work</a:t>
                      </a:r>
                    </a:p>
                  </a:txBody>
                  <a:tcPr marT="0" marB="0"/>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extLst>
                  <a:ext uri="{0D108BD9-81ED-4DB2-BD59-A6C34878D82A}">
                    <a16:rowId xmlns:a16="http://schemas.microsoft.com/office/drawing/2014/main" val="1024650191"/>
                  </a:ext>
                </a:extLst>
              </a:tr>
              <a:tr h="206410">
                <a:tc>
                  <a:txBody>
                    <a:bodyPr/>
                    <a:lstStyle/>
                    <a:p>
                      <a:r>
                        <a:rPr lang="en-US" sz="1000" b="0"/>
                        <a:t>Industry, Innovation, Infrastructure</a:t>
                      </a:r>
                    </a:p>
                  </a:txBody>
                  <a:tcPr marT="0" marB="0"/>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2067900857"/>
                  </a:ext>
                </a:extLst>
              </a:tr>
              <a:tr h="206410">
                <a:tc>
                  <a:txBody>
                    <a:bodyPr/>
                    <a:lstStyle/>
                    <a:p>
                      <a:r>
                        <a:rPr lang="en-US" sz="1000" b="0"/>
                        <a:t>Reduced Inequalities</a:t>
                      </a:r>
                    </a:p>
                  </a:txBody>
                  <a:tcPr marT="0" marB="0"/>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extLst>
                  <a:ext uri="{0D108BD9-81ED-4DB2-BD59-A6C34878D82A}">
                    <a16:rowId xmlns:a16="http://schemas.microsoft.com/office/drawing/2014/main" val="1275208926"/>
                  </a:ext>
                </a:extLst>
              </a:tr>
              <a:tr h="206410">
                <a:tc>
                  <a:txBody>
                    <a:bodyPr/>
                    <a:lstStyle/>
                    <a:p>
                      <a:r>
                        <a:rPr lang="en-US" sz="1000" b="0"/>
                        <a:t>Sustainable Cities</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3839869687"/>
                  </a:ext>
                </a:extLst>
              </a:tr>
              <a:tr h="206410">
                <a:tc>
                  <a:txBody>
                    <a:bodyPr/>
                    <a:lstStyle/>
                    <a:p>
                      <a:r>
                        <a:rPr lang="en-US" sz="1000" b="0"/>
                        <a:t>Responsible Consumption</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4257815258"/>
                  </a:ext>
                </a:extLst>
              </a:tr>
              <a:tr h="206410">
                <a:tc>
                  <a:txBody>
                    <a:bodyPr/>
                    <a:lstStyle/>
                    <a:p>
                      <a:r>
                        <a:rPr lang="en-US" sz="1000" b="0"/>
                        <a:t>Climate Action</a:t>
                      </a:r>
                    </a:p>
                  </a:txBody>
                  <a:tcPr marT="0" marB="0"/>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extLst>
                  <a:ext uri="{0D108BD9-81ED-4DB2-BD59-A6C34878D82A}">
                    <a16:rowId xmlns:a16="http://schemas.microsoft.com/office/drawing/2014/main" val="959847095"/>
                  </a:ext>
                </a:extLst>
              </a:tr>
              <a:tr h="206410">
                <a:tc>
                  <a:txBody>
                    <a:bodyPr/>
                    <a:lstStyle/>
                    <a:p>
                      <a:r>
                        <a:rPr lang="en-US" sz="1000" b="0"/>
                        <a:t>Life below Water</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845070972"/>
                  </a:ext>
                </a:extLst>
              </a:tr>
              <a:tr h="206410">
                <a:tc>
                  <a:txBody>
                    <a:bodyPr/>
                    <a:lstStyle/>
                    <a:p>
                      <a:r>
                        <a:rPr lang="en-US" sz="1000" b="0"/>
                        <a:t>Life on Land</a:t>
                      </a:r>
                    </a:p>
                  </a:txBody>
                  <a:tcPr marT="0" marB="0"/>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3044519136"/>
                  </a:ext>
                </a:extLst>
              </a:tr>
              <a:tr h="306850">
                <a:tc>
                  <a:txBody>
                    <a:bodyPr/>
                    <a:lstStyle/>
                    <a:p>
                      <a:r>
                        <a:rPr lang="en-US" sz="1000" b="0"/>
                        <a:t>Peace, Justice and Strong Institutions</a:t>
                      </a:r>
                    </a:p>
                  </a:txBody>
                  <a:tcPr marT="0" marB="0"/>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r>
                        <a:rPr lang="en-US" sz="1000"/>
                        <a:t>+</a:t>
                      </a:r>
                    </a:p>
                  </a:txBody>
                  <a:tcPr marT="0" marB="0" anchor="ctr"/>
                </a:tc>
                <a:extLst>
                  <a:ext uri="{0D108BD9-81ED-4DB2-BD59-A6C34878D82A}">
                    <a16:rowId xmlns:a16="http://schemas.microsoft.com/office/drawing/2014/main" val="2724346955"/>
                  </a:ext>
                </a:extLst>
              </a:tr>
              <a:tr h="206410">
                <a:tc>
                  <a:txBody>
                    <a:bodyPr/>
                    <a:lstStyle/>
                    <a:p>
                      <a:r>
                        <a:rPr lang="en-US" sz="1000" b="0"/>
                        <a:t>Partnership for Goals</a:t>
                      </a:r>
                    </a:p>
                  </a:txBody>
                  <a:tcPr marT="0" marB="0"/>
                </a:tc>
                <a:tc>
                  <a:txBody>
                    <a:bodyPr/>
                    <a:lstStyle/>
                    <a:p>
                      <a:pPr algn="ctr"/>
                      <a:endParaRPr lang="en-US" sz="1000"/>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r>
                        <a:rPr lang="en-US" sz="1000"/>
                        <a:t>+</a:t>
                      </a:r>
                    </a:p>
                  </a:txBody>
                  <a:tcPr marT="0" marB="0" anchor="ctr"/>
                </a:tc>
                <a:tc>
                  <a:txBody>
                    <a:bodyPr/>
                    <a:lstStyle/>
                    <a:p>
                      <a:pPr algn="ctr"/>
                      <a:endParaRPr lang="en-US" sz="1000"/>
                    </a:p>
                  </a:txBody>
                  <a:tcPr marT="0" marB="0" anchor="ctr"/>
                </a:tc>
                <a:tc>
                  <a:txBody>
                    <a:bodyPr/>
                    <a:lstStyle/>
                    <a:p>
                      <a:pPr algn="ctr"/>
                      <a:endParaRPr lang="en-US" sz="1000"/>
                    </a:p>
                  </a:txBody>
                  <a:tcPr marT="0" marB="0" anchor="ctr"/>
                </a:tc>
                <a:extLst>
                  <a:ext uri="{0D108BD9-81ED-4DB2-BD59-A6C34878D82A}">
                    <a16:rowId xmlns:a16="http://schemas.microsoft.com/office/drawing/2014/main" val="1497592031"/>
                  </a:ext>
                </a:extLst>
              </a:tr>
            </a:tbl>
          </a:graphicData>
        </a:graphic>
      </p:graphicFrame>
    </p:spTree>
    <p:extLst>
      <p:ext uri="{BB962C8B-B14F-4D97-AF65-F5344CB8AC3E}">
        <p14:creationId xmlns:p14="http://schemas.microsoft.com/office/powerpoint/2010/main" val="34127643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CEB04FD-B16F-A889-9325-CDF88B146905}"/>
              </a:ext>
            </a:extLst>
          </p:cNvPr>
          <p:cNvGraphicFramePr>
            <a:graphicFrameLocks noChangeAspect="1"/>
          </p:cNvGraphicFramePr>
          <p:nvPr>
            <p:custDataLst>
              <p:tags r:id="rId1"/>
            </p:custDataLst>
            <p:extLst>
              <p:ext uri="{D42A27DB-BD31-4B8C-83A1-F6EECF244321}">
                <p14:modId xmlns:p14="http://schemas.microsoft.com/office/powerpoint/2010/main" val="854304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9" name="think-cell data - do not delete" hidden="1">
                        <a:extLst>
                          <a:ext uri="{FF2B5EF4-FFF2-40B4-BE49-F238E27FC236}">
                            <a16:creationId xmlns:a16="http://schemas.microsoft.com/office/drawing/2014/main" id="{DCEB04FD-B16F-A889-9325-CDF88B1469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83AD9337-E103-243F-278D-512FC8CC9869}"/>
              </a:ext>
            </a:extLst>
          </p:cNvPr>
          <p:cNvCxnSpPr>
            <a:cxnSpLocks/>
          </p:cNvCxnSpPr>
          <p:nvPr/>
        </p:nvCxnSpPr>
        <p:spPr>
          <a:xfrm>
            <a:off x="4572000" y="2051050"/>
            <a:ext cx="0" cy="4311650"/>
          </a:xfrm>
          <a:prstGeom prst="line">
            <a:avLst/>
          </a:prstGeom>
        </p:spPr>
        <p:style>
          <a:lnRef idx="1">
            <a:schemeClr val="accent2"/>
          </a:lnRef>
          <a:fillRef idx="0">
            <a:schemeClr val="accent2"/>
          </a:fillRef>
          <a:effectRef idx="0">
            <a:schemeClr val="accent2"/>
          </a:effectRef>
          <a:fontRef idx="minor">
            <a:schemeClr val="tx1"/>
          </a:fontRef>
        </p:style>
      </p:cxnSp>
      <p:cxnSp>
        <p:nvCxnSpPr>
          <p:cNvPr id="10" name="Gerader Verbinder 9">
            <a:extLst>
              <a:ext uri="{FF2B5EF4-FFF2-40B4-BE49-F238E27FC236}">
                <a16:creationId xmlns:a16="http://schemas.microsoft.com/office/drawing/2014/main" id="{D90F717F-252E-4DB1-F11E-60B24C7F0674}"/>
              </a:ext>
            </a:extLst>
          </p:cNvPr>
          <p:cNvCxnSpPr>
            <a:cxnSpLocks/>
          </p:cNvCxnSpPr>
          <p:nvPr/>
        </p:nvCxnSpPr>
        <p:spPr>
          <a:xfrm flipH="1">
            <a:off x="228600" y="4178300"/>
            <a:ext cx="8699500" cy="0"/>
          </a:xfrm>
          <a:prstGeom prst="line">
            <a:avLst/>
          </a:prstGeom>
        </p:spPr>
        <p:style>
          <a:lnRef idx="1">
            <a:schemeClr val="accent2"/>
          </a:lnRef>
          <a:fillRef idx="0">
            <a:schemeClr val="accent2"/>
          </a:fillRef>
          <a:effectRef idx="0">
            <a:schemeClr val="accent2"/>
          </a:effectRef>
          <a:fontRef idx="minor">
            <a:schemeClr val="tx1"/>
          </a:fontRef>
        </p:style>
      </p:cxnSp>
      <p:sp>
        <p:nvSpPr>
          <p:cNvPr id="17" name="Rechteck 16">
            <a:extLst>
              <a:ext uri="{FF2B5EF4-FFF2-40B4-BE49-F238E27FC236}">
                <a16:creationId xmlns:a16="http://schemas.microsoft.com/office/drawing/2014/main" id="{E5503AC7-C4F5-4D0B-88CB-79746795AE5E}"/>
              </a:ext>
            </a:extLst>
          </p:cNvPr>
          <p:cNvSpPr/>
          <p:nvPr/>
        </p:nvSpPr>
        <p:spPr>
          <a:xfrm rot="2721584">
            <a:off x="4038350" y="3646282"/>
            <a:ext cx="1080000" cy="10800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feld 31">
            <a:extLst>
              <a:ext uri="{FF2B5EF4-FFF2-40B4-BE49-F238E27FC236}">
                <a16:creationId xmlns:a16="http://schemas.microsoft.com/office/drawing/2014/main" id="{088CA2DA-2974-28CE-93B6-5E8CB176E2DE}"/>
              </a:ext>
            </a:extLst>
          </p:cNvPr>
          <p:cNvSpPr txBox="1"/>
          <p:nvPr/>
        </p:nvSpPr>
        <p:spPr>
          <a:xfrm>
            <a:off x="4219575" y="3601203"/>
            <a:ext cx="704850" cy="1200329"/>
          </a:xfrm>
          <a:prstGeom prst="rect">
            <a:avLst/>
          </a:prstGeom>
          <a:noFill/>
        </p:spPr>
        <p:txBody>
          <a:bodyPr wrap="square" rtlCol="0">
            <a:spAutoFit/>
          </a:bodyPr>
          <a:lstStyle/>
          <a:p>
            <a:pPr algn="ctr"/>
            <a:r>
              <a:rPr lang="en-US" sz="7200" b="1">
                <a:solidFill>
                  <a:schemeClr val="accent2">
                    <a:lumMod val="20000"/>
                    <a:lumOff val="80000"/>
                  </a:schemeClr>
                </a:solidFill>
              </a:rPr>
              <a:t>E</a:t>
            </a:r>
          </a:p>
        </p:txBody>
      </p:sp>
      <p:sp>
        <p:nvSpPr>
          <p:cNvPr id="2" name="Titel 1">
            <a:extLst>
              <a:ext uri="{FF2B5EF4-FFF2-40B4-BE49-F238E27FC236}">
                <a16:creationId xmlns:a16="http://schemas.microsoft.com/office/drawing/2014/main" id="{904AE0B5-690E-A759-5064-FC9F0CE2D79A}"/>
              </a:ext>
            </a:extLst>
          </p:cNvPr>
          <p:cNvSpPr>
            <a:spLocks noGrp="1"/>
          </p:cNvSpPr>
          <p:nvPr>
            <p:ph type="title"/>
          </p:nvPr>
        </p:nvSpPr>
        <p:spPr/>
        <p:txBody>
          <a:bodyPr vert="horz"/>
          <a:lstStyle/>
          <a:p>
            <a:r>
              <a:rPr lang="en-US"/>
              <a:t>Uber aligns itself well in the topic of Sustainability through the focused increased usage of sustainable Transport options</a:t>
            </a:r>
          </a:p>
        </p:txBody>
      </p:sp>
      <p:sp>
        <p:nvSpPr>
          <p:cNvPr id="4" name="Foliennummernplatzhalter 3">
            <a:extLst>
              <a:ext uri="{FF2B5EF4-FFF2-40B4-BE49-F238E27FC236}">
                <a16:creationId xmlns:a16="http://schemas.microsoft.com/office/drawing/2014/main" id="{05006892-9283-A461-3885-982B4CBA0519}"/>
              </a:ext>
            </a:extLst>
          </p:cNvPr>
          <p:cNvSpPr>
            <a:spLocks noGrp="1"/>
          </p:cNvSpPr>
          <p:nvPr>
            <p:ph type="sldNum" sz="quarter" idx="4"/>
          </p:nvPr>
        </p:nvSpPr>
        <p:spPr/>
        <p:txBody>
          <a:bodyPr/>
          <a:lstStyle/>
          <a:p>
            <a:fld id="{BAF04893-69FB-435D-AB2E-CA259D85B32F}" type="slidenum">
              <a:rPr lang="en-US" smtClean="0"/>
              <a:pPr/>
              <a:t>62</a:t>
            </a:fld>
            <a:endParaRPr lang="en-US"/>
          </a:p>
        </p:txBody>
      </p:sp>
      <p:sp>
        <p:nvSpPr>
          <p:cNvPr id="5" name="Inhaltsplatzhalter 4">
            <a:extLst>
              <a:ext uri="{FF2B5EF4-FFF2-40B4-BE49-F238E27FC236}">
                <a16:creationId xmlns:a16="http://schemas.microsoft.com/office/drawing/2014/main" id="{6823D783-9067-C01F-2767-14D2FADD598F}"/>
              </a:ext>
            </a:extLst>
          </p:cNvPr>
          <p:cNvSpPr>
            <a:spLocks noGrp="1"/>
          </p:cNvSpPr>
          <p:nvPr>
            <p:ph idx="10"/>
          </p:nvPr>
        </p:nvSpPr>
        <p:spPr/>
        <p:txBody>
          <a:bodyPr/>
          <a:lstStyle/>
          <a:p>
            <a:r>
              <a:rPr lang="en-US"/>
              <a:t>Environmental SDG</a:t>
            </a:r>
          </a:p>
        </p:txBody>
      </p:sp>
      <p:sp>
        <p:nvSpPr>
          <p:cNvPr id="6" name="Inhaltsplatzhalter 5">
            <a:extLst>
              <a:ext uri="{FF2B5EF4-FFF2-40B4-BE49-F238E27FC236}">
                <a16:creationId xmlns:a16="http://schemas.microsoft.com/office/drawing/2014/main" id="{179CC09A-6D6C-F271-9084-CCE647BC58EF}"/>
              </a:ext>
            </a:extLst>
          </p:cNvPr>
          <p:cNvSpPr>
            <a:spLocks noGrp="1"/>
          </p:cNvSpPr>
          <p:nvPr>
            <p:ph idx="11"/>
          </p:nvPr>
        </p:nvSpPr>
        <p:spPr/>
        <p:txBody>
          <a:bodyPr/>
          <a:lstStyle/>
          <a:p>
            <a:r>
              <a:rPr lang="en-US"/>
              <a:t>Uber ESG-Report, Uber Corporate Website</a:t>
            </a:r>
          </a:p>
        </p:txBody>
      </p:sp>
      <p:sp>
        <p:nvSpPr>
          <p:cNvPr id="7" name="Inhaltsplatzhalter 6">
            <a:extLst>
              <a:ext uri="{FF2B5EF4-FFF2-40B4-BE49-F238E27FC236}">
                <a16:creationId xmlns:a16="http://schemas.microsoft.com/office/drawing/2014/main" id="{6C04F4C1-84DA-1B85-F0E4-991CA3BE5126}"/>
              </a:ext>
            </a:extLst>
          </p:cNvPr>
          <p:cNvSpPr>
            <a:spLocks noGrp="1"/>
          </p:cNvSpPr>
          <p:nvPr>
            <p:ph idx="12"/>
          </p:nvPr>
        </p:nvSpPr>
        <p:spPr/>
        <p:txBody>
          <a:bodyPr/>
          <a:lstStyle/>
          <a:p>
            <a:r>
              <a:rPr lang="en-US"/>
              <a:t>ESG</a:t>
            </a:r>
          </a:p>
        </p:txBody>
      </p:sp>
      <p:sp>
        <p:nvSpPr>
          <p:cNvPr id="21" name="Textfeld 20">
            <a:extLst>
              <a:ext uri="{FF2B5EF4-FFF2-40B4-BE49-F238E27FC236}">
                <a16:creationId xmlns:a16="http://schemas.microsoft.com/office/drawing/2014/main" id="{F5006A12-237B-AE76-D508-4BF33B16EFEA}"/>
              </a:ext>
            </a:extLst>
          </p:cNvPr>
          <p:cNvSpPr txBox="1"/>
          <p:nvPr/>
        </p:nvSpPr>
        <p:spPr>
          <a:xfrm>
            <a:off x="359997" y="2051050"/>
            <a:ext cx="3389312" cy="307777"/>
          </a:xfrm>
          <a:prstGeom prst="rect">
            <a:avLst/>
          </a:prstGeom>
          <a:noFill/>
        </p:spPr>
        <p:txBody>
          <a:bodyPr wrap="square">
            <a:spAutoFit/>
          </a:bodyPr>
          <a:lstStyle/>
          <a:p>
            <a:r>
              <a:rPr lang="en-US" sz="1400" b="1"/>
              <a:t>Uber Comfort Electric</a:t>
            </a:r>
          </a:p>
        </p:txBody>
      </p:sp>
      <p:sp>
        <p:nvSpPr>
          <p:cNvPr id="25" name="Textfeld 24">
            <a:extLst>
              <a:ext uri="{FF2B5EF4-FFF2-40B4-BE49-F238E27FC236}">
                <a16:creationId xmlns:a16="http://schemas.microsoft.com/office/drawing/2014/main" id="{C57B9699-6DAC-7568-8F1D-FB90ED7E0BA0}"/>
              </a:ext>
            </a:extLst>
          </p:cNvPr>
          <p:cNvSpPr txBox="1"/>
          <p:nvPr/>
        </p:nvSpPr>
        <p:spPr>
          <a:xfrm>
            <a:off x="4663660" y="2054570"/>
            <a:ext cx="1356702" cy="307777"/>
          </a:xfrm>
          <a:prstGeom prst="rect">
            <a:avLst/>
          </a:prstGeom>
          <a:noFill/>
        </p:spPr>
        <p:txBody>
          <a:bodyPr wrap="square">
            <a:spAutoFit/>
          </a:bodyPr>
          <a:lstStyle/>
          <a:p>
            <a:r>
              <a:rPr lang="en-US" sz="1400" b="1"/>
              <a:t>Uber Green</a:t>
            </a:r>
          </a:p>
        </p:txBody>
      </p:sp>
      <p:sp>
        <p:nvSpPr>
          <p:cNvPr id="26" name="Textfeld 25">
            <a:extLst>
              <a:ext uri="{FF2B5EF4-FFF2-40B4-BE49-F238E27FC236}">
                <a16:creationId xmlns:a16="http://schemas.microsoft.com/office/drawing/2014/main" id="{ED05367D-11B8-F6E6-B7E7-E08E6112D93B}"/>
              </a:ext>
            </a:extLst>
          </p:cNvPr>
          <p:cNvSpPr txBox="1"/>
          <p:nvPr/>
        </p:nvSpPr>
        <p:spPr>
          <a:xfrm>
            <a:off x="228600" y="4254358"/>
            <a:ext cx="3389312" cy="307777"/>
          </a:xfrm>
          <a:prstGeom prst="rect">
            <a:avLst/>
          </a:prstGeom>
          <a:noFill/>
        </p:spPr>
        <p:txBody>
          <a:bodyPr wrap="square">
            <a:spAutoFit/>
          </a:bodyPr>
          <a:lstStyle/>
          <a:p>
            <a:r>
              <a:rPr lang="en-US" sz="1400" b="1"/>
              <a:t>Science Based Emission Targets</a:t>
            </a:r>
          </a:p>
        </p:txBody>
      </p:sp>
      <p:sp>
        <p:nvSpPr>
          <p:cNvPr id="27" name="Textfeld 26">
            <a:extLst>
              <a:ext uri="{FF2B5EF4-FFF2-40B4-BE49-F238E27FC236}">
                <a16:creationId xmlns:a16="http://schemas.microsoft.com/office/drawing/2014/main" id="{CE6FFC64-B072-0F62-3351-53BA07FDA2A2}"/>
              </a:ext>
            </a:extLst>
          </p:cNvPr>
          <p:cNvSpPr txBox="1"/>
          <p:nvPr/>
        </p:nvSpPr>
        <p:spPr>
          <a:xfrm>
            <a:off x="4644048" y="4254357"/>
            <a:ext cx="3389312" cy="307777"/>
          </a:xfrm>
          <a:prstGeom prst="rect">
            <a:avLst/>
          </a:prstGeom>
          <a:noFill/>
        </p:spPr>
        <p:txBody>
          <a:bodyPr wrap="square">
            <a:spAutoFit/>
          </a:bodyPr>
          <a:lstStyle/>
          <a:p>
            <a:r>
              <a:rPr lang="en-US" sz="1400" b="1"/>
              <a:t>Green Options Expansion</a:t>
            </a:r>
          </a:p>
        </p:txBody>
      </p:sp>
      <p:sp>
        <p:nvSpPr>
          <p:cNvPr id="28" name="Textfeld 27">
            <a:extLst>
              <a:ext uri="{FF2B5EF4-FFF2-40B4-BE49-F238E27FC236}">
                <a16:creationId xmlns:a16="http://schemas.microsoft.com/office/drawing/2014/main" id="{0085CC0D-ED26-58F3-01DF-1460272A495F}"/>
              </a:ext>
            </a:extLst>
          </p:cNvPr>
          <p:cNvSpPr txBox="1"/>
          <p:nvPr/>
        </p:nvSpPr>
        <p:spPr>
          <a:xfrm>
            <a:off x="359997" y="2340828"/>
            <a:ext cx="4120344" cy="1754326"/>
          </a:xfrm>
          <a:prstGeom prst="rect">
            <a:avLst/>
          </a:prstGeom>
          <a:noFill/>
        </p:spPr>
        <p:txBody>
          <a:bodyPr wrap="square">
            <a:spAutoFit/>
          </a:bodyPr>
          <a:lstStyle/>
          <a:p>
            <a:pPr marL="171450" indent="-171450">
              <a:buFont typeface="Arial" panose="020B0604020202020204" pitchFamily="34" charset="0"/>
              <a:buChar char="•"/>
            </a:pPr>
            <a:r>
              <a:rPr lang="en-US" sz="1200"/>
              <a:t>Facilitates the transition to sustainable, clean energy in transportation, supporting the creation of smart, sustainable cities and communities</a:t>
            </a:r>
          </a:p>
          <a:p>
            <a:pPr marL="171450" indent="-171450">
              <a:buFont typeface="Arial" panose="020B0604020202020204" pitchFamily="34" charset="0"/>
              <a:buChar char="•"/>
            </a:pPr>
            <a:r>
              <a:rPr lang="en-US" sz="1200"/>
              <a:t>Fosters innovation within the transport industry by pushing for advancements in electric vehicle technology and infrastructure</a:t>
            </a:r>
          </a:p>
          <a:p>
            <a:pPr marL="171450" indent="-171450">
              <a:buFont typeface="Arial" panose="020B0604020202020204" pitchFamily="34" charset="0"/>
              <a:buChar char="•"/>
            </a:pPr>
            <a:r>
              <a:rPr lang="en-US" sz="1200"/>
              <a:t>Contributes to the reduction of carbon emissions from urban transportation, aiding in global efforts to combat climate change</a:t>
            </a:r>
          </a:p>
        </p:txBody>
      </p:sp>
      <p:sp>
        <p:nvSpPr>
          <p:cNvPr id="29" name="Textfeld 28">
            <a:extLst>
              <a:ext uri="{FF2B5EF4-FFF2-40B4-BE49-F238E27FC236}">
                <a16:creationId xmlns:a16="http://schemas.microsoft.com/office/drawing/2014/main" id="{7553F3D5-ADF1-EE98-E432-FCC5941E78FD}"/>
              </a:ext>
            </a:extLst>
          </p:cNvPr>
          <p:cNvSpPr txBox="1"/>
          <p:nvPr/>
        </p:nvSpPr>
        <p:spPr>
          <a:xfrm>
            <a:off x="4671130" y="2330590"/>
            <a:ext cx="4120344" cy="1754326"/>
          </a:xfrm>
          <a:prstGeom prst="rect">
            <a:avLst/>
          </a:prstGeom>
          <a:noFill/>
        </p:spPr>
        <p:txBody>
          <a:bodyPr wrap="square">
            <a:spAutoFit/>
          </a:bodyPr>
          <a:lstStyle/>
          <a:p>
            <a:pPr marL="171450" indent="-171450">
              <a:buFont typeface="Arial" panose="020B0604020202020204" pitchFamily="34" charset="0"/>
              <a:buChar char="•"/>
            </a:pPr>
            <a:r>
              <a:rPr lang="en-US" sz="1200"/>
              <a:t>Promotes the use of renewable energy through electric vehicles, aligning with the goal of affordable and clean energy</a:t>
            </a:r>
          </a:p>
          <a:p>
            <a:pPr marL="171450" indent="-171450">
              <a:buFont typeface="Arial" panose="020B0604020202020204" pitchFamily="34" charset="0"/>
              <a:buChar char="•"/>
            </a:pPr>
            <a:r>
              <a:rPr lang="en-US" sz="1200"/>
              <a:t>Encourages innovation in green technologies and sustainable infrastructure, supporting the industry in shifting towards environmentally friendly practices</a:t>
            </a:r>
          </a:p>
          <a:p>
            <a:pPr marL="171450" indent="-171450">
              <a:buFont typeface="Arial" panose="020B0604020202020204" pitchFamily="34" charset="0"/>
              <a:buChar char="•"/>
            </a:pPr>
            <a:r>
              <a:rPr lang="en-US" sz="1200"/>
              <a:t>Supports the development of sustainable urban environments by cheaper green transportation options, reducing both pollution and the carbon footprint</a:t>
            </a:r>
          </a:p>
        </p:txBody>
      </p:sp>
      <p:sp>
        <p:nvSpPr>
          <p:cNvPr id="30" name="Textfeld 29">
            <a:extLst>
              <a:ext uri="{FF2B5EF4-FFF2-40B4-BE49-F238E27FC236}">
                <a16:creationId xmlns:a16="http://schemas.microsoft.com/office/drawing/2014/main" id="{5F06151A-BE25-E7EA-2E64-052E3673863A}"/>
              </a:ext>
            </a:extLst>
          </p:cNvPr>
          <p:cNvSpPr txBox="1"/>
          <p:nvPr/>
        </p:nvSpPr>
        <p:spPr>
          <a:xfrm>
            <a:off x="359997" y="4567188"/>
            <a:ext cx="4120344" cy="1754326"/>
          </a:xfrm>
          <a:prstGeom prst="rect">
            <a:avLst/>
          </a:prstGeom>
          <a:noFill/>
        </p:spPr>
        <p:txBody>
          <a:bodyPr wrap="square">
            <a:spAutoFit/>
          </a:bodyPr>
          <a:lstStyle/>
          <a:p>
            <a:pPr marL="171450" indent="-171450">
              <a:buFont typeface="Arial" panose="020B0604020202020204" pitchFamily="34" charset="0"/>
              <a:buChar char="•"/>
            </a:pPr>
            <a:r>
              <a:rPr lang="en-US" sz="1200"/>
              <a:t>Aligns corporate strategy with global climate action plans by setting science-based emissions targets</a:t>
            </a:r>
          </a:p>
          <a:p>
            <a:pPr marL="171450" indent="-171450">
              <a:buFont typeface="Arial" panose="020B0604020202020204" pitchFamily="34" charset="0"/>
              <a:buChar char="•"/>
            </a:pPr>
            <a:r>
              <a:rPr lang="en-US" sz="1200"/>
              <a:t>Demonstrates a commitment to sustainable energy consumption, potentially influencing broader industry practices</a:t>
            </a:r>
          </a:p>
          <a:p>
            <a:pPr marL="171450" indent="-171450">
              <a:buFont typeface="Arial" panose="020B0604020202020204" pitchFamily="34" charset="0"/>
              <a:buChar char="•"/>
            </a:pPr>
            <a:r>
              <a:rPr lang="en-US" sz="1200"/>
              <a:t>Reflects a corporate governance structure that values sustainability, transparency, and accountability, contributing to the creation of peaceful, just, and strong institutional practices</a:t>
            </a:r>
          </a:p>
        </p:txBody>
      </p:sp>
      <p:sp>
        <p:nvSpPr>
          <p:cNvPr id="31" name="Textfeld 30">
            <a:extLst>
              <a:ext uri="{FF2B5EF4-FFF2-40B4-BE49-F238E27FC236}">
                <a16:creationId xmlns:a16="http://schemas.microsoft.com/office/drawing/2014/main" id="{5F023BD8-4AB5-6360-128A-43F83394B86B}"/>
              </a:ext>
            </a:extLst>
          </p:cNvPr>
          <p:cNvSpPr txBox="1"/>
          <p:nvPr/>
        </p:nvSpPr>
        <p:spPr>
          <a:xfrm>
            <a:off x="4611738" y="4533677"/>
            <a:ext cx="4120344" cy="1938992"/>
          </a:xfrm>
          <a:prstGeom prst="rect">
            <a:avLst/>
          </a:prstGeom>
          <a:noFill/>
        </p:spPr>
        <p:txBody>
          <a:bodyPr wrap="square">
            <a:spAutoFit/>
          </a:bodyPr>
          <a:lstStyle/>
          <a:p>
            <a:pPr marL="171450" indent="-171450">
              <a:buFont typeface="Arial" panose="020B0604020202020204" pitchFamily="34" charset="0"/>
              <a:buChar char="•"/>
            </a:pPr>
            <a:r>
              <a:rPr lang="en-US" sz="1200"/>
              <a:t>Expands access to cleaner transportation options, which reduces reliance on fossil fuels and supports the goal of affordable and clean energy</a:t>
            </a:r>
          </a:p>
          <a:p>
            <a:pPr marL="171450" indent="-171450">
              <a:buFont typeface="Arial" panose="020B0604020202020204" pitchFamily="34" charset="0"/>
              <a:buChar char="•"/>
            </a:pPr>
            <a:r>
              <a:rPr lang="en-US" sz="1200"/>
              <a:t>Drives sustainable economic growth and infrastructure development through increased demand for green transportation</a:t>
            </a:r>
          </a:p>
          <a:p>
            <a:pPr marL="171450" indent="-171450">
              <a:buFont typeface="Arial" panose="020B0604020202020204" pitchFamily="34" charset="0"/>
              <a:buChar char="•"/>
            </a:pPr>
            <a:r>
              <a:rPr lang="en-US" sz="1200"/>
              <a:t>Promotes the preservation of land and marine ecosystems by reducing transportation-related pollution and helps in the fight against climate change</a:t>
            </a:r>
          </a:p>
          <a:p>
            <a:endParaRPr lang="en-US" sz="1200"/>
          </a:p>
        </p:txBody>
      </p:sp>
    </p:spTree>
    <p:extLst>
      <p:ext uri="{BB962C8B-B14F-4D97-AF65-F5344CB8AC3E}">
        <p14:creationId xmlns:p14="http://schemas.microsoft.com/office/powerpoint/2010/main" val="9332240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CEB04FD-B16F-A889-9325-CDF88B146905}"/>
              </a:ext>
            </a:extLst>
          </p:cNvPr>
          <p:cNvGraphicFramePr>
            <a:graphicFrameLocks noChangeAspect="1"/>
          </p:cNvGraphicFramePr>
          <p:nvPr>
            <p:custDataLst>
              <p:tags r:id="rId1"/>
            </p:custDataLst>
            <p:extLst>
              <p:ext uri="{D42A27DB-BD31-4B8C-83A1-F6EECF244321}">
                <p14:modId xmlns:p14="http://schemas.microsoft.com/office/powerpoint/2010/main" val="96916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9" name="think-cell data - do not delete" hidden="1">
                        <a:extLst>
                          <a:ext uri="{FF2B5EF4-FFF2-40B4-BE49-F238E27FC236}">
                            <a16:creationId xmlns:a16="http://schemas.microsoft.com/office/drawing/2014/main" id="{DCEB04FD-B16F-A889-9325-CDF88B1469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AE0B5-690E-A759-5064-FC9F0CE2D79A}"/>
              </a:ext>
            </a:extLst>
          </p:cNvPr>
          <p:cNvSpPr>
            <a:spLocks noGrp="1"/>
          </p:cNvSpPr>
          <p:nvPr>
            <p:ph type="title"/>
          </p:nvPr>
        </p:nvSpPr>
        <p:spPr/>
        <p:txBody>
          <a:bodyPr vert="horz"/>
          <a:lstStyle/>
          <a:p>
            <a:r>
              <a:rPr lang="en-US"/>
              <a:t>Uber relates to various other companies and organizations to further bolster its Environmental efforts</a:t>
            </a:r>
          </a:p>
        </p:txBody>
      </p:sp>
      <p:sp>
        <p:nvSpPr>
          <p:cNvPr id="4" name="Foliennummernplatzhalter 3">
            <a:extLst>
              <a:ext uri="{FF2B5EF4-FFF2-40B4-BE49-F238E27FC236}">
                <a16:creationId xmlns:a16="http://schemas.microsoft.com/office/drawing/2014/main" id="{05006892-9283-A461-3885-982B4CBA0519}"/>
              </a:ext>
            </a:extLst>
          </p:cNvPr>
          <p:cNvSpPr>
            <a:spLocks noGrp="1"/>
          </p:cNvSpPr>
          <p:nvPr>
            <p:ph type="sldNum" sz="quarter" idx="4"/>
          </p:nvPr>
        </p:nvSpPr>
        <p:spPr/>
        <p:txBody>
          <a:bodyPr/>
          <a:lstStyle/>
          <a:p>
            <a:fld id="{BAF04893-69FB-435D-AB2E-CA259D85B32F}" type="slidenum">
              <a:rPr lang="en-US" smtClean="0"/>
              <a:pPr/>
              <a:t>63</a:t>
            </a:fld>
            <a:endParaRPr lang="en-US"/>
          </a:p>
        </p:txBody>
      </p:sp>
      <p:sp>
        <p:nvSpPr>
          <p:cNvPr id="5" name="Inhaltsplatzhalter 4">
            <a:extLst>
              <a:ext uri="{FF2B5EF4-FFF2-40B4-BE49-F238E27FC236}">
                <a16:creationId xmlns:a16="http://schemas.microsoft.com/office/drawing/2014/main" id="{6823D783-9067-C01F-2767-14D2FADD598F}"/>
              </a:ext>
            </a:extLst>
          </p:cNvPr>
          <p:cNvSpPr>
            <a:spLocks noGrp="1"/>
          </p:cNvSpPr>
          <p:nvPr>
            <p:ph idx="10"/>
          </p:nvPr>
        </p:nvSpPr>
        <p:spPr/>
        <p:txBody>
          <a:bodyPr/>
          <a:lstStyle/>
          <a:p>
            <a:r>
              <a:rPr lang="en-US"/>
              <a:t>Environmental SDG</a:t>
            </a:r>
          </a:p>
        </p:txBody>
      </p:sp>
      <p:sp>
        <p:nvSpPr>
          <p:cNvPr id="6" name="Inhaltsplatzhalter 5">
            <a:extLst>
              <a:ext uri="{FF2B5EF4-FFF2-40B4-BE49-F238E27FC236}">
                <a16:creationId xmlns:a16="http://schemas.microsoft.com/office/drawing/2014/main" id="{179CC09A-6D6C-F271-9084-CCE647BC58EF}"/>
              </a:ext>
            </a:extLst>
          </p:cNvPr>
          <p:cNvSpPr>
            <a:spLocks noGrp="1"/>
          </p:cNvSpPr>
          <p:nvPr>
            <p:ph idx="11"/>
          </p:nvPr>
        </p:nvSpPr>
        <p:spPr/>
        <p:txBody>
          <a:bodyPr/>
          <a:lstStyle/>
          <a:p>
            <a:r>
              <a:rPr lang="en-US"/>
              <a:t>Uber ESG-Report, Uber Corporate Website</a:t>
            </a:r>
          </a:p>
          <a:p>
            <a:endParaRPr lang="en-US"/>
          </a:p>
        </p:txBody>
      </p:sp>
      <p:sp>
        <p:nvSpPr>
          <p:cNvPr id="7" name="Inhaltsplatzhalter 6">
            <a:extLst>
              <a:ext uri="{FF2B5EF4-FFF2-40B4-BE49-F238E27FC236}">
                <a16:creationId xmlns:a16="http://schemas.microsoft.com/office/drawing/2014/main" id="{6C04F4C1-84DA-1B85-F0E4-991CA3BE5126}"/>
              </a:ext>
            </a:extLst>
          </p:cNvPr>
          <p:cNvSpPr>
            <a:spLocks noGrp="1"/>
          </p:cNvSpPr>
          <p:nvPr>
            <p:ph idx="12"/>
          </p:nvPr>
        </p:nvSpPr>
        <p:spPr/>
        <p:txBody>
          <a:bodyPr/>
          <a:lstStyle/>
          <a:p>
            <a:r>
              <a:rPr lang="en-US"/>
              <a:t>ESG</a:t>
            </a:r>
          </a:p>
        </p:txBody>
      </p:sp>
      <p:cxnSp>
        <p:nvCxnSpPr>
          <p:cNvPr id="9" name="Gerader Verbinder 8">
            <a:extLst>
              <a:ext uri="{FF2B5EF4-FFF2-40B4-BE49-F238E27FC236}">
                <a16:creationId xmlns:a16="http://schemas.microsoft.com/office/drawing/2014/main" id="{83AD9337-E103-243F-278D-512FC8CC9869}"/>
              </a:ext>
            </a:extLst>
          </p:cNvPr>
          <p:cNvCxnSpPr>
            <a:cxnSpLocks/>
          </p:cNvCxnSpPr>
          <p:nvPr/>
        </p:nvCxnSpPr>
        <p:spPr>
          <a:xfrm>
            <a:off x="4572000" y="2051050"/>
            <a:ext cx="0" cy="4311650"/>
          </a:xfrm>
          <a:prstGeom prst="line">
            <a:avLst/>
          </a:prstGeom>
        </p:spPr>
        <p:style>
          <a:lnRef idx="1">
            <a:schemeClr val="accent2"/>
          </a:lnRef>
          <a:fillRef idx="0">
            <a:schemeClr val="accent2"/>
          </a:fillRef>
          <a:effectRef idx="0">
            <a:schemeClr val="accent2"/>
          </a:effectRef>
          <a:fontRef idx="minor">
            <a:schemeClr val="tx1"/>
          </a:fontRef>
        </p:style>
      </p:cxnSp>
      <p:cxnSp>
        <p:nvCxnSpPr>
          <p:cNvPr id="10" name="Gerader Verbinder 9">
            <a:extLst>
              <a:ext uri="{FF2B5EF4-FFF2-40B4-BE49-F238E27FC236}">
                <a16:creationId xmlns:a16="http://schemas.microsoft.com/office/drawing/2014/main" id="{D90F717F-252E-4DB1-F11E-60B24C7F0674}"/>
              </a:ext>
            </a:extLst>
          </p:cNvPr>
          <p:cNvCxnSpPr>
            <a:cxnSpLocks/>
          </p:cNvCxnSpPr>
          <p:nvPr/>
        </p:nvCxnSpPr>
        <p:spPr>
          <a:xfrm flipH="1">
            <a:off x="228600" y="4248150"/>
            <a:ext cx="8699500" cy="0"/>
          </a:xfrm>
          <a:prstGeom prst="line">
            <a:avLst/>
          </a:prstGeom>
        </p:spPr>
        <p:style>
          <a:lnRef idx="1">
            <a:schemeClr val="accent2"/>
          </a:lnRef>
          <a:fillRef idx="0">
            <a:schemeClr val="accent2"/>
          </a:fillRef>
          <a:effectRef idx="0">
            <a:schemeClr val="accent2"/>
          </a:effectRef>
          <a:fontRef idx="minor">
            <a:schemeClr val="tx1"/>
          </a:fontRef>
        </p:style>
      </p:cxnSp>
      <p:sp>
        <p:nvSpPr>
          <p:cNvPr id="17" name="Rechteck 16">
            <a:extLst>
              <a:ext uri="{FF2B5EF4-FFF2-40B4-BE49-F238E27FC236}">
                <a16:creationId xmlns:a16="http://schemas.microsoft.com/office/drawing/2014/main" id="{E5503AC7-C4F5-4D0B-88CB-79746795AE5E}"/>
              </a:ext>
            </a:extLst>
          </p:cNvPr>
          <p:cNvSpPr/>
          <p:nvPr/>
        </p:nvSpPr>
        <p:spPr>
          <a:xfrm rot="2721584">
            <a:off x="4038350" y="3646282"/>
            <a:ext cx="1080000" cy="10800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feld 20">
            <a:extLst>
              <a:ext uri="{FF2B5EF4-FFF2-40B4-BE49-F238E27FC236}">
                <a16:creationId xmlns:a16="http://schemas.microsoft.com/office/drawing/2014/main" id="{F5006A12-237B-AE76-D508-4BF33B16EFEA}"/>
              </a:ext>
            </a:extLst>
          </p:cNvPr>
          <p:cNvSpPr txBox="1"/>
          <p:nvPr/>
        </p:nvSpPr>
        <p:spPr>
          <a:xfrm>
            <a:off x="359997" y="2051050"/>
            <a:ext cx="3389312" cy="307777"/>
          </a:xfrm>
          <a:prstGeom prst="rect">
            <a:avLst/>
          </a:prstGeom>
          <a:noFill/>
        </p:spPr>
        <p:txBody>
          <a:bodyPr wrap="square">
            <a:spAutoFit/>
          </a:bodyPr>
          <a:lstStyle/>
          <a:p>
            <a:r>
              <a:rPr lang="en-US" sz="1400" b="1" i="0">
                <a:effectLst/>
                <a:latin typeface="Söhne"/>
              </a:rPr>
              <a:t>Emission Tracking Dashboard</a:t>
            </a:r>
            <a:endParaRPr lang="en-US" sz="1400" b="1"/>
          </a:p>
        </p:txBody>
      </p:sp>
      <p:sp>
        <p:nvSpPr>
          <p:cNvPr id="25" name="Textfeld 24">
            <a:extLst>
              <a:ext uri="{FF2B5EF4-FFF2-40B4-BE49-F238E27FC236}">
                <a16:creationId xmlns:a16="http://schemas.microsoft.com/office/drawing/2014/main" id="{C57B9699-6DAC-7568-8F1D-FB90ED7E0BA0}"/>
              </a:ext>
            </a:extLst>
          </p:cNvPr>
          <p:cNvSpPr txBox="1"/>
          <p:nvPr/>
        </p:nvSpPr>
        <p:spPr>
          <a:xfrm>
            <a:off x="4663660" y="2054570"/>
            <a:ext cx="4264440" cy="307777"/>
          </a:xfrm>
          <a:prstGeom prst="rect">
            <a:avLst/>
          </a:prstGeom>
          <a:noFill/>
        </p:spPr>
        <p:txBody>
          <a:bodyPr wrap="square">
            <a:spAutoFit/>
          </a:bodyPr>
          <a:lstStyle/>
          <a:p>
            <a:r>
              <a:rPr lang="en-US" sz="1400" b="1"/>
              <a:t>Lime Integration</a:t>
            </a:r>
          </a:p>
        </p:txBody>
      </p:sp>
      <p:sp>
        <p:nvSpPr>
          <p:cNvPr id="26" name="Textfeld 25">
            <a:extLst>
              <a:ext uri="{FF2B5EF4-FFF2-40B4-BE49-F238E27FC236}">
                <a16:creationId xmlns:a16="http://schemas.microsoft.com/office/drawing/2014/main" id="{ED05367D-11B8-F6E6-B7E7-E08E6112D93B}"/>
              </a:ext>
            </a:extLst>
          </p:cNvPr>
          <p:cNvSpPr txBox="1"/>
          <p:nvPr/>
        </p:nvSpPr>
        <p:spPr>
          <a:xfrm>
            <a:off x="228600" y="4254358"/>
            <a:ext cx="3389312" cy="307777"/>
          </a:xfrm>
          <a:prstGeom prst="rect">
            <a:avLst/>
          </a:prstGeom>
          <a:noFill/>
        </p:spPr>
        <p:txBody>
          <a:bodyPr wrap="square">
            <a:spAutoFit/>
          </a:bodyPr>
          <a:lstStyle/>
          <a:p>
            <a:r>
              <a:rPr lang="en-US" sz="1400" b="1" i="0">
                <a:effectLst/>
                <a:latin typeface="Söhne"/>
              </a:rPr>
              <a:t>Support for Sustainable Packaging</a:t>
            </a:r>
            <a:endParaRPr lang="en-US" sz="1400" b="1"/>
          </a:p>
        </p:txBody>
      </p:sp>
      <p:sp>
        <p:nvSpPr>
          <p:cNvPr id="27" name="Textfeld 26">
            <a:extLst>
              <a:ext uri="{FF2B5EF4-FFF2-40B4-BE49-F238E27FC236}">
                <a16:creationId xmlns:a16="http://schemas.microsoft.com/office/drawing/2014/main" id="{CE6FFC64-B072-0F62-3351-53BA07FDA2A2}"/>
              </a:ext>
            </a:extLst>
          </p:cNvPr>
          <p:cNvSpPr txBox="1"/>
          <p:nvPr/>
        </p:nvSpPr>
        <p:spPr>
          <a:xfrm>
            <a:off x="4644048" y="4254357"/>
            <a:ext cx="3389312" cy="307777"/>
          </a:xfrm>
          <a:prstGeom prst="rect">
            <a:avLst/>
          </a:prstGeom>
          <a:noFill/>
        </p:spPr>
        <p:txBody>
          <a:bodyPr wrap="square">
            <a:spAutoFit/>
          </a:bodyPr>
          <a:lstStyle/>
          <a:p>
            <a:r>
              <a:rPr lang="en-US" sz="1400" b="1" i="0">
                <a:effectLst/>
                <a:latin typeface="Söhne"/>
              </a:rPr>
              <a:t>Partnerships to Fight Climate Change</a:t>
            </a:r>
            <a:endParaRPr lang="en-US" sz="1400" b="1"/>
          </a:p>
        </p:txBody>
      </p:sp>
      <p:sp>
        <p:nvSpPr>
          <p:cNvPr id="28" name="Textfeld 27">
            <a:extLst>
              <a:ext uri="{FF2B5EF4-FFF2-40B4-BE49-F238E27FC236}">
                <a16:creationId xmlns:a16="http://schemas.microsoft.com/office/drawing/2014/main" id="{0085CC0D-ED26-58F3-01DF-1460272A495F}"/>
              </a:ext>
            </a:extLst>
          </p:cNvPr>
          <p:cNvSpPr txBox="1"/>
          <p:nvPr/>
        </p:nvSpPr>
        <p:spPr>
          <a:xfrm>
            <a:off x="359997" y="2340828"/>
            <a:ext cx="4120344" cy="1754326"/>
          </a:xfrm>
          <a:prstGeom prst="rect">
            <a:avLst/>
          </a:prstGeom>
          <a:noFill/>
        </p:spPr>
        <p:txBody>
          <a:bodyPr wrap="square">
            <a:spAutoFit/>
          </a:bodyPr>
          <a:lstStyle/>
          <a:p>
            <a:r>
              <a:rPr lang="en-US" sz="1200"/>
              <a:t>A digital platform that tracks and reports emissions, enabling better energy management and climate action strategies.</a:t>
            </a:r>
          </a:p>
          <a:p>
            <a:endParaRPr lang="en-US" sz="1200"/>
          </a:p>
          <a:p>
            <a:pPr marL="171450" indent="-171450">
              <a:buFont typeface="Arial" panose="020B0604020202020204" pitchFamily="34" charset="0"/>
              <a:buChar char="•"/>
            </a:pPr>
            <a:r>
              <a:rPr lang="en-US" sz="1200"/>
              <a:t>Provides data to optimize energy usage for sustainability, promoting the use of affordable and clean energy within the transportation sector</a:t>
            </a:r>
          </a:p>
          <a:p>
            <a:pPr marL="171450" indent="-171450">
              <a:buFont typeface="Arial" panose="020B0604020202020204" pitchFamily="34" charset="0"/>
              <a:buChar char="•"/>
            </a:pPr>
            <a:r>
              <a:rPr lang="en-US" sz="1200"/>
              <a:t>Aids cities in monitoring and achieving their climate action goals through transparent tracking of emissions, contributing to the development of sustainable communities</a:t>
            </a:r>
          </a:p>
        </p:txBody>
      </p:sp>
      <p:sp>
        <p:nvSpPr>
          <p:cNvPr id="29" name="Textfeld 28">
            <a:extLst>
              <a:ext uri="{FF2B5EF4-FFF2-40B4-BE49-F238E27FC236}">
                <a16:creationId xmlns:a16="http://schemas.microsoft.com/office/drawing/2014/main" id="{7553F3D5-ADF1-EE98-E432-FCC5941E78FD}"/>
              </a:ext>
            </a:extLst>
          </p:cNvPr>
          <p:cNvSpPr txBox="1"/>
          <p:nvPr/>
        </p:nvSpPr>
        <p:spPr>
          <a:xfrm>
            <a:off x="4671130" y="2330590"/>
            <a:ext cx="4120344" cy="1938992"/>
          </a:xfrm>
          <a:prstGeom prst="rect">
            <a:avLst/>
          </a:prstGeom>
          <a:noFill/>
        </p:spPr>
        <p:txBody>
          <a:bodyPr wrap="square">
            <a:spAutoFit/>
          </a:bodyPr>
          <a:lstStyle/>
          <a:p>
            <a:r>
              <a:rPr lang="en-US" sz="1200"/>
              <a:t>A partnership that incorporates Lime's electric scooters into the transportation network, promoting eco-friendly travel option.</a:t>
            </a:r>
          </a:p>
          <a:p>
            <a:endParaRPr lang="en-US" sz="1200"/>
          </a:p>
          <a:p>
            <a:pPr marL="171450" indent="-171450">
              <a:buFont typeface="Arial" panose="020B0604020202020204" pitchFamily="34" charset="0"/>
              <a:buChar char="•"/>
            </a:pPr>
            <a:r>
              <a:rPr lang="en-US" sz="1200"/>
              <a:t>Encourages the use of electric scooters as part of the transition to affordable and clean energy, while promoting responsible consumption and supporting sustainable cities and climate action initiatives.</a:t>
            </a:r>
          </a:p>
          <a:p>
            <a:pPr marL="171450" indent="-171450">
              <a:buFont typeface="Arial" panose="020B0604020202020204" pitchFamily="34" charset="0"/>
              <a:buChar char="•"/>
            </a:pPr>
            <a:r>
              <a:rPr lang="en-US" sz="1200"/>
              <a:t>Supports industry innovation by integrating energy-efficient, alternative modes of transport, like electric scooters, into the urban mobility infrastructure</a:t>
            </a:r>
          </a:p>
        </p:txBody>
      </p:sp>
      <p:sp>
        <p:nvSpPr>
          <p:cNvPr id="30" name="Textfeld 29">
            <a:extLst>
              <a:ext uri="{FF2B5EF4-FFF2-40B4-BE49-F238E27FC236}">
                <a16:creationId xmlns:a16="http://schemas.microsoft.com/office/drawing/2014/main" id="{5F06151A-BE25-E7EA-2E64-052E3673863A}"/>
              </a:ext>
            </a:extLst>
          </p:cNvPr>
          <p:cNvSpPr txBox="1"/>
          <p:nvPr/>
        </p:nvSpPr>
        <p:spPr>
          <a:xfrm>
            <a:off x="359997" y="4567188"/>
            <a:ext cx="4120344" cy="1569660"/>
          </a:xfrm>
          <a:prstGeom prst="rect">
            <a:avLst/>
          </a:prstGeom>
          <a:noFill/>
        </p:spPr>
        <p:txBody>
          <a:bodyPr wrap="square">
            <a:spAutoFit/>
          </a:bodyPr>
          <a:lstStyle/>
          <a:p>
            <a:pPr marL="171450" indent="-171450">
              <a:buFont typeface="Arial" panose="020B0604020202020204" pitchFamily="34" charset="0"/>
              <a:buChar char="•"/>
            </a:pPr>
            <a:r>
              <a:rPr lang="en-US" sz="1200"/>
              <a:t>Helps reduce the environmental impact of packaging waste in urban areas, contributing to the sustainability of cities</a:t>
            </a:r>
          </a:p>
          <a:p>
            <a:pPr marL="171450" indent="-171450">
              <a:buFont typeface="Arial" panose="020B0604020202020204" pitchFamily="34" charset="0"/>
              <a:buChar char="•"/>
            </a:pPr>
            <a:r>
              <a:rPr lang="en-US" sz="1200"/>
              <a:t>Encourages responsible consumption by advocating for and using sustainable packaging materials that are less harmful to the environment</a:t>
            </a:r>
          </a:p>
          <a:p>
            <a:pPr marL="171450" indent="-171450">
              <a:buFont typeface="Arial" panose="020B0604020202020204" pitchFamily="34" charset="0"/>
              <a:buChar char="•"/>
            </a:pPr>
            <a:r>
              <a:rPr lang="en-US" sz="1200"/>
              <a:t>Aims to protect aquatic and terrestrial ecosystems by minimizing pollution and the ecological footprint of packaging waste</a:t>
            </a:r>
          </a:p>
        </p:txBody>
      </p:sp>
      <p:sp>
        <p:nvSpPr>
          <p:cNvPr id="31" name="Textfeld 30">
            <a:extLst>
              <a:ext uri="{FF2B5EF4-FFF2-40B4-BE49-F238E27FC236}">
                <a16:creationId xmlns:a16="http://schemas.microsoft.com/office/drawing/2014/main" id="{5F023BD8-4AB5-6360-128A-43F83394B86B}"/>
              </a:ext>
            </a:extLst>
          </p:cNvPr>
          <p:cNvSpPr txBox="1"/>
          <p:nvPr/>
        </p:nvSpPr>
        <p:spPr>
          <a:xfrm>
            <a:off x="4611738" y="4533677"/>
            <a:ext cx="4120344" cy="1569660"/>
          </a:xfrm>
          <a:prstGeom prst="rect">
            <a:avLst/>
          </a:prstGeom>
          <a:noFill/>
        </p:spPr>
        <p:txBody>
          <a:bodyPr wrap="square">
            <a:spAutoFit/>
          </a:bodyPr>
          <a:lstStyle/>
          <a:p>
            <a:pPr marL="171450" indent="-171450">
              <a:buFont typeface="Arial" panose="020B0604020202020204" pitchFamily="34" charset="0"/>
              <a:buChar char="•"/>
            </a:pPr>
            <a:r>
              <a:rPr lang="en-US" sz="1200"/>
              <a:t>Collaborates with various stakeholders to promote the use of clean energy solutions within the transportation industry</a:t>
            </a:r>
          </a:p>
          <a:p>
            <a:pPr marL="171450" indent="-171450">
              <a:buFont typeface="Arial" panose="020B0604020202020204" pitchFamily="34" charset="0"/>
              <a:buChar char="•"/>
            </a:pPr>
            <a:r>
              <a:rPr lang="en-US" sz="1200"/>
              <a:t>Facilitates cross-sector innovation and infrastructure development aimed at reducing carbon emissions</a:t>
            </a:r>
          </a:p>
          <a:p>
            <a:pPr marL="171450" indent="-171450">
              <a:buFont typeface="Arial" panose="020B0604020202020204" pitchFamily="34" charset="0"/>
              <a:buChar char="•"/>
            </a:pPr>
            <a:r>
              <a:rPr lang="en-US" sz="1200"/>
              <a:t>Strengthens global partnerships by uniting different entities to work towards common climate action objectives, fostering progress towards sustainable cities and communities</a:t>
            </a:r>
          </a:p>
        </p:txBody>
      </p:sp>
      <p:sp>
        <p:nvSpPr>
          <p:cNvPr id="8" name="Textfeld 7">
            <a:extLst>
              <a:ext uri="{FF2B5EF4-FFF2-40B4-BE49-F238E27FC236}">
                <a16:creationId xmlns:a16="http://schemas.microsoft.com/office/drawing/2014/main" id="{D20416EA-A626-C9E1-E5CA-07C653B90B0A}"/>
              </a:ext>
            </a:extLst>
          </p:cNvPr>
          <p:cNvSpPr txBox="1"/>
          <p:nvPr/>
        </p:nvSpPr>
        <p:spPr>
          <a:xfrm>
            <a:off x="4219575" y="3601203"/>
            <a:ext cx="704850" cy="1200329"/>
          </a:xfrm>
          <a:prstGeom prst="rect">
            <a:avLst/>
          </a:prstGeom>
          <a:noFill/>
        </p:spPr>
        <p:txBody>
          <a:bodyPr wrap="square" rtlCol="0">
            <a:spAutoFit/>
          </a:bodyPr>
          <a:lstStyle/>
          <a:p>
            <a:pPr algn="ctr"/>
            <a:r>
              <a:rPr lang="en-US" sz="7200" b="1">
                <a:solidFill>
                  <a:schemeClr val="accent2">
                    <a:lumMod val="20000"/>
                    <a:lumOff val="80000"/>
                  </a:schemeClr>
                </a:solidFill>
              </a:rPr>
              <a:t>E</a:t>
            </a:r>
          </a:p>
        </p:txBody>
      </p:sp>
    </p:spTree>
    <p:extLst>
      <p:ext uri="{BB962C8B-B14F-4D97-AF65-F5344CB8AC3E}">
        <p14:creationId xmlns:p14="http://schemas.microsoft.com/office/powerpoint/2010/main" val="8523140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CEB04FD-B16F-A889-9325-CDF88B146905}"/>
              </a:ext>
            </a:extLst>
          </p:cNvPr>
          <p:cNvGraphicFramePr>
            <a:graphicFrameLocks noChangeAspect="1"/>
          </p:cNvGraphicFramePr>
          <p:nvPr>
            <p:custDataLst>
              <p:tags r:id="rId1"/>
            </p:custDataLst>
            <p:extLst>
              <p:ext uri="{D42A27DB-BD31-4B8C-83A1-F6EECF244321}">
                <p14:modId xmlns:p14="http://schemas.microsoft.com/office/powerpoint/2010/main" val="70448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9" name="think-cell data - do not delete" hidden="1">
                        <a:extLst>
                          <a:ext uri="{FF2B5EF4-FFF2-40B4-BE49-F238E27FC236}">
                            <a16:creationId xmlns:a16="http://schemas.microsoft.com/office/drawing/2014/main" id="{DCEB04FD-B16F-A889-9325-CDF88B1469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AE0B5-690E-A759-5064-FC9F0CE2D79A}"/>
              </a:ext>
            </a:extLst>
          </p:cNvPr>
          <p:cNvSpPr>
            <a:spLocks noGrp="1"/>
          </p:cNvSpPr>
          <p:nvPr>
            <p:ph type="title"/>
          </p:nvPr>
        </p:nvSpPr>
        <p:spPr/>
        <p:txBody>
          <a:bodyPr vert="horz"/>
          <a:lstStyle/>
          <a:p>
            <a:r>
              <a:rPr lang="en-US"/>
              <a:t>Uber offers a variety of different supportive initiatives to try to support its workforce and communities it operates in</a:t>
            </a:r>
          </a:p>
        </p:txBody>
      </p:sp>
      <p:sp>
        <p:nvSpPr>
          <p:cNvPr id="4" name="Foliennummernplatzhalter 3">
            <a:extLst>
              <a:ext uri="{FF2B5EF4-FFF2-40B4-BE49-F238E27FC236}">
                <a16:creationId xmlns:a16="http://schemas.microsoft.com/office/drawing/2014/main" id="{05006892-9283-A461-3885-982B4CBA0519}"/>
              </a:ext>
            </a:extLst>
          </p:cNvPr>
          <p:cNvSpPr>
            <a:spLocks noGrp="1"/>
          </p:cNvSpPr>
          <p:nvPr>
            <p:ph type="sldNum" sz="quarter" idx="4"/>
          </p:nvPr>
        </p:nvSpPr>
        <p:spPr/>
        <p:txBody>
          <a:bodyPr/>
          <a:lstStyle/>
          <a:p>
            <a:fld id="{BAF04893-69FB-435D-AB2E-CA259D85B32F}" type="slidenum">
              <a:rPr lang="en-US" smtClean="0"/>
              <a:pPr/>
              <a:t>64</a:t>
            </a:fld>
            <a:endParaRPr lang="en-US"/>
          </a:p>
        </p:txBody>
      </p:sp>
      <p:sp>
        <p:nvSpPr>
          <p:cNvPr id="5" name="Inhaltsplatzhalter 4">
            <a:extLst>
              <a:ext uri="{FF2B5EF4-FFF2-40B4-BE49-F238E27FC236}">
                <a16:creationId xmlns:a16="http://schemas.microsoft.com/office/drawing/2014/main" id="{6823D783-9067-C01F-2767-14D2FADD598F}"/>
              </a:ext>
            </a:extLst>
          </p:cNvPr>
          <p:cNvSpPr>
            <a:spLocks noGrp="1"/>
          </p:cNvSpPr>
          <p:nvPr>
            <p:ph idx="10"/>
          </p:nvPr>
        </p:nvSpPr>
        <p:spPr/>
        <p:txBody>
          <a:bodyPr/>
          <a:lstStyle/>
          <a:p>
            <a:r>
              <a:rPr lang="en-US"/>
              <a:t>Social SDG</a:t>
            </a:r>
          </a:p>
        </p:txBody>
      </p:sp>
      <p:sp>
        <p:nvSpPr>
          <p:cNvPr id="6" name="Inhaltsplatzhalter 5">
            <a:extLst>
              <a:ext uri="{FF2B5EF4-FFF2-40B4-BE49-F238E27FC236}">
                <a16:creationId xmlns:a16="http://schemas.microsoft.com/office/drawing/2014/main" id="{179CC09A-6D6C-F271-9084-CCE647BC58EF}"/>
              </a:ext>
            </a:extLst>
          </p:cNvPr>
          <p:cNvSpPr>
            <a:spLocks noGrp="1"/>
          </p:cNvSpPr>
          <p:nvPr>
            <p:ph idx="11"/>
          </p:nvPr>
        </p:nvSpPr>
        <p:spPr/>
        <p:txBody>
          <a:bodyPr/>
          <a:lstStyle/>
          <a:p>
            <a:r>
              <a:rPr lang="en-US">
                <a:hlinkClick r:id="rId6"/>
              </a:rPr>
              <a:t>Uber,</a:t>
            </a:r>
            <a:r>
              <a:rPr lang="en-US"/>
              <a:t> Uber ESG-Report, Uber Corporate Website</a:t>
            </a:r>
          </a:p>
        </p:txBody>
      </p:sp>
      <p:sp>
        <p:nvSpPr>
          <p:cNvPr id="7" name="Inhaltsplatzhalter 6">
            <a:extLst>
              <a:ext uri="{FF2B5EF4-FFF2-40B4-BE49-F238E27FC236}">
                <a16:creationId xmlns:a16="http://schemas.microsoft.com/office/drawing/2014/main" id="{6C04F4C1-84DA-1B85-F0E4-991CA3BE5126}"/>
              </a:ext>
            </a:extLst>
          </p:cNvPr>
          <p:cNvSpPr>
            <a:spLocks noGrp="1"/>
          </p:cNvSpPr>
          <p:nvPr>
            <p:ph idx="12"/>
          </p:nvPr>
        </p:nvSpPr>
        <p:spPr/>
        <p:txBody>
          <a:bodyPr/>
          <a:lstStyle/>
          <a:p>
            <a:r>
              <a:rPr lang="en-US"/>
              <a:t>ESG</a:t>
            </a:r>
          </a:p>
        </p:txBody>
      </p:sp>
      <p:cxnSp>
        <p:nvCxnSpPr>
          <p:cNvPr id="9" name="Gerader Verbinder 8">
            <a:extLst>
              <a:ext uri="{FF2B5EF4-FFF2-40B4-BE49-F238E27FC236}">
                <a16:creationId xmlns:a16="http://schemas.microsoft.com/office/drawing/2014/main" id="{83AD9337-E103-243F-278D-512FC8CC9869}"/>
              </a:ext>
            </a:extLst>
          </p:cNvPr>
          <p:cNvCxnSpPr>
            <a:cxnSpLocks/>
          </p:cNvCxnSpPr>
          <p:nvPr/>
        </p:nvCxnSpPr>
        <p:spPr>
          <a:xfrm>
            <a:off x="4572000" y="2051050"/>
            <a:ext cx="0" cy="4311650"/>
          </a:xfrm>
          <a:prstGeom prst="line">
            <a:avLst/>
          </a:prstGeom>
        </p:spPr>
        <p:style>
          <a:lnRef idx="1">
            <a:schemeClr val="accent2"/>
          </a:lnRef>
          <a:fillRef idx="0">
            <a:schemeClr val="accent2"/>
          </a:fillRef>
          <a:effectRef idx="0">
            <a:schemeClr val="accent2"/>
          </a:effectRef>
          <a:fontRef idx="minor">
            <a:schemeClr val="tx1"/>
          </a:fontRef>
        </p:style>
      </p:cxnSp>
      <p:cxnSp>
        <p:nvCxnSpPr>
          <p:cNvPr id="10" name="Gerader Verbinder 9">
            <a:extLst>
              <a:ext uri="{FF2B5EF4-FFF2-40B4-BE49-F238E27FC236}">
                <a16:creationId xmlns:a16="http://schemas.microsoft.com/office/drawing/2014/main" id="{D90F717F-252E-4DB1-F11E-60B24C7F0674}"/>
              </a:ext>
            </a:extLst>
          </p:cNvPr>
          <p:cNvCxnSpPr>
            <a:cxnSpLocks/>
          </p:cNvCxnSpPr>
          <p:nvPr/>
        </p:nvCxnSpPr>
        <p:spPr>
          <a:xfrm flipH="1">
            <a:off x="228600" y="4248150"/>
            <a:ext cx="8699500" cy="0"/>
          </a:xfrm>
          <a:prstGeom prst="line">
            <a:avLst/>
          </a:prstGeom>
        </p:spPr>
        <p:style>
          <a:lnRef idx="1">
            <a:schemeClr val="accent2"/>
          </a:lnRef>
          <a:fillRef idx="0">
            <a:schemeClr val="accent2"/>
          </a:fillRef>
          <a:effectRef idx="0">
            <a:schemeClr val="accent2"/>
          </a:effectRef>
          <a:fontRef idx="minor">
            <a:schemeClr val="tx1"/>
          </a:fontRef>
        </p:style>
      </p:cxnSp>
      <p:sp>
        <p:nvSpPr>
          <p:cNvPr id="17" name="Rechteck 16">
            <a:extLst>
              <a:ext uri="{FF2B5EF4-FFF2-40B4-BE49-F238E27FC236}">
                <a16:creationId xmlns:a16="http://schemas.microsoft.com/office/drawing/2014/main" id="{E5503AC7-C4F5-4D0B-88CB-79746795AE5E}"/>
              </a:ext>
            </a:extLst>
          </p:cNvPr>
          <p:cNvSpPr/>
          <p:nvPr/>
        </p:nvSpPr>
        <p:spPr>
          <a:xfrm rot="2721584">
            <a:off x="4038350" y="3646282"/>
            <a:ext cx="1080000" cy="10800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feld 20">
            <a:extLst>
              <a:ext uri="{FF2B5EF4-FFF2-40B4-BE49-F238E27FC236}">
                <a16:creationId xmlns:a16="http://schemas.microsoft.com/office/drawing/2014/main" id="{F5006A12-237B-AE76-D508-4BF33B16EFEA}"/>
              </a:ext>
            </a:extLst>
          </p:cNvPr>
          <p:cNvSpPr txBox="1"/>
          <p:nvPr/>
        </p:nvSpPr>
        <p:spPr>
          <a:xfrm>
            <a:off x="359997" y="2051050"/>
            <a:ext cx="3389312" cy="307777"/>
          </a:xfrm>
          <a:prstGeom prst="rect">
            <a:avLst/>
          </a:prstGeom>
          <a:noFill/>
        </p:spPr>
        <p:txBody>
          <a:bodyPr wrap="square">
            <a:spAutoFit/>
          </a:bodyPr>
          <a:lstStyle/>
          <a:p>
            <a:r>
              <a:rPr lang="en-US" sz="1400" b="1" i="0">
                <a:effectLst/>
                <a:latin typeface="Söhne"/>
              </a:rPr>
              <a:t>Health Access Fund</a:t>
            </a:r>
            <a:endParaRPr lang="en-US" sz="1400" b="1"/>
          </a:p>
        </p:txBody>
      </p:sp>
      <p:sp>
        <p:nvSpPr>
          <p:cNvPr id="25" name="Textfeld 24">
            <a:extLst>
              <a:ext uri="{FF2B5EF4-FFF2-40B4-BE49-F238E27FC236}">
                <a16:creationId xmlns:a16="http://schemas.microsoft.com/office/drawing/2014/main" id="{C57B9699-6DAC-7568-8F1D-FB90ED7E0BA0}"/>
              </a:ext>
            </a:extLst>
          </p:cNvPr>
          <p:cNvSpPr txBox="1"/>
          <p:nvPr/>
        </p:nvSpPr>
        <p:spPr>
          <a:xfrm>
            <a:off x="4663660" y="2054570"/>
            <a:ext cx="4264440" cy="307777"/>
          </a:xfrm>
          <a:prstGeom prst="rect">
            <a:avLst/>
          </a:prstGeom>
          <a:noFill/>
        </p:spPr>
        <p:txBody>
          <a:bodyPr wrap="square">
            <a:spAutoFit/>
          </a:bodyPr>
          <a:lstStyle/>
          <a:p>
            <a:r>
              <a:rPr lang="en-US" sz="1400" b="1" i="0">
                <a:effectLst/>
                <a:latin typeface="Söhne"/>
              </a:rPr>
              <a:t>Vaccine Access Fund</a:t>
            </a:r>
            <a:endParaRPr lang="en-US" sz="1400" b="1"/>
          </a:p>
        </p:txBody>
      </p:sp>
      <p:sp>
        <p:nvSpPr>
          <p:cNvPr id="26" name="Textfeld 25">
            <a:extLst>
              <a:ext uri="{FF2B5EF4-FFF2-40B4-BE49-F238E27FC236}">
                <a16:creationId xmlns:a16="http://schemas.microsoft.com/office/drawing/2014/main" id="{ED05367D-11B8-F6E6-B7E7-E08E6112D93B}"/>
              </a:ext>
            </a:extLst>
          </p:cNvPr>
          <p:cNvSpPr txBox="1"/>
          <p:nvPr/>
        </p:nvSpPr>
        <p:spPr>
          <a:xfrm>
            <a:off x="228600" y="4254358"/>
            <a:ext cx="3389312" cy="307777"/>
          </a:xfrm>
          <a:prstGeom prst="rect">
            <a:avLst/>
          </a:prstGeom>
          <a:noFill/>
        </p:spPr>
        <p:txBody>
          <a:bodyPr wrap="square">
            <a:spAutoFit/>
          </a:bodyPr>
          <a:lstStyle/>
          <a:p>
            <a:r>
              <a:rPr lang="en-US" sz="1400" b="1" i="0">
                <a:effectLst/>
                <a:latin typeface="Söhne"/>
              </a:rPr>
              <a:t>Disaster Response</a:t>
            </a:r>
            <a:endParaRPr lang="en-US" sz="1400" b="1"/>
          </a:p>
        </p:txBody>
      </p:sp>
      <p:sp>
        <p:nvSpPr>
          <p:cNvPr id="28" name="Textfeld 27">
            <a:extLst>
              <a:ext uri="{FF2B5EF4-FFF2-40B4-BE49-F238E27FC236}">
                <a16:creationId xmlns:a16="http://schemas.microsoft.com/office/drawing/2014/main" id="{0085CC0D-ED26-58F3-01DF-1460272A495F}"/>
              </a:ext>
            </a:extLst>
          </p:cNvPr>
          <p:cNvSpPr txBox="1"/>
          <p:nvPr/>
        </p:nvSpPr>
        <p:spPr>
          <a:xfrm>
            <a:off x="359997" y="2340828"/>
            <a:ext cx="4120344" cy="1938992"/>
          </a:xfrm>
          <a:prstGeom prst="rect">
            <a:avLst/>
          </a:prstGeom>
          <a:noFill/>
        </p:spPr>
        <p:txBody>
          <a:bodyPr wrap="square">
            <a:spAutoFit/>
          </a:bodyPr>
          <a:lstStyle/>
          <a:p>
            <a:pPr marL="171450" indent="-171450">
              <a:buFont typeface="Arial" panose="020B0604020202020204" pitchFamily="34" charset="0"/>
              <a:buChar char="•"/>
            </a:pPr>
            <a:r>
              <a:rPr lang="en-US" sz="1200"/>
              <a:t>Improves access to healthcare services, particularly for underserved communities, aligning with the goal of ensuring good health and well-being</a:t>
            </a:r>
          </a:p>
          <a:p>
            <a:pPr marL="171450" indent="-171450">
              <a:buFont typeface="Arial" panose="020B0604020202020204" pitchFamily="34" charset="0"/>
              <a:buChar char="•"/>
            </a:pPr>
            <a:r>
              <a:rPr lang="en-US" sz="1200"/>
              <a:t>Aims to diminish health disparities and inequalities, particularly among the economically disadvantaged, supporting the goal of reduced inequalities</a:t>
            </a:r>
          </a:p>
          <a:p>
            <a:pPr marL="171450" indent="-171450">
              <a:buFont typeface="Arial" panose="020B0604020202020204" pitchFamily="34" charset="0"/>
              <a:buChar char="•"/>
            </a:pPr>
            <a:r>
              <a:rPr lang="en-US" sz="1200"/>
              <a:t>Contributes to poverty alleviation through the provision of essential health services, which can prevent medical expense-related poverty in countries without health-insurrance</a:t>
            </a:r>
          </a:p>
        </p:txBody>
      </p:sp>
      <p:sp>
        <p:nvSpPr>
          <p:cNvPr id="29" name="Textfeld 28">
            <a:extLst>
              <a:ext uri="{FF2B5EF4-FFF2-40B4-BE49-F238E27FC236}">
                <a16:creationId xmlns:a16="http://schemas.microsoft.com/office/drawing/2014/main" id="{7553F3D5-ADF1-EE98-E432-FCC5941E78FD}"/>
              </a:ext>
            </a:extLst>
          </p:cNvPr>
          <p:cNvSpPr txBox="1"/>
          <p:nvPr/>
        </p:nvSpPr>
        <p:spPr>
          <a:xfrm>
            <a:off x="4671130" y="2330590"/>
            <a:ext cx="4120344" cy="1569660"/>
          </a:xfrm>
          <a:prstGeom prst="rect">
            <a:avLst/>
          </a:prstGeom>
          <a:noFill/>
        </p:spPr>
        <p:txBody>
          <a:bodyPr wrap="square">
            <a:spAutoFit/>
          </a:bodyPr>
          <a:lstStyle/>
          <a:p>
            <a:pPr marL="171450" indent="-171450">
              <a:buFont typeface="Arial" panose="020B0604020202020204" pitchFamily="34" charset="0"/>
              <a:buChar char="•"/>
            </a:pPr>
            <a:r>
              <a:rPr lang="en-US" sz="1200"/>
              <a:t>Addresses poverty by removing financial barriers to vaccination, which is essential for good health and well-being</a:t>
            </a:r>
          </a:p>
          <a:p>
            <a:pPr marL="171450" indent="-171450">
              <a:buFont typeface="Arial" panose="020B0604020202020204" pitchFamily="34" charset="0"/>
              <a:buChar char="•"/>
            </a:pPr>
            <a:r>
              <a:rPr lang="en-US" sz="1200"/>
              <a:t>Promotes equitable access to vaccines, thereby working towards reduced health inequalities</a:t>
            </a:r>
          </a:p>
          <a:p>
            <a:pPr marL="171450" indent="-171450">
              <a:buFont typeface="Arial" panose="020B0604020202020204" pitchFamily="34" charset="0"/>
              <a:buChar char="•"/>
            </a:pPr>
            <a:r>
              <a:rPr lang="en-US" sz="1200"/>
              <a:t>Supports the establishment of fair and reliable public health institutions, contributing to peace, justice, and strong institutions</a:t>
            </a:r>
          </a:p>
        </p:txBody>
      </p:sp>
      <p:sp>
        <p:nvSpPr>
          <p:cNvPr id="30" name="Textfeld 29">
            <a:extLst>
              <a:ext uri="{FF2B5EF4-FFF2-40B4-BE49-F238E27FC236}">
                <a16:creationId xmlns:a16="http://schemas.microsoft.com/office/drawing/2014/main" id="{5F06151A-BE25-E7EA-2E64-052E3673863A}"/>
              </a:ext>
            </a:extLst>
          </p:cNvPr>
          <p:cNvSpPr txBox="1"/>
          <p:nvPr/>
        </p:nvSpPr>
        <p:spPr>
          <a:xfrm>
            <a:off x="359997" y="4567188"/>
            <a:ext cx="4120344" cy="1384995"/>
          </a:xfrm>
          <a:prstGeom prst="rect">
            <a:avLst/>
          </a:prstGeom>
          <a:noFill/>
        </p:spPr>
        <p:txBody>
          <a:bodyPr wrap="square">
            <a:spAutoFit/>
          </a:bodyPr>
          <a:lstStyle/>
          <a:p>
            <a:r>
              <a:rPr lang="en-US" sz="1200"/>
              <a:t>The Disaster Response initiative mobilizes resources to provide aid and support during natural disasters, such as offering free rides to evacuation centers during wildfires.</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Provides timely assistance during emergencies, fostering resilient institutions and supporting stability and peace in affected communities</a:t>
            </a:r>
          </a:p>
        </p:txBody>
      </p:sp>
      <p:sp>
        <p:nvSpPr>
          <p:cNvPr id="31" name="Textfeld 30">
            <a:extLst>
              <a:ext uri="{FF2B5EF4-FFF2-40B4-BE49-F238E27FC236}">
                <a16:creationId xmlns:a16="http://schemas.microsoft.com/office/drawing/2014/main" id="{5F023BD8-4AB5-6360-128A-43F83394B86B}"/>
              </a:ext>
            </a:extLst>
          </p:cNvPr>
          <p:cNvSpPr txBox="1"/>
          <p:nvPr/>
        </p:nvSpPr>
        <p:spPr>
          <a:xfrm>
            <a:off x="4611738" y="4533677"/>
            <a:ext cx="4120344" cy="1569660"/>
          </a:xfrm>
          <a:prstGeom prst="rect">
            <a:avLst/>
          </a:prstGeom>
          <a:noFill/>
        </p:spPr>
        <p:txBody>
          <a:bodyPr wrap="square">
            <a:spAutoFit/>
          </a:bodyPr>
          <a:lstStyle/>
          <a:p>
            <a:pPr marL="171450" indent="-171450">
              <a:buFont typeface="Arial" panose="020B0604020202020204" pitchFamily="34" charset="0"/>
              <a:buChar char="•"/>
            </a:pPr>
            <a:r>
              <a:rPr lang="en-US" sz="1200"/>
              <a:t>Helps alleviate poverty by offering flexible income opportunities, potentially reducing the risk of hunger</a:t>
            </a:r>
          </a:p>
          <a:p>
            <a:pPr marL="171450" indent="-171450">
              <a:buFont typeface="Arial" panose="020B0604020202020204" pitchFamily="34" charset="0"/>
              <a:buChar char="•"/>
            </a:pPr>
            <a:r>
              <a:rPr lang="en-US" sz="1200"/>
              <a:t>Supports gender equality by providing work options that can be more accessible to women, especially those who require flexible scheduling</a:t>
            </a:r>
          </a:p>
          <a:p>
            <a:pPr marL="171450" indent="-171450">
              <a:buFont typeface="Arial" panose="020B0604020202020204" pitchFamily="34" charset="0"/>
              <a:buChar char="•"/>
            </a:pPr>
            <a:r>
              <a:rPr lang="en-US" sz="1200"/>
              <a:t>Promotes decent work and economic growth, while aiming to reduce inequalities by providing employment opportunities to a diverse workforce</a:t>
            </a:r>
          </a:p>
        </p:txBody>
      </p:sp>
      <p:sp>
        <p:nvSpPr>
          <p:cNvPr id="8" name="Textfeld 7">
            <a:extLst>
              <a:ext uri="{FF2B5EF4-FFF2-40B4-BE49-F238E27FC236}">
                <a16:creationId xmlns:a16="http://schemas.microsoft.com/office/drawing/2014/main" id="{D20416EA-A626-C9E1-E5CA-07C653B90B0A}"/>
              </a:ext>
            </a:extLst>
          </p:cNvPr>
          <p:cNvSpPr txBox="1"/>
          <p:nvPr/>
        </p:nvSpPr>
        <p:spPr>
          <a:xfrm>
            <a:off x="4219575" y="3601203"/>
            <a:ext cx="704850" cy="1200329"/>
          </a:xfrm>
          <a:prstGeom prst="rect">
            <a:avLst/>
          </a:prstGeom>
          <a:noFill/>
        </p:spPr>
        <p:txBody>
          <a:bodyPr wrap="square" rtlCol="0">
            <a:spAutoFit/>
          </a:bodyPr>
          <a:lstStyle/>
          <a:p>
            <a:pPr algn="ctr"/>
            <a:r>
              <a:rPr lang="en-US" sz="7200" b="1">
                <a:solidFill>
                  <a:schemeClr val="accent2">
                    <a:lumMod val="20000"/>
                    <a:lumOff val="80000"/>
                  </a:schemeClr>
                </a:solidFill>
              </a:rPr>
              <a:t>S</a:t>
            </a:r>
          </a:p>
        </p:txBody>
      </p:sp>
      <p:sp>
        <p:nvSpPr>
          <p:cNvPr id="27" name="Textfeld 26">
            <a:extLst>
              <a:ext uri="{FF2B5EF4-FFF2-40B4-BE49-F238E27FC236}">
                <a16:creationId xmlns:a16="http://schemas.microsoft.com/office/drawing/2014/main" id="{CE6FFC64-B072-0F62-3351-53BA07FDA2A2}"/>
              </a:ext>
            </a:extLst>
          </p:cNvPr>
          <p:cNvSpPr txBox="1"/>
          <p:nvPr/>
        </p:nvSpPr>
        <p:spPr>
          <a:xfrm>
            <a:off x="4644048" y="4254357"/>
            <a:ext cx="3389312" cy="307777"/>
          </a:xfrm>
          <a:prstGeom prst="rect">
            <a:avLst/>
          </a:prstGeom>
          <a:noFill/>
        </p:spPr>
        <p:txBody>
          <a:bodyPr wrap="square">
            <a:spAutoFit/>
          </a:bodyPr>
          <a:lstStyle/>
          <a:p>
            <a:r>
              <a:rPr lang="en-US" sz="1400" b="1" i="0">
                <a:effectLst/>
                <a:latin typeface="Söhne"/>
              </a:rPr>
              <a:t>Flexible Working Opportunities</a:t>
            </a:r>
            <a:endParaRPr lang="en-US" sz="1400" b="1"/>
          </a:p>
        </p:txBody>
      </p:sp>
    </p:spTree>
    <p:extLst>
      <p:ext uri="{BB962C8B-B14F-4D97-AF65-F5344CB8AC3E}">
        <p14:creationId xmlns:p14="http://schemas.microsoft.com/office/powerpoint/2010/main" val="21996134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CEB04FD-B16F-A889-9325-CDF88B146905}"/>
              </a:ext>
            </a:extLst>
          </p:cNvPr>
          <p:cNvGraphicFramePr>
            <a:graphicFrameLocks noChangeAspect="1"/>
          </p:cNvGraphicFramePr>
          <p:nvPr>
            <p:custDataLst>
              <p:tags r:id="rId1"/>
            </p:custDataLst>
            <p:extLst>
              <p:ext uri="{D42A27DB-BD31-4B8C-83A1-F6EECF244321}">
                <p14:modId xmlns:p14="http://schemas.microsoft.com/office/powerpoint/2010/main" val="927548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9" name="think-cell data - do not delete" hidden="1">
                        <a:extLst>
                          <a:ext uri="{FF2B5EF4-FFF2-40B4-BE49-F238E27FC236}">
                            <a16:creationId xmlns:a16="http://schemas.microsoft.com/office/drawing/2014/main" id="{DCEB04FD-B16F-A889-9325-CDF88B1469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AE0B5-690E-A759-5064-FC9F0CE2D79A}"/>
              </a:ext>
            </a:extLst>
          </p:cNvPr>
          <p:cNvSpPr>
            <a:spLocks noGrp="1"/>
          </p:cNvSpPr>
          <p:nvPr>
            <p:ph type="title"/>
          </p:nvPr>
        </p:nvSpPr>
        <p:spPr/>
        <p:txBody>
          <a:bodyPr vert="horz"/>
          <a:lstStyle/>
          <a:p>
            <a:r>
              <a:rPr lang="en-US"/>
              <a:t>Uber provides equal employment opportunities in local communities by providing flexible gig-economy jobs</a:t>
            </a:r>
          </a:p>
        </p:txBody>
      </p:sp>
      <p:sp>
        <p:nvSpPr>
          <p:cNvPr id="4" name="Foliennummernplatzhalter 3">
            <a:extLst>
              <a:ext uri="{FF2B5EF4-FFF2-40B4-BE49-F238E27FC236}">
                <a16:creationId xmlns:a16="http://schemas.microsoft.com/office/drawing/2014/main" id="{05006892-9283-A461-3885-982B4CBA0519}"/>
              </a:ext>
            </a:extLst>
          </p:cNvPr>
          <p:cNvSpPr>
            <a:spLocks noGrp="1"/>
          </p:cNvSpPr>
          <p:nvPr>
            <p:ph type="sldNum" sz="quarter" idx="4"/>
          </p:nvPr>
        </p:nvSpPr>
        <p:spPr/>
        <p:txBody>
          <a:bodyPr/>
          <a:lstStyle/>
          <a:p>
            <a:fld id="{BAF04893-69FB-435D-AB2E-CA259D85B32F}" type="slidenum">
              <a:rPr lang="en-US" smtClean="0"/>
              <a:pPr/>
              <a:t>65</a:t>
            </a:fld>
            <a:endParaRPr lang="en-US"/>
          </a:p>
        </p:txBody>
      </p:sp>
      <p:sp>
        <p:nvSpPr>
          <p:cNvPr id="5" name="Inhaltsplatzhalter 4">
            <a:extLst>
              <a:ext uri="{FF2B5EF4-FFF2-40B4-BE49-F238E27FC236}">
                <a16:creationId xmlns:a16="http://schemas.microsoft.com/office/drawing/2014/main" id="{6823D783-9067-C01F-2767-14D2FADD598F}"/>
              </a:ext>
            </a:extLst>
          </p:cNvPr>
          <p:cNvSpPr>
            <a:spLocks noGrp="1"/>
          </p:cNvSpPr>
          <p:nvPr>
            <p:ph idx="10"/>
          </p:nvPr>
        </p:nvSpPr>
        <p:spPr/>
        <p:txBody>
          <a:bodyPr/>
          <a:lstStyle/>
          <a:p>
            <a:r>
              <a:rPr lang="en-US"/>
              <a:t>Social SDG</a:t>
            </a:r>
          </a:p>
        </p:txBody>
      </p:sp>
      <p:sp>
        <p:nvSpPr>
          <p:cNvPr id="6" name="Inhaltsplatzhalter 5">
            <a:extLst>
              <a:ext uri="{FF2B5EF4-FFF2-40B4-BE49-F238E27FC236}">
                <a16:creationId xmlns:a16="http://schemas.microsoft.com/office/drawing/2014/main" id="{179CC09A-6D6C-F271-9084-CCE647BC58EF}"/>
              </a:ext>
            </a:extLst>
          </p:cNvPr>
          <p:cNvSpPr>
            <a:spLocks noGrp="1"/>
          </p:cNvSpPr>
          <p:nvPr>
            <p:ph idx="11"/>
          </p:nvPr>
        </p:nvSpPr>
        <p:spPr/>
        <p:txBody>
          <a:bodyPr/>
          <a:lstStyle/>
          <a:p>
            <a:r>
              <a:rPr lang="en-US"/>
              <a:t>Uber ESG-Report, Uber Corporate Website</a:t>
            </a:r>
          </a:p>
        </p:txBody>
      </p:sp>
      <p:sp>
        <p:nvSpPr>
          <p:cNvPr id="7" name="Inhaltsplatzhalter 6">
            <a:extLst>
              <a:ext uri="{FF2B5EF4-FFF2-40B4-BE49-F238E27FC236}">
                <a16:creationId xmlns:a16="http://schemas.microsoft.com/office/drawing/2014/main" id="{6C04F4C1-84DA-1B85-F0E4-991CA3BE5126}"/>
              </a:ext>
            </a:extLst>
          </p:cNvPr>
          <p:cNvSpPr>
            <a:spLocks noGrp="1"/>
          </p:cNvSpPr>
          <p:nvPr>
            <p:ph idx="12"/>
          </p:nvPr>
        </p:nvSpPr>
        <p:spPr/>
        <p:txBody>
          <a:bodyPr/>
          <a:lstStyle/>
          <a:p>
            <a:r>
              <a:rPr lang="en-US"/>
              <a:t>ESG</a:t>
            </a:r>
          </a:p>
        </p:txBody>
      </p:sp>
      <p:cxnSp>
        <p:nvCxnSpPr>
          <p:cNvPr id="9" name="Gerader Verbinder 8">
            <a:extLst>
              <a:ext uri="{FF2B5EF4-FFF2-40B4-BE49-F238E27FC236}">
                <a16:creationId xmlns:a16="http://schemas.microsoft.com/office/drawing/2014/main" id="{83AD9337-E103-243F-278D-512FC8CC9869}"/>
              </a:ext>
            </a:extLst>
          </p:cNvPr>
          <p:cNvCxnSpPr>
            <a:cxnSpLocks/>
          </p:cNvCxnSpPr>
          <p:nvPr/>
        </p:nvCxnSpPr>
        <p:spPr>
          <a:xfrm>
            <a:off x="4572000" y="2051050"/>
            <a:ext cx="0" cy="4311650"/>
          </a:xfrm>
          <a:prstGeom prst="line">
            <a:avLst/>
          </a:prstGeom>
        </p:spPr>
        <p:style>
          <a:lnRef idx="1">
            <a:schemeClr val="accent2"/>
          </a:lnRef>
          <a:fillRef idx="0">
            <a:schemeClr val="accent2"/>
          </a:fillRef>
          <a:effectRef idx="0">
            <a:schemeClr val="accent2"/>
          </a:effectRef>
          <a:fontRef idx="minor">
            <a:schemeClr val="tx1"/>
          </a:fontRef>
        </p:style>
      </p:cxnSp>
      <p:cxnSp>
        <p:nvCxnSpPr>
          <p:cNvPr id="10" name="Gerader Verbinder 9">
            <a:extLst>
              <a:ext uri="{FF2B5EF4-FFF2-40B4-BE49-F238E27FC236}">
                <a16:creationId xmlns:a16="http://schemas.microsoft.com/office/drawing/2014/main" id="{D90F717F-252E-4DB1-F11E-60B24C7F0674}"/>
              </a:ext>
            </a:extLst>
          </p:cNvPr>
          <p:cNvCxnSpPr>
            <a:cxnSpLocks/>
          </p:cNvCxnSpPr>
          <p:nvPr/>
        </p:nvCxnSpPr>
        <p:spPr>
          <a:xfrm flipH="1">
            <a:off x="228600" y="4248150"/>
            <a:ext cx="8699500" cy="0"/>
          </a:xfrm>
          <a:prstGeom prst="line">
            <a:avLst/>
          </a:prstGeom>
        </p:spPr>
        <p:style>
          <a:lnRef idx="1">
            <a:schemeClr val="accent2"/>
          </a:lnRef>
          <a:fillRef idx="0">
            <a:schemeClr val="accent2"/>
          </a:fillRef>
          <a:effectRef idx="0">
            <a:schemeClr val="accent2"/>
          </a:effectRef>
          <a:fontRef idx="minor">
            <a:schemeClr val="tx1"/>
          </a:fontRef>
        </p:style>
      </p:cxnSp>
      <p:sp>
        <p:nvSpPr>
          <p:cNvPr id="17" name="Rechteck 16">
            <a:extLst>
              <a:ext uri="{FF2B5EF4-FFF2-40B4-BE49-F238E27FC236}">
                <a16:creationId xmlns:a16="http://schemas.microsoft.com/office/drawing/2014/main" id="{E5503AC7-C4F5-4D0B-88CB-79746795AE5E}"/>
              </a:ext>
            </a:extLst>
          </p:cNvPr>
          <p:cNvSpPr/>
          <p:nvPr/>
        </p:nvSpPr>
        <p:spPr>
          <a:xfrm rot="2721584">
            <a:off x="4038350" y="3646282"/>
            <a:ext cx="1080000" cy="10800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feld 20">
            <a:extLst>
              <a:ext uri="{FF2B5EF4-FFF2-40B4-BE49-F238E27FC236}">
                <a16:creationId xmlns:a16="http://schemas.microsoft.com/office/drawing/2014/main" id="{F5006A12-237B-AE76-D508-4BF33B16EFEA}"/>
              </a:ext>
            </a:extLst>
          </p:cNvPr>
          <p:cNvSpPr txBox="1"/>
          <p:nvPr/>
        </p:nvSpPr>
        <p:spPr>
          <a:xfrm>
            <a:off x="359997" y="2051050"/>
            <a:ext cx="3389312" cy="307777"/>
          </a:xfrm>
          <a:prstGeom prst="rect">
            <a:avLst/>
          </a:prstGeom>
          <a:noFill/>
        </p:spPr>
        <p:txBody>
          <a:bodyPr wrap="square">
            <a:spAutoFit/>
          </a:bodyPr>
          <a:lstStyle/>
          <a:p>
            <a:r>
              <a:rPr lang="en-US" sz="1400" b="1" i="0">
                <a:effectLst/>
                <a:latin typeface="Söhne"/>
              </a:rPr>
              <a:t>Driver and Delivery Personnel Support</a:t>
            </a:r>
            <a:r>
              <a:rPr lang="en-US" sz="1400" b="0" i="0">
                <a:solidFill>
                  <a:srgbClr val="D1D5DB"/>
                </a:solidFill>
                <a:effectLst/>
                <a:latin typeface="Söhne"/>
              </a:rPr>
              <a:t> </a:t>
            </a:r>
            <a:endParaRPr lang="en-US" sz="1400" b="1"/>
          </a:p>
        </p:txBody>
      </p:sp>
      <p:sp>
        <p:nvSpPr>
          <p:cNvPr id="25" name="Textfeld 24">
            <a:extLst>
              <a:ext uri="{FF2B5EF4-FFF2-40B4-BE49-F238E27FC236}">
                <a16:creationId xmlns:a16="http://schemas.microsoft.com/office/drawing/2014/main" id="{C57B9699-6DAC-7568-8F1D-FB90ED7E0BA0}"/>
              </a:ext>
            </a:extLst>
          </p:cNvPr>
          <p:cNvSpPr txBox="1"/>
          <p:nvPr/>
        </p:nvSpPr>
        <p:spPr>
          <a:xfrm>
            <a:off x="4663660" y="2054570"/>
            <a:ext cx="4264440" cy="307777"/>
          </a:xfrm>
          <a:prstGeom prst="rect">
            <a:avLst/>
          </a:prstGeom>
          <a:noFill/>
        </p:spPr>
        <p:txBody>
          <a:bodyPr wrap="square">
            <a:spAutoFit/>
          </a:bodyPr>
          <a:lstStyle/>
          <a:p>
            <a:r>
              <a:rPr lang="en-US" sz="1400" b="1" i="0">
                <a:effectLst/>
                <a:latin typeface="Söhne"/>
              </a:rPr>
              <a:t>Community Partnerships</a:t>
            </a:r>
            <a:endParaRPr lang="en-US" sz="1400" b="1"/>
          </a:p>
        </p:txBody>
      </p:sp>
      <p:sp>
        <p:nvSpPr>
          <p:cNvPr id="26" name="Textfeld 25">
            <a:extLst>
              <a:ext uri="{FF2B5EF4-FFF2-40B4-BE49-F238E27FC236}">
                <a16:creationId xmlns:a16="http://schemas.microsoft.com/office/drawing/2014/main" id="{ED05367D-11B8-F6E6-B7E7-E08E6112D93B}"/>
              </a:ext>
            </a:extLst>
          </p:cNvPr>
          <p:cNvSpPr txBox="1"/>
          <p:nvPr/>
        </p:nvSpPr>
        <p:spPr>
          <a:xfrm>
            <a:off x="228600" y="4254358"/>
            <a:ext cx="3389312" cy="307777"/>
          </a:xfrm>
          <a:prstGeom prst="rect">
            <a:avLst/>
          </a:prstGeom>
          <a:noFill/>
        </p:spPr>
        <p:txBody>
          <a:bodyPr wrap="square">
            <a:spAutoFit/>
          </a:bodyPr>
          <a:lstStyle/>
          <a:p>
            <a:r>
              <a:rPr lang="en-US" sz="1400" b="1" i="0">
                <a:effectLst/>
                <a:latin typeface="Söhne"/>
              </a:rPr>
              <a:t>Women Empowerment</a:t>
            </a:r>
            <a:endParaRPr lang="en-US" sz="1400" b="1"/>
          </a:p>
        </p:txBody>
      </p:sp>
      <p:sp>
        <p:nvSpPr>
          <p:cNvPr id="28" name="Textfeld 27">
            <a:extLst>
              <a:ext uri="{FF2B5EF4-FFF2-40B4-BE49-F238E27FC236}">
                <a16:creationId xmlns:a16="http://schemas.microsoft.com/office/drawing/2014/main" id="{0085CC0D-ED26-58F3-01DF-1460272A495F}"/>
              </a:ext>
            </a:extLst>
          </p:cNvPr>
          <p:cNvSpPr txBox="1"/>
          <p:nvPr/>
        </p:nvSpPr>
        <p:spPr>
          <a:xfrm>
            <a:off x="359997" y="2340828"/>
            <a:ext cx="4120344" cy="1754326"/>
          </a:xfrm>
          <a:prstGeom prst="rect">
            <a:avLst/>
          </a:prstGeom>
          <a:noFill/>
        </p:spPr>
        <p:txBody>
          <a:bodyPr wrap="square">
            <a:spAutoFit/>
          </a:bodyPr>
          <a:lstStyle/>
          <a:p>
            <a:pPr marL="171450" indent="-171450">
              <a:buFont typeface="Arial" panose="020B0604020202020204" pitchFamily="34" charset="0"/>
              <a:buChar char="•"/>
            </a:pPr>
            <a:r>
              <a:rPr lang="en-US" sz="1200"/>
              <a:t>Assists in preventing poverty among gig economy workers by ensuring they have access to fair wages</a:t>
            </a:r>
          </a:p>
          <a:p>
            <a:pPr marL="171450" indent="-171450">
              <a:buFont typeface="Arial" panose="020B0604020202020204" pitchFamily="34" charset="0"/>
              <a:buChar char="•"/>
            </a:pPr>
            <a:r>
              <a:rPr lang="en-US" sz="1200"/>
              <a:t>Aims to prevent hunger by providing stable earning opportunities for drivers and delivery personnel</a:t>
            </a:r>
          </a:p>
          <a:p>
            <a:pPr marL="171450" indent="-171450">
              <a:buFont typeface="Arial" panose="020B0604020202020204" pitchFamily="34" charset="0"/>
              <a:buChar char="•"/>
            </a:pPr>
            <a:r>
              <a:rPr lang="en-US" sz="1200"/>
              <a:t>Facilitates access to educational resources, potentially enhancing job performance and personal development</a:t>
            </a:r>
          </a:p>
          <a:p>
            <a:pPr marL="171450" indent="-171450">
              <a:buFont typeface="Arial" panose="020B0604020202020204" pitchFamily="34" charset="0"/>
              <a:buChar char="•"/>
            </a:pPr>
            <a:r>
              <a:rPr lang="en-US" sz="1200"/>
              <a:t>Advocates for decent work conditions and supports partnerships that can lead to sustainable economic growth and stronger institutions</a:t>
            </a:r>
          </a:p>
        </p:txBody>
      </p:sp>
      <p:sp>
        <p:nvSpPr>
          <p:cNvPr id="29" name="Textfeld 28">
            <a:extLst>
              <a:ext uri="{FF2B5EF4-FFF2-40B4-BE49-F238E27FC236}">
                <a16:creationId xmlns:a16="http://schemas.microsoft.com/office/drawing/2014/main" id="{7553F3D5-ADF1-EE98-E432-FCC5941E78FD}"/>
              </a:ext>
            </a:extLst>
          </p:cNvPr>
          <p:cNvSpPr txBox="1"/>
          <p:nvPr/>
        </p:nvSpPr>
        <p:spPr>
          <a:xfrm>
            <a:off x="4671130" y="2330590"/>
            <a:ext cx="4120344" cy="1754326"/>
          </a:xfrm>
          <a:prstGeom prst="rect">
            <a:avLst/>
          </a:prstGeom>
          <a:noFill/>
        </p:spPr>
        <p:txBody>
          <a:bodyPr wrap="square">
            <a:spAutoFit/>
          </a:bodyPr>
          <a:lstStyle/>
          <a:p>
            <a:pPr marL="171450" indent="-171450">
              <a:buFont typeface="Arial" panose="020B0604020202020204" pitchFamily="34" charset="0"/>
              <a:buChar char="•"/>
            </a:pPr>
            <a:r>
              <a:rPr lang="en-US" sz="1200"/>
              <a:t>Fosters employment opportunities through local partnerships, contributing to decent work and economic growth</a:t>
            </a:r>
          </a:p>
          <a:p>
            <a:pPr marL="171450" indent="-171450">
              <a:buFont typeface="Arial" panose="020B0604020202020204" pitchFamily="34" charset="0"/>
              <a:buChar char="•"/>
            </a:pPr>
            <a:r>
              <a:rPr lang="en-US" sz="1200"/>
              <a:t>Aids in the development of sustainable cities by collaborating on projects that enhance urban living</a:t>
            </a:r>
          </a:p>
          <a:p>
            <a:pPr marL="171450" indent="-171450">
              <a:buFont typeface="Arial" panose="020B0604020202020204" pitchFamily="34" charset="0"/>
              <a:buChar char="•"/>
            </a:pPr>
            <a:r>
              <a:rPr lang="en-US" sz="1200"/>
              <a:t>Strengthens community ties and governance, aligning with the goal of peace, justice, and strong institutions</a:t>
            </a:r>
          </a:p>
          <a:p>
            <a:pPr marL="171450" indent="-171450">
              <a:buFont typeface="Arial" panose="020B0604020202020204" pitchFamily="34" charset="0"/>
              <a:buChar char="•"/>
            </a:pPr>
            <a:r>
              <a:rPr lang="en-US" sz="1200"/>
              <a:t>Encourages collaborative efforts to achieve the SDG-Goals, emphasizing the importance of partnerships</a:t>
            </a:r>
          </a:p>
        </p:txBody>
      </p:sp>
      <p:sp>
        <p:nvSpPr>
          <p:cNvPr id="30" name="Textfeld 29">
            <a:extLst>
              <a:ext uri="{FF2B5EF4-FFF2-40B4-BE49-F238E27FC236}">
                <a16:creationId xmlns:a16="http://schemas.microsoft.com/office/drawing/2014/main" id="{5F06151A-BE25-E7EA-2E64-052E3673863A}"/>
              </a:ext>
            </a:extLst>
          </p:cNvPr>
          <p:cNvSpPr txBox="1"/>
          <p:nvPr/>
        </p:nvSpPr>
        <p:spPr>
          <a:xfrm>
            <a:off x="359997" y="4567188"/>
            <a:ext cx="4120344" cy="1754326"/>
          </a:xfrm>
          <a:prstGeom prst="rect">
            <a:avLst/>
          </a:prstGeom>
          <a:noFill/>
        </p:spPr>
        <p:txBody>
          <a:bodyPr wrap="square">
            <a:spAutoFit/>
          </a:bodyPr>
          <a:lstStyle/>
          <a:p>
            <a:pPr marL="171450" indent="-171450">
              <a:buFont typeface="Arial" panose="020B0604020202020204" pitchFamily="34" charset="0"/>
              <a:buChar char="•"/>
            </a:pPr>
            <a:r>
              <a:rPr lang="en-US" sz="1200"/>
              <a:t>Supports women's access to quality education, empowering them with knowledge and skills</a:t>
            </a:r>
          </a:p>
          <a:p>
            <a:pPr marL="171450" indent="-171450">
              <a:buFont typeface="Arial" panose="020B0604020202020204" pitchFamily="34" charset="0"/>
              <a:buChar char="•"/>
            </a:pPr>
            <a:r>
              <a:rPr lang="en-US" sz="1200"/>
              <a:t>Contributes to gender equality by ensuring women have equal opportunities in the workforce</a:t>
            </a:r>
          </a:p>
          <a:p>
            <a:pPr marL="171450" indent="-171450">
              <a:buFont typeface="Arial" panose="020B0604020202020204" pitchFamily="34" charset="0"/>
              <a:buChar char="•"/>
            </a:pPr>
            <a:r>
              <a:rPr lang="en-US" sz="1200"/>
              <a:t>Promotes decent work and aims to reduce inequalities by advocating for women's rights and fair treatment in employment</a:t>
            </a:r>
          </a:p>
          <a:p>
            <a:pPr marL="171450" indent="-171450">
              <a:buFont typeface="Arial" panose="020B0604020202020204" pitchFamily="34" charset="0"/>
              <a:buChar char="•"/>
            </a:pPr>
            <a:r>
              <a:rPr lang="en-US" sz="1200"/>
              <a:t>By empowering women, it indirectly supports the development of equitable and just institutions</a:t>
            </a:r>
          </a:p>
        </p:txBody>
      </p:sp>
      <p:sp>
        <p:nvSpPr>
          <p:cNvPr id="8" name="Textfeld 7">
            <a:extLst>
              <a:ext uri="{FF2B5EF4-FFF2-40B4-BE49-F238E27FC236}">
                <a16:creationId xmlns:a16="http://schemas.microsoft.com/office/drawing/2014/main" id="{D20416EA-A626-C9E1-E5CA-07C653B90B0A}"/>
              </a:ext>
            </a:extLst>
          </p:cNvPr>
          <p:cNvSpPr txBox="1"/>
          <p:nvPr/>
        </p:nvSpPr>
        <p:spPr>
          <a:xfrm>
            <a:off x="4219575" y="3601203"/>
            <a:ext cx="704850" cy="1200329"/>
          </a:xfrm>
          <a:prstGeom prst="rect">
            <a:avLst/>
          </a:prstGeom>
          <a:noFill/>
        </p:spPr>
        <p:txBody>
          <a:bodyPr wrap="square" rtlCol="0">
            <a:spAutoFit/>
          </a:bodyPr>
          <a:lstStyle/>
          <a:p>
            <a:pPr algn="ctr"/>
            <a:r>
              <a:rPr lang="en-US" sz="7200" b="1">
                <a:solidFill>
                  <a:schemeClr val="accent2">
                    <a:lumMod val="20000"/>
                    <a:lumOff val="80000"/>
                  </a:schemeClr>
                </a:solidFill>
              </a:rPr>
              <a:t>S</a:t>
            </a:r>
          </a:p>
        </p:txBody>
      </p:sp>
    </p:spTree>
    <p:extLst>
      <p:ext uri="{BB962C8B-B14F-4D97-AF65-F5344CB8AC3E}">
        <p14:creationId xmlns:p14="http://schemas.microsoft.com/office/powerpoint/2010/main" val="35236172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CEB04FD-B16F-A889-9325-CDF88B146905}"/>
              </a:ext>
            </a:extLst>
          </p:cNvPr>
          <p:cNvGraphicFramePr>
            <a:graphicFrameLocks noChangeAspect="1"/>
          </p:cNvGraphicFramePr>
          <p:nvPr>
            <p:custDataLst>
              <p:tags r:id="rId1"/>
            </p:custDataLst>
            <p:extLst>
              <p:ext uri="{D42A27DB-BD31-4B8C-83A1-F6EECF244321}">
                <p14:modId xmlns:p14="http://schemas.microsoft.com/office/powerpoint/2010/main" val="3307717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9" name="think-cell data - do not delete" hidden="1">
                        <a:extLst>
                          <a:ext uri="{FF2B5EF4-FFF2-40B4-BE49-F238E27FC236}">
                            <a16:creationId xmlns:a16="http://schemas.microsoft.com/office/drawing/2014/main" id="{DCEB04FD-B16F-A889-9325-CDF88B1469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AE0B5-690E-A759-5064-FC9F0CE2D79A}"/>
              </a:ext>
            </a:extLst>
          </p:cNvPr>
          <p:cNvSpPr>
            <a:spLocks noGrp="1"/>
          </p:cNvSpPr>
          <p:nvPr>
            <p:ph type="title"/>
          </p:nvPr>
        </p:nvSpPr>
        <p:spPr/>
        <p:txBody>
          <a:bodyPr vert="horz"/>
          <a:lstStyle/>
          <a:p>
            <a:r>
              <a:rPr lang="en-US"/>
              <a:t>Uber tries to put a great focus on the diversity and transparency of its governance structures to further increase representation for all</a:t>
            </a:r>
          </a:p>
        </p:txBody>
      </p:sp>
      <p:sp>
        <p:nvSpPr>
          <p:cNvPr id="4" name="Foliennummernplatzhalter 3">
            <a:extLst>
              <a:ext uri="{FF2B5EF4-FFF2-40B4-BE49-F238E27FC236}">
                <a16:creationId xmlns:a16="http://schemas.microsoft.com/office/drawing/2014/main" id="{05006892-9283-A461-3885-982B4CBA0519}"/>
              </a:ext>
            </a:extLst>
          </p:cNvPr>
          <p:cNvSpPr>
            <a:spLocks noGrp="1"/>
          </p:cNvSpPr>
          <p:nvPr>
            <p:ph type="sldNum" sz="quarter" idx="4"/>
          </p:nvPr>
        </p:nvSpPr>
        <p:spPr/>
        <p:txBody>
          <a:bodyPr/>
          <a:lstStyle/>
          <a:p>
            <a:fld id="{BAF04893-69FB-435D-AB2E-CA259D85B32F}" type="slidenum">
              <a:rPr lang="en-US" smtClean="0"/>
              <a:pPr/>
              <a:t>66</a:t>
            </a:fld>
            <a:endParaRPr lang="en-US"/>
          </a:p>
        </p:txBody>
      </p:sp>
      <p:sp>
        <p:nvSpPr>
          <p:cNvPr id="5" name="Inhaltsplatzhalter 4">
            <a:extLst>
              <a:ext uri="{FF2B5EF4-FFF2-40B4-BE49-F238E27FC236}">
                <a16:creationId xmlns:a16="http://schemas.microsoft.com/office/drawing/2014/main" id="{6823D783-9067-C01F-2767-14D2FADD598F}"/>
              </a:ext>
            </a:extLst>
          </p:cNvPr>
          <p:cNvSpPr>
            <a:spLocks noGrp="1"/>
          </p:cNvSpPr>
          <p:nvPr>
            <p:ph idx="10"/>
          </p:nvPr>
        </p:nvSpPr>
        <p:spPr/>
        <p:txBody>
          <a:bodyPr/>
          <a:lstStyle/>
          <a:p>
            <a:r>
              <a:rPr lang="en-US"/>
              <a:t>Governance SDG</a:t>
            </a:r>
          </a:p>
        </p:txBody>
      </p:sp>
      <p:sp>
        <p:nvSpPr>
          <p:cNvPr id="6" name="Inhaltsplatzhalter 5">
            <a:extLst>
              <a:ext uri="{FF2B5EF4-FFF2-40B4-BE49-F238E27FC236}">
                <a16:creationId xmlns:a16="http://schemas.microsoft.com/office/drawing/2014/main" id="{179CC09A-6D6C-F271-9084-CCE647BC58EF}"/>
              </a:ext>
            </a:extLst>
          </p:cNvPr>
          <p:cNvSpPr>
            <a:spLocks noGrp="1"/>
          </p:cNvSpPr>
          <p:nvPr>
            <p:ph idx="11"/>
          </p:nvPr>
        </p:nvSpPr>
        <p:spPr/>
        <p:txBody>
          <a:bodyPr/>
          <a:lstStyle/>
          <a:p>
            <a:r>
              <a:rPr lang="en-US"/>
              <a:t>Uber ESG-Report, Uber Corporate Website</a:t>
            </a:r>
          </a:p>
        </p:txBody>
      </p:sp>
      <p:sp>
        <p:nvSpPr>
          <p:cNvPr id="7" name="Inhaltsplatzhalter 6">
            <a:extLst>
              <a:ext uri="{FF2B5EF4-FFF2-40B4-BE49-F238E27FC236}">
                <a16:creationId xmlns:a16="http://schemas.microsoft.com/office/drawing/2014/main" id="{6C04F4C1-84DA-1B85-F0E4-991CA3BE5126}"/>
              </a:ext>
            </a:extLst>
          </p:cNvPr>
          <p:cNvSpPr>
            <a:spLocks noGrp="1"/>
          </p:cNvSpPr>
          <p:nvPr>
            <p:ph idx="12"/>
          </p:nvPr>
        </p:nvSpPr>
        <p:spPr/>
        <p:txBody>
          <a:bodyPr/>
          <a:lstStyle/>
          <a:p>
            <a:r>
              <a:rPr lang="en-US"/>
              <a:t>ESG</a:t>
            </a:r>
          </a:p>
        </p:txBody>
      </p:sp>
      <p:cxnSp>
        <p:nvCxnSpPr>
          <p:cNvPr id="9" name="Gerader Verbinder 8">
            <a:extLst>
              <a:ext uri="{FF2B5EF4-FFF2-40B4-BE49-F238E27FC236}">
                <a16:creationId xmlns:a16="http://schemas.microsoft.com/office/drawing/2014/main" id="{83AD9337-E103-243F-278D-512FC8CC9869}"/>
              </a:ext>
            </a:extLst>
          </p:cNvPr>
          <p:cNvCxnSpPr>
            <a:cxnSpLocks/>
          </p:cNvCxnSpPr>
          <p:nvPr/>
        </p:nvCxnSpPr>
        <p:spPr>
          <a:xfrm>
            <a:off x="4572000" y="2051050"/>
            <a:ext cx="0" cy="4311650"/>
          </a:xfrm>
          <a:prstGeom prst="line">
            <a:avLst/>
          </a:prstGeom>
        </p:spPr>
        <p:style>
          <a:lnRef idx="1">
            <a:schemeClr val="accent2"/>
          </a:lnRef>
          <a:fillRef idx="0">
            <a:schemeClr val="accent2"/>
          </a:fillRef>
          <a:effectRef idx="0">
            <a:schemeClr val="accent2"/>
          </a:effectRef>
          <a:fontRef idx="minor">
            <a:schemeClr val="tx1"/>
          </a:fontRef>
        </p:style>
      </p:cxnSp>
      <p:cxnSp>
        <p:nvCxnSpPr>
          <p:cNvPr id="10" name="Gerader Verbinder 9">
            <a:extLst>
              <a:ext uri="{FF2B5EF4-FFF2-40B4-BE49-F238E27FC236}">
                <a16:creationId xmlns:a16="http://schemas.microsoft.com/office/drawing/2014/main" id="{D90F717F-252E-4DB1-F11E-60B24C7F0674}"/>
              </a:ext>
            </a:extLst>
          </p:cNvPr>
          <p:cNvCxnSpPr>
            <a:cxnSpLocks/>
          </p:cNvCxnSpPr>
          <p:nvPr/>
        </p:nvCxnSpPr>
        <p:spPr>
          <a:xfrm flipH="1">
            <a:off x="228600" y="4248150"/>
            <a:ext cx="8699500" cy="0"/>
          </a:xfrm>
          <a:prstGeom prst="line">
            <a:avLst/>
          </a:prstGeom>
        </p:spPr>
        <p:style>
          <a:lnRef idx="1">
            <a:schemeClr val="accent2"/>
          </a:lnRef>
          <a:fillRef idx="0">
            <a:schemeClr val="accent2"/>
          </a:fillRef>
          <a:effectRef idx="0">
            <a:schemeClr val="accent2"/>
          </a:effectRef>
          <a:fontRef idx="minor">
            <a:schemeClr val="tx1"/>
          </a:fontRef>
        </p:style>
      </p:cxnSp>
      <p:sp>
        <p:nvSpPr>
          <p:cNvPr id="17" name="Rechteck 16">
            <a:extLst>
              <a:ext uri="{FF2B5EF4-FFF2-40B4-BE49-F238E27FC236}">
                <a16:creationId xmlns:a16="http://schemas.microsoft.com/office/drawing/2014/main" id="{E5503AC7-C4F5-4D0B-88CB-79746795AE5E}"/>
              </a:ext>
            </a:extLst>
          </p:cNvPr>
          <p:cNvSpPr/>
          <p:nvPr/>
        </p:nvSpPr>
        <p:spPr>
          <a:xfrm rot="2721584">
            <a:off x="4038350" y="3646282"/>
            <a:ext cx="1080000" cy="10800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feld 20">
            <a:extLst>
              <a:ext uri="{FF2B5EF4-FFF2-40B4-BE49-F238E27FC236}">
                <a16:creationId xmlns:a16="http://schemas.microsoft.com/office/drawing/2014/main" id="{F5006A12-237B-AE76-D508-4BF33B16EFEA}"/>
              </a:ext>
            </a:extLst>
          </p:cNvPr>
          <p:cNvSpPr txBox="1"/>
          <p:nvPr/>
        </p:nvSpPr>
        <p:spPr>
          <a:xfrm>
            <a:off x="359997" y="2051050"/>
            <a:ext cx="3389312" cy="523220"/>
          </a:xfrm>
          <a:prstGeom prst="rect">
            <a:avLst/>
          </a:prstGeom>
          <a:noFill/>
        </p:spPr>
        <p:txBody>
          <a:bodyPr wrap="square">
            <a:spAutoFit/>
          </a:bodyPr>
          <a:lstStyle/>
          <a:p>
            <a:r>
              <a:rPr lang="en-US" sz="1400" b="1" i="0">
                <a:effectLst/>
                <a:latin typeface="Söhne"/>
              </a:rPr>
              <a:t>Diversity in Workforce</a:t>
            </a:r>
          </a:p>
          <a:p>
            <a:endParaRPr lang="en-US" sz="1400" b="1" i="0">
              <a:effectLst/>
              <a:latin typeface="Söhne"/>
            </a:endParaRPr>
          </a:p>
        </p:txBody>
      </p:sp>
      <p:sp>
        <p:nvSpPr>
          <p:cNvPr id="25" name="Textfeld 24">
            <a:extLst>
              <a:ext uri="{FF2B5EF4-FFF2-40B4-BE49-F238E27FC236}">
                <a16:creationId xmlns:a16="http://schemas.microsoft.com/office/drawing/2014/main" id="{C57B9699-6DAC-7568-8F1D-FB90ED7E0BA0}"/>
              </a:ext>
            </a:extLst>
          </p:cNvPr>
          <p:cNvSpPr txBox="1"/>
          <p:nvPr/>
        </p:nvSpPr>
        <p:spPr>
          <a:xfrm>
            <a:off x="4663660" y="2054570"/>
            <a:ext cx="4264440" cy="307777"/>
          </a:xfrm>
          <a:prstGeom prst="rect">
            <a:avLst/>
          </a:prstGeom>
          <a:noFill/>
        </p:spPr>
        <p:txBody>
          <a:bodyPr wrap="square">
            <a:spAutoFit/>
          </a:bodyPr>
          <a:lstStyle/>
          <a:p>
            <a:r>
              <a:rPr lang="en-US" sz="1400" b="1" i="0">
                <a:effectLst/>
                <a:latin typeface="Söhne"/>
              </a:rPr>
              <a:t>Board Diversity</a:t>
            </a:r>
            <a:endParaRPr lang="en-US" sz="1400" b="1"/>
          </a:p>
        </p:txBody>
      </p:sp>
      <p:sp>
        <p:nvSpPr>
          <p:cNvPr id="26" name="Textfeld 25">
            <a:extLst>
              <a:ext uri="{FF2B5EF4-FFF2-40B4-BE49-F238E27FC236}">
                <a16:creationId xmlns:a16="http://schemas.microsoft.com/office/drawing/2014/main" id="{ED05367D-11B8-F6E6-B7E7-E08E6112D93B}"/>
              </a:ext>
            </a:extLst>
          </p:cNvPr>
          <p:cNvSpPr txBox="1"/>
          <p:nvPr/>
        </p:nvSpPr>
        <p:spPr>
          <a:xfrm>
            <a:off x="228600" y="4254358"/>
            <a:ext cx="3389312" cy="307777"/>
          </a:xfrm>
          <a:prstGeom prst="rect">
            <a:avLst/>
          </a:prstGeom>
          <a:noFill/>
        </p:spPr>
        <p:txBody>
          <a:bodyPr wrap="square">
            <a:spAutoFit/>
          </a:bodyPr>
          <a:lstStyle/>
          <a:p>
            <a:r>
              <a:rPr lang="en-US" sz="1400" b="1" i="0">
                <a:effectLst/>
                <a:latin typeface="Söhne"/>
              </a:rPr>
              <a:t>Increased Representation</a:t>
            </a:r>
            <a:endParaRPr lang="en-US" sz="1400" b="1"/>
          </a:p>
        </p:txBody>
      </p:sp>
      <p:sp>
        <p:nvSpPr>
          <p:cNvPr id="28" name="Textfeld 27">
            <a:extLst>
              <a:ext uri="{FF2B5EF4-FFF2-40B4-BE49-F238E27FC236}">
                <a16:creationId xmlns:a16="http://schemas.microsoft.com/office/drawing/2014/main" id="{0085CC0D-ED26-58F3-01DF-1460272A495F}"/>
              </a:ext>
            </a:extLst>
          </p:cNvPr>
          <p:cNvSpPr txBox="1"/>
          <p:nvPr/>
        </p:nvSpPr>
        <p:spPr>
          <a:xfrm>
            <a:off x="359997" y="2340828"/>
            <a:ext cx="4120344" cy="1754326"/>
          </a:xfrm>
          <a:prstGeom prst="rect">
            <a:avLst/>
          </a:prstGeom>
          <a:noFill/>
        </p:spPr>
        <p:txBody>
          <a:bodyPr wrap="square">
            <a:spAutoFit/>
          </a:bodyPr>
          <a:lstStyle/>
          <a:p>
            <a:pPr marL="171450" indent="-171450">
              <a:buFont typeface="Arial" panose="020B0604020202020204" pitchFamily="34" charset="0"/>
              <a:buChar char="•"/>
            </a:pPr>
            <a:r>
              <a:rPr lang="en-US" sz="1200"/>
              <a:t>Promotes gender equality and reduced inequalities by striving for a diverse workforce that includes all genders, races, and socio-economic backgrounds</a:t>
            </a:r>
          </a:p>
          <a:p>
            <a:pPr marL="171450" indent="-171450">
              <a:buFont typeface="Arial" panose="020B0604020202020204" pitchFamily="34" charset="0"/>
              <a:buChar char="•"/>
            </a:pPr>
            <a:r>
              <a:rPr lang="en-US" sz="1200"/>
              <a:t>Aims to eradicate poverty and enhance quality education by providing equal employment opportunities and fostering inclusive economic growth</a:t>
            </a:r>
          </a:p>
          <a:p>
            <a:pPr marL="171450" indent="-171450">
              <a:buFont typeface="Arial" panose="020B0604020202020204" pitchFamily="34" charset="0"/>
              <a:buChar char="•"/>
            </a:pPr>
            <a:r>
              <a:rPr lang="en-US" sz="1200"/>
              <a:t>Supports peace, justice, and strong institutions by advocating for fair employment practices and non-discrimination in the workplace</a:t>
            </a:r>
          </a:p>
        </p:txBody>
      </p:sp>
      <p:sp>
        <p:nvSpPr>
          <p:cNvPr id="29" name="Textfeld 28">
            <a:extLst>
              <a:ext uri="{FF2B5EF4-FFF2-40B4-BE49-F238E27FC236}">
                <a16:creationId xmlns:a16="http://schemas.microsoft.com/office/drawing/2014/main" id="{7553F3D5-ADF1-EE98-E432-FCC5941E78FD}"/>
              </a:ext>
            </a:extLst>
          </p:cNvPr>
          <p:cNvSpPr txBox="1"/>
          <p:nvPr/>
        </p:nvSpPr>
        <p:spPr>
          <a:xfrm>
            <a:off x="4671130" y="2330590"/>
            <a:ext cx="4120344" cy="1200329"/>
          </a:xfrm>
          <a:prstGeom prst="rect">
            <a:avLst/>
          </a:prstGeom>
          <a:noFill/>
        </p:spPr>
        <p:txBody>
          <a:bodyPr wrap="square">
            <a:spAutoFit/>
          </a:bodyPr>
          <a:lstStyle/>
          <a:p>
            <a:pPr marL="171450" indent="-171450">
              <a:buFont typeface="Arial" panose="020B0604020202020204" pitchFamily="34" charset="0"/>
              <a:buChar char="•"/>
            </a:pPr>
            <a:r>
              <a:rPr lang="en-US" sz="1200"/>
              <a:t>Encourages reduced inequalities and fosters innovation by bringing diverse perspectives to the table, which can lead to more inclusive and creative industry solutions</a:t>
            </a:r>
          </a:p>
          <a:p>
            <a:pPr marL="171450" indent="-171450">
              <a:buFont typeface="Arial" panose="020B0604020202020204" pitchFamily="34" charset="0"/>
              <a:buChar char="•"/>
            </a:pPr>
            <a:r>
              <a:rPr lang="en-US" sz="1200"/>
              <a:t>Strengthens partnerships for the goals by creating an inclusive board culture that can build sustainable relationships with different stakeholders</a:t>
            </a:r>
          </a:p>
        </p:txBody>
      </p:sp>
      <p:sp>
        <p:nvSpPr>
          <p:cNvPr id="30" name="Textfeld 29">
            <a:extLst>
              <a:ext uri="{FF2B5EF4-FFF2-40B4-BE49-F238E27FC236}">
                <a16:creationId xmlns:a16="http://schemas.microsoft.com/office/drawing/2014/main" id="{5F06151A-BE25-E7EA-2E64-052E3673863A}"/>
              </a:ext>
            </a:extLst>
          </p:cNvPr>
          <p:cNvSpPr txBox="1"/>
          <p:nvPr/>
        </p:nvSpPr>
        <p:spPr>
          <a:xfrm>
            <a:off x="359997" y="4567188"/>
            <a:ext cx="4120344" cy="1754326"/>
          </a:xfrm>
          <a:prstGeom prst="rect">
            <a:avLst/>
          </a:prstGeom>
          <a:noFill/>
        </p:spPr>
        <p:txBody>
          <a:bodyPr wrap="square">
            <a:spAutoFit/>
          </a:bodyPr>
          <a:lstStyle/>
          <a:p>
            <a:pPr marL="171450" indent="-171450">
              <a:buFont typeface="Arial" panose="020B0604020202020204" pitchFamily="34" charset="0"/>
              <a:buChar char="•"/>
            </a:pPr>
            <a:r>
              <a:rPr lang="en-US" sz="1200"/>
              <a:t>Aims for gender equality and reduced inequalities by increasing the representation of underrepresented groups in decision-making roles</a:t>
            </a:r>
          </a:p>
          <a:p>
            <a:pPr marL="171450" indent="-171450">
              <a:buFont typeface="Arial" panose="020B0604020202020204" pitchFamily="34" charset="0"/>
              <a:buChar char="•"/>
            </a:pPr>
            <a:r>
              <a:rPr lang="en-US" sz="1200"/>
              <a:t>Supports quality education by potentially advocating for educational initiatives and creating opportunities for diverse talents</a:t>
            </a:r>
          </a:p>
          <a:p>
            <a:pPr marL="171450" indent="-171450">
              <a:buFont typeface="Arial" panose="020B0604020202020204" pitchFamily="34" charset="0"/>
              <a:buChar char="•"/>
            </a:pPr>
            <a:r>
              <a:rPr lang="en-US" sz="1200"/>
              <a:t>Contributes to peace, justice, and strong institutions through the promotion of inclusive governance that reflects a diverse society</a:t>
            </a:r>
          </a:p>
        </p:txBody>
      </p:sp>
      <p:sp>
        <p:nvSpPr>
          <p:cNvPr id="8" name="Textfeld 7">
            <a:extLst>
              <a:ext uri="{FF2B5EF4-FFF2-40B4-BE49-F238E27FC236}">
                <a16:creationId xmlns:a16="http://schemas.microsoft.com/office/drawing/2014/main" id="{D20416EA-A626-C9E1-E5CA-07C653B90B0A}"/>
              </a:ext>
            </a:extLst>
          </p:cNvPr>
          <p:cNvSpPr txBox="1"/>
          <p:nvPr/>
        </p:nvSpPr>
        <p:spPr>
          <a:xfrm>
            <a:off x="4219575" y="3601203"/>
            <a:ext cx="704850" cy="1200329"/>
          </a:xfrm>
          <a:prstGeom prst="rect">
            <a:avLst/>
          </a:prstGeom>
          <a:noFill/>
        </p:spPr>
        <p:txBody>
          <a:bodyPr wrap="square" rtlCol="0">
            <a:spAutoFit/>
          </a:bodyPr>
          <a:lstStyle/>
          <a:p>
            <a:pPr algn="ctr"/>
            <a:r>
              <a:rPr lang="en-US" sz="7200" b="1">
                <a:solidFill>
                  <a:schemeClr val="accent2">
                    <a:lumMod val="20000"/>
                    <a:lumOff val="80000"/>
                  </a:schemeClr>
                </a:solidFill>
              </a:rPr>
              <a:t>G</a:t>
            </a:r>
          </a:p>
        </p:txBody>
      </p:sp>
      <p:sp>
        <p:nvSpPr>
          <p:cNvPr id="3" name="Textfeld 2">
            <a:extLst>
              <a:ext uri="{FF2B5EF4-FFF2-40B4-BE49-F238E27FC236}">
                <a16:creationId xmlns:a16="http://schemas.microsoft.com/office/drawing/2014/main" id="{B1FDB0AE-F53F-3C11-32E1-79528F59E425}"/>
              </a:ext>
            </a:extLst>
          </p:cNvPr>
          <p:cNvSpPr txBox="1"/>
          <p:nvPr/>
        </p:nvSpPr>
        <p:spPr>
          <a:xfrm>
            <a:off x="4611738" y="4533677"/>
            <a:ext cx="4120344" cy="1938992"/>
          </a:xfrm>
          <a:prstGeom prst="rect">
            <a:avLst/>
          </a:prstGeom>
          <a:noFill/>
        </p:spPr>
        <p:txBody>
          <a:bodyPr wrap="square">
            <a:spAutoFit/>
          </a:bodyPr>
          <a:lstStyle/>
          <a:p>
            <a:pPr marL="171450" indent="-171450">
              <a:buFont typeface="Arial" panose="020B0604020202020204" pitchFamily="34" charset="0"/>
              <a:buChar char="•"/>
            </a:pPr>
            <a:r>
              <a:rPr lang="en-US" sz="1200"/>
              <a:t>Enhances industry innovation and infrastructure by fostering a culture of transparency and ethical standards in business practices</a:t>
            </a:r>
          </a:p>
          <a:p>
            <a:pPr marL="171450" indent="-171450">
              <a:buFont typeface="Arial" panose="020B0604020202020204" pitchFamily="34" charset="0"/>
              <a:buChar char="•"/>
            </a:pPr>
            <a:r>
              <a:rPr lang="en-US" sz="1200"/>
              <a:t>Promotes gender equality and reduced inequalities by holding organizations accountable for fair treatment of all employees</a:t>
            </a:r>
          </a:p>
          <a:p>
            <a:pPr marL="171450" indent="-171450">
              <a:buFont typeface="Arial" panose="020B0604020202020204" pitchFamily="34" charset="0"/>
              <a:buChar char="•"/>
            </a:pPr>
            <a:r>
              <a:rPr lang="en-US" sz="1200"/>
              <a:t>Supports climate action and sustainable cities through transparent reporting and responsible consumption practices that hold businesses accountable for their environmental impact</a:t>
            </a:r>
          </a:p>
        </p:txBody>
      </p:sp>
      <p:sp>
        <p:nvSpPr>
          <p:cNvPr id="11" name="Textfeld 10">
            <a:extLst>
              <a:ext uri="{FF2B5EF4-FFF2-40B4-BE49-F238E27FC236}">
                <a16:creationId xmlns:a16="http://schemas.microsoft.com/office/drawing/2014/main" id="{F3758C02-8B2E-5C84-B047-15B163D09023}"/>
              </a:ext>
            </a:extLst>
          </p:cNvPr>
          <p:cNvSpPr txBox="1"/>
          <p:nvPr/>
        </p:nvSpPr>
        <p:spPr>
          <a:xfrm>
            <a:off x="4644048" y="4254357"/>
            <a:ext cx="3389312" cy="307777"/>
          </a:xfrm>
          <a:prstGeom prst="rect">
            <a:avLst/>
          </a:prstGeom>
          <a:noFill/>
        </p:spPr>
        <p:txBody>
          <a:bodyPr wrap="square">
            <a:spAutoFit/>
          </a:bodyPr>
          <a:lstStyle/>
          <a:p>
            <a:r>
              <a:rPr lang="en-US" sz="1400" b="1" i="0">
                <a:effectLst/>
                <a:latin typeface="Söhne"/>
              </a:rPr>
              <a:t>Transparency and Accountability</a:t>
            </a:r>
            <a:endParaRPr lang="en-US" sz="1400" b="1"/>
          </a:p>
        </p:txBody>
      </p:sp>
    </p:spTree>
    <p:extLst>
      <p:ext uri="{BB962C8B-B14F-4D97-AF65-F5344CB8AC3E}">
        <p14:creationId xmlns:p14="http://schemas.microsoft.com/office/powerpoint/2010/main" val="11303989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CEB04FD-B16F-A889-9325-CDF88B146905}"/>
              </a:ext>
            </a:extLst>
          </p:cNvPr>
          <p:cNvGraphicFramePr>
            <a:graphicFrameLocks noChangeAspect="1"/>
          </p:cNvGraphicFramePr>
          <p:nvPr>
            <p:custDataLst>
              <p:tags r:id="rId1"/>
            </p:custDataLst>
            <p:extLst>
              <p:ext uri="{D42A27DB-BD31-4B8C-83A1-F6EECF244321}">
                <p14:modId xmlns:p14="http://schemas.microsoft.com/office/powerpoint/2010/main" val="80696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9" name="think-cell data - do not delete" hidden="1">
                        <a:extLst>
                          <a:ext uri="{FF2B5EF4-FFF2-40B4-BE49-F238E27FC236}">
                            <a16:creationId xmlns:a16="http://schemas.microsoft.com/office/drawing/2014/main" id="{DCEB04FD-B16F-A889-9325-CDF88B1469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AE0B5-690E-A759-5064-FC9F0CE2D79A}"/>
              </a:ext>
            </a:extLst>
          </p:cNvPr>
          <p:cNvSpPr>
            <a:spLocks noGrp="1"/>
          </p:cNvSpPr>
          <p:nvPr>
            <p:ph type="title"/>
          </p:nvPr>
        </p:nvSpPr>
        <p:spPr/>
        <p:txBody>
          <a:bodyPr vert="horz"/>
          <a:lstStyle/>
          <a:p>
            <a:r>
              <a:rPr lang="en-US"/>
              <a:t>Uber tries to underline its Ethical Business Practices through transparent ESG-Reporting and industry standard verification</a:t>
            </a:r>
          </a:p>
        </p:txBody>
      </p:sp>
      <p:sp>
        <p:nvSpPr>
          <p:cNvPr id="4" name="Foliennummernplatzhalter 3">
            <a:extLst>
              <a:ext uri="{FF2B5EF4-FFF2-40B4-BE49-F238E27FC236}">
                <a16:creationId xmlns:a16="http://schemas.microsoft.com/office/drawing/2014/main" id="{05006892-9283-A461-3885-982B4CBA0519}"/>
              </a:ext>
            </a:extLst>
          </p:cNvPr>
          <p:cNvSpPr>
            <a:spLocks noGrp="1"/>
          </p:cNvSpPr>
          <p:nvPr>
            <p:ph type="sldNum" sz="quarter" idx="4"/>
          </p:nvPr>
        </p:nvSpPr>
        <p:spPr/>
        <p:txBody>
          <a:bodyPr/>
          <a:lstStyle/>
          <a:p>
            <a:fld id="{BAF04893-69FB-435D-AB2E-CA259D85B32F}" type="slidenum">
              <a:rPr lang="en-US" smtClean="0"/>
              <a:pPr/>
              <a:t>67</a:t>
            </a:fld>
            <a:endParaRPr lang="en-US"/>
          </a:p>
        </p:txBody>
      </p:sp>
      <p:sp>
        <p:nvSpPr>
          <p:cNvPr id="5" name="Inhaltsplatzhalter 4">
            <a:extLst>
              <a:ext uri="{FF2B5EF4-FFF2-40B4-BE49-F238E27FC236}">
                <a16:creationId xmlns:a16="http://schemas.microsoft.com/office/drawing/2014/main" id="{6823D783-9067-C01F-2767-14D2FADD598F}"/>
              </a:ext>
            </a:extLst>
          </p:cNvPr>
          <p:cNvSpPr>
            <a:spLocks noGrp="1"/>
          </p:cNvSpPr>
          <p:nvPr>
            <p:ph idx="10"/>
          </p:nvPr>
        </p:nvSpPr>
        <p:spPr/>
        <p:txBody>
          <a:bodyPr/>
          <a:lstStyle/>
          <a:p>
            <a:r>
              <a:rPr lang="en-US"/>
              <a:t>Governance SDG</a:t>
            </a:r>
          </a:p>
        </p:txBody>
      </p:sp>
      <p:sp>
        <p:nvSpPr>
          <p:cNvPr id="6" name="Inhaltsplatzhalter 5">
            <a:extLst>
              <a:ext uri="{FF2B5EF4-FFF2-40B4-BE49-F238E27FC236}">
                <a16:creationId xmlns:a16="http://schemas.microsoft.com/office/drawing/2014/main" id="{179CC09A-6D6C-F271-9084-CCE647BC58EF}"/>
              </a:ext>
            </a:extLst>
          </p:cNvPr>
          <p:cNvSpPr>
            <a:spLocks noGrp="1"/>
          </p:cNvSpPr>
          <p:nvPr>
            <p:ph idx="11"/>
          </p:nvPr>
        </p:nvSpPr>
        <p:spPr/>
        <p:txBody>
          <a:bodyPr/>
          <a:lstStyle/>
          <a:p>
            <a:r>
              <a:rPr lang="en-US"/>
              <a:t>Uber ESG-Report, Uber Corporate Website</a:t>
            </a:r>
          </a:p>
        </p:txBody>
      </p:sp>
      <p:sp>
        <p:nvSpPr>
          <p:cNvPr id="7" name="Inhaltsplatzhalter 6">
            <a:extLst>
              <a:ext uri="{FF2B5EF4-FFF2-40B4-BE49-F238E27FC236}">
                <a16:creationId xmlns:a16="http://schemas.microsoft.com/office/drawing/2014/main" id="{6C04F4C1-84DA-1B85-F0E4-991CA3BE5126}"/>
              </a:ext>
            </a:extLst>
          </p:cNvPr>
          <p:cNvSpPr>
            <a:spLocks noGrp="1"/>
          </p:cNvSpPr>
          <p:nvPr>
            <p:ph idx="12"/>
          </p:nvPr>
        </p:nvSpPr>
        <p:spPr/>
        <p:txBody>
          <a:bodyPr/>
          <a:lstStyle/>
          <a:p>
            <a:r>
              <a:rPr lang="en-US"/>
              <a:t>ESG</a:t>
            </a:r>
          </a:p>
        </p:txBody>
      </p:sp>
      <p:cxnSp>
        <p:nvCxnSpPr>
          <p:cNvPr id="9" name="Gerader Verbinder 8">
            <a:extLst>
              <a:ext uri="{FF2B5EF4-FFF2-40B4-BE49-F238E27FC236}">
                <a16:creationId xmlns:a16="http://schemas.microsoft.com/office/drawing/2014/main" id="{83AD9337-E103-243F-278D-512FC8CC9869}"/>
              </a:ext>
            </a:extLst>
          </p:cNvPr>
          <p:cNvCxnSpPr>
            <a:cxnSpLocks/>
          </p:cNvCxnSpPr>
          <p:nvPr/>
        </p:nvCxnSpPr>
        <p:spPr>
          <a:xfrm>
            <a:off x="4572000" y="2051050"/>
            <a:ext cx="0" cy="4311650"/>
          </a:xfrm>
          <a:prstGeom prst="line">
            <a:avLst/>
          </a:prstGeom>
        </p:spPr>
        <p:style>
          <a:lnRef idx="1">
            <a:schemeClr val="accent2"/>
          </a:lnRef>
          <a:fillRef idx="0">
            <a:schemeClr val="accent2"/>
          </a:fillRef>
          <a:effectRef idx="0">
            <a:schemeClr val="accent2"/>
          </a:effectRef>
          <a:fontRef idx="minor">
            <a:schemeClr val="tx1"/>
          </a:fontRef>
        </p:style>
      </p:cxnSp>
      <p:cxnSp>
        <p:nvCxnSpPr>
          <p:cNvPr id="10" name="Gerader Verbinder 9">
            <a:extLst>
              <a:ext uri="{FF2B5EF4-FFF2-40B4-BE49-F238E27FC236}">
                <a16:creationId xmlns:a16="http://schemas.microsoft.com/office/drawing/2014/main" id="{D90F717F-252E-4DB1-F11E-60B24C7F0674}"/>
              </a:ext>
            </a:extLst>
          </p:cNvPr>
          <p:cNvCxnSpPr>
            <a:cxnSpLocks/>
          </p:cNvCxnSpPr>
          <p:nvPr/>
        </p:nvCxnSpPr>
        <p:spPr>
          <a:xfrm flipH="1">
            <a:off x="228600" y="4248150"/>
            <a:ext cx="8699500" cy="0"/>
          </a:xfrm>
          <a:prstGeom prst="line">
            <a:avLst/>
          </a:prstGeom>
        </p:spPr>
        <p:style>
          <a:lnRef idx="1">
            <a:schemeClr val="accent2"/>
          </a:lnRef>
          <a:fillRef idx="0">
            <a:schemeClr val="accent2"/>
          </a:fillRef>
          <a:effectRef idx="0">
            <a:schemeClr val="accent2"/>
          </a:effectRef>
          <a:fontRef idx="minor">
            <a:schemeClr val="tx1"/>
          </a:fontRef>
        </p:style>
      </p:cxnSp>
      <p:sp>
        <p:nvSpPr>
          <p:cNvPr id="17" name="Rechteck 16">
            <a:extLst>
              <a:ext uri="{FF2B5EF4-FFF2-40B4-BE49-F238E27FC236}">
                <a16:creationId xmlns:a16="http://schemas.microsoft.com/office/drawing/2014/main" id="{E5503AC7-C4F5-4D0B-88CB-79746795AE5E}"/>
              </a:ext>
            </a:extLst>
          </p:cNvPr>
          <p:cNvSpPr/>
          <p:nvPr/>
        </p:nvSpPr>
        <p:spPr>
          <a:xfrm rot="2721584">
            <a:off x="4038350" y="3646282"/>
            <a:ext cx="1080000" cy="10800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feld 20">
            <a:extLst>
              <a:ext uri="{FF2B5EF4-FFF2-40B4-BE49-F238E27FC236}">
                <a16:creationId xmlns:a16="http://schemas.microsoft.com/office/drawing/2014/main" id="{F5006A12-237B-AE76-D508-4BF33B16EFEA}"/>
              </a:ext>
            </a:extLst>
          </p:cNvPr>
          <p:cNvSpPr txBox="1"/>
          <p:nvPr/>
        </p:nvSpPr>
        <p:spPr>
          <a:xfrm>
            <a:off x="359997" y="2051050"/>
            <a:ext cx="3389312" cy="307777"/>
          </a:xfrm>
          <a:prstGeom prst="rect">
            <a:avLst/>
          </a:prstGeom>
          <a:noFill/>
        </p:spPr>
        <p:txBody>
          <a:bodyPr wrap="square">
            <a:spAutoFit/>
          </a:bodyPr>
          <a:lstStyle/>
          <a:p>
            <a:r>
              <a:rPr lang="en-US" sz="1400" b="1" i="0">
                <a:effectLst/>
                <a:latin typeface="Söhne"/>
              </a:rPr>
              <a:t>ESG Reporting and Verification</a:t>
            </a:r>
          </a:p>
        </p:txBody>
      </p:sp>
      <p:sp>
        <p:nvSpPr>
          <p:cNvPr id="25" name="Textfeld 24">
            <a:extLst>
              <a:ext uri="{FF2B5EF4-FFF2-40B4-BE49-F238E27FC236}">
                <a16:creationId xmlns:a16="http://schemas.microsoft.com/office/drawing/2014/main" id="{C57B9699-6DAC-7568-8F1D-FB90ED7E0BA0}"/>
              </a:ext>
            </a:extLst>
          </p:cNvPr>
          <p:cNvSpPr txBox="1"/>
          <p:nvPr/>
        </p:nvSpPr>
        <p:spPr>
          <a:xfrm>
            <a:off x="4663660" y="2054570"/>
            <a:ext cx="4264440" cy="307777"/>
          </a:xfrm>
          <a:prstGeom prst="rect">
            <a:avLst/>
          </a:prstGeom>
          <a:noFill/>
        </p:spPr>
        <p:txBody>
          <a:bodyPr wrap="square">
            <a:spAutoFit/>
          </a:bodyPr>
          <a:lstStyle/>
          <a:p>
            <a:r>
              <a:rPr lang="en-US" sz="1400" b="1" i="0">
                <a:effectLst/>
                <a:latin typeface="Söhne"/>
              </a:rPr>
              <a:t>Ethical Business Practices</a:t>
            </a:r>
            <a:endParaRPr lang="en-US" sz="1400" b="1"/>
          </a:p>
        </p:txBody>
      </p:sp>
      <p:sp>
        <p:nvSpPr>
          <p:cNvPr id="28" name="Textfeld 27">
            <a:extLst>
              <a:ext uri="{FF2B5EF4-FFF2-40B4-BE49-F238E27FC236}">
                <a16:creationId xmlns:a16="http://schemas.microsoft.com/office/drawing/2014/main" id="{0085CC0D-ED26-58F3-01DF-1460272A495F}"/>
              </a:ext>
            </a:extLst>
          </p:cNvPr>
          <p:cNvSpPr txBox="1"/>
          <p:nvPr/>
        </p:nvSpPr>
        <p:spPr>
          <a:xfrm>
            <a:off x="359997" y="2340828"/>
            <a:ext cx="4120344" cy="1754326"/>
          </a:xfrm>
          <a:prstGeom prst="rect">
            <a:avLst/>
          </a:prstGeom>
          <a:noFill/>
        </p:spPr>
        <p:txBody>
          <a:bodyPr wrap="square">
            <a:spAutoFit/>
          </a:bodyPr>
          <a:lstStyle/>
          <a:p>
            <a:pPr marL="171450" indent="-171450">
              <a:buFont typeface="Arial" panose="020B0604020202020204" pitchFamily="34" charset="0"/>
              <a:buChar char="•"/>
            </a:pPr>
            <a:r>
              <a:rPr lang="en-US" sz="1200"/>
              <a:t>Aids in promoting good health and well-being by ensuring companies consider the health impact of their policies and practices</a:t>
            </a:r>
          </a:p>
          <a:p>
            <a:pPr marL="171450" indent="-171450">
              <a:buFont typeface="Arial" panose="020B0604020202020204" pitchFamily="34" charset="0"/>
              <a:buChar char="•"/>
            </a:pPr>
            <a:r>
              <a:rPr lang="en-US" sz="1200"/>
              <a:t>Supports gender equality by highlighting disparities and encouraging policies for equal opportunities through verifiable reporting</a:t>
            </a:r>
          </a:p>
          <a:p>
            <a:pPr marL="171450" indent="-171450">
              <a:buFont typeface="Arial" panose="020B0604020202020204" pitchFamily="34" charset="0"/>
              <a:buChar char="•"/>
            </a:pPr>
            <a:r>
              <a:rPr lang="en-US" sz="1200"/>
              <a:t>Contributes to climate action by verifying corporate reporting on environmental impact, ensuring commitments to sustainable energy and emissions reduction are met</a:t>
            </a:r>
          </a:p>
        </p:txBody>
      </p:sp>
      <p:sp>
        <p:nvSpPr>
          <p:cNvPr id="29" name="Textfeld 28">
            <a:extLst>
              <a:ext uri="{FF2B5EF4-FFF2-40B4-BE49-F238E27FC236}">
                <a16:creationId xmlns:a16="http://schemas.microsoft.com/office/drawing/2014/main" id="{7553F3D5-ADF1-EE98-E432-FCC5941E78FD}"/>
              </a:ext>
            </a:extLst>
          </p:cNvPr>
          <p:cNvSpPr txBox="1"/>
          <p:nvPr/>
        </p:nvSpPr>
        <p:spPr>
          <a:xfrm>
            <a:off x="4671130" y="2330590"/>
            <a:ext cx="4120344" cy="1569660"/>
          </a:xfrm>
          <a:prstGeom prst="rect">
            <a:avLst/>
          </a:prstGeom>
          <a:noFill/>
        </p:spPr>
        <p:txBody>
          <a:bodyPr wrap="square">
            <a:spAutoFit/>
          </a:bodyPr>
          <a:lstStyle/>
          <a:p>
            <a:pPr marL="171450" indent="-171450">
              <a:buFont typeface="Arial" panose="020B0604020202020204" pitchFamily="34" charset="0"/>
              <a:buChar char="•"/>
            </a:pPr>
            <a:r>
              <a:rPr lang="en-US" sz="1200"/>
              <a:t>Aims to eradicate poverty and promote good health by ensuring fair wages and supporting healthcare initiatives</a:t>
            </a:r>
          </a:p>
          <a:p>
            <a:pPr marL="171450" indent="-171450">
              <a:buFont typeface="Arial" panose="020B0604020202020204" pitchFamily="34" charset="0"/>
              <a:buChar char="•"/>
            </a:pPr>
            <a:r>
              <a:rPr lang="en-US" sz="1200"/>
              <a:t>Advocates for gender equality and affordable clean energy by incorporating these principles into the core business strategy</a:t>
            </a:r>
          </a:p>
          <a:p>
            <a:pPr marL="171450" indent="-171450">
              <a:buFont typeface="Arial" panose="020B0604020202020204" pitchFamily="34" charset="0"/>
              <a:buChar char="•"/>
            </a:pPr>
            <a:r>
              <a:rPr lang="en-US" sz="1200"/>
              <a:t>Supports climate action and peace, justice, and strong institutions by committing to ethical standards that respect both the environment and societal norms</a:t>
            </a:r>
          </a:p>
        </p:txBody>
      </p:sp>
      <p:sp>
        <p:nvSpPr>
          <p:cNvPr id="8" name="Textfeld 7">
            <a:extLst>
              <a:ext uri="{FF2B5EF4-FFF2-40B4-BE49-F238E27FC236}">
                <a16:creationId xmlns:a16="http://schemas.microsoft.com/office/drawing/2014/main" id="{D20416EA-A626-C9E1-E5CA-07C653B90B0A}"/>
              </a:ext>
            </a:extLst>
          </p:cNvPr>
          <p:cNvSpPr txBox="1"/>
          <p:nvPr/>
        </p:nvSpPr>
        <p:spPr>
          <a:xfrm>
            <a:off x="4219575" y="3601203"/>
            <a:ext cx="704850" cy="1200329"/>
          </a:xfrm>
          <a:prstGeom prst="rect">
            <a:avLst/>
          </a:prstGeom>
          <a:noFill/>
        </p:spPr>
        <p:txBody>
          <a:bodyPr wrap="square" rtlCol="0">
            <a:spAutoFit/>
          </a:bodyPr>
          <a:lstStyle/>
          <a:p>
            <a:pPr algn="ctr"/>
            <a:r>
              <a:rPr lang="en-US" sz="7200" b="1">
                <a:solidFill>
                  <a:schemeClr val="accent2">
                    <a:lumMod val="20000"/>
                    <a:lumOff val="80000"/>
                  </a:schemeClr>
                </a:solidFill>
              </a:rPr>
              <a:t>G</a:t>
            </a:r>
          </a:p>
        </p:txBody>
      </p:sp>
    </p:spTree>
    <p:extLst>
      <p:ext uri="{BB962C8B-B14F-4D97-AF65-F5344CB8AC3E}">
        <p14:creationId xmlns:p14="http://schemas.microsoft.com/office/powerpoint/2010/main" val="14545265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2D36F46-41BD-E15A-E7F0-055608C6DE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12" name="think-cell data - do not delete" hidden="1">
                        <a:extLst>
                          <a:ext uri="{FF2B5EF4-FFF2-40B4-BE49-F238E27FC236}">
                            <a16:creationId xmlns:a16="http://schemas.microsoft.com/office/drawing/2014/main" id="{D2D36F46-41BD-E15A-E7F0-055608C6DE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Freeform 14"/>
          <p:cNvSpPr/>
          <p:nvPr/>
        </p:nvSpPr>
        <p:spPr>
          <a:xfrm>
            <a:off x="457199" y="2342482"/>
            <a:ext cx="1960515" cy="3050105"/>
          </a:xfrm>
          <a:custGeom>
            <a:avLst/>
            <a:gdLst>
              <a:gd name="connsiteX0" fmla="*/ 0 w 2614020"/>
              <a:gd name="connsiteY0" fmla="*/ 0 h 4348303"/>
              <a:gd name="connsiteX1" fmla="*/ 1307011 w 2614020"/>
              <a:gd name="connsiteY1" fmla="*/ 290881 h 4348303"/>
              <a:gd name="connsiteX2" fmla="*/ 2614020 w 2614020"/>
              <a:gd name="connsiteY2" fmla="*/ 0 h 4348303"/>
              <a:gd name="connsiteX3" fmla="*/ 2614020 w 2614020"/>
              <a:gd name="connsiteY3" fmla="*/ 4348303 h 4348303"/>
              <a:gd name="connsiteX4" fmla="*/ 0 w 2614020"/>
              <a:gd name="connsiteY4" fmla="*/ 4348303 h 4348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4020" h="4348303">
                <a:moveTo>
                  <a:pt x="0" y="0"/>
                </a:moveTo>
                <a:lnTo>
                  <a:pt x="1307011" y="290881"/>
                </a:lnTo>
                <a:lnTo>
                  <a:pt x="2614020" y="0"/>
                </a:lnTo>
                <a:lnTo>
                  <a:pt x="2614020" y="4348303"/>
                </a:lnTo>
                <a:lnTo>
                  <a:pt x="0" y="4348303"/>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6675" tIns="270000" rIns="66675" bIns="28575" rtlCol="0" anchor="t">
            <a:normAutofit/>
          </a:bodyPr>
          <a:lstStyle/>
          <a:p>
            <a:pPr marL="214308" indent="-214308" defTabSz="685800">
              <a:buFont typeface="Arial" panose="020B0604020202020204" pitchFamily="34" charset="0"/>
              <a:buChar char="•"/>
              <a:defRPr/>
            </a:pPr>
            <a:r>
              <a:rPr lang="en-US" sz="1200" b="1" kern="0">
                <a:solidFill>
                  <a:schemeClr val="tx1"/>
                </a:solidFill>
              </a:rPr>
              <a:t>Risk:</a:t>
            </a:r>
            <a:r>
              <a:rPr lang="en-US" sz="1200" kern="0">
                <a:solidFill>
                  <a:schemeClr val="tx1"/>
                </a:solidFill>
              </a:rPr>
              <a:t> Maintaining high ethical and compliance standards globally.</a:t>
            </a:r>
          </a:p>
          <a:p>
            <a:pPr marL="214308" indent="-214308" defTabSz="685800">
              <a:buFont typeface="Arial" panose="020B0604020202020204" pitchFamily="34" charset="0"/>
              <a:buChar char="•"/>
              <a:defRPr/>
            </a:pPr>
            <a:r>
              <a:rPr lang="en-US" sz="1200" b="1" kern="0">
                <a:solidFill>
                  <a:schemeClr val="tx1"/>
                </a:solidFill>
              </a:rPr>
              <a:t>Opportunity:</a:t>
            </a:r>
            <a:r>
              <a:rPr lang="en-US" sz="1200" kern="0">
                <a:solidFill>
                  <a:schemeClr val="tx1"/>
                </a:solidFill>
              </a:rPr>
              <a:t> Cultivating an ethical culture and enhancing global compliance.</a:t>
            </a:r>
          </a:p>
          <a:p>
            <a:pPr marL="214308" indent="-214308" defTabSz="685800">
              <a:buFont typeface="Arial" panose="020B0604020202020204" pitchFamily="34" charset="0"/>
              <a:buChar char="•"/>
              <a:defRPr/>
            </a:pPr>
            <a:r>
              <a:rPr lang="en-US" sz="1200" b="1" kern="0">
                <a:solidFill>
                  <a:schemeClr val="tx1"/>
                </a:solidFill>
              </a:rPr>
              <a:t>Approach: </a:t>
            </a:r>
            <a:r>
              <a:rPr lang="en-US" sz="1200" kern="0">
                <a:solidFill>
                  <a:schemeClr val="tx1"/>
                </a:solidFill>
              </a:rPr>
              <a:t>Oversight by Chief Ethics and Compliance Officer, regular audits, and integrating ethics into executive assessments.</a:t>
            </a:r>
          </a:p>
        </p:txBody>
      </p:sp>
      <p:sp>
        <p:nvSpPr>
          <p:cNvPr id="2" name="Title 1"/>
          <p:cNvSpPr>
            <a:spLocks noGrp="1"/>
          </p:cNvSpPr>
          <p:nvPr>
            <p:ph type="title"/>
          </p:nvPr>
        </p:nvSpPr>
        <p:spPr/>
        <p:txBody>
          <a:bodyPr vert="horz">
            <a:noAutofit/>
          </a:bodyPr>
          <a:lstStyle/>
          <a:p>
            <a:r>
              <a:rPr lang="en-US"/>
              <a:t>The Board of directors, is directly involved through reports on the ESG-Topics of Uber</a:t>
            </a:r>
          </a:p>
        </p:txBody>
      </p:sp>
      <p:sp>
        <p:nvSpPr>
          <p:cNvPr id="4" name="Inhaltsplatzhalter 3">
            <a:extLst>
              <a:ext uri="{FF2B5EF4-FFF2-40B4-BE49-F238E27FC236}">
                <a16:creationId xmlns:a16="http://schemas.microsoft.com/office/drawing/2014/main" id="{2C475FEA-EB33-FAFD-C681-A9610DA02B2D}"/>
              </a:ext>
            </a:extLst>
          </p:cNvPr>
          <p:cNvSpPr>
            <a:spLocks noGrp="1"/>
          </p:cNvSpPr>
          <p:nvPr>
            <p:ph idx="10"/>
          </p:nvPr>
        </p:nvSpPr>
        <p:spPr/>
        <p:txBody>
          <a:bodyPr/>
          <a:lstStyle/>
          <a:p>
            <a:r>
              <a:rPr lang="en-US"/>
              <a:t>Risks and Opportunities</a:t>
            </a:r>
          </a:p>
        </p:txBody>
      </p:sp>
      <p:sp>
        <p:nvSpPr>
          <p:cNvPr id="5" name="Inhaltsplatzhalter 4">
            <a:extLst>
              <a:ext uri="{FF2B5EF4-FFF2-40B4-BE49-F238E27FC236}">
                <a16:creationId xmlns:a16="http://schemas.microsoft.com/office/drawing/2014/main" id="{E023A984-2885-E765-3253-516100F49EAB}"/>
              </a:ext>
            </a:extLst>
          </p:cNvPr>
          <p:cNvSpPr>
            <a:spLocks noGrp="1"/>
          </p:cNvSpPr>
          <p:nvPr>
            <p:ph idx="11"/>
          </p:nvPr>
        </p:nvSpPr>
        <p:spPr/>
        <p:txBody>
          <a:bodyPr/>
          <a:lstStyle/>
          <a:p>
            <a:r>
              <a:rPr lang="en-US"/>
              <a:t>Uber ESG-Report</a:t>
            </a:r>
          </a:p>
        </p:txBody>
      </p:sp>
      <p:sp>
        <p:nvSpPr>
          <p:cNvPr id="6" name="Inhaltsplatzhalter 5">
            <a:extLst>
              <a:ext uri="{FF2B5EF4-FFF2-40B4-BE49-F238E27FC236}">
                <a16:creationId xmlns:a16="http://schemas.microsoft.com/office/drawing/2014/main" id="{78781860-EFC7-AC64-6E0A-A21D457A663A}"/>
              </a:ext>
            </a:extLst>
          </p:cNvPr>
          <p:cNvSpPr>
            <a:spLocks noGrp="1"/>
          </p:cNvSpPr>
          <p:nvPr>
            <p:ph idx="12"/>
          </p:nvPr>
        </p:nvSpPr>
        <p:spPr/>
        <p:txBody>
          <a:bodyPr/>
          <a:lstStyle/>
          <a:p>
            <a:r>
              <a:rPr lang="en-US"/>
              <a:t>ESG</a:t>
            </a:r>
          </a:p>
        </p:txBody>
      </p:sp>
      <p:sp>
        <p:nvSpPr>
          <p:cNvPr id="8" name="Nom1"/>
          <p:cNvSpPr/>
          <p:nvPr/>
        </p:nvSpPr>
        <p:spPr>
          <a:xfrm rot="5400000">
            <a:off x="7490200" y="1288148"/>
            <a:ext cx="432686" cy="1960516"/>
          </a:xfrm>
          <a:prstGeom prst="homePlate">
            <a:avLst>
              <a:gd name="adj" fmla="val 4496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lang="en-US" sz="1200" b="1" i="0">
                <a:solidFill>
                  <a:srgbClr val="ECECF1"/>
                </a:solidFill>
                <a:effectLst/>
                <a:latin typeface="Söhne"/>
              </a:rPr>
              <a:t>Cross-Functional ESG Management</a:t>
            </a:r>
            <a:endParaRPr lang="en-US" sz="1200" b="1" kern="0"/>
          </a:p>
        </p:txBody>
      </p:sp>
      <p:sp>
        <p:nvSpPr>
          <p:cNvPr id="9" name="Nom2"/>
          <p:cNvSpPr/>
          <p:nvPr/>
        </p:nvSpPr>
        <p:spPr>
          <a:xfrm rot="5400000">
            <a:off x="5400505" y="1288149"/>
            <a:ext cx="432686" cy="1960516"/>
          </a:xfrm>
          <a:prstGeom prst="homePlate">
            <a:avLst>
              <a:gd name="adj" fmla="val 4496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lang="en-US" sz="1200" b="1" kern="0"/>
              <a:t>Cybersecurity and Data Privacy</a:t>
            </a:r>
          </a:p>
        </p:txBody>
      </p:sp>
      <p:sp>
        <p:nvSpPr>
          <p:cNvPr id="10" name="Nom3"/>
          <p:cNvSpPr/>
          <p:nvPr/>
        </p:nvSpPr>
        <p:spPr>
          <a:xfrm rot="5400000">
            <a:off x="3310810" y="1288149"/>
            <a:ext cx="432686" cy="1960516"/>
          </a:xfrm>
          <a:prstGeom prst="homePlate">
            <a:avLst>
              <a:gd name="adj" fmla="val 4496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lang="en-US" sz="1200" b="1" i="0">
                <a:effectLst/>
                <a:latin typeface="Söhne"/>
              </a:rPr>
              <a:t>User Safety</a:t>
            </a:r>
            <a:endParaRPr lang="en-US" sz="1200" b="1" kern="0"/>
          </a:p>
        </p:txBody>
      </p:sp>
      <p:sp>
        <p:nvSpPr>
          <p:cNvPr id="11" name="Nom4"/>
          <p:cNvSpPr/>
          <p:nvPr/>
        </p:nvSpPr>
        <p:spPr>
          <a:xfrm rot="5400000">
            <a:off x="1221115" y="1288149"/>
            <a:ext cx="432686" cy="1960516"/>
          </a:xfrm>
          <a:prstGeom prst="homePlate">
            <a:avLst>
              <a:gd name="adj" fmla="val 44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85800">
              <a:defRPr/>
            </a:pPr>
            <a:r>
              <a:rPr lang="en-US" sz="1200" b="1" kern="0"/>
              <a:t>Ethics and Compliance</a:t>
            </a:r>
          </a:p>
        </p:txBody>
      </p:sp>
      <p:sp>
        <p:nvSpPr>
          <p:cNvPr id="16" name="Freeform 15"/>
          <p:cNvSpPr/>
          <p:nvPr/>
        </p:nvSpPr>
        <p:spPr>
          <a:xfrm>
            <a:off x="2546894" y="2342482"/>
            <a:ext cx="1960515" cy="3050105"/>
          </a:xfrm>
          <a:custGeom>
            <a:avLst/>
            <a:gdLst>
              <a:gd name="connsiteX0" fmla="*/ 0 w 2614020"/>
              <a:gd name="connsiteY0" fmla="*/ 0 h 4348303"/>
              <a:gd name="connsiteX1" fmla="*/ 1307011 w 2614020"/>
              <a:gd name="connsiteY1" fmla="*/ 290881 h 4348303"/>
              <a:gd name="connsiteX2" fmla="*/ 2614020 w 2614020"/>
              <a:gd name="connsiteY2" fmla="*/ 0 h 4348303"/>
              <a:gd name="connsiteX3" fmla="*/ 2614020 w 2614020"/>
              <a:gd name="connsiteY3" fmla="*/ 4348303 h 4348303"/>
              <a:gd name="connsiteX4" fmla="*/ 0 w 2614020"/>
              <a:gd name="connsiteY4" fmla="*/ 4348303 h 4348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4020" h="4348303">
                <a:moveTo>
                  <a:pt x="0" y="0"/>
                </a:moveTo>
                <a:lnTo>
                  <a:pt x="1307011" y="290881"/>
                </a:lnTo>
                <a:lnTo>
                  <a:pt x="2614020" y="0"/>
                </a:lnTo>
                <a:lnTo>
                  <a:pt x="2614020" y="4348303"/>
                </a:lnTo>
                <a:lnTo>
                  <a:pt x="0" y="4348303"/>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6675" tIns="270000" rIns="66675" bIns="28575" rtlCol="0" anchor="t">
            <a:normAutofit/>
          </a:bodyPr>
          <a:lstStyle/>
          <a:p>
            <a:pPr marL="214308" indent="-214308">
              <a:buFont typeface="Arial" panose="020B0604020202020204" pitchFamily="34" charset="0"/>
              <a:buChar char="•"/>
              <a:defRPr/>
            </a:pPr>
            <a:r>
              <a:rPr lang="en-US" sz="1200" b="1" kern="0">
                <a:solidFill>
                  <a:schemeClr val="tx1"/>
                </a:solidFill>
              </a:rPr>
              <a:t>Risk</a:t>
            </a:r>
            <a:r>
              <a:rPr lang="en-US" sz="1200" kern="0">
                <a:solidFill>
                  <a:schemeClr val="tx1"/>
                </a:solidFill>
              </a:rPr>
              <a:t>: Ensuring the safety of all platform users.</a:t>
            </a:r>
          </a:p>
          <a:p>
            <a:pPr marL="214308" indent="-214308">
              <a:buFont typeface="Arial" panose="020B0604020202020204" pitchFamily="34" charset="0"/>
              <a:buChar char="•"/>
              <a:defRPr/>
            </a:pPr>
            <a:r>
              <a:rPr lang="en-US" sz="1200" b="1" kern="0">
                <a:solidFill>
                  <a:schemeClr val="tx1"/>
                </a:solidFill>
              </a:rPr>
              <a:t>Opportunity</a:t>
            </a:r>
            <a:r>
              <a:rPr lang="en-US" sz="1200" kern="0">
                <a:solidFill>
                  <a:schemeClr val="tx1"/>
                </a:solidFill>
              </a:rPr>
              <a:t>: Prioritizing safety as a key value and performance indicator.</a:t>
            </a:r>
          </a:p>
          <a:p>
            <a:pPr marL="214308" indent="-214308">
              <a:buFont typeface="Arial" panose="020B0604020202020204" pitchFamily="34" charset="0"/>
              <a:buChar char="•"/>
              <a:defRPr/>
            </a:pPr>
            <a:r>
              <a:rPr lang="en-US" sz="1200" b="1" kern="0">
                <a:solidFill>
                  <a:schemeClr val="tx1"/>
                </a:solidFill>
              </a:rPr>
              <a:t>Approach</a:t>
            </a:r>
            <a:r>
              <a:rPr lang="en-US" sz="1200" kern="0">
                <a:solidFill>
                  <a:schemeClr val="tx1"/>
                </a:solidFill>
              </a:rPr>
              <a:t>: Frequent safety updates to the Board, including assault and fatality reports, and safety product enhancements.</a:t>
            </a:r>
          </a:p>
        </p:txBody>
      </p:sp>
      <p:sp>
        <p:nvSpPr>
          <p:cNvPr id="17" name="Freeform 16"/>
          <p:cNvSpPr/>
          <p:nvPr/>
        </p:nvSpPr>
        <p:spPr>
          <a:xfrm>
            <a:off x="4636589" y="2342484"/>
            <a:ext cx="1960515" cy="3050105"/>
          </a:xfrm>
          <a:custGeom>
            <a:avLst/>
            <a:gdLst>
              <a:gd name="connsiteX0" fmla="*/ 0 w 2614020"/>
              <a:gd name="connsiteY0" fmla="*/ 0 h 4348303"/>
              <a:gd name="connsiteX1" fmla="*/ 1307011 w 2614020"/>
              <a:gd name="connsiteY1" fmla="*/ 290881 h 4348303"/>
              <a:gd name="connsiteX2" fmla="*/ 2614020 w 2614020"/>
              <a:gd name="connsiteY2" fmla="*/ 0 h 4348303"/>
              <a:gd name="connsiteX3" fmla="*/ 2614020 w 2614020"/>
              <a:gd name="connsiteY3" fmla="*/ 4348303 h 4348303"/>
              <a:gd name="connsiteX4" fmla="*/ 0 w 2614020"/>
              <a:gd name="connsiteY4" fmla="*/ 4348303 h 4348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4020" h="4348303">
                <a:moveTo>
                  <a:pt x="0" y="0"/>
                </a:moveTo>
                <a:lnTo>
                  <a:pt x="1307011" y="290881"/>
                </a:lnTo>
                <a:lnTo>
                  <a:pt x="2614020" y="0"/>
                </a:lnTo>
                <a:lnTo>
                  <a:pt x="2614020" y="4348303"/>
                </a:lnTo>
                <a:lnTo>
                  <a:pt x="0" y="4348303"/>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6675" tIns="270000" rIns="66675" bIns="28575" rtlCol="0" anchor="t">
            <a:normAutofit/>
          </a:bodyPr>
          <a:lstStyle/>
          <a:p>
            <a:pPr marL="214308" indent="-214308">
              <a:buFont typeface="Arial" panose="020B0604020202020204" pitchFamily="34" charset="0"/>
              <a:buChar char="•"/>
              <a:defRPr/>
            </a:pPr>
            <a:r>
              <a:rPr lang="en-US" sz="1200" b="1" kern="0">
                <a:solidFill>
                  <a:schemeClr val="tx1"/>
                </a:solidFill>
              </a:rPr>
              <a:t>Risk</a:t>
            </a:r>
            <a:r>
              <a:rPr lang="en-US" sz="1200" kern="0">
                <a:solidFill>
                  <a:schemeClr val="tx1"/>
                </a:solidFill>
              </a:rPr>
              <a:t>: Guarding against cybersecurity threats and safeguarding data privacy.</a:t>
            </a:r>
          </a:p>
          <a:p>
            <a:pPr marL="214308" indent="-214308">
              <a:buFont typeface="Arial" panose="020B0604020202020204" pitchFamily="34" charset="0"/>
              <a:buChar char="•"/>
              <a:defRPr/>
            </a:pPr>
            <a:r>
              <a:rPr lang="en-US" sz="1200" b="1" kern="0">
                <a:solidFill>
                  <a:schemeClr val="tx1"/>
                </a:solidFill>
              </a:rPr>
              <a:t>Opportunity</a:t>
            </a:r>
            <a:r>
              <a:rPr lang="en-US" sz="1200" kern="0">
                <a:solidFill>
                  <a:schemeClr val="tx1"/>
                </a:solidFill>
              </a:rPr>
              <a:t>: Improving cybersecurity and data privacy practices.</a:t>
            </a:r>
          </a:p>
          <a:p>
            <a:pPr marL="214308" indent="-214308">
              <a:buFont typeface="Arial" panose="020B0604020202020204" pitchFamily="34" charset="0"/>
              <a:buChar char="•"/>
              <a:defRPr/>
            </a:pPr>
            <a:r>
              <a:rPr lang="en-US" sz="1200" b="1" kern="0">
                <a:solidFill>
                  <a:schemeClr val="tx1"/>
                </a:solidFill>
              </a:rPr>
              <a:t>Approach</a:t>
            </a:r>
            <a:r>
              <a:rPr lang="en-US" sz="1200" kern="0">
                <a:solidFill>
                  <a:schemeClr val="tx1"/>
                </a:solidFill>
              </a:rPr>
              <a:t>: Regular reports from Chief Information Security Officer and Chief Privacy Officer to the Board.</a:t>
            </a:r>
          </a:p>
        </p:txBody>
      </p:sp>
      <p:sp>
        <p:nvSpPr>
          <p:cNvPr id="18" name="Freeform 17"/>
          <p:cNvSpPr/>
          <p:nvPr/>
        </p:nvSpPr>
        <p:spPr>
          <a:xfrm>
            <a:off x="6726284" y="2342483"/>
            <a:ext cx="1960515" cy="3050105"/>
          </a:xfrm>
          <a:custGeom>
            <a:avLst/>
            <a:gdLst>
              <a:gd name="connsiteX0" fmla="*/ 0 w 2614020"/>
              <a:gd name="connsiteY0" fmla="*/ 0 h 4348303"/>
              <a:gd name="connsiteX1" fmla="*/ 1307011 w 2614020"/>
              <a:gd name="connsiteY1" fmla="*/ 290881 h 4348303"/>
              <a:gd name="connsiteX2" fmla="*/ 2614020 w 2614020"/>
              <a:gd name="connsiteY2" fmla="*/ 0 h 4348303"/>
              <a:gd name="connsiteX3" fmla="*/ 2614020 w 2614020"/>
              <a:gd name="connsiteY3" fmla="*/ 4348303 h 4348303"/>
              <a:gd name="connsiteX4" fmla="*/ 0 w 2614020"/>
              <a:gd name="connsiteY4" fmla="*/ 4348303 h 4348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4020" h="4348303">
                <a:moveTo>
                  <a:pt x="0" y="0"/>
                </a:moveTo>
                <a:lnTo>
                  <a:pt x="1307011" y="290881"/>
                </a:lnTo>
                <a:lnTo>
                  <a:pt x="2614020" y="0"/>
                </a:lnTo>
                <a:lnTo>
                  <a:pt x="2614020" y="4348303"/>
                </a:lnTo>
                <a:lnTo>
                  <a:pt x="0" y="4348303"/>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66675" tIns="270000" rIns="66675" bIns="28575" rtlCol="0" anchor="t">
            <a:normAutofit/>
          </a:bodyPr>
          <a:lstStyle/>
          <a:p>
            <a:pPr marL="214308" indent="-214308">
              <a:buFont typeface="Arial" panose="020B0604020202020204" pitchFamily="34" charset="0"/>
              <a:buChar char="•"/>
              <a:defRPr/>
            </a:pPr>
            <a:r>
              <a:rPr lang="en-US" sz="1200" b="1" kern="0">
                <a:solidFill>
                  <a:schemeClr val="tx1"/>
                </a:solidFill>
              </a:rPr>
              <a:t>Risk</a:t>
            </a:r>
            <a:r>
              <a:rPr lang="en-US" sz="1200" kern="0">
                <a:solidFill>
                  <a:schemeClr val="tx1"/>
                </a:solidFill>
              </a:rPr>
              <a:t>: Managing diverse risks across multiple operational areas.</a:t>
            </a:r>
          </a:p>
          <a:p>
            <a:pPr marL="214308" indent="-214308">
              <a:buFont typeface="Arial" panose="020B0604020202020204" pitchFamily="34" charset="0"/>
              <a:buChar char="•"/>
              <a:defRPr/>
            </a:pPr>
            <a:r>
              <a:rPr lang="en-US" sz="1200" b="1" kern="0">
                <a:solidFill>
                  <a:schemeClr val="tx1"/>
                </a:solidFill>
              </a:rPr>
              <a:t>Opportunity</a:t>
            </a:r>
            <a:r>
              <a:rPr lang="en-US" sz="1200" kern="0">
                <a:solidFill>
                  <a:schemeClr val="tx1"/>
                </a:solidFill>
              </a:rPr>
              <a:t>: Leveraging cross-functional collaboration for comprehensive opportunity management.</a:t>
            </a:r>
          </a:p>
          <a:p>
            <a:pPr marL="214308" indent="-214308">
              <a:buFont typeface="Arial" panose="020B0604020202020204" pitchFamily="34" charset="0"/>
              <a:buChar char="•"/>
              <a:defRPr/>
            </a:pPr>
            <a:r>
              <a:rPr lang="en-US" sz="1200" b="1" kern="0">
                <a:solidFill>
                  <a:schemeClr val="tx1"/>
                </a:solidFill>
              </a:rPr>
              <a:t>Approach</a:t>
            </a:r>
            <a:r>
              <a:rPr lang="en-US" sz="1200" kern="0">
                <a:solidFill>
                  <a:schemeClr val="tx1"/>
                </a:solidFill>
              </a:rPr>
              <a:t>: Coordination by the ESG team with various departments for risk oversight and opportunity exploration.</a:t>
            </a:r>
          </a:p>
        </p:txBody>
      </p:sp>
    </p:spTree>
    <p:custDataLst>
      <p:tags r:id="rId1"/>
    </p:custDataLst>
    <p:extLst>
      <p:ext uri="{BB962C8B-B14F-4D97-AF65-F5344CB8AC3E}">
        <p14:creationId xmlns:p14="http://schemas.microsoft.com/office/powerpoint/2010/main" val="30094962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D71CEA4-AF5B-2B9E-E062-CBDF0A38E7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7" name="think-cell data - do not delete" hidden="1">
                        <a:extLst>
                          <a:ext uri="{FF2B5EF4-FFF2-40B4-BE49-F238E27FC236}">
                            <a16:creationId xmlns:a16="http://schemas.microsoft.com/office/drawing/2014/main" id="{3D71CEA4-AF5B-2B9E-E062-CBDF0A38E7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3" name="Signing2" descr="{&quot;Key&quot;:&quot;POWER_USER_SHAPE_ICON&quot;,&quot;Value&quot;:&quot;POWER_USER_SHAPE_ICON_STYLE_1&quot;}">
            <a:extLst>
              <a:ext uri="{FF2B5EF4-FFF2-40B4-BE49-F238E27FC236}">
                <a16:creationId xmlns:a16="http://schemas.microsoft.com/office/drawing/2014/main" id="{269702D3-5406-FBDF-CD08-5A6579F6BA17}"/>
              </a:ext>
            </a:extLst>
          </p:cNvPr>
          <p:cNvGrpSpPr>
            <a:grpSpLocks noChangeAspect="1"/>
          </p:cNvGrpSpPr>
          <p:nvPr/>
        </p:nvGrpSpPr>
        <p:grpSpPr>
          <a:xfrm>
            <a:off x="7337100" y="2116070"/>
            <a:ext cx="627877" cy="762000"/>
            <a:chOff x="5751513" y="5765800"/>
            <a:chExt cx="676275" cy="820738"/>
          </a:xfrm>
        </p:grpSpPr>
        <p:sp>
          <p:nvSpPr>
            <p:cNvPr id="94" name="Line 259">
              <a:extLst>
                <a:ext uri="{FF2B5EF4-FFF2-40B4-BE49-F238E27FC236}">
                  <a16:creationId xmlns:a16="http://schemas.microsoft.com/office/drawing/2014/main" id="{7E2DAA32-284F-F0E5-F5EA-D17AED6A759A}"/>
                </a:ext>
              </a:extLst>
            </p:cNvPr>
            <p:cNvSpPr>
              <a:spLocks noChangeShapeType="1"/>
            </p:cNvSpPr>
            <p:nvPr/>
          </p:nvSpPr>
          <p:spPr bwMode="auto">
            <a:xfrm>
              <a:off x="5759450" y="6411913"/>
              <a:ext cx="658813"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260">
              <a:extLst>
                <a:ext uri="{FF2B5EF4-FFF2-40B4-BE49-F238E27FC236}">
                  <a16:creationId xmlns:a16="http://schemas.microsoft.com/office/drawing/2014/main" id="{C4D76CF2-5050-9FBE-7F1A-914B0FC98311}"/>
                </a:ext>
              </a:extLst>
            </p:cNvPr>
            <p:cNvSpPr>
              <a:spLocks/>
            </p:cNvSpPr>
            <p:nvPr/>
          </p:nvSpPr>
          <p:spPr bwMode="auto">
            <a:xfrm>
              <a:off x="5945188" y="6461125"/>
              <a:ext cx="276225" cy="125413"/>
            </a:xfrm>
            <a:custGeom>
              <a:avLst/>
              <a:gdLst>
                <a:gd name="T0" fmla="*/ 368 w 368"/>
                <a:gd name="T1" fmla="*/ 166 h 166"/>
                <a:gd name="T2" fmla="*/ 0 w 368"/>
                <a:gd name="T3" fmla="*/ 166 h 166"/>
                <a:gd name="T4" fmla="*/ 76 w 368"/>
                <a:gd name="T5" fmla="*/ 0 h 166"/>
                <a:gd name="T6" fmla="*/ 292 w 368"/>
                <a:gd name="T7" fmla="*/ 0 h 166"/>
                <a:gd name="T8" fmla="*/ 368 w 368"/>
                <a:gd name="T9" fmla="*/ 166 h 166"/>
              </a:gdLst>
              <a:ahLst/>
              <a:cxnLst>
                <a:cxn ang="0">
                  <a:pos x="T0" y="T1"/>
                </a:cxn>
                <a:cxn ang="0">
                  <a:pos x="T2" y="T3"/>
                </a:cxn>
                <a:cxn ang="0">
                  <a:pos x="T4" y="T5"/>
                </a:cxn>
                <a:cxn ang="0">
                  <a:pos x="T6" y="T7"/>
                </a:cxn>
                <a:cxn ang="0">
                  <a:pos x="T8" y="T9"/>
                </a:cxn>
              </a:cxnLst>
              <a:rect l="0" t="0" r="r" b="b"/>
              <a:pathLst>
                <a:path w="368" h="166">
                  <a:moveTo>
                    <a:pt x="368" y="166"/>
                  </a:moveTo>
                  <a:lnTo>
                    <a:pt x="0" y="166"/>
                  </a:lnTo>
                  <a:lnTo>
                    <a:pt x="76" y="0"/>
                  </a:lnTo>
                  <a:lnTo>
                    <a:pt x="292" y="0"/>
                  </a:lnTo>
                  <a:lnTo>
                    <a:pt x="368" y="166"/>
                  </a:lnTo>
                  <a:close/>
                </a:path>
              </a:pathLst>
            </a:cu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Line 261">
              <a:extLst>
                <a:ext uri="{FF2B5EF4-FFF2-40B4-BE49-F238E27FC236}">
                  <a16:creationId xmlns:a16="http://schemas.microsoft.com/office/drawing/2014/main" id="{67A6E103-3D05-6828-04C0-39819819AEBF}"/>
                </a:ext>
              </a:extLst>
            </p:cNvPr>
            <p:cNvSpPr>
              <a:spLocks noChangeShapeType="1"/>
            </p:cNvSpPr>
            <p:nvPr/>
          </p:nvSpPr>
          <p:spPr bwMode="auto">
            <a:xfrm flipV="1">
              <a:off x="5902325" y="6477000"/>
              <a:ext cx="44450" cy="63500"/>
            </a:xfrm>
            <a:prstGeom prst="line">
              <a:avLst/>
            </a:prstGeom>
            <a:noFill/>
            <a:ln w="19050" cap="rnd">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262">
              <a:extLst>
                <a:ext uri="{FF2B5EF4-FFF2-40B4-BE49-F238E27FC236}">
                  <a16:creationId xmlns:a16="http://schemas.microsoft.com/office/drawing/2014/main" id="{6E43443F-6C75-0830-5D26-12719CDA7581}"/>
                </a:ext>
              </a:extLst>
            </p:cNvPr>
            <p:cNvSpPr>
              <a:spLocks/>
            </p:cNvSpPr>
            <p:nvPr/>
          </p:nvSpPr>
          <p:spPr bwMode="auto">
            <a:xfrm>
              <a:off x="5751513" y="5989638"/>
              <a:ext cx="303213" cy="419100"/>
            </a:xfrm>
            <a:custGeom>
              <a:avLst/>
              <a:gdLst>
                <a:gd name="T0" fmla="*/ 73 w 403"/>
                <a:gd name="T1" fmla="*/ 559 h 559"/>
                <a:gd name="T2" fmla="*/ 73 w 403"/>
                <a:gd name="T3" fmla="*/ 458 h 559"/>
                <a:gd name="T4" fmla="*/ 0 w 403"/>
                <a:gd name="T5" fmla="*/ 393 h 559"/>
                <a:gd name="T6" fmla="*/ 0 w 403"/>
                <a:gd name="T7" fmla="*/ 169 h 559"/>
                <a:gd name="T8" fmla="*/ 144 w 403"/>
                <a:gd name="T9" fmla="*/ 0 h 559"/>
                <a:gd name="T10" fmla="*/ 219 w 403"/>
                <a:gd name="T11" fmla="*/ 63 h 559"/>
                <a:gd name="T12" fmla="*/ 293 w 403"/>
                <a:gd name="T13" fmla="*/ 0 h 559"/>
                <a:gd name="T14" fmla="*/ 403 w 403"/>
                <a:gd name="T15" fmla="*/ 45 h 5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3" h="559">
                  <a:moveTo>
                    <a:pt x="73" y="559"/>
                  </a:moveTo>
                  <a:lnTo>
                    <a:pt x="73" y="458"/>
                  </a:lnTo>
                  <a:cubicBezTo>
                    <a:pt x="25" y="458"/>
                    <a:pt x="0" y="429"/>
                    <a:pt x="0" y="393"/>
                  </a:cubicBezTo>
                  <a:lnTo>
                    <a:pt x="0" y="169"/>
                  </a:lnTo>
                  <a:cubicBezTo>
                    <a:pt x="0" y="54"/>
                    <a:pt x="49" y="7"/>
                    <a:pt x="144" y="0"/>
                  </a:cubicBezTo>
                  <a:lnTo>
                    <a:pt x="219" y="63"/>
                  </a:lnTo>
                  <a:lnTo>
                    <a:pt x="293" y="0"/>
                  </a:lnTo>
                  <a:cubicBezTo>
                    <a:pt x="327" y="3"/>
                    <a:pt x="373" y="16"/>
                    <a:pt x="403" y="45"/>
                  </a:cubicBezTo>
                </a:path>
              </a:pathLst>
            </a:cu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Oval 263">
              <a:extLst>
                <a:ext uri="{FF2B5EF4-FFF2-40B4-BE49-F238E27FC236}">
                  <a16:creationId xmlns:a16="http://schemas.microsoft.com/office/drawing/2014/main" id="{B5F03878-1CC4-0DA9-3AD4-1CA74E7B4FE1}"/>
                </a:ext>
              </a:extLst>
            </p:cNvPr>
            <p:cNvSpPr>
              <a:spLocks noChangeArrowheads="1"/>
            </p:cNvSpPr>
            <p:nvPr/>
          </p:nvSpPr>
          <p:spPr bwMode="auto">
            <a:xfrm>
              <a:off x="5822950" y="5765800"/>
              <a:ext cx="185738" cy="185738"/>
            </a:xfrm>
            <a:prstGeom prst="ellipse">
              <a:avLst/>
            </a:pr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Oval 264">
              <a:extLst>
                <a:ext uri="{FF2B5EF4-FFF2-40B4-BE49-F238E27FC236}">
                  <a16:creationId xmlns:a16="http://schemas.microsoft.com/office/drawing/2014/main" id="{345C8DF4-C826-A16C-EDAE-1572D4F99FFA}"/>
                </a:ext>
              </a:extLst>
            </p:cNvPr>
            <p:cNvSpPr>
              <a:spLocks noChangeArrowheads="1"/>
            </p:cNvSpPr>
            <p:nvPr/>
          </p:nvSpPr>
          <p:spPr bwMode="auto">
            <a:xfrm>
              <a:off x="6170613" y="5765800"/>
              <a:ext cx="184150" cy="185738"/>
            </a:xfrm>
            <a:prstGeom prst="ellipse">
              <a:avLst/>
            </a:pr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Oval 265">
              <a:extLst>
                <a:ext uri="{FF2B5EF4-FFF2-40B4-BE49-F238E27FC236}">
                  <a16:creationId xmlns:a16="http://schemas.microsoft.com/office/drawing/2014/main" id="{1B11A092-721E-9C6E-E13A-C6C62FBED6F4}"/>
                </a:ext>
              </a:extLst>
            </p:cNvPr>
            <p:cNvSpPr>
              <a:spLocks noChangeArrowheads="1"/>
            </p:cNvSpPr>
            <p:nvPr/>
          </p:nvSpPr>
          <p:spPr bwMode="auto">
            <a:xfrm>
              <a:off x="5994400" y="6016625"/>
              <a:ext cx="184150" cy="184150"/>
            </a:xfrm>
            <a:prstGeom prst="ellipse">
              <a:avLst/>
            </a:pr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266">
              <a:extLst>
                <a:ext uri="{FF2B5EF4-FFF2-40B4-BE49-F238E27FC236}">
                  <a16:creationId xmlns:a16="http://schemas.microsoft.com/office/drawing/2014/main" id="{1F062931-90E5-6262-1A45-7B6F0AD5837E}"/>
                </a:ext>
              </a:extLst>
            </p:cNvPr>
            <p:cNvSpPr>
              <a:spLocks/>
            </p:cNvSpPr>
            <p:nvPr/>
          </p:nvSpPr>
          <p:spPr bwMode="auto">
            <a:xfrm>
              <a:off x="5926138" y="6229350"/>
              <a:ext cx="320675" cy="179388"/>
            </a:xfrm>
            <a:custGeom>
              <a:avLst/>
              <a:gdLst>
                <a:gd name="T0" fmla="*/ 428 w 428"/>
                <a:gd name="T1" fmla="*/ 240 h 240"/>
                <a:gd name="T2" fmla="*/ 428 w 428"/>
                <a:gd name="T3" fmla="*/ 151 h 240"/>
                <a:gd name="T4" fmla="*/ 291 w 428"/>
                <a:gd name="T5" fmla="*/ 2 h 240"/>
                <a:gd name="T6" fmla="*/ 214 w 428"/>
                <a:gd name="T7" fmla="*/ 63 h 240"/>
                <a:gd name="T8" fmla="*/ 135 w 428"/>
                <a:gd name="T9" fmla="*/ 0 h 240"/>
                <a:gd name="T10" fmla="*/ 0 w 428"/>
                <a:gd name="T11" fmla="*/ 151 h 240"/>
                <a:gd name="T12" fmla="*/ 0 w 428"/>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428" h="240">
                  <a:moveTo>
                    <a:pt x="428" y="240"/>
                  </a:moveTo>
                  <a:lnTo>
                    <a:pt x="428" y="151"/>
                  </a:lnTo>
                  <a:cubicBezTo>
                    <a:pt x="428" y="73"/>
                    <a:pt x="371" y="22"/>
                    <a:pt x="291" y="2"/>
                  </a:cubicBezTo>
                  <a:lnTo>
                    <a:pt x="214" y="63"/>
                  </a:lnTo>
                  <a:lnTo>
                    <a:pt x="135" y="0"/>
                  </a:lnTo>
                  <a:cubicBezTo>
                    <a:pt x="56" y="16"/>
                    <a:pt x="0" y="59"/>
                    <a:pt x="0" y="151"/>
                  </a:cubicBezTo>
                  <a:lnTo>
                    <a:pt x="0" y="240"/>
                  </a:lnTo>
                </a:path>
              </a:pathLst>
            </a:cu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267">
              <a:extLst>
                <a:ext uri="{FF2B5EF4-FFF2-40B4-BE49-F238E27FC236}">
                  <a16:creationId xmlns:a16="http://schemas.microsoft.com/office/drawing/2014/main" id="{928251C2-7A17-AADB-8F84-9365D988967E}"/>
                </a:ext>
              </a:extLst>
            </p:cNvPr>
            <p:cNvSpPr>
              <a:spLocks/>
            </p:cNvSpPr>
            <p:nvPr/>
          </p:nvSpPr>
          <p:spPr bwMode="auto">
            <a:xfrm>
              <a:off x="6124575" y="5989638"/>
              <a:ext cx="303213" cy="419100"/>
            </a:xfrm>
            <a:custGeom>
              <a:avLst/>
              <a:gdLst>
                <a:gd name="T0" fmla="*/ 330 w 404"/>
                <a:gd name="T1" fmla="*/ 559 h 559"/>
                <a:gd name="T2" fmla="*/ 330 w 404"/>
                <a:gd name="T3" fmla="*/ 458 h 559"/>
                <a:gd name="T4" fmla="*/ 403 w 404"/>
                <a:gd name="T5" fmla="*/ 393 h 559"/>
                <a:gd name="T6" fmla="*/ 404 w 404"/>
                <a:gd name="T7" fmla="*/ 169 h 559"/>
                <a:gd name="T8" fmla="*/ 260 w 404"/>
                <a:gd name="T9" fmla="*/ 0 h 559"/>
                <a:gd name="T10" fmla="*/ 185 w 404"/>
                <a:gd name="T11" fmla="*/ 63 h 559"/>
                <a:gd name="T12" fmla="*/ 110 w 404"/>
                <a:gd name="T13" fmla="*/ 0 h 559"/>
                <a:gd name="T14" fmla="*/ 0 w 404"/>
                <a:gd name="T15" fmla="*/ 45 h 5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4" h="559">
                  <a:moveTo>
                    <a:pt x="330" y="559"/>
                  </a:moveTo>
                  <a:lnTo>
                    <a:pt x="330" y="458"/>
                  </a:lnTo>
                  <a:cubicBezTo>
                    <a:pt x="378" y="458"/>
                    <a:pt x="403" y="429"/>
                    <a:pt x="403" y="393"/>
                  </a:cubicBezTo>
                  <a:lnTo>
                    <a:pt x="404" y="169"/>
                  </a:lnTo>
                  <a:cubicBezTo>
                    <a:pt x="404" y="54"/>
                    <a:pt x="354" y="7"/>
                    <a:pt x="260" y="0"/>
                  </a:cubicBezTo>
                  <a:lnTo>
                    <a:pt x="185" y="63"/>
                  </a:lnTo>
                  <a:lnTo>
                    <a:pt x="110" y="0"/>
                  </a:lnTo>
                  <a:cubicBezTo>
                    <a:pt x="76" y="3"/>
                    <a:pt x="30" y="16"/>
                    <a:pt x="0" y="45"/>
                  </a:cubicBezTo>
                </a:path>
              </a:pathLst>
            </a:cu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3" name="World3" descr="{&quot;Key&quot;:&quot;POWER_USER_SHAPE_ICON&quot;,&quot;Value&quot;:&quot;POWER_USER_SHAPE_ICON_STYLE_1&quot;}">
            <a:extLst>
              <a:ext uri="{FF2B5EF4-FFF2-40B4-BE49-F238E27FC236}">
                <a16:creationId xmlns:a16="http://schemas.microsoft.com/office/drawing/2014/main" id="{4A8023D4-1061-B54F-7BF9-8E08C0809F3F}"/>
              </a:ext>
            </a:extLst>
          </p:cNvPr>
          <p:cNvGrpSpPr>
            <a:grpSpLocks noChangeAspect="1"/>
          </p:cNvGrpSpPr>
          <p:nvPr/>
        </p:nvGrpSpPr>
        <p:grpSpPr>
          <a:xfrm>
            <a:off x="5214600" y="2133857"/>
            <a:ext cx="762000" cy="762000"/>
            <a:chOff x="6043409" y="2915897"/>
            <a:chExt cx="3129310" cy="3129311"/>
          </a:xfrm>
          <a:solidFill>
            <a:schemeClr val="accent3"/>
          </a:solidFill>
        </p:grpSpPr>
        <p:sp>
          <p:nvSpPr>
            <p:cNvPr id="24" name="Freeform: Shape 2986">
              <a:extLst>
                <a:ext uri="{FF2B5EF4-FFF2-40B4-BE49-F238E27FC236}">
                  <a16:creationId xmlns:a16="http://schemas.microsoft.com/office/drawing/2014/main" id="{C07A6F77-1A78-ED51-A174-25AD52515BF8}"/>
                </a:ext>
              </a:extLst>
            </p:cNvPr>
            <p:cNvSpPr>
              <a:spLocks/>
            </p:cNvSpPr>
            <p:nvPr/>
          </p:nvSpPr>
          <p:spPr bwMode="auto">
            <a:xfrm>
              <a:off x="6043409" y="2915897"/>
              <a:ext cx="3129310" cy="3129311"/>
            </a:xfrm>
            <a:custGeom>
              <a:avLst/>
              <a:gdLst>
                <a:gd name="connsiteX0" fmla="*/ 1564655 w 3129310"/>
                <a:gd name="connsiteY0" fmla="*/ 0 h 3129311"/>
                <a:gd name="connsiteX1" fmla="*/ 2670876 w 3129310"/>
                <a:gd name="connsiteY1" fmla="*/ 457068 h 3129311"/>
                <a:gd name="connsiteX2" fmla="*/ 3129310 w 3129310"/>
                <a:gd name="connsiteY2" fmla="*/ 1563653 h 3129311"/>
                <a:gd name="connsiteX3" fmla="*/ 2670876 w 3129310"/>
                <a:gd name="connsiteY3" fmla="*/ 2670239 h 3129311"/>
                <a:gd name="connsiteX4" fmla="*/ 1564655 w 3129310"/>
                <a:gd name="connsiteY4" fmla="*/ 3129311 h 3129311"/>
                <a:gd name="connsiteX5" fmla="*/ 458434 w 3129310"/>
                <a:gd name="connsiteY5" fmla="*/ 2670239 h 3129311"/>
                <a:gd name="connsiteX6" fmla="*/ 0 w 3129310"/>
                <a:gd name="connsiteY6" fmla="*/ 1563653 h 3129311"/>
                <a:gd name="connsiteX7" fmla="*/ 356902 w 3129310"/>
                <a:gd name="connsiteY7" fmla="*/ 568093 h 3129311"/>
                <a:gd name="connsiteX8" fmla="*/ 412585 w 3129310"/>
                <a:gd name="connsiteY8" fmla="*/ 507204 h 3129311"/>
                <a:gd name="connsiteX9" fmla="*/ 450009 w 3129310"/>
                <a:gd name="connsiteY9" fmla="*/ 564824 h 3129311"/>
                <a:gd name="connsiteX10" fmla="*/ 407608 w 3129310"/>
                <a:gd name="connsiteY10" fmla="*/ 611425 h 3129311"/>
                <a:gd name="connsiteX11" fmla="*/ 65776 w 3129310"/>
                <a:gd name="connsiteY11" fmla="*/ 1563653 h 3129311"/>
                <a:gd name="connsiteX12" fmla="*/ 504278 w 3129310"/>
                <a:gd name="connsiteY12" fmla="*/ 2624131 h 3129311"/>
                <a:gd name="connsiteX13" fmla="*/ 1564655 w 3129310"/>
                <a:gd name="connsiteY13" fmla="*/ 3061152 h 3129311"/>
                <a:gd name="connsiteX14" fmla="*/ 2625033 w 3129310"/>
                <a:gd name="connsiteY14" fmla="*/ 2624131 h 3129311"/>
                <a:gd name="connsiteX15" fmla="*/ 3063535 w 3129310"/>
                <a:gd name="connsiteY15" fmla="*/ 1563653 h 3129311"/>
                <a:gd name="connsiteX16" fmla="*/ 2625033 w 3129310"/>
                <a:gd name="connsiteY16" fmla="*/ 505180 h 3129311"/>
                <a:gd name="connsiteX17" fmla="*/ 1564655 w 3129310"/>
                <a:gd name="connsiteY17" fmla="*/ 66155 h 3129311"/>
                <a:gd name="connsiteX18" fmla="*/ 849598 w 3129310"/>
                <a:gd name="connsiteY18" fmla="*/ 247340 h 3129311"/>
                <a:gd name="connsiteX19" fmla="*/ 781477 w 3129310"/>
                <a:gd name="connsiteY19" fmla="*/ 288721 h 3129311"/>
                <a:gd name="connsiteX20" fmla="*/ 768506 w 3129310"/>
                <a:gd name="connsiteY20" fmla="*/ 250138 h 3129311"/>
                <a:gd name="connsiteX21" fmla="*/ 754903 w 3129310"/>
                <a:gd name="connsiteY21" fmla="*/ 226967 h 3129311"/>
                <a:gd name="connsiteX22" fmla="*/ 818785 w 3129310"/>
                <a:gd name="connsiteY22" fmla="*/ 188233 h 3129311"/>
                <a:gd name="connsiteX23" fmla="*/ 1564655 w 3129310"/>
                <a:gd name="connsiteY23" fmla="*/ 0 h 31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29310" h="3129311">
                  <a:moveTo>
                    <a:pt x="1564655" y="0"/>
                  </a:moveTo>
                  <a:cubicBezTo>
                    <a:pt x="1997178" y="0"/>
                    <a:pt x="2387843" y="174408"/>
                    <a:pt x="2670876" y="457068"/>
                  </a:cubicBezTo>
                  <a:cubicBezTo>
                    <a:pt x="2953909" y="739728"/>
                    <a:pt x="3129310" y="1132646"/>
                    <a:pt x="3129310" y="1563653"/>
                  </a:cubicBezTo>
                  <a:cubicBezTo>
                    <a:pt x="3129310" y="1996665"/>
                    <a:pt x="2953909" y="2387578"/>
                    <a:pt x="2670876" y="2670239"/>
                  </a:cubicBezTo>
                  <a:cubicBezTo>
                    <a:pt x="2387843" y="2952899"/>
                    <a:pt x="1997178" y="3129311"/>
                    <a:pt x="1564655" y="3129311"/>
                  </a:cubicBezTo>
                  <a:cubicBezTo>
                    <a:pt x="1132133" y="3129311"/>
                    <a:pt x="741467" y="2952899"/>
                    <a:pt x="458434" y="2670239"/>
                  </a:cubicBezTo>
                  <a:cubicBezTo>
                    <a:pt x="173408" y="2387578"/>
                    <a:pt x="0" y="1996665"/>
                    <a:pt x="0" y="1563653"/>
                  </a:cubicBezTo>
                  <a:cubicBezTo>
                    <a:pt x="0" y="1186522"/>
                    <a:pt x="132765" y="838553"/>
                    <a:pt x="356902" y="568093"/>
                  </a:cubicBezTo>
                  <a:lnTo>
                    <a:pt x="412585" y="507204"/>
                  </a:lnTo>
                  <a:lnTo>
                    <a:pt x="450009" y="564824"/>
                  </a:lnTo>
                  <a:lnTo>
                    <a:pt x="407608" y="611425"/>
                  </a:lnTo>
                  <a:cubicBezTo>
                    <a:pt x="193963" y="870127"/>
                    <a:pt x="65776" y="1202309"/>
                    <a:pt x="65776" y="1563653"/>
                  </a:cubicBezTo>
                  <a:cubicBezTo>
                    <a:pt x="65776" y="1978623"/>
                    <a:pt x="233204" y="2351494"/>
                    <a:pt x="504278" y="2624131"/>
                  </a:cubicBezTo>
                  <a:cubicBezTo>
                    <a:pt x="775352" y="2894763"/>
                    <a:pt x="1150071" y="3061152"/>
                    <a:pt x="1564655" y="3061152"/>
                  </a:cubicBezTo>
                  <a:cubicBezTo>
                    <a:pt x="1979239" y="3061152"/>
                    <a:pt x="2353959" y="2894763"/>
                    <a:pt x="2625033" y="2624131"/>
                  </a:cubicBezTo>
                  <a:cubicBezTo>
                    <a:pt x="2896107" y="2351494"/>
                    <a:pt x="3063535" y="1978623"/>
                    <a:pt x="3063535" y="1563653"/>
                  </a:cubicBezTo>
                  <a:cubicBezTo>
                    <a:pt x="3063535" y="1150689"/>
                    <a:pt x="2896107" y="775813"/>
                    <a:pt x="2625033" y="505180"/>
                  </a:cubicBezTo>
                  <a:cubicBezTo>
                    <a:pt x="2353959" y="234548"/>
                    <a:pt x="1979239" y="66155"/>
                    <a:pt x="1564655" y="66155"/>
                  </a:cubicBezTo>
                  <a:cubicBezTo>
                    <a:pt x="1305540" y="66155"/>
                    <a:pt x="1061997" y="131933"/>
                    <a:pt x="849598" y="247340"/>
                  </a:cubicBezTo>
                  <a:lnTo>
                    <a:pt x="781477" y="288721"/>
                  </a:lnTo>
                  <a:lnTo>
                    <a:pt x="768506" y="250138"/>
                  </a:lnTo>
                  <a:lnTo>
                    <a:pt x="754903" y="226967"/>
                  </a:lnTo>
                  <a:lnTo>
                    <a:pt x="818785" y="188233"/>
                  </a:lnTo>
                  <a:cubicBezTo>
                    <a:pt x="1040353" y="68128"/>
                    <a:pt x="1294329" y="0"/>
                    <a:pt x="1564655" y="0"/>
                  </a:cubicBez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Shape 2987">
              <a:extLst>
                <a:ext uri="{FF2B5EF4-FFF2-40B4-BE49-F238E27FC236}">
                  <a16:creationId xmlns:a16="http://schemas.microsoft.com/office/drawing/2014/main" id="{4987787E-FA2E-E778-3247-BB7D61B37187}"/>
                </a:ext>
              </a:extLst>
            </p:cNvPr>
            <p:cNvSpPr>
              <a:spLocks/>
            </p:cNvSpPr>
            <p:nvPr/>
          </p:nvSpPr>
          <p:spPr bwMode="auto">
            <a:xfrm>
              <a:off x="7877824" y="3347525"/>
              <a:ext cx="1171563" cy="1819006"/>
            </a:xfrm>
            <a:custGeom>
              <a:avLst/>
              <a:gdLst>
                <a:gd name="connsiteX0" fmla="*/ 416162 w 1171563"/>
                <a:gd name="connsiteY0" fmla="*/ 0 h 1819006"/>
                <a:gd name="connsiteX1" fmla="*/ 664675 w 1171563"/>
                <a:gd name="connsiteY1" fmla="*/ 44024 h 1819006"/>
                <a:gd name="connsiteX2" fmla="*/ 777097 w 1171563"/>
                <a:gd name="connsiteY2" fmla="*/ 86048 h 1819006"/>
                <a:gd name="connsiteX3" fmla="*/ 783014 w 1171563"/>
                <a:gd name="connsiteY3" fmla="*/ 90050 h 1819006"/>
                <a:gd name="connsiteX4" fmla="*/ 786959 w 1171563"/>
                <a:gd name="connsiteY4" fmla="*/ 92051 h 1819006"/>
                <a:gd name="connsiteX5" fmla="*/ 870401 w 1171563"/>
                <a:gd name="connsiteY5" fmla="*/ 183570 h 1819006"/>
                <a:gd name="connsiteX6" fmla="*/ 793895 w 1171563"/>
                <a:gd name="connsiteY6" fmla="*/ 169574 h 1819006"/>
                <a:gd name="connsiteX7" fmla="*/ 770707 w 1171563"/>
                <a:gd name="connsiteY7" fmla="*/ 173858 h 1819006"/>
                <a:gd name="connsiteX8" fmla="*/ 743357 w 1171563"/>
                <a:gd name="connsiteY8" fmla="*/ 144002 h 1819006"/>
                <a:gd name="connsiteX9" fmla="*/ 743568 w 1171563"/>
                <a:gd name="connsiteY9" fmla="*/ 144080 h 1819006"/>
                <a:gd name="connsiteX10" fmla="*/ 749485 w 1171563"/>
                <a:gd name="connsiteY10" fmla="*/ 146081 h 1819006"/>
                <a:gd name="connsiteX11" fmla="*/ 749485 w 1171563"/>
                <a:gd name="connsiteY11" fmla="*/ 148082 h 1819006"/>
                <a:gd name="connsiteX12" fmla="*/ 765263 w 1171563"/>
                <a:gd name="connsiteY12" fmla="*/ 118065 h 1819006"/>
                <a:gd name="connsiteX13" fmla="*/ 741595 w 1171563"/>
                <a:gd name="connsiteY13" fmla="*/ 142079 h 1819006"/>
                <a:gd name="connsiteX14" fmla="*/ 743357 w 1171563"/>
                <a:gd name="connsiteY14" fmla="*/ 144002 h 1819006"/>
                <a:gd name="connsiteX15" fmla="*/ 721872 w 1171563"/>
                <a:gd name="connsiteY15" fmla="*/ 136075 h 1819006"/>
                <a:gd name="connsiteX16" fmla="*/ 644951 w 1171563"/>
                <a:gd name="connsiteY16" fmla="*/ 106059 h 1819006"/>
                <a:gd name="connsiteX17" fmla="*/ 416162 w 1171563"/>
                <a:gd name="connsiteY17" fmla="*/ 66037 h 1819006"/>
                <a:gd name="connsiteX18" fmla="*/ 274154 w 1171563"/>
                <a:gd name="connsiteY18" fmla="*/ 96053 h 1819006"/>
                <a:gd name="connsiteX19" fmla="*/ 175537 w 1171563"/>
                <a:gd name="connsiteY19" fmla="*/ 198110 h 1819006"/>
                <a:gd name="connsiteX20" fmla="*/ 67059 w 1171563"/>
                <a:gd name="connsiteY20" fmla="*/ 658364 h 1819006"/>
                <a:gd name="connsiteX21" fmla="*/ 76921 w 1171563"/>
                <a:gd name="connsiteY21" fmla="*/ 766424 h 1819006"/>
                <a:gd name="connsiteX22" fmla="*/ 96644 w 1171563"/>
                <a:gd name="connsiteY22" fmla="*/ 816452 h 1819006"/>
                <a:gd name="connsiteX23" fmla="*/ 110451 w 1171563"/>
                <a:gd name="connsiteY23" fmla="*/ 826457 h 1819006"/>
                <a:gd name="connsiteX24" fmla="*/ 140036 w 1171563"/>
                <a:gd name="connsiteY24" fmla="*/ 840465 h 1819006"/>
                <a:gd name="connsiteX25" fmla="*/ 222873 w 1171563"/>
                <a:gd name="connsiteY25" fmla="*/ 876485 h 1819006"/>
                <a:gd name="connsiteX26" fmla="*/ 433912 w 1171563"/>
                <a:gd name="connsiteY26" fmla="*/ 960531 h 1819006"/>
                <a:gd name="connsiteX27" fmla="*/ 548307 w 1171563"/>
                <a:gd name="connsiteY27" fmla="*/ 1020565 h 1819006"/>
                <a:gd name="connsiteX28" fmla="*/ 589726 w 1171563"/>
                <a:gd name="connsiteY28" fmla="*/ 1062588 h 1819006"/>
                <a:gd name="connsiteX29" fmla="*/ 599588 w 1171563"/>
                <a:gd name="connsiteY29" fmla="*/ 1094606 h 1819006"/>
                <a:gd name="connsiteX30" fmla="*/ 601560 w 1171563"/>
                <a:gd name="connsiteY30" fmla="*/ 1118619 h 1819006"/>
                <a:gd name="connsiteX31" fmla="*/ 607477 w 1171563"/>
                <a:gd name="connsiteY31" fmla="*/ 1158641 h 1819006"/>
                <a:gd name="connsiteX32" fmla="*/ 629173 w 1171563"/>
                <a:gd name="connsiteY32" fmla="*/ 1270703 h 1819006"/>
                <a:gd name="connsiteX33" fmla="*/ 704121 w 1171563"/>
                <a:gd name="connsiteY33" fmla="*/ 1552859 h 1819006"/>
                <a:gd name="connsiteX34" fmla="*/ 765263 w 1171563"/>
                <a:gd name="connsiteY34" fmla="*/ 1702942 h 1819006"/>
                <a:gd name="connsiteX35" fmla="*/ 796821 w 1171563"/>
                <a:gd name="connsiteY35" fmla="*/ 1746966 h 1819006"/>
                <a:gd name="connsiteX36" fmla="*/ 802103 w 1171563"/>
                <a:gd name="connsiteY36" fmla="*/ 1752325 h 1819006"/>
                <a:gd name="connsiteX37" fmla="*/ 800765 w 1171563"/>
                <a:gd name="connsiteY37" fmla="*/ 1752970 h 1819006"/>
                <a:gd name="connsiteX38" fmla="*/ 808655 w 1171563"/>
                <a:gd name="connsiteY38" fmla="*/ 1784987 h 1819006"/>
                <a:gd name="connsiteX39" fmla="*/ 802738 w 1171563"/>
                <a:gd name="connsiteY39" fmla="*/ 1752970 h 1819006"/>
                <a:gd name="connsiteX40" fmla="*/ 802103 w 1171563"/>
                <a:gd name="connsiteY40" fmla="*/ 1752325 h 1819006"/>
                <a:gd name="connsiteX41" fmla="*/ 810627 w 1171563"/>
                <a:gd name="connsiteY41" fmla="*/ 1748217 h 1819006"/>
                <a:gd name="connsiteX42" fmla="*/ 826406 w 1171563"/>
                <a:gd name="connsiteY42" fmla="*/ 1738962 h 1819006"/>
                <a:gd name="connsiteX43" fmla="*/ 863880 w 1171563"/>
                <a:gd name="connsiteY43" fmla="*/ 1702942 h 1819006"/>
                <a:gd name="connsiteX44" fmla="*/ 952635 w 1171563"/>
                <a:gd name="connsiteY44" fmla="*/ 1584877 h 1819006"/>
                <a:gd name="connsiteX45" fmla="*/ 1084780 w 1171563"/>
                <a:gd name="connsiteY45" fmla="*/ 1328735 h 1819006"/>
                <a:gd name="connsiteX46" fmla="*/ 1092670 w 1171563"/>
                <a:gd name="connsiteY46" fmla="*/ 1294716 h 1819006"/>
                <a:gd name="connsiteX47" fmla="*/ 1094642 w 1171563"/>
                <a:gd name="connsiteY47" fmla="*/ 1262699 h 1819006"/>
                <a:gd name="connsiteX48" fmla="*/ 1098587 w 1171563"/>
                <a:gd name="connsiteY48" fmla="*/ 1210670 h 1819006"/>
                <a:gd name="connsiteX49" fmla="*/ 1104504 w 1171563"/>
                <a:gd name="connsiteY49" fmla="*/ 1062588 h 1819006"/>
                <a:gd name="connsiteX50" fmla="*/ 1041389 w 1171563"/>
                <a:gd name="connsiteY50" fmla="*/ 622344 h 1819006"/>
                <a:gd name="connsiteX51" fmla="*/ 993991 w 1171563"/>
                <a:gd name="connsiteY51" fmla="*/ 499745 h 1819006"/>
                <a:gd name="connsiteX52" fmla="*/ 983308 w 1171563"/>
                <a:gd name="connsiteY52" fmla="*/ 479260 h 1819006"/>
                <a:gd name="connsiteX53" fmla="*/ 983446 w 1171563"/>
                <a:gd name="connsiteY53" fmla="*/ 479008 h 1819006"/>
                <a:gd name="connsiteX54" fmla="*/ 1008076 w 1171563"/>
                <a:gd name="connsiteY54" fmla="*/ 420315 h 1819006"/>
                <a:gd name="connsiteX55" fmla="*/ 1013066 w 1171563"/>
                <a:gd name="connsiteY55" fmla="*/ 394207 h 1819006"/>
                <a:gd name="connsiteX56" fmla="*/ 1053223 w 1171563"/>
                <a:gd name="connsiteY56" fmla="*/ 472230 h 1819006"/>
                <a:gd name="connsiteX57" fmla="*/ 1102532 w 1171563"/>
                <a:gd name="connsiteY57" fmla="*/ 602333 h 1819006"/>
                <a:gd name="connsiteX58" fmla="*/ 1171563 w 1171563"/>
                <a:gd name="connsiteY58" fmla="*/ 1062588 h 1819006"/>
                <a:gd name="connsiteX59" fmla="*/ 1159729 w 1171563"/>
                <a:gd name="connsiteY59" fmla="*/ 1266701 h 1819006"/>
                <a:gd name="connsiteX60" fmla="*/ 1159729 w 1171563"/>
                <a:gd name="connsiteY60" fmla="*/ 1294716 h 1819006"/>
                <a:gd name="connsiteX61" fmla="*/ 1153812 w 1171563"/>
                <a:gd name="connsiteY61" fmla="*/ 1330736 h 1819006"/>
                <a:gd name="connsiteX62" fmla="*/ 1140006 w 1171563"/>
                <a:gd name="connsiteY62" fmla="*/ 1370758 h 1819006"/>
                <a:gd name="connsiteX63" fmla="*/ 1098587 w 1171563"/>
                <a:gd name="connsiteY63" fmla="*/ 1466811 h 1819006"/>
                <a:gd name="connsiteX64" fmla="*/ 968413 w 1171563"/>
                <a:gd name="connsiteY64" fmla="*/ 1680930 h 1819006"/>
                <a:gd name="connsiteX65" fmla="*/ 871769 w 1171563"/>
                <a:gd name="connsiteY65" fmla="*/ 1786988 h 1819006"/>
                <a:gd name="connsiteX66" fmla="*/ 814572 w 1171563"/>
                <a:gd name="connsiteY66" fmla="*/ 1817005 h 1819006"/>
                <a:gd name="connsiteX67" fmla="*/ 802738 w 1171563"/>
                <a:gd name="connsiteY67" fmla="*/ 1819006 h 1819006"/>
                <a:gd name="connsiteX68" fmla="*/ 769208 w 1171563"/>
                <a:gd name="connsiteY68" fmla="*/ 1809001 h 1819006"/>
                <a:gd name="connsiteX69" fmla="*/ 743568 w 1171563"/>
                <a:gd name="connsiteY69" fmla="*/ 1786988 h 1819006"/>
                <a:gd name="connsiteX70" fmla="*/ 702149 w 1171563"/>
                <a:gd name="connsiteY70" fmla="*/ 1724954 h 1819006"/>
                <a:gd name="connsiteX71" fmla="*/ 633117 w 1171563"/>
                <a:gd name="connsiteY71" fmla="*/ 1540852 h 1819006"/>
                <a:gd name="connsiteX72" fmla="*/ 540418 w 1171563"/>
                <a:gd name="connsiteY72" fmla="*/ 1154639 h 1819006"/>
                <a:gd name="connsiteX73" fmla="*/ 535980 w 1171563"/>
                <a:gd name="connsiteY73" fmla="*/ 1120870 h 1819006"/>
                <a:gd name="connsiteX74" fmla="*/ 534714 w 1171563"/>
                <a:gd name="connsiteY74" fmla="*/ 1098391 h 1819006"/>
                <a:gd name="connsiteX75" fmla="*/ 534614 w 1171563"/>
                <a:gd name="connsiteY75" fmla="*/ 1096607 h 1819006"/>
                <a:gd name="connsiteX76" fmla="*/ 534612 w 1171563"/>
                <a:gd name="connsiteY76" fmla="*/ 1096579 h 1819006"/>
                <a:gd name="connsiteX77" fmla="*/ 534501 w 1171563"/>
                <a:gd name="connsiteY77" fmla="*/ 1094606 h 1819006"/>
                <a:gd name="connsiteX78" fmla="*/ 534501 w 1171563"/>
                <a:gd name="connsiteY78" fmla="*/ 1096607 h 1819006"/>
                <a:gd name="connsiteX79" fmla="*/ 534501 w 1171563"/>
                <a:gd name="connsiteY79" fmla="*/ 1098608 h 1819006"/>
                <a:gd name="connsiteX80" fmla="*/ 532529 w 1171563"/>
                <a:gd name="connsiteY80" fmla="*/ 1094606 h 1819006"/>
                <a:gd name="connsiteX81" fmla="*/ 516750 w 1171563"/>
                <a:gd name="connsiteY81" fmla="*/ 1078597 h 1819006"/>
                <a:gd name="connsiteX82" fmla="*/ 441802 w 1171563"/>
                <a:gd name="connsiteY82" fmla="*/ 1036573 h 1819006"/>
                <a:gd name="connsiteX83" fmla="*/ 222873 w 1171563"/>
                <a:gd name="connsiteY83" fmla="*/ 948525 h 1819006"/>
                <a:gd name="connsiteX84" fmla="*/ 98617 w 1171563"/>
                <a:gd name="connsiteY84" fmla="*/ 894495 h 1819006"/>
                <a:gd name="connsiteX85" fmla="*/ 51281 w 1171563"/>
                <a:gd name="connsiteY85" fmla="*/ 862477 h 1819006"/>
                <a:gd name="connsiteX86" fmla="*/ 11834 w 1171563"/>
                <a:gd name="connsiteY86" fmla="*/ 780432 h 1819006"/>
                <a:gd name="connsiteX87" fmla="*/ 0 w 1171563"/>
                <a:gd name="connsiteY87" fmla="*/ 658364 h 1819006"/>
                <a:gd name="connsiteX88" fmla="*/ 116368 w 1171563"/>
                <a:gd name="connsiteY88" fmla="*/ 170094 h 1819006"/>
                <a:gd name="connsiteX89" fmla="*/ 244569 w 1171563"/>
                <a:gd name="connsiteY89" fmla="*/ 36020 h 1819006"/>
                <a:gd name="connsiteX90" fmla="*/ 416162 w 1171563"/>
                <a:gd name="connsiteY90" fmla="*/ 0 h 1819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171563" h="1819006">
                  <a:moveTo>
                    <a:pt x="416162" y="0"/>
                  </a:moveTo>
                  <a:cubicBezTo>
                    <a:pt x="506889" y="0"/>
                    <a:pt x="595643" y="22012"/>
                    <a:pt x="664675" y="44024"/>
                  </a:cubicBezTo>
                  <a:cubicBezTo>
                    <a:pt x="731734" y="66037"/>
                    <a:pt x="777097" y="86048"/>
                    <a:pt x="777097" y="86048"/>
                  </a:cubicBezTo>
                  <a:lnTo>
                    <a:pt x="783014" y="90050"/>
                  </a:lnTo>
                  <a:lnTo>
                    <a:pt x="786959" y="92051"/>
                  </a:lnTo>
                  <a:lnTo>
                    <a:pt x="870401" y="183570"/>
                  </a:lnTo>
                  <a:lnTo>
                    <a:pt x="793895" y="169574"/>
                  </a:lnTo>
                  <a:lnTo>
                    <a:pt x="770707" y="173858"/>
                  </a:lnTo>
                  <a:lnTo>
                    <a:pt x="743357" y="144002"/>
                  </a:lnTo>
                  <a:lnTo>
                    <a:pt x="743568" y="144080"/>
                  </a:lnTo>
                  <a:lnTo>
                    <a:pt x="749485" y="146081"/>
                  </a:lnTo>
                  <a:lnTo>
                    <a:pt x="749485" y="148082"/>
                  </a:lnTo>
                  <a:lnTo>
                    <a:pt x="765263" y="118065"/>
                  </a:lnTo>
                  <a:lnTo>
                    <a:pt x="741595" y="142079"/>
                  </a:lnTo>
                  <a:lnTo>
                    <a:pt x="743357" y="144002"/>
                  </a:lnTo>
                  <a:lnTo>
                    <a:pt x="721872" y="136075"/>
                  </a:lnTo>
                  <a:cubicBezTo>
                    <a:pt x="702149" y="128071"/>
                    <a:pt x="676509" y="118065"/>
                    <a:pt x="644951" y="106059"/>
                  </a:cubicBezTo>
                  <a:cubicBezTo>
                    <a:pt x="579864" y="86048"/>
                    <a:pt x="495055" y="66037"/>
                    <a:pt x="416162" y="66037"/>
                  </a:cubicBezTo>
                  <a:cubicBezTo>
                    <a:pt x="364881" y="66037"/>
                    <a:pt x="315573" y="74041"/>
                    <a:pt x="274154" y="96053"/>
                  </a:cubicBezTo>
                  <a:cubicBezTo>
                    <a:pt x="232735" y="116064"/>
                    <a:pt x="199205" y="146081"/>
                    <a:pt x="175537" y="198110"/>
                  </a:cubicBezTo>
                  <a:cubicBezTo>
                    <a:pt x="96644" y="366203"/>
                    <a:pt x="67059" y="536297"/>
                    <a:pt x="67059" y="658364"/>
                  </a:cubicBezTo>
                  <a:cubicBezTo>
                    <a:pt x="67059" y="702389"/>
                    <a:pt x="71004" y="738409"/>
                    <a:pt x="76921" y="766424"/>
                  </a:cubicBezTo>
                  <a:cubicBezTo>
                    <a:pt x="82838" y="794440"/>
                    <a:pt x="92700" y="812449"/>
                    <a:pt x="96644" y="816452"/>
                  </a:cubicBezTo>
                  <a:cubicBezTo>
                    <a:pt x="98617" y="818453"/>
                    <a:pt x="104534" y="822455"/>
                    <a:pt x="110451" y="826457"/>
                  </a:cubicBezTo>
                  <a:cubicBezTo>
                    <a:pt x="118340" y="830459"/>
                    <a:pt x="128202" y="836463"/>
                    <a:pt x="140036" y="840465"/>
                  </a:cubicBezTo>
                  <a:cubicBezTo>
                    <a:pt x="161731" y="852472"/>
                    <a:pt x="191316" y="864478"/>
                    <a:pt x="222873" y="876485"/>
                  </a:cubicBezTo>
                  <a:cubicBezTo>
                    <a:pt x="287960" y="902499"/>
                    <a:pt x="366853" y="930515"/>
                    <a:pt x="433912" y="960531"/>
                  </a:cubicBezTo>
                  <a:cubicBezTo>
                    <a:pt x="479276" y="980543"/>
                    <a:pt x="518722" y="1000554"/>
                    <a:pt x="548307" y="1020565"/>
                  </a:cubicBezTo>
                  <a:cubicBezTo>
                    <a:pt x="566058" y="1032571"/>
                    <a:pt x="579864" y="1044578"/>
                    <a:pt x="589726" y="1062588"/>
                  </a:cubicBezTo>
                  <a:cubicBezTo>
                    <a:pt x="595643" y="1070592"/>
                    <a:pt x="599588" y="1082599"/>
                    <a:pt x="599588" y="1094606"/>
                  </a:cubicBezTo>
                  <a:cubicBezTo>
                    <a:pt x="599588" y="1098608"/>
                    <a:pt x="599588" y="1106612"/>
                    <a:pt x="601560" y="1118619"/>
                  </a:cubicBezTo>
                  <a:cubicBezTo>
                    <a:pt x="603532" y="1128624"/>
                    <a:pt x="605505" y="1142632"/>
                    <a:pt x="607477" y="1158641"/>
                  </a:cubicBezTo>
                  <a:cubicBezTo>
                    <a:pt x="613394" y="1188658"/>
                    <a:pt x="621283" y="1228680"/>
                    <a:pt x="629173" y="1270703"/>
                  </a:cubicBezTo>
                  <a:cubicBezTo>
                    <a:pt x="648896" y="1358752"/>
                    <a:pt x="676509" y="1462809"/>
                    <a:pt x="704121" y="1552859"/>
                  </a:cubicBezTo>
                  <a:cubicBezTo>
                    <a:pt x="723844" y="1612892"/>
                    <a:pt x="745540" y="1664921"/>
                    <a:pt x="765263" y="1702942"/>
                  </a:cubicBezTo>
                  <a:cubicBezTo>
                    <a:pt x="777097" y="1722953"/>
                    <a:pt x="788931" y="1738962"/>
                    <a:pt x="796821" y="1746966"/>
                  </a:cubicBezTo>
                  <a:lnTo>
                    <a:pt x="802103" y="1752325"/>
                  </a:lnTo>
                  <a:lnTo>
                    <a:pt x="800765" y="1752970"/>
                  </a:lnTo>
                  <a:lnTo>
                    <a:pt x="808655" y="1784987"/>
                  </a:lnTo>
                  <a:lnTo>
                    <a:pt x="802738" y="1752970"/>
                  </a:lnTo>
                  <a:lnTo>
                    <a:pt x="802103" y="1752325"/>
                  </a:lnTo>
                  <a:lnTo>
                    <a:pt x="810627" y="1748217"/>
                  </a:lnTo>
                  <a:cubicBezTo>
                    <a:pt x="815065" y="1745966"/>
                    <a:pt x="820489" y="1742964"/>
                    <a:pt x="826406" y="1738962"/>
                  </a:cubicBezTo>
                  <a:cubicBezTo>
                    <a:pt x="838240" y="1730957"/>
                    <a:pt x="850074" y="1716950"/>
                    <a:pt x="863880" y="1702942"/>
                  </a:cubicBezTo>
                  <a:cubicBezTo>
                    <a:pt x="893465" y="1672925"/>
                    <a:pt x="923050" y="1630902"/>
                    <a:pt x="952635" y="1584877"/>
                  </a:cubicBezTo>
                  <a:cubicBezTo>
                    <a:pt x="1011804" y="1494827"/>
                    <a:pt x="1067030" y="1388768"/>
                    <a:pt x="1084780" y="1328735"/>
                  </a:cubicBezTo>
                  <a:cubicBezTo>
                    <a:pt x="1090698" y="1312726"/>
                    <a:pt x="1092670" y="1298718"/>
                    <a:pt x="1092670" y="1294716"/>
                  </a:cubicBezTo>
                  <a:cubicBezTo>
                    <a:pt x="1092670" y="1286712"/>
                    <a:pt x="1094642" y="1276706"/>
                    <a:pt x="1094642" y="1262699"/>
                  </a:cubicBezTo>
                  <a:cubicBezTo>
                    <a:pt x="1096614" y="1248691"/>
                    <a:pt x="1098587" y="1230681"/>
                    <a:pt x="1098587" y="1210670"/>
                  </a:cubicBezTo>
                  <a:cubicBezTo>
                    <a:pt x="1102532" y="1172649"/>
                    <a:pt x="1104504" y="1122621"/>
                    <a:pt x="1104504" y="1062588"/>
                  </a:cubicBezTo>
                  <a:cubicBezTo>
                    <a:pt x="1104504" y="942521"/>
                    <a:pt x="1092670" y="784434"/>
                    <a:pt x="1041389" y="622344"/>
                  </a:cubicBezTo>
                  <a:cubicBezTo>
                    <a:pt x="1028076" y="581822"/>
                    <a:pt x="1012420" y="540799"/>
                    <a:pt x="993991" y="499745"/>
                  </a:cubicBezTo>
                  <a:lnTo>
                    <a:pt x="983308" y="479260"/>
                  </a:lnTo>
                  <a:lnTo>
                    <a:pt x="983446" y="479008"/>
                  </a:lnTo>
                  <a:cubicBezTo>
                    <a:pt x="993638" y="458368"/>
                    <a:pt x="1002131" y="438524"/>
                    <a:pt x="1008076" y="420315"/>
                  </a:cubicBezTo>
                  <a:lnTo>
                    <a:pt x="1013066" y="394207"/>
                  </a:lnTo>
                  <a:lnTo>
                    <a:pt x="1053223" y="472230"/>
                  </a:lnTo>
                  <a:cubicBezTo>
                    <a:pt x="1072454" y="515785"/>
                    <a:pt x="1088726" y="559309"/>
                    <a:pt x="1102532" y="602333"/>
                  </a:cubicBezTo>
                  <a:cubicBezTo>
                    <a:pt x="1157757" y="774428"/>
                    <a:pt x="1171563" y="936518"/>
                    <a:pt x="1171563" y="1062588"/>
                  </a:cubicBezTo>
                  <a:cubicBezTo>
                    <a:pt x="1171563" y="1154639"/>
                    <a:pt x="1163674" y="1226679"/>
                    <a:pt x="1159729" y="1266701"/>
                  </a:cubicBezTo>
                  <a:cubicBezTo>
                    <a:pt x="1159729" y="1280708"/>
                    <a:pt x="1159729" y="1290714"/>
                    <a:pt x="1159729" y="1294716"/>
                  </a:cubicBezTo>
                  <a:cubicBezTo>
                    <a:pt x="1159729" y="1306723"/>
                    <a:pt x="1155784" y="1318730"/>
                    <a:pt x="1153812" y="1330736"/>
                  </a:cubicBezTo>
                  <a:cubicBezTo>
                    <a:pt x="1149867" y="1342743"/>
                    <a:pt x="1145923" y="1354749"/>
                    <a:pt x="1140006" y="1370758"/>
                  </a:cubicBezTo>
                  <a:cubicBezTo>
                    <a:pt x="1130144" y="1398774"/>
                    <a:pt x="1114366" y="1430791"/>
                    <a:pt x="1098587" y="1466811"/>
                  </a:cubicBezTo>
                  <a:cubicBezTo>
                    <a:pt x="1063085" y="1536850"/>
                    <a:pt x="1015749" y="1614893"/>
                    <a:pt x="968413" y="1680930"/>
                  </a:cubicBezTo>
                  <a:cubicBezTo>
                    <a:pt x="934884" y="1724954"/>
                    <a:pt x="903326" y="1760974"/>
                    <a:pt x="871769" y="1786988"/>
                  </a:cubicBezTo>
                  <a:cubicBezTo>
                    <a:pt x="854018" y="1800996"/>
                    <a:pt x="836267" y="1813003"/>
                    <a:pt x="814572" y="1817005"/>
                  </a:cubicBezTo>
                  <a:cubicBezTo>
                    <a:pt x="810627" y="1819006"/>
                    <a:pt x="806682" y="1819006"/>
                    <a:pt x="802738" y="1819006"/>
                  </a:cubicBezTo>
                  <a:cubicBezTo>
                    <a:pt x="790904" y="1819006"/>
                    <a:pt x="779070" y="1815004"/>
                    <a:pt x="769208" y="1809001"/>
                  </a:cubicBezTo>
                  <a:cubicBezTo>
                    <a:pt x="759346" y="1802997"/>
                    <a:pt x="751457" y="1794993"/>
                    <a:pt x="743568" y="1786988"/>
                  </a:cubicBezTo>
                  <a:cubicBezTo>
                    <a:pt x="729761" y="1770980"/>
                    <a:pt x="715955" y="1750969"/>
                    <a:pt x="702149" y="1724954"/>
                  </a:cubicBezTo>
                  <a:cubicBezTo>
                    <a:pt x="678481" y="1676928"/>
                    <a:pt x="654813" y="1610891"/>
                    <a:pt x="633117" y="1540852"/>
                  </a:cubicBezTo>
                  <a:cubicBezTo>
                    <a:pt x="589726" y="1400775"/>
                    <a:pt x="554224" y="1242687"/>
                    <a:pt x="540418" y="1154639"/>
                  </a:cubicBezTo>
                  <a:cubicBezTo>
                    <a:pt x="538446" y="1141631"/>
                    <a:pt x="536966" y="1130625"/>
                    <a:pt x="535980" y="1120870"/>
                  </a:cubicBezTo>
                  <a:lnTo>
                    <a:pt x="534714" y="1098391"/>
                  </a:lnTo>
                  <a:lnTo>
                    <a:pt x="534614" y="1096607"/>
                  </a:lnTo>
                  <a:lnTo>
                    <a:pt x="534612" y="1096579"/>
                  </a:lnTo>
                  <a:lnTo>
                    <a:pt x="534501" y="1094606"/>
                  </a:lnTo>
                  <a:lnTo>
                    <a:pt x="534501" y="1096607"/>
                  </a:lnTo>
                  <a:lnTo>
                    <a:pt x="534501" y="1098608"/>
                  </a:lnTo>
                  <a:lnTo>
                    <a:pt x="532529" y="1094606"/>
                  </a:lnTo>
                  <a:cubicBezTo>
                    <a:pt x="530556" y="1090603"/>
                    <a:pt x="524639" y="1084600"/>
                    <a:pt x="516750" y="1078597"/>
                  </a:cubicBezTo>
                  <a:cubicBezTo>
                    <a:pt x="498999" y="1066590"/>
                    <a:pt x="473359" y="1052582"/>
                    <a:pt x="441802" y="1036573"/>
                  </a:cubicBezTo>
                  <a:cubicBezTo>
                    <a:pt x="378687" y="1008558"/>
                    <a:pt x="295849" y="976540"/>
                    <a:pt x="222873" y="948525"/>
                  </a:cubicBezTo>
                  <a:cubicBezTo>
                    <a:pt x="175537" y="928514"/>
                    <a:pt x="130174" y="912505"/>
                    <a:pt x="98617" y="894495"/>
                  </a:cubicBezTo>
                  <a:cubicBezTo>
                    <a:pt x="78893" y="884489"/>
                    <a:pt x="63115" y="876485"/>
                    <a:pt x="51281" y="862477"/>
                  </a:cubicBezTo>
                  <a:cubicBezTo>
                    <a:pt x="31558" y="842466"/>
                    <a:pt x="19724" y="814451"/>
                    <a:pt x="11834" y="780432"/>
                  </a:cubicBezTo>
                  <a:cubicBezTo>
                    <a:pt x="3945" y="746413"/>
                    <a:pt x="0" y="704390"/>
                    <a:pt x="0" y="658364"/>
                  </a:cubicBezTo>
                  <a:cubicBezTo>
                    <a:pt x="0" y="526291"/>
                    <a:pt x="33530" y="348193"/>
                    <a:pt x="116368" y="170094"/>
                  </a:cubicBezTo>
                  <a:cubicBezTo>
                    <a:pt x="145953" y="106059"/>
                    <a:pt x="191316" y="62034"/>
                    <a:pt x="244569" y="36020"/>
                  </a:cubicBezTo>
                  <a:cubicBezTo>
                    <a:pt x="297822" y="8005"/>
                    <a:pt x="356992" y="0"/>
                    <a:pt x="416162" y="0"/>
                  </a:cubicBez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Shape 2988">
              <a:extLst>
                <a:ext uri="{FF2B5EF4-FFF2-40B4-BE49-F238E27FC236}">
                  <a16:creationId xmlns:a16="http://schemas.microsoft.com/office/drawing/2014/main" id="{5A226903-EF3E-B6E2-CE24-D2A48747B498}"/>
                </a:ext>
              </a:extLst>
            </p:cNvPr>
            <p:cNvSpPr>
              <a:spLocks/>
            </p:cNvSpPr>
            <p:nvPr/>
          </p:nvSpPr>
          <p:spPr bwMode="auto">
            <a:xfrm>
              <a:off x="6120481" y="3131711"/>
              <a:ext cx="1156152" cy="1449038"/>
            </a:xfrm>
            <a:custGeom>
              <a:avLst/>
              <a:gdLst>
                <a:gd name="connsiteX0" fmla="*/ 754794 w 1156152"/>
                <a:gd name="connsiteY0" fmla="*/ 0 h 1449038"/>
                <a:gd name="connsiteX1" fmla="*/ 786743 w 1156152"/>
                <a:gd name="connsiteY1" fmla="*/ 7973 h 1449038"/>
                <a:gd name="connsiteX2" fmla="*/ 808708 w 1156152"/>
                <a:gd name="connsiteY2" fmla="*/ 19932 h 1449038"/>
                <a:gd name="connsiteX3" fmla="*/ 804714 w 1156152"/>
                <a:gd name="connsiteY3" fmla="*/ 45843 h 1449038"/>
                <a:gd name="connsiteX4" fmla="*/ 802717 w 1156152"/>
                <a:gd name="connsiteY4" fmla="*/ 49829 h 1449038"/>
                <a:gd name="connsiteX5" fmla="*/ 800720 w 1156152"/>
                <a:gd name="connsiteY5" fmla="*/ 61789 h 1449038"/>
                <a:gd name="connsiteX6" fmla="*/ 792733 w 1156152"/>
                <a:gd name="connsiteY6" fmla="*/ 101652 h 1449038"/>
                <a:gd name="connsiteX7" fmla="*/ 782749 w 1156152"/>
                <a:gd name="connsiteY7" fmla="*/ 209283 h 1449038"/>
                <a:gd name="connsiteX8" fmla="*/ 783997 w 1156152"/>
                <a:gd name="connsiteY8" fmla="*/ 235444 h 1449038"/>
                <a:gd name="connsiteX9" fmla="*/ 786672 w 1156152"/>
                <a:gd name="connsiteY9" fmla="*/ 250738 h 1449038"/>
                <a:gd name="connsiteX10" fmla="*/ 782749 w 1156152"/>
                <a:gd name="connsiteY10" fmla="*/ 251140 h 1449038"/>
                <a:gd name="connsiteX11" fmla="*/ 784746 w 1156152"/>
                <a:gd name="connsiteY11" fmla="*/ 253133 h 1449038"/>
                <a:gd name="connsiteX12" fmla="*/ 788739 w 1156152"/>
                <a:gd name="connsiteY12" fmla="*/ 255126 h 1449038"/>
                <a:gd name="connsiteX13" fmla="*/ 786743 w 1156152"/>
                <a:gd name="connsiteY13" fmla="*/ 251140 h 1449038"/>
                <a:gd name="connsiteX14" fmla="*/ 786672 w 1156152"/>
                <a:gd name="connsiteY14" fmla="*/ 250738 h 1449038"/>
                <a:gd name="connsiteX15" fmla="*/ 792484 w 1156152"/>
                <a:gd name="connsiteY15" fmla="*/ 250144 h 1449038"/>
                <a:gd name="connsiteX16" fmla="*/ 812701 w 1156152"/>
                <a:gd name="connsiteY16" fmla="*/ 243167 h 1449038"/>
                <a:gd name="connsiteX17" fmla="*/ 866615 w 1156152"/>
                <a:gd name="connsiteY17" fmla="*/ 221243 h 1449038"/>
                <a:gd name="connsiteX18" fmla="*/ 1004395 w 1156152"/>
                <a:gd name="connsiteY18" fmla="*/ 183372 h 1449038"/>
                <a:gd name="connsiteX19" fmla="*/ 1082270 w 1156152"/>
                <a:gd name="connsiteY19" fmla="*/ 207290 h 1449038"/>
                <a:gd name="connsiteX20" fmla="*/ 1138181 w 1156152"/>
                <a:gd name="connsiteY20" fmla="*/ 283031 h 1449038"/>
                <a:gd name="connsiteX21" fmla="*/ 1156152 w 1156152"/>
                <a:gd name="connsiteY21" fmla="*/ 382690 h 1449038"/>
                <a:gd name="connsiteX22" fmla="*/ 1130194 w 1156152"/>
                <a:gd name="connsiteY22" fmla="*/ 500287 h 1449038"/>
                <a:gd name="connsiteX23" fmla="*/ 1062302 w 1156152"/>
                <a:gd name="connsiteY23" fmla="*/ 613898 h 1449038"/>
                <a:gd name="connsiteX24" fmla="*/ 830672 w 1156152"/>
                <a:gd name="connsiteY24" fmla="*/ 857065 h 1449038"/>
                <a:gd name="connsiteX25" fmla="*/ 650960 w 1156152"/>
                <a:gd name="connsiteY25" fmla="*/ 1022499 h 1449038"/>
                <a:gd name="connsiteX26" fmla="*/ 495209 w 1156152"/>
                <a:gd name="connsiteY26" fmla="*/ 1130130 h 1449038"/>
                <a:gd name="connsiteX27" fmla="*/ 395368 w 1156152"/>
                <a:gd name="connsiteY27" fmla="*/ 1156042 h 1449038"/>
                <a:gd name="connsiteX28" fmla="*/ 344699 w 1156152"/>
                <a:gd name="connsiteY28" fmla="*/ 1148567 h 1449038"/>
                <a:gd name="connsiteX29" fmla="*/ 302765 w 1156152"/>
                <a:gd name="connsiteY29" fmla="*/ 1129445 h 1449038"/>
                <a:gd name="connsiteX30" fmla="*/ 301518 w 1156152"/>
                <a:gd name="connsiteY30" fmla="*/ 1118171 h 1449038"/>
                <a:gd name="connsiteX31" fmla="*/ 301518 w 1156152"/>
                <a:gd name="connsiteY31" fmla="*/ 1112192 h 1449038"/>
                <a:gd name="connsiteX32" fmla="*/ 301518 w 1156152"/>
                <a:gd name="connsiteY32" fmla="*/ 1110198 h 1449038"/>
                <a:gd name="connsiteX33" fmla="*/ 295528 w 1156152"/>
                <a:gd name="connsiteY33" fmla="*/ 1116178 h 1449038"/>
                <a:gd name="connsiteX34" fmla="*/ 285544 w 1156152"/>
                <a:gd name="connsiteY34" fmla="*/ 1120164 h 1449038"/>
                <a:gd name="connsiteX35" fmla="*/ 295528 w 1156152"/>
                <a:gd name="connsiteY35" fmla="*/ 1126144 h 1449038"/>
                <a:gd name="connsiteX36" fmla="*/ 302765 w 1156152"/>
                <a:gd name="connsiteY36" fmla="*/ 1129445 h 1449038"/>
                <a:gd name="connsiteX37" fmla="*/ 305762 w 1156152"/>
                <a:gd name="connsiteY37" fmla="*/ 1156540 h 1449038"/>
                <a:gd name="connsiteX38" fmla="*/ 317493 w 1156152"/>
                <a:gd name="connsiteY38" fmla="*/ 1209857 h 1449038"/>
                <a:gd name="connsiteX39" fmla="*/ 347445 w 1156152"/>
                <a:gd name="connsiteY39" fmla="*/ 1325461 h 1449038"/>
                <a:gd name="connsiteX40" fmla="*/ 357429 w 1156152"/>
                <a:gd name="connsiteY40" fmla="*/ 1389243 h 1449038"/>
                <a:gd name="connsiteX41" fmla="*/ 353435 w 1156152"/>
                <a:gd name="connsiteY41" fmla="*/ 1415154 h 1449038"/>
                <a:gd name="connsiteX42" fmla="*/ 333467 w 1156152"/>
                <a:gd name="connsiteY42" fmla="*/ 1441065 h 1449038"/>
                <a:gd name="connsiteX43" fmla="*/ 309506 w 1156152"/>
                <a:gd name="connsiteY43" fmla="*/ 1449038 h 1449038"/>
                <a:gd name="connsiteX44" fmla="*/ 291534 w 1156152"/>
                <a:gd name="connsiteY44" fmla="*/ 1445052 h 1449038"/>
                <a:gd name="connsiteX45" fmla="*/ 251598 w 1156152"/>
                <a:gd name="connsiteY45" fmla="*/ 1421134 h 1449038"/>
                <a:gd name="connsiteX46" fmla="*/ 207668 w 1156152"/>
                <a:gd name="connsiteY46" fmla="*/ 1383263 h 1449038"/>
                <a:gd name="connsiteX47" fmla="*/ 113818 w 1156152"/>
                <a:gd name="connsiteY47" fmla="*/ 1265666 h 1449038"/>
                <a:gd name="connsiteX48" fmla="*/ 0 w 1156152"/>
                <a:gd name="connsiteY48" fmla="*/ 930813 h 1449038"/>
                <a:gd name="connsiteX49" fmla="*/ 21965 w 1156152"/>
                <a:gd name="connsiteY49" fmla="*/ 805243 h 1449038"/>
                <a:gd name="connsiteX50" fmla="*/ 231630 w 1156152"/>
                <a:gd name="connsiteY50" fmla="*/ 448464 h 1449038"/>
                <a:gd name="connsiteX51" fmla="*/ 347939 w 1156152"/>
                <a:gd name="connsiteY51" fmla="*/ 310521 h 1449038"/>
                <a:gd name="connsiteX52" fmla="*/ 376795 w 1156152"/>
                <a:gd name="connsiteY52" fmla="*/ 354949 h 1449038"/>
                <a:gd name="connsiteX53" fmla="*/ 385910 w 1156152"/>
                <a:gd name="connsiteY53" fmla="*/ 367820 h 1449038"/>
                <a:gd name="connsiteX54" fmla="*/ 321143 w 1156152"/>
                <a:gd name="connsiteY54" fmla="*/ 441208 h 1449038"/>
                <a:gd name="connsiteX55" fmla="*/ 83866 w 1156152"/>
                <a:gd name="connsiteY55" fmla="*/ 827168 h 1449038"/>
                <a:gd name="connsiteX56" fmla="*/ 67892 w 1156152"/>
                <a:gd name="connsiteY56" fmla="*/ 930813 h 1449038"/>
                <a:gd name="connsiteX57" fmla="*/ 117812 w 1156152"/>
                <a:gd name="connsiteY57" fmla="*/ 1134117 h 1449038"/>
                <a:gd name="connsiteX58" fmla="*/ 223643 w 1156152"/>
                <a:gd name="connsiteY58" fmla="*/ 1301543 h 1449038"/>
                <a:gd name="connsiteX59" fmla="*/ 259086 w 1156152"/>
                <a:gd name="connsiteY59" fmla="*/ 1341407 h 1449038"/>
                <a:gd name="connsiteX60" fmla="*/ 286698 w 1156152"/>
                <a:gd name="connsiteY60" fmla="*/ 1365152 h 1449038"/>
                <a:gd name="connsiteX61" fmla="*/ 289537 w 1156152"/>
                <a:gd name="connsiteY61" fmla="*/ 1389243 h 1449038"/>
                <a:gd name="connsiteX62" fmla="*/ 289537 w 1156152"/>
                <a:gd name="connsiteY62" fmla="*/ 1395222 h 1449038"/>
                <a:gd name="connsiteX63" fmla="*/ 295528 w 1156152"/>
                <a:gd name="connsiteY63" fmla="*/ 1387250 h 1449038"/>
                <a:gd name="connsiteX64" fmla="*/ 309506 w 1156152"/>
                <a:gd name="connsiteY64" fmla="*/ 1381270 h 1449038"/>
                <a:gd name="connsiteX65" fmla="*/ 313499 w 1156152"/>
                <a:gd name="connsiteY65" fmla="*/ 1381270 h 1449038"/>
                <a:gd name="connsiteX66" fmla="*/ 291534 w 1156152"/>
                <a:gd name="connsiteY66" fmla="*/ 1369311 h 1449038"/>
                <a:gd name="connsiteX67" fmla="*/ 286698 w 1156152"/>
                <a:gd name="connsiteY67" fmla="*/ 1365152 h 1449038"/>
                <a:gd name="connsiteX68" fmla="*/ 285544 w 1156152"/>
                <a:gd name="connsiteY68" fmla="*/ 1355359 h 1449038"/>
                <a:gd name="connsiteX69" fmla="*/ 273563 w 1156152"/>
                <a:gd name="connsiteY69" fmla="*/ 1303536 h 1449038"/>
                <a:gd name="connsiteX70" fmla="*/ 243611 w 1156152"/>
                <a:gd name="connsiteY70" fmla="*/ 1187932 h 1449038"/>
                <a:gd name="connsiteX71" fmla="*/ 233627 w 1156152"/>
                <a:gd name="connsiteY71" fmla="*/ 1118171 h 1449038"/>
                <a:gd name="connsiteX72" fmla="*/ 237620 w 1156152"/>
                <a:gd name="connsiteY72" fmla="*/ 1090267 h 1449038"/>
                <a:gd name="connsiteX73" fmla="*/ 259585 w 1156152"/>
                <a:gd name="connsiteY73" fmla="*/ 1060369 h 1449038"/>
                <a:gd name="connsiteX74" fmla="*/ 285544 w 1156152"/>
                <a:gd name="connsiteY74" fmla="*/ 1054390 h 1449038"/>
                <a:gd name="connsiteX75" fmla="*/ 331470 w 1156152"/>
                <a:gd name="connsiteY75" fmla="*/ 1070335 h 1449038"/>
                <a:gd name="connsiteX76" fmla="*/ 395368 w 1156152"/>
                <a:gd name="connsiteY76" fmla="*/ 1088274 h 1449038"/>
                <a:gd name="connsiteX77" fmla="*/ 467253 w 1156152"/>
                <a:gd name="connsiteY77" fmla="*/ 1070335 h 1449038"/>
                <a:gd name="connsiteX78" fmla="*/ 557110 w 1156152"/>
                <a:gd name="connsiteY78" fmla="*/ 1014526 h 1449038"/>
                <a:gd name="connsiteX79" fmla="*/ 784746 w 1156152"/>
                <a:gd name="connsiteY79" fmla="*/ 807236 h 1449038"/>
                <a:gd name="connsiteX80" fmla="*/ 964459 w 1156152"/>
                <a:gd name="connsiteY80" fmla="*/ 627850 h 1449038"/>
                <a:gd name="connsiteX81" fmla="*/ 1070289 w 1156152"/>
                <a:gd name="connsiteY81" fmla="*/ 474376 h 1449038"/>
                <a:gd name="connsiteX82" fmla="*/ 1090258 w 1156152"/>
                <a:gd name="connsiteY82" fmla="*/ 382690 h 1449038"/>
                <a:gd name="connsiteX83" fmla="*/ 1076280 w 1156152"/>
                <a:gd name="connsiteY83" fmla="*/ 306949 h 1449038"/>
                <a:gd name="connsiteX84" fmla="*/ 1044331 w 1156152"/>
                <a:gd name="connsiteY84" fmla="*/ 261106 h 1449038"/>
                <a:gd name="connsiteX85" fmla="*/ 1004395 w 1156152"/>
                <a:gd name="connsiteY85" fmla="*/ 251140 h 1449038"/>
                <a:gd name="connsiteX86" fmla="*/ 922526 w 1156152"/>
                <a:gd name="connsiteY86" fmla="*/ 269079 h 1449038"/>
                <a:gd name="connsiteX87" fmla="*/ 836663 w 1156152"/>
                <a:gd name="connsiteY87" fmla="*/ 304956 h 1449038"/>
                <a:gd name="connsiteX88" fmla="*/ 782749 w 1156152"/>
                <a:gd name="connsiteY88" fmla="*/ 318908 h 1449038"/>
                <a:gd name="connsiteX89" fmla="*/ 764778 w 1156152"/>
                <a:gd name="connsiteY89" fmla="*/ 316915 h 1449038"/>
                <a:gd name="connsiteX90" fmla="*/ 736822 w 1156152"/>
                <a:gd name="connsiteY90" fmla="*/ 294990 h 1449038"/>
                <a:gd name="connsiteX91" fmla="*/ 722845 w 1156152"/>
                <a:gd name="connsiteY91" fmla="*/ 269079 h 1449038"/>
                <a:gd name="connsiteX92" fmla="*/ 714858 w 1156152"/>
                <a:gd name="connsiteY92" fmla="*/ 209283 h 1449038"/>
                <a:gd name="connsiteX93" fmla="*/ 726838 w 1156152"/>
                <a:gd name="connsiteY93" fmla="*/ 89693 h 1449038"/>
                <a:gd name="connsiteX94" fmla="*/ 729730 w 1156152"/>
                <a:gd name="connsiteY94" fmla="*/ 74737 h 1449038"/>
                <a:gd name="connsiteX95" fmla="*/ 737821 w 1156152"/>
                <a:gd name="connsiteY95" fmla="*/ 71256 h 1449038"/>
                <a:gd name="connsiteX96" fmla="*/ 754794 w 1156152"/>
                <a:gd name="connsiteY96" fmla="*/ 67768 h 1449038"/>
                <a:gd name="connsiteX97" fmla="*/ 756791 w 1156152"/>
                <a:gd name="connsiteY97" fmla="*/ 67768 h 1449038"/>
                <a:gd name="connsiteX98" fmla="*/ 770768 w 1156152"/>
                <a:gd name="connsiteY98" fmla="*/ 37870 h 1449038"/>
                <a:gd name="connsiteX99" fmla="*/ 738819 w 1156152"/>
                <a:gd name="connsiteY99" fmla="*/ 29898 h 1449038"/>
                <a:gd name="connsiteX100" fmla="*/ 735075 w 1156152"/>
                <a:gd name="connsiteY100" fmla="*/ 47089 h 1449038"/>
                <a:gd name="connsiteX101" fmla="*/ 729730 w 1156152"/>
                <a:gd name="connsiteY101" fmla="*/ 74737 h 1449038"/>
                <a:gd name="connsiteX102" fmla="*/ 708867 w 1156152"/>
                <a:gd name="connsiteY102" fmla="*/ 83713 h 1449038"/>
                <a:gd name="connsiteX103" fmla="*/ 705867 w 1156152"/>
                <a:gd name="connsiteY103" fmla="*/ 85454 h 1449038"/>
                <a:gd name="connsiteX104" fmla="*/ 704539 w 1156152"/>
                <a:gd name="connsiteY104" fmla="*/ 73305 h 1449038"/>
                <a:gd name="connsiteX105" fmla="*/ 691434 w 1156152"/>
                <a:gd name="connsiteY105" fmla="*/ 34324 h 1449038"/>
                <a:gd name="connsiteX106" fmla="*/ 684324 w 1156152"/>
                <a:gd name="connsiteY106" fmla="*/ 22213 h 144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56152" h="1449038">
                  <a:moveTo>
                    <a:pt x="754794" y="0"/>
                  </a:moveTo>
                  <a:cubicBezTo>
                    <a:pt x="764778" y="0"/>
                    <a:pt x="776759" y="1993"/>
                    <a:pt x="786743" y="7973"/>
                  </a:cubicBezTo>
                  <a:lnTo>
                    <a:pt x="808708" y="19932"/>
                  </a:lnTo>
                  <a:lnTo>
                    <a:pt x="804714" y="45843"/>
                  </a:lnTo>
                  <a:lnTo>
                    <a:pt x="802717" y="49829"/>
                  </a:lnTo>
                  <a:cubicBezTo>
                    <a:pt x="802717" y="51823"/>
                    <a:pt x="800720" y="55809"/>
                    <a:pt x="800720" y="61789"/>
                  </a:cubicBezTo>
                  <a:cubicBezTo>
                    <a:pt x="798724" y="71754"/>
                    <a:pt x="796727" y="85707"/>
                    <a:pt x="792733" y="101652"/>
                  </a:cubicBezTo>
                  <a:cubicBezTo>
                    <a:pt x="786743" y="133543"/>
                    <a:pt x="782749" y="175400"/>
                    <a:pt x="782749" y="209283"/>
                  </a:cubicBezTo>
                  <a:cubicBezTo>
                    <a:pt x="782749" y="219249"/>
                    <a:pt x="783248" y="228219"/>
                    <a:pt x="783997" y="235444"/>
                  </a:cubicBezTo>
                  <a:lnTo>
                    <a:pt x="786672" y="250738"/>
                  </a:lnTo>
                  <a:lnTo>
                    <a:pt x="782749" y="251140"/>
                  </a:lnTo>
                  <a:lnTo>
                    <a:pt x="784746" y="253133"/>
                  </a:lnTo>
                  <a:lnTo>
                    <a:pt x="788739" y="255126"/>
                  </a:lnTo>
                  <a:lnTo>
                    <a:pt x="786743" y="251140"/>
                  </a:lnTo>
                  <a:lnTo>
                    <a:pt x="786672" y="250738"/>
                  </a:lnTo>
                  <a:lnTo>
                    <a:pt x="792484" y="250144"/>
                  </a:lnTo>
                  <a:cubicBezTo>
                    <a:pt x="797725" y="248649"/>
                    <a:pt x="804714" y="246157"/>
                    <a:pt x="812701" y="243167"/>
                  </a:cubicBezTo>
                  <a:cubicBezTo>
                    <a:pt x="826679" y="237188"/>
                    <a:pt x="846647" y="229215"/>
                    <a:pt x="866615" y="221243"/>
                  </a:cubicBezTo>
                  <a:cubicBezTo>
                    <a:pt x="906551" y="203304"/>
                    <a:pt x="954475" y="183372"/>
                    <a:pt x="1004395" y="183372"/>
                  </a:cubicBezTo>
                  <a:cubicBezTo>
                    <a:pt x="1030353" y="183372"/>
                    <a:pt x="1058309" y="189352"/>
                    <a:pt x="1082270" y="207290"/>
                  </a:cubicBezTo>
                  <a:cubicBezTo>
                    <a:pt x="1106232" y="223236"/>
                    <a:pt x="1126200" y="249147"/>
                    <a:pt x="1138181" y="283031"/>
                  </a:cubicBezTo>
                  <a:cubicBezTo>
                    <a:pt x="1150162" y="316915"/>
                    <a:pt x="1156152" y="348806"/>
                    <a:pt x="1156152" y="382690"/>
                  </a:cubicBezTo>
                  <a:cubicBezTo>
                    <a:pt x="1156152" y="422553"/>
                    <a:pt x="1148165" y="462417"/>
                    <a:pt x="1130194" y="500287"/>
                  </a:cubicBezTo>
                  <a:cubicBezTo>
                    <a:pt x="1114219" y="538157"/>
                    <a:pt x="1090258" y="576028"/>
                    <a:pt x="1062302" y="613898"/>
                  </a:cubicBezTo>
                  <a:cubicBezTo>
                    <a:pt x="1002398" y="689639"/>
                    <a:pt x="922526" y="769366"/>
                    <a:pt x="830672" y="857065"/>
                  </a:cubicBezTo>
                  <a:cubicBezTo>
                    <a:pt x="764778" y="918854"/>
                    <a:pt x="704874" y="976656"/>
                    <a:pt x="650960" y="1022499"/>
                  </a:cubicBezTo>
                  <a:cubicBezTo>
                    <a:pt x="595049" y="1070335"/>
                    <a:pt x="545129" y="1108205"/>
                    <a:pt x="495209" y="1130130"/>
                  </a:cubicBezTo>
                  <a:cubicBezTo>
                    <a:pt x="463260" y="1146076"/>
                    <a:pt x="429314" y="1156042"/>
                    <a:pt x="395368" y="1156042"/>
                  </a:cubicBezTo>
                  <a:cubicBezTo>
                    <a:pt x="378396" y="1156042"/>
                    <a:pt x="361423" y="1153550"/>
                    <a:pt x="344699" y="1148567"/>
                  </a:cubicBezTo>
                  <a:lnTo>
                    <a:pt x="302765" y="1129445"/>
                  </a:lnTo>
                  <a:lnTo>
                    <a:pt x="301518" y="1118171"/>
                  </a:lnTo>
                  <a:cubicBezTo>
                    <a:pt x="301518" y="1116178"/>
                    <a:pt x="301518" y="1112192"/>
                    <a:pt x="301518" y="1112192"/>
                  </a:cubicBezTo>
                  <a:lnTo>
                    <a:pt x="301518" y="1110198"/>
                  </a:lnTo>
                  <a:cubicBezTo>
                    <a:pt x="301518" y="1110198"/>
                    <a:pt x="299521" y="1114185"/>
                    <a:pt x="295528" y="1116178"/>
                  </a:cubicBezTo>
                  <a:cubicBezTo>
                    <a:pt x="293531" y="1120164"/>
                    <a:pt x="287541" y="1120164"/>
                    <a:pt x="285544" y="1120164"/>
                  </a:cubicBezTo>
                  <a:cubicBezTo>
                    <a:pt x="285544" y="1120164"/>
                    <a:pt x="289537" y="1122158"/>
                    <a:pt x="295528" y="1126144"/>
                  </a:cubicBezTo>
                  <a:lnTo>
                    <a:pt x="302765" y="1129445"/>
                  </a:lnTo>
                  <a:lnTo>
                    <a:pt x="305762" y="1156540"/>
                  </a:lnTo>
                  <a:cubicBezTo>
                    <a:pt x="308507" y="1172485"/>
                    <a:pt x="312501" y="1190922"/>
                    <a:pt x="317493" y="1209857"/>
                  </a:cubicBezTo>
                  <a:cubicBezTo>
                    <a:pt x="327477" y="1247728"/>
                    <a:pt x="339458" y="1289584"/>
                    <a:pt x="347445" y="1325461"/>
                  </a:cubicBezTo>
                  <a:cubicBezTo>
                    <a:pt x="353435" y="1349379"/>
                    <a:pt x="357429" y="1371304"/>
                    <a:pt x="357429" y="1389243"/>
                  </a:cubicBezTo>
                  <a:cubicBezTo>
                    <a:pt x="357429" y="1397216"/>
                    <a:pt x="355432" y="1405188"/>
                    <a:pt x="353435" y="1415154"/>
                  </a:cubicBezTo>
                  <a:cubicBezTo>
                    <a:pt x="351438" y="1423127"/>
                    <a:pt x="345448" y="1433093"/>
                    <a:pt x="333467" y="1441065"/>
                  </a:cubicBezTo>
                  <a:cubicBezTo>
                    <a:pt x="327477" y="1445052"/>
                    <a:pt x="317493" y="1449038"/>
                    <a:pt x="309506" y="1449038"/>
                  </a:cubicBezTo>
                  <a:cubicBezTo>
                    <a:pt x="303515" y="1449038"/>
                    <a:pt x="297525" y="1447045"/>
                    <a:pt x="291534" y="1445052"/>
                  </a:cubicBezTo>
                  <a:cubicBezTo>
                    <a:pt x="277557" y="1439072"/>
                    <a:pt x="265576" y="1433093"/>
                    <a:pt x="251598" y="1421134"/>
                  </a:cubicBezTo>
                  <a:cubicBezTo>
                    <a:pt x="237620" y="1411168"/>
                    <a:pt x="221646" y="1399209"/>
                    <a:pt x="207668" y="1383263"/>
                  </a:cubicBezTo>
                  <a:cubicBezTo>
                    <a:pt x="177716" y="1353366"/>
                    <a:pt x="143770" y="1313502"/>
                    <a:pt x="113818" y="1265666"/>
                  </a:cubicBezTo>
                  <a:cubicBezTo>
                    <a:pt x="53914" y="1171987"/>
                    <a:pt x="0" y="1052396"/>
                    <a:pt x="0" y="930813"/>
                  </a:cubicBezTo>
                  <a:cubicBezTo>
                    <a:pt x="0" y="888956"/>
                    <a:pt x="5991" y="845106"/>
                    <a:pt x="21965" y="805243"/>
                  </a:cubicBezTo>
                  <a:cubicBezTo>
                    <a:pt x="63898" y="689639"/>
                    <a:pt x="141774" y="564069"/>
                    <a:pt x="231630" y="448464"/>
                  </a:cubicBezTo>
                  <a:lnTo>
                    <a:pt x="347939" y="310521"/>
                  </a:lnTo>
                  <a:lnTo>
                    <a:pt x="376795" y="354949"/>
                  </a:lnTo>
                  <a:lnTo>
                    <a:pt x="385910" y="367820"/>
                  </a:lnTo>
                  <a:lnTo>
                    <a:pt x="321143" y="441208"/>
                  </a:lnTo>
                  <a:cubicBezTo>
                    <a:pt x="217902" y="567058"/>
                    <a:pt x="127297" y="706082"/>
                    <a:pt x="83866" y="827168"/>
                  </a:cubicBezTo>
                  <a:cubicBezTo>
                    <a:pt x="71885" y="861052"/>
                    <a:pt x="67892" y="894936"/>
                    <a:pt x="67892" y="930813"/>
                  </a:cubicBezTo>
                  <a:cubicBezTo>
                    <a:pt x="67892" y="998581"/>
                    <a:pt x="85863" y="1068342"/>
                    <a:pt x="117812" y="1134117"/>
                  </a:cubicBezTo>
                  <a:cubicBezTo>
                    <a:pt x="145767" y="1197898"/>
                    <a:pt x="185703" y="1257693"/>
                    <a:pt x="223643" y="1301543"/>
                  </a:cubicBezTo>
                  <a:cubicBezTo>
                    <a:pt x="235624" y="1316492"/>
                    <a:pt x="247604" y="1329946"/>
                    <a:pt x="259086" y="1341407"/>
                  </a:cubicBezTo>
                  <a:lnTo>
                    <a:pt x="286698" y="1365152"/>
                  </a:lnTo>
                  <a:lnTo>
                    <a:pt x="289537" y="1389243"/>
                  </a:lnTo>
                  <a:lnTo>
                    <a:pt x="289537" y="1395222"/>
                  </a:lnTo>
                  <a:cubicBezTo>
                    <a:pt x="289537" y="1395222"/>
                    <a:pt x="291534" y="1391236"/>
                    <a:pt x="295528" y="1387250"/>
                  </a:cubicBezTo>
                  <a:cubicBezTo>
                    <a:pt x="299521" y="1383263"/>
                    <a:pt x="305512" y="1381270"/>
                    <a:pt x="309506" y="1381270"/>
                  </a:cubicBezTo>
                  <a:lnTo>
                    <a:pt x="313499" y="1381270"/>
                  </a:lnTo>
                  <a:cubicBezTo>
                    <a:pt x="309506" y="1381270"/>
                    <a:pt x="301518" y="1377284"/>
                    <a:pt x="291534" y="1369311"/>
                  </a:cubicBezTo>
                  <a:lnTo>
                    <a:pt x="286698" y="1365152"/>
                  </a:lnTo>
                  <a:lnTo>
                    <a:pt x="285544" y="1355359"/>
                  </a:lnTo>
                  <a:cubicBezTo>
                    <a:pt x="283547" y="1341407"/>
                    <a:pt x="279553" y="1323468"/>
                    <a:pt x="273563" y="1303536"/>
                  </a:cubicBezTo>
                  <a:cubicBezTo>
                    <a:pt x="263579" y="1267659"/>
                    <a:pt x="251598" y="1225803"/>
                    <a:pt x="243611" y="1187932"/>
                  </a:cubicBezTo>
                  <a:cubicBezTo>
                    <a:pt x="237620" y="1162021"/>
                    <a:pt x="233627" y="1140096"/>
                    <a:pt x="233627" y="1118171"/>
                  </a:cubicBezTo>
                  <a:cubicBezTo>
                    <a:pt x="233627" y="1110198"/>
                    <a:pt x="235624" y="1100233"/>
                    <a:pt x="237620" y="1090267"/>
                  </a:cubicBezTo>
                  <a:cubicBezTo>
                    <a:pt x="241614" y="1080301"/>
                    <a:pt x="247604" y="1068342"/>
                    <a:pt x="259585" y="1060369"/>
                  </a:cubicBezTo>
                  <a:cubicBezTo>
                    <a:pt x="267573" y="1056383"/>
                    <a:pt x="277557" y="1054390"/>
                    <a:pt x="285544" y="1054390"/>
                  </a:cubicBezTo>
                  <a:cubicBezTo>
                    <a:pt x="303515" y="1054390"/>
                    <a:pt x="317493" y="1060369"/>
                    <a:pt x="331470" y="1070335"/>
                  </a:cubicBezTo>
                  <a:cubicBezTo>
                    <a:pt x="353435" y="1084287"/>
                    <a:pt x="373403" y="1088274"/>
                    <a:pt x="395368" y="1088274"/>
                  </a:cubicBezTo>
                  <a:cubicBezTo>
                    <a:pt x="417333" y="1088274"/>
                    <a:pt x="441295" y="1082294"/>
                    <a:pt x="467253" y="1070335"/>
                  </a:cubicBezTo>
                  <a:cubicBezTo>
                    <a:pt x="495209" y="1058376"/>
                    <a:pt x="525161" y="1038444"/>
                    <a:pt x="557110" y="1014526"/>
                  </a:cubicBezTo>
                  <a:cubicBezTo>
                    <a:pt x="621008" y="964697"/>
                    <a:pt x="696886" y="892942"/>
                    <a:pt x="784746" y="807236"/>
                  </a:cubicBezTo>
                  <a:cubicBezTo>
                    <a:pt x="854634" y="741461"/>
                    <a:pt x="914538" y="683659"/>
                    <a:pt x="964459" y="627850"/>
                  </a:cubicBezTo>
                  <a:cubicBezTo>
                    <a:pt x="1012382" y="574034"/>
                    <a:pt x="1048325" y="522212"/>
                    <a:pt x="1070289" y="474376"/>
                  </a:cubicBezTo>
                  <a:cubicBezTo>
                    <a:pt x="1084267" y="442485"/>
                    <a:pt x="1090258" y="412587"/>
                    <a:pt x="1090258" y="382690"/>
                  </a:cubicBezTo>
                  <a:cubicBezTo>
                    <a:pt x="1090258" y="356778"/>
                    <a:pt x="1086264" y="332860"/>
                    <a:pt x="1076280" y="306949"/>
                  </a:cubicBezTo>
                  <a:cubicBezTo>
                    <a:pt x="1066296" y="283031"/>
                    <a:pt x="1056312" y="269079"/>
                    <a:pt x="1044331" y="261106"/>
                  </a:cubicBezTo>
                  <a:cubicBezTo>
                    <a:pt x="1034347" y="253133"/>
                    <a:pt x="1020369" y="251140"/>
                    <a:pt x="1004395" y="251140"/>
                  </a:cubicBezTo>
                  <a:cubicBezTo>
                    <a:pt x="980433" y="249147"/>
                    <a:pt x="950481" y="259113"/>
                    <a:pt x="922526" y="269079"/>
                  </a:cubicBezTo>
                  <a:cubicBezTo>
                    <a:pt x="892574" y="281038"/>
                    <a:pt x="862621" y="294990"/>
                    <a:pt x="836663" y="304956"/>
                  </a:cubicBezTo>
                  <a:cubicBezTo>
                    <a:pt x="818692" y="312929"/>
                    <a:pt x="802717" y="316915"/>
                    <a:pt x="782749" y="318908"/>
                  </a:cubicBezTo>
                  <a:cubicBezTo>
                    <a:pt x="776759" y="318908"/>
                    <a:pt x="770768" y="316915"/>
                    <a:pt x="764778" y="316915"/>
                  </a:cubicBezTo>
                  <a:cubicBezTo>
                    <a:pt x="752797" y="312929"/>
                    <a:pt x="742813" y="304956"/>
                    <a:pt x="736822" y="294990"/>
                  </a:cubicBezTo>
                  <a:cubicBezTo>
                    <a:pt x="728835" y="287017"/>
                    <a:pt x="724842" y="277051"/>
                    <a:pt x="722845" y="269079"/>
                  </a:cubicBezTo>
                  <a:cubicBezTo>
                    <a:pt x="716854" y="249147"/>
                    <a:pt x="714858" y="229215"/>
                    <a:pt x="714858" y="209283"/>
                  </a:cubicBezTo>
                  <a:cubicBezTo>
                    <a:pt x="714858" y="169420"/>
                    <a:pt x="722845" y="125570"/>
                    <a:pt x="726838" y="89693"/>
                  </a:cubicBezTo>
                  <a:lnTo>
                    <a:pt x="729730" y="74737"/>
                  </a:lnTo>
                  <a:lnTo>
                    <a:pt x="737821" y="71256"/>
                  </a:lnTo>
                  <a:cubicBezTo>
                    <a:pt x="745808" y="68765"/>
                    <a:pt x="751799" y="67768"/>
                    <a:pt x="754794" y="67768"/>
                  </a:cubicBezTo>
                  <a:lnTo>
                    <a:pt x="756791" y="67768"/>
                  </a:lnTo>
                  <a:lnTo>
                    <a:pt x="770768" y="37870"/>
                  </a:lnTo>
                  <a:lnTo>
                    <a:pt x="738819" y="29898"/>
                  </a:lnTo>
                  <a:cubicBezTo>
                    <a:pt x="738819" y="29898"/>
                    <a:pt x="737322" y="36376"/>
                    <a:pt x="735075" y="47089"/>
                  </a:cubicBezTo>
                  <a:lnTo>
                    <a:pt x="729730" y="74737"/>
                  </a:lnTo>
                  <a:lnTo>
                    <a:pt x="708867" y="83713"/>
                  </a:lnTo>
                  <a:lnTo>
                    <a:pt x="705867" y="85454"/>
                  </a:lnTo>
                  <a:lnTo>
                    <a:pt x="704539" y="73305"/>
                  </a:lnTo>
                  <a:cubicBezTo>
                    <a:pt x="701541" y="59786"/>
                    <a:pt x="697121" y="46746"/>
                    <a:pt x="691434" y="34324"/>
                  </a:cubicBezTo>
                  <a:lnTo>
                    <a:pt x="684324" y="22213"/>
                  </a:ln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Shape 2989">
              <a:extLst>
                <a:ext uri="{FF2B5EF4-FFF2-40B4-BE49-F238E27FC236}">
                  <a16:creationId xmlns:a16="http://schemas.microsoft.com/office/drawing/2014/main" id="{A913E90F-AC65-385B-8C35-C5DDD6E8582D}"/>
                </a:ext>
              </a:extLst>
            </p:cNvPr>
            <p:cNvSpPr>
              <a:spLocks/>
            </p:cNvSpPr>
            <p:nvPr/>
          </p:nvSpPr>
          <p:spPr bwMode="auto">
            <a:xfrm>
              <a:off x="6382546" y="4627001"/>
              <a:ext cx="1171563" cy="1294885"/>
            </a:xfrm>
            <a:custGeom>
              <a:avLst/>
              <a:gdLst>
                <a:gd name="connsiteX0" fmla="*/ 253042 w 1171563"/>
                <a:gd name="connsiteY0" fmla="*/ 0 h 1294885"/>
                <a:gd name="connsiteX1" fmla="*/ 500106 w 1171563"/>
                <a:gd name="connsiteY1" fmla="*/ 21780 h 1294885"/>
                <a:gd name="connsiteX2" fmla="*/ 611684 w 1171563"/>
                <a:gd name="connsiteY2" fmla="*/ 57419 h 1294885"/>
                <a:gd name="connsiteX3" fmla="*/ 709314 w 1171563"/>
                <a:gd name="connsiteY3" fmla="*/ 142556 h 1294885"/>
                <a:gd name="connsiteX4" fmla="*/ 730117 w 1171563"/>
                <a:gd name="connsiteY4" fmla="*/ 170025 h 1294885"/>
                <a:gd name="connsiteX5" fmla="*/ 713016 w 1171563"/>
                <a:gd name="connsiteY5" fmla="*/ 198649 h 1294885"/>
                <a:gd name="connsiteX6" fmla="*/ 700100 w 1171563"/>
                <a:gd name="connsiteY6" fmla="*/ 236386 h 1294885"/>
                <a:gd name="connsiteX7" fmla="*/ 650537 w 1171563"/>
                <a:gd name="connsiteY7" fmla="*/ 174483 h 1294885"/>
                <a:gd name="connsiteX8" fmla="*/ 577812 w 1171563"/>
                <a:gd name="connsiteY8" fmla="*/ 114837 h 1294885"/>
                <a:gd name="connsiteX9" fmla="*/ 498114 w 1171563"/>
                <a:gd name="connsiteY9" fmla="*/ 89098 h 1294885"/>
                <a:gd name="connsiteX10" fmla="*/ 253042 w 1171563"/>
                <a:gd name="connsiteY10" fmla="*/ 65338 h 1294885"/>
                <a:gd name="connsiteX11" fmla="*/ 201238 w 1171563"/>
                <a:gd name="connsiteY11" fmla="*/ 73258 h 1294885"/>
                <a:gd name="connsiteX12" fmla="*/ 159397 w 1171563"/>
                <a:gd name="connsiteY12" fmla="*/ 95038 h 1294885"/>
                <a:gd name="connsiteX13" fmla="*/ 89910 w 1171563"/>
                <a:gd name="connsiteY13" fmla="*/ 187755 h 1294885"/>
                <a:gd name="connsiteX14" fmla="*/ 70263 w 1171563"/>
                <a:gd name="connsiteY14" fmla="*/ 226686 h 1294885"/>
                <a:gd name="connsiteX15" fmla="*/ 69736 w 1171563"/>
                <a:gd name="connsiteY15" fmla="*/ 225714 h 1294885"/>
                <a:gd name="connsiteX16" fmla="*/ 65751 w 1171563"/>
                <a:gd name="connsiteY16" fmla="*/ 217794 h 1294885"/>
                <a:gd name="connsiteX17" fmla="*/ 67744 w 1171563"/>
                <a:gd name="connsiteY17" fmla="*/ 225714 h 1294885"/>
                <a:gd name="connsiteX18" fmla="*/ 43834 w 1171563"/>
                <a:gd name="connsiteY18" fmla="*/ 225714 h 1294885"/>
                <a:gd name="connsiteX19" fmla="*/ 33872 w 1171563"/>
                <a:gd name="connsiteY19" fmla="*/ 225714 h 1294885"/>
                <a:gd name="connsiteX20" fmla="*/ 63759 w 1171563"/>
                <a:gd name="connsiteY20" fmla="*/ 239574 h 1294885"/>
                <a:gd name="connsiteX21" fmla="*/ 70263 w 1171563"/>
                <a:gd name="connsiteY21" fmla="*/ 226686 h 1294885"/>
                <a:gd name="connsiteX22" fmla="*/ 83683 w 1171563"/>
                <a:gd name="connsiteY22" fmla="*/ 251453 h 1294885"/>
                <a:gd name="connsiteX23" fmla="*/ 135487 w 1171563"/>
                <a:gd name="connsiteY23" fmla="*/ 336591 h 1294885"/>
                <a:gd name="connsiteX24" fmla="*/ 259019 w 1171563"/>
                <a:gd name="connsiteY24" fmla="*/ 586064 h 1294885"/>
                <a:gd name="connsiteX25" fmla="*/ 296876 w 1171563"/>
                <a:gd name="connsiteY25" fmla="*/ 758320 h 1294885"/>
                <a:gd name="connsiteX26" fmla="*/ 292891 w 1171563"/>
                <a:gd name="connsiteY26" fmla="*/ 797919 h 1294885"/>
                <a:gd name="connsiteX27" fmla="*/ 280936 w 1171563"/>
                <a:gd name="connsiteY27" fmla="*/ 881076 h 1294885"/>
                <a:gd name="connsiteX28" fmla="*/ 282929 w 1171563"/>
                <a:gd name="connsiteY28" fmla="*/ 888996 h 1294885"/>
                <a:gd name="connsiteX29" fmla="*/ 282929 w 1171563"/>
                <a:gd name="connsiteY29" fmla="*/ 890976 h 1294885"/>
                <a:gd name="connsiteX30" fmla="*/ 314808 w 1171563"/>
                <a:gd name="connsiteY30" fmla="*/ 904836 h 1294885"/>
                <a:gd name="connsiteX31" fmla="*/ 528001 w 1171563"/>
                <a:gd name="connsiteY31" fmla="*/ 1005813 h 1294885"/>
                <a:gd name="connsiteX32" fmla="*/ 938446 w 1171563"/>
                <a:gd name="connsiteY32" fmla="*/ 1209747 h 1294885"/>
                <a:gd name="connsiteX33" fmla="*/ 1044046 w 1171563"/>
                <a:gd name="connsiteY33" fmla="*/ 1229547 h 1294885"/>
                <a:gd name="connsiteX34" fmla="*/ 1083895 w 1171563"/>
                <a:gd name="connsiteY34" fmla="*/ 1221627 h 1294885"/>
                <a:gd name="connsiteX35" fmla="*/ 1099835 w 1171563"/>
                <a:gd name="connsiteY35" fmla="*/ 1203808 h 1294885"/>
                <a:gd name="connsiteX36" fmla="*/ 1103820 w 1171563"/>
                <a:gd name="connsiteY36" fmla="*/ 1174108 h 1294885"/>
                <a:gd name="connsiteX37" fmla="*/ 1081903 w 1171563"/>
                <a:gd name="connsiteY37" fmla="*/ 1073131 h 1294885"/>
                <a:gd name="connsiteX38" fmla="*/ 1007435 w 1171563"/>
                <a:gd name="connsiteY38" fmla="*/ 871672 h 1294885"/>
                <a:gd name="connsiteX39" fmla="*/ 941059 w 1171563"/>
                <a:gd name="connsiteY39" fmla="*/ 702615 h 1294885"/>
                <a:gd name="connsiteX40" fmla="*/ 946443 w 1171563"/>
                <a:gd name="connsiteY40" fmla="*/ 709104 h 1294885"/>
                <a:gd name="connsiteX41" fmla="*/ 984025 w 1171563"/>
                <a:gd name="connsiteY41" fmla="*/ 660441 h 1294885"/>
                <a:gd name="connsiteX42" fmla="*/ 991422 w 1171563"/>
                <a:gd name="connsiteY42" fmla="*/ 650358 h 1294885"/>
                <a:gd name="connsiteX43" fmla="*/ 1026363 w 1171563"/>
                <a:gd name="connsiteY43" fmla="*/ 734561 h 1294885"/>
                <a:gd name="connsiteX44" fmla="*/ 1143669 w 1171563"/>
                <a:gd name="connsiteY44" fmla="*/ 1051352 h 1294885"/>
                <a:gd name="connsiteX45" fmla="*/ 1171563 w 1171563"/>
                <a:gd name="connsiteY45" fmla="*/ 1174108 h 1294885"/>
                <a:gd name="connsiteX46" fmla="*/ 1161601 w 1171563"/>
                <a:gd name="connsiteY46" fmla="*/ 1227567 h 1294885"/>
                <a:gd name="connsiteX47" fmla="*/ 1135699 w 1171563"/>
                <a:gd name="connsiteY47" fmla="*/ 1267166 h 1294885"/>
                <a:gd name="connsiteX48" fmla="*/ 1044046 w 1171563"/>
                <a:gd name="connsiteY48" fmla="*/ 1294885 h 1294885"/>
                <a:gd name="connsiteX49" fmla="*/ 918522 w 1171563"/>
                <a:gd name="connsiteY49" fmla="*/ 1271126 h 1294885"/>
                <a:gd name="connsiteX50" fmla="*/ 775065 w 1171563"/>
                <a:gd name="connsiteY50" fmla="*/ 1215687 h 1294885"/>
                <a:gd name="connsiteX51" fmla="*/ 492136 w 1171563"/>
                <a:gd name="connsiteY51" fmla="*/ 1063231 h 1294885"/>
                <a:gd name="connsiteX52" fmla="*/ 354657 w 1171563"/>
                <a:gd name="connsiteY52" fmla="*/ 991953 h 1294885"/>
                <a:gd name="connsiteX53" fmla="*/ 272966 w 1171563"/>
                <a:gd name="connsiteY53" fmla="*/ 960274 h 1294885"/>
                <a:gd name="connsiteX54" fmla="*/ 235110 w 1171563"/>
                <a:gd name="connsiteY54" fmla="*/ 936515 h 1294885"/>
                <a:gd name="connsiteX55" fmla="*/ 219170 w 1171563"/>
                <a:gd name="connsiteY55" fmla="*/ 912756 h 1294885"/>
                <a:gd name="connsiteX56" fmla="*/ 215185 w 1171563"/>
                <a:gd name="connsiteY56" fmla="*/ 881076 h 1294885"/>
                <a:gd name="connsiteX57" fmla="*/ 229132 w 1171563"/>
                <a:gd name="connsiteY57" fmla="*/ 786039 h 1294885"/>
                <a:gd name="connsiteX58" fmla="*/ 231125 w 1171563"/>
                <a:gd name="connsiteY58" fmla="*/ 758320 h 1294885"/>
                <a:gd name="connsiteX59" fmla="*/ 171351 w 1171563"/>
                <a:gd name="connsiteY59" fmla="*/ 548445 h 1294885"/>
                <a:gd name="connsiteX60" fmla="*/ 61766 w 1171563"/>
                <a:gd name="connsiteY60" fmla="*/ 340551 h 1294885"/>
                <a:gd name="connsiteX61" fmla="*/ 9963 w 1171563"/>
                <a:gd name="connsiteY61" fmla="*/ 255413 h 1294885"/>
                <a:gd name="connsiteX62" fmla="*/ 3985 w 1171563"/>
                <a:gd name="connsiteY62" fmla="*/ 239574 h 1294885"/>
                <a:gd name="connsiteX63" fmla="*/ 0 w 1171563"/>
                <a:gd name="connsiteY63" fmla="*/ 225714 h 1294885"/>
                <a:gd name="connsiteX64" fmla="*/ 0 w 1171563"/>
                <a:gd name="connsiteY64" fmla="*/ 217794 h 1294885"/>
                <a:gd name="connsiteX65" fmla="*/ 3985 w 1171563"/>
                <a:gd name="connsiteY65" fmla="*/ 211855 h 1294885"/>
                <a:gd name="connsiteX66" fmla="*/ 87668 w 1171563"/>
                <a:gd name="connsiteY66" fmla="*/ 75238 h 1294885"/>
                <a:gd name="connsiteX67" fmla="*/ 181314 w 1171563"/>
                <a:gd name="connsiteY67" fmla="*/ 9900 h 1294885"/>
                <a:gd name="connsiteX68" fmla="*/ 253042 w 1171563"/>
                <a:gd name="connsiteY68" fmla="*/ 0 h 129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71563" h="1294885">
                  <a:moveTo>
                    <a:pt x="253042" y="0"/>
                  </a:moveTo>
                  <a:cubicBezTo>
                    <a:pt x="320785" y="0"/>
                    <a:pt x="396499" y="17820"/>
                    <a:pt x="500106" y="21780"/>
                  </a:cubicBezTo>
                  <a:cubicBezTo>
                    <a:pt x="539955" y="23760"/>
                    <a:pt x="577812" y="37619"/>
                    <a:pt x="611684" y="57419"/>
                  </a:cubicBezTo>
                  <a:cubicBezTo>
                    <a:pt x="645555" y="79198"/>
                    <a:pt x="679427" y="106917"/>
                    <a:pt x="709314" y="142556"/>
                  </a:cubicBezTo>
                  <a:lnTo>
                    <a:pt x="730117" y="170025"/>
                  </a:lnTo>
                  <a:lnTo>
                    <a:pt x="713016" y="198649"/>
                  </a:lnTo>
                  <a:lnTo>
                    <a:pt x="700100" y="236386"/>
                  </a:lnTo>
                  <a:lnTo>
                    <a:pt x="650537" y="174483"/>
                  </a:lnTo>
                  <a:cubicBezTo>
                    <a:pt x="626129" y="148991"/>
                    <a:pt x="601721" y="128697"/>
                    <a:pt x="577812" y="114837"/>
                  </a:cubicBezTo>
                  <a:cubicBezTo>
                    <a:pt x="549918" y="98998"/>
                    <a:pt x="524016" y="89098"/>
                    <a:pt x="498114" y="89098"/>
                  </a:cubicBezTo>
                  <a:cubicBezTo>
                    <a:pt x="386536" y="83158"/>
                    <a:pt x="308831" y="65338"/>
                    <a:pt x="253042" y="65338"/>
                  </a:cubicBezTo>
                  <a:cubicBezTo>
                    <a:pt x="233117" y="65338"/>
                    <a:pt x="217178" y="67318"/>
                    <a:pt x="201238" y="73258"/>
                  </a:cubicBezTo>
                  <a:cubicBezTo>
                    <a:pt x="187291" y="77218"/>
                    <a:pt x="173344" y="85138"/>
                    <a:pt x="159397" y="95038"/>
                  </a:cubicBezTo>
                  <a:cubicBezTo>
                    <a:pt x="138476" y="112857"/>
                    <a:pt x="115313" y="141814"/>
                    <a:pt x="89910" y="187755"/>
                  </a:cubicBezTo>
                  <a:lnTo>
                    <a:pt x="70263" y="226686"/>
                  </a:lnTo>
                  <a:lnTo>
                    <a:pt x="69736" y="225714"/>
                  </a:lnTo>
                  <a:lnTo>
                    <a:pt x="65751" y="217794"/>
                  </a:lnTo>
                  <a:cubicBezTo>
                    <a:pt x="65751" y="219774"/>
                    <a:pt x="67744" y="219774"/>
                    <a:pt x="67744" y="225714"/>
                  </a:cubicBezTo>
                  <a:lnTo>
                    <a:pt x="43834" y="225714"/>
                  </a:lnTo>
                  <a:lnTo>
                    <a:pt x="33872" y="225714"/>
                  </a:lnTo>
                  <a:lnTo>
                    <a:pt x="63759" y="239574"/>
                  </a:lnTo>
                  <a:lnTo>
                    <a:pt x="70263" y="226686"/>
                  </a:lnTo>
                  <a:lnTo>
                    <a:pt x="83683" y="251453"/>
                  </a:lnTo>
                  <a:cubicBezTo>
                    <a:pt x="97630" y="273233"/>
                    <a:pt x="115563" y="302932"/>
                    <a:pt x="135487" y="336591"/>
                  </a:cubicBezTo>
                  <a:cubicBezTo>
                    <a:pt x="175336" y="407869"/>
                    <a:pt x="225148" y="496967"/>
                    <a:pt x="259019" y="586064"/>
                  </a:cubicBezTo>
                  <a:cubicBezTo>
                    <a:pt x="280936" y="645463"/>
                    <a:pt x="296876" y="702881"/>
                    <a:pt x="296876" y="758320"/>
                  </a:cubicBezTo>
                  <a:cubicBezTo>
                    <a:pt x="296876" y="772179"/>
                    <a:pt x="296876" y="786039"/>
                    <a:pt x="292891" y="797919"/>
                  </a:cubicBezTo>
                  <a:cubicBezTo>
                    <a:pt x="286914" y="841477"/>
                    <a:pt x="280936" y="869197"/>
                    <a:pt x="280936" y="881076"/>
                  </a:cubicBezTo>
                  <a:cubicBezTo>
                    <a:pt x="280936" y="885036"/>
                    <a:pt x="280936" y="887016"/>
                    <a:pt x="282929" y="888996"/>
                  </a:cubicBezTo>
                  <a:lnTo>
                    <a:pt x="282929" y="890976"/>
                  </a:lnTo>
                  <a:cubicBezTo>
                    <a:pt x="282929" y="892956"/>
                    <a:pt x="294883" y="898896"/>
                    <a:pt x="314808" y="904836"/>
                  </a:cubicBezTo>
                  <a:cubicBezTo>
                    <a:pt x="352665" y="918695"/>
                    <a:pt x="422400" y="944435"/>
                    <a:pt x="528001" y="1005813"/>
                  </a:cubicBezTo>
                  <a:cubicBezTo>
                    <a:pt x="647548" y="1079071"/>
                    <a:pt x="812921" y="1170149"/>
                    <a:pt x="938446" y="1209747"/>
                  </a:cubicBezTo>
                  <a:cubicBezTo>
                    <a:pt x="980288" y="1221627"/>
                    <a:pt x="1018144" y="1229547"/>
                    <a:pt x="1044046" y="1229547"/>
                  </a:cubicBezTo>
                  <a:cubicBezTo>
                    <a:pt x="1061978" y="1229547"/>
                    <a:pt x="1075925" y="1225587"/>
                    <a:pt x="1083895" y="1221627"/>
                  </a:cubicBezTo>
                  <a:cubicBezTo>
                    <a:pt x="1091865" y="1217667"/>
                    <a:pt x="1095850" y="1213707"/>
                    <a:pt x="1099835" y="1203808"/>
                  </a:cubicBezTo>
                  <a:cubicBezTo>
                    <a:pt x="1103820" y="1195888"/>
                    <a:pt x="1103820" y="1187968"/>
                    <a:pt x="1103820" y="1174108"/>
                  </a:cubicBezTo>
                  <a:cubicBezTo>
                    <a:pt x="1105812" y="1152329"/>
                    <a:pt x="1097842" y="1118670"/>
                    <a:pt x="1081903" y="1073131"/>
                  </a:cubicBezTo>
                  <a:cubicBezTo>
                    <a:pt x="1058989" y="1010763"/>
                    <a:pt x="1034084" y="942455"/>
                    <a:pt x="1007435" y="871672"/>
                  </a:cubicBezTo>
                  <a:lnTo>
                    <a:pt x="941059" y="702615"/>
                  </a:lnTo>
                  <a:lnTo>
                    <a:pt x="946443" y="709104"/>
                  </a:lnTo>
                  <a:cubicBezTo>
                    <a:pt x="946443" y="709104"/>
                    <a:pt x="961476" y="690418"/>
                    <a:pt x="984025" y="660441"/>
                  </a:cubicBezTo>
                  <a:lnTo>
                    <a:pt x="991422" y="650358"/>
                  </a:lnTo>
                  <a:lnTo>
                    <a:pt x="1026363" y="734561"/>
                  </a:lnTo>
                  <a:cubicBezTo>
                    <a:pt x="1070446" y="846428"/>
                    <a:pt x="1109797" y="956314"/>
                    <a:pt x="1143669" y="1051352"/>
                  </a:cubicBezTo>
                  <a:cubicBezTo>
                    <a:pt x="1161601" y="1098870"/>
                    <a:pt x="1171563" y="1140449"/>
                    <a:pt x="1171563" y="1174108"/>
                  </a:cubicBezTo>
                  <a:cubicBezTo>
                    <a:pt x="1171563" y="1193908"/>
                    <a:pt x="1167578" y="1211727"/>
                    <a:pt x="1161601" y="1227567"/>
                  </a:cubicBezTo>
                  <a:cubicBezTo>
                    <a:pt x="1155624" y="1241427"/>
                    <a:pt x="1147654" y="1257266"/>
                    <a:pt x="1135699" y="1267166"/>
                  </a:cubicBezTo>
                  <a:cubicBezTo>
                    <a:pt x="1109797" y="1288945"/>
                    <a:pt x="1077918" y="1294885"/>
                    <a:pt x="1044046" y="1294885"/>
                  </a:cubicBezTo>
                  <a:cubicBezTo>
                    <a:pt x="1006190" y="1294885"/>
                    <a:pt x="964348" y="1286965"/>
                    <a:pt x="918522" y="1271126"/>
                  </a:cubicBezTo>
                  <a:cubicBezTo>
                    <a:pt x="872695" y="1257266"/>
                    <a:pt x="824876" y="1237467"/>
                    <a:pt x="775065" y="1215687"/>
                  </a:cubicBezTo>
                  <a:cubicBezTo>
                    <a:pt x="675442" y="1170149"/>
                    <a:pt x="573827" y="1112730"/>
                    <a:pt x="492136" y="1063231"/>
                  </a:cubicBezTo>
                  <a:cubicBezTo>
                    <a:pt x="436348" y="1027592"/>
                    <a:pt x="390521" y="1005813"/>
                    <a:pt x="354657" y="991953"/>
                  </a:cubicBezTo>
                  <a:cubicBezTo>
                    <a:pt x="318793" y="976114"/>
                    <a:pt x="294883" y="968194"/>
                    <a:pt x="272966" y="960274"/>
                  </a:cubicBezTo>
                  <a:cubicBezTo>
                    <a:pt x="259019" y="954334"/>
                    <a:pt x="247065" y="948395"/>
                    <a:pt x="235110" y="936515"/>
                  </a:cubicBezTo>
                  <a:cubicBezTo>
                    <a:pt x="229132" y="930575"/>
                    <a:pt x="223155" y="920675"/>
                    <a:pt x="219170" y="912756"/>
                  </a:cubicBezTo>
                  <a:cubicBezTo>
                    <a:pt x="217178" y="902856"/>
                    <a:pt x="215185" y="892956"/>
                    <a:pt x="215185" y="881076"/>
                  </a:cubicBezTo>
                  <a:cubicBezTo>
                    <a:pt x="215185" y="857317"/>
                    <a:pt x="221163" y="829598"/>
                    <a:pt x="229132" y="786039"/>
                  </a:cubicBezTo>
                  <a:cubicBezTo>
                    <a:pt x="229132" y="778119"/>
                    <a:pt x="231125" y="768219"/>
                    <a:pt x="231125" y="758320"/>
                  </a:cubicBezTo>
                  <a:cubicBezTo>
                    <a:pt x="231125" y="700901"/>
                    <a:pt x="205223" y="623683"/>
                    <a:pt x="171351" y="548445"/>
                  </a:cubicBezTo>
                  <a:cubicBezTo>
                    <a:pt x="137480" y="473207"/>
                    <a:pt x="93646" y="397969"/>
                    <a:pt x="61766" y="340551"/>
                  </a:cubicBezTo>
                  <a:cubicBezTo>
                    <a:pt x="37857" y="302932"/>
                    <a:pt x="19925" y="273233"/>
                    <a:pt x="9963" y="255413"/>
                  </a:cubicBezTo>
                  <a:cubicBezTo>
                    <a:pt x="7970" y="249473"/>
                    <a:pt x="5978" y="245514"/>
                    <a:pt x="3985" y="239574"/>
                  </a:cubicBezTo>
                  <a:cubicBezTo>
                    <a:pt x="1993" y="237594"/>
                    <a:pt x="1993" y="233634"/>
                    <a:pt x="0" y="225714"/>
                  </a:cubicBezTo>
                  <a:lnTo>
                    <a:pt x="0" y="217794"/>
                  </a:lnTo>
                  <a:lnTo>
                    <a:pt x="3985" y="211855"/>
                  </a:lnTo>
                  <a:cubicBezTo>
                    <a:pt x="31880" y="150476"/>
                    <a:pt x="59774" y="106917"/>
                    <a:pt x="87668" y="75238"/>
                  </a:cubicBezTo>
                  <a:cubicBezTo>
                    <a:pt x="115563" y="41579"/>
                    <a:pt x="147442" y="19800"/>
                    <a:pt x="181314" y="9900"/>
                  </a:cubicBezTo>
                  <a:cubicBezTo>
                    <a:pt x="205223" y="1980"/>
                    <a:pt x="229132" y="0"/>
                    <a:pt x="253042" y="0"/>
                  </a:cubicBez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2539">
              <a:extLst>
                <a:ext uri="{FF2B5EF4-FFF2-40B4-BE49-F238E27FC236}">
                  <a16:creationId xmlns:a16="http://schemas.microsoft.com/office/drawing/2014/main" id="{843A2846-675D-845A-3123-E37A26A11B52}"/>
                </a:ext>
              </a:extLst>
            </p:cNvPr>
            <p:cNvSpPr>
              <a:spLocks/>
            </p:cNvSpPr>
            <p:nvPr/>
          </p:nvSpPr>
          <p:spPr bwMode="auto">
            <a:xfrm>
              <a:off x="7338294" y="2946728"/>
              <a:ext cx="986579" cy="308306"/>
            </a:xfrm>
            <a:custGeom>
              <a:avLst/>
              <a:gdLst>
                <a:gd name="T0" fmla="*/ 34 w 491"/>
                <a:gd name="T1" fmla="*/ 17 h 152"/>
                <a:gd name="T2" fmla="*/ 6 w 491"/>
                <a:gd name="T3" fmla="*/ 76 h 152"/>
                <a:gd name="T4" fmla="*/ 2 w 491"/>
                <a:gd name="T5" fmla="*/ 124 h 152"/>
                <a:gd name="T6" fmla="*/ 48 w 491"/>
                <a:gd name="T7" fmla="*/ 152 h 152"/>
                <a:gd name="T8" fmla="*/ 61 w 491"/>
                <a:gd name="T9" fmla="*/ 151 h 152"/>
                <a:gd name="T10" fmla="*/ 304 w 491"/>
                <a:gd name="T11" fmla="*/ 152 h 152"/>
                <a:gd name="T12" fmla="*/ 449 w 491"/>
                <a:gd name="T13" fmla="*/ 128 h 152"/>
                <a:gd name="T14" fmla="*/ 486 w 491"/>
                <a:gd name="T15" fmla="*/ 103 h 152"/>
                <a:gd name="T16" fmla="*/ 485 w 491"/>
                <a:gd name="T17" fmla="*/ 71 h 152"/>
                <a:gd name="T18" fmla="*/ 380 w 491"/>
                <a:gd name="T19" fmla="*/ 25 h 152"/>
                <a:gd name="T20" fmla="*/ 46 w 491"/>
                <a:gd name="T21" fmla="*/ 10 h 152"/>
                <a:gd name="T22" fmla="*/ 34 w 491"/>
                <a:gd name="T23" fmla="*/ 17 h 152"/>
                <a:gd name="T24" fmla="*/ 50 w 491"/>
                <a:gd name="T25" fmla="*/ 43 h 152"/>
                <a:gd name="T26" fmla="*/ 370 w 491"/>
                <a:gd name="T27" fmla="*/ 57 h 152"/>
                <a:gd name="T28" fmla="*/ 459 w 491"/>
                <a:gd name="T29" fmla="*/ 93 h 152"/>
                <a:gd name="T30" fmla="*/ 459 w 491"/>
                <a:gd name="T31" fmla="*/ 93 h 152"/>
                <a:gd name="T32" fmla="*/ 458 w 491"/>
                <a:gd name="T33" fmla="*/ 87 h 152"/>
                <a:gd name="T34" fmla="*/ 465 w 491"/>
                <a:gd name="T35" fmla="*/ 87 h 152"/>
                <a:gd name="T36" fmla="*/ 465 w 491"/>
                <a:gd name="T37" fmla="*/ 87 h 152"/>
                <a:gd name="T38" fmla="*/ 458 w 491"/>
                <a:gd name="T39" fmla="*/ 87 h 152"/>
                <a:gd name="T40" fmla="*/ 458 w 491"/>
                <a:gd name="T41" fmla="*/ 85 h 152"/>
                <a:gd name="T42" fmla="*/ 458 w 491"/>
                <a:gd name="T43" fmla="*/ 84 h 152"/>
                <a:gd name="T44" fmla="*/ 461 w 491"/>
                <a:gd name="T45" fmla="*/ 86 h 152"/>
                <a:gd name="T46" fmla="*/ 450 w 491"/>
                <a:gd name="T47" fmla="*/ 90 h 152"/>
                <a:gd name="T48" fmla="*/ 365 w 491"/>
                <a:gd name="T49" fmla="*/ 116 h 152"/>
                <a:gd name="T50" fmla="*/ 131 w 491"/>
                <a:gd name="T51" fmla="*/ 115 h 152"/>
                <a:gd name="T52" fmla="*/ 57 w 491"/>
                <a:gd name="T53" fmla="*/ 118 h 152"/>
                <a:gd name="T54" fmla="*/ 38 w 491"/>
                <a:gd name="T55" fmla="*/ 118 h 152"/>
                <a:gd name="T56" fmla="*/ 33 w 491"/>
                <a:gd name="T57" fmla="*/ 107 h 152"/>
                <a:gd name="T58" fmla="*/ 53 w 491"/>
                <a:gd name="T59" fmla="*/ 51 h 152"/>
                <a:gd name="T60" fmla="*/ 61 w 491"/>
                <a:gd name="T61" fmla="*/ 37 h 152"/>
                <a:gd name="T62" fmla="*/ 62 w 491"/>
                <a:gd name="T63" fmla="*/ 36 h 152"/>
                <a:gd name="T64" fmla="*/ 50 w 491"/>
                <a:gd name="T65"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1" h="152">
                  <a:moveTo>
                    <a:pt x="48" y="26"/>
                  </a:moveTo>
                  <a:lnTo>
                    <a:pt x="34" y="17"/>
                  </a:lnTo>
                  <a:cubicBezTo>
                    <a:pt x="34" y="18"/>
                    <a:pt x="26" y="30"/>
                    <a:pt x="17" y="47"/>
                  </a:cubicBezTo>
                  <a:cubicBezTo>
                    <a:pt x="13" y="56"/>
                    <a:pt x="9" y="66"/>
                    <a:pt x="6" y="76"/>
                  </a:cubicBezTo>
                  <a:cubicBezTo>
                    <a:pt x="2" y="86"/>
                    <a:pt x="0" y="96"/>
                    <a:pt x="0" y="107"/>
                  </a:cubicBezTo>
                  <a:cubicBezTo>
                    <a:pt x="0" y="113"/>
                    <a:pt x="0" y="118"/>
                    <a:pt x="2" y="124"/>
                  </a:cubicBezTo>
                  <a:cubicBezTo>
                    <a:pt x="5" y="132"/>
                    <a:pt x="11" y="140"/>
                    <a:pt x="19" y="145"/>
                  </a:cubicBezTo>
                  <a:cubicBezTo>
                    <a:pt x="27" y="150"/>
                    <a:pt x="37" y="152"/>
                    <a:pt x="48" y="152"/>
                  </a:cubicBezTo>
                  <a:cubicBezTo>
                    <a:pt x="52" y="152"/>
                    <a:pt x="57" y="152"/>
                    <a:pt x="61" y="151"/>
                  </a:cubicBezTo>
                  <a:lnTo>
                    <a:pt x="61" y="151"/>
                  </a:lnTo>
                  <a:cubicBezTo>
                    <a:pt x="81" y="149"/>
                    <a:pt x="105" y="148"/>
                    <a:pt x="131" y="148"/>
                  </a:cubicBezTo>
                  <a:cubicBezTo>
                    <a:pt x="187" y="148"/>
                    <a:pt x="251" y="152"/>
                    <a:pt x="304" y="152"/>
                  </a:cubicBezTo>
                  <a:cubicBezTo>
                    <a:pt x="329" y="152"/>
                    <a:pt x="351" y="151"/>
                    <a:pt x="370" y="148"/>
                  </a:cubicBezTo>
                  <a:cubicBezTo>
                    <a:pt x="400" y="144"/>
                    <a:pt x="428" y="137"/>
                    <a:pt x="449" y="128"/>
                  </a:cubicBezTo>
                  <a:cubicBezTo>
                    <a:pt x="460" y="123"/>
                    <a:pt x="469" y="119"/>
                    <a:pt x="476" y="113"/>
                  </a:cubicBezTo>
                  <a:cubicBezTo>
                    <a:pt x="479" y="110"/>
                    <a:pt x="483" y="107"/>
                    <a:pt x="486" y="103"/>
                  </a:cubicBezTo>
                  <a:cubicBezTo>
                    <a:pt x="489" y="99"/>
                    <a:pt x="491" y="94"/>
                    <a:pt x="491" y="87"/>
                  </a:cubicBezTo>
                  <a:cubicBezTo>
                    <a:pt x="491" y="81"/>
                    <a:pt x="488" y="75"/>
                    <a:pt x="485" y="71"/>
                  </a:cubicBezTo>
                  <a:cubicBezTo>
                    <a:pt x="481" y="67"/>
                    <a:pt x="477" y="64"/>
                    <a:pt x="472" y="61"/>
                  </a:cubicBezTo>
                  <a:cubicBezTo>
                    <a:pt x="459" y="55"/>
                    <a:pt x="428" y="39"/>
                    <a:pt x="380" y="25"/>
                  </a:cubicBezTo>
                  <a:cubicBezTo>
                    <a:pt x="332" y="12"/>
                    <a:pt x="267" y="0"/>
                    <a:pt x="184" y="0"/>
                  </a:cubicBezTo>
                  <a:cubicBezTo>
                    <a:pt x="142" y="0"/>
                    <a:pt x="96" y="3"/>
                    <a:pt x="46" y="10"/>
                  </a:cubicBezTo>
                  <a:lnTo>
                    <a:pt x="38" y="11"/>
                  </a:lnTo>
                  <a:lnTo>
                    <a:pt x="34" y="17"/>
                  </a:lnTo>
                  <a:lnTo>
                    <a:pt x="48" y="26"/>
                  </a:lnTo>
                  <a:lnTo>
                    <a:pt x="50" y="43"/>
                  </a:lnTo>
                  <a:cubicBezTo>
                    <a:pt x="99" y="36"/>
                    <a:pt x="144" y="33"/>
                    <a:pt x="184" y="33"/>
                  </a:cubicBezTo>
                  <a:cubicBezTo>
                    <a:pt x="263" y="33"/>
                    <a:pt x="325" y="44"/>
                    <a:pt x="370" y="57"/>
                  </a:cubicBezTo>
                  <a:cubicBezTo>
                    <a:pt x="416" y="70"/>
                    <a:pt x="444" y="85"/>
                    <a:pt x="457" y="91"/>
                  </a:cubicBezTo>
                  <a:lnTo>
                    <a:pt x="459" y="93"/>
                  </a:lnTo>
                  <a:lnTo>
                    <a:pt x="459" y="93"/>
                  </a:lnTo>
                  <a:lnTo>
                    <a:pt x="459" y="93"/>
                  </a:lnTo>
                  <a:lnTo>
                    <a:pt x="465" y="87"/>
                  </a:lnTo>
                  <a:lnTo>
                    <a:pt x="458" y="87"/>
                  </a:lnTo>
                  <a:cubicBezTo>
                    <a:pt x="458" y="90"/>
                    <a:pt x="459" y="93"/>
                    <a:pt x="459" y="93"/>
                  </a:cubicBezTo>
                  <a:lnTo>
                    <a:pt x="465" y="87"/>
                  </a:lnTo>
                  <a:lnTo>
                    <a:pt x="458" y="87"/>
                  </a:lnTo>
                  <a:lnTo>
                    <a:pt x="465" y="87"/>
                  </a:lnTo>
                  <a:lnTo>
                    <a:pt x="458" y="85"/>
                  </a:lnTo>
                  <a:lnTo>
                    <a:pt x="458" y="87"/>
                  </a:lnTo>
                  <a:lnTo>
                    <a:pt x="465" y="87"/>
                  </a:lnTo>
                  <a:lnTo>
                    <a:pt x="458" y="85"/>
                  </a:lnTo>
                  <a:lnTo>
                    <a:pt x="461" y="86"/>
                  </a:lnTo>
                  <a:lnTo>
                    <a:pt x="458" y="84"/>
                  </a:lnTo>
                  <a:lnTo>
                    <a:pt x="458" y="85"/>
                  </a:lnTo>
                  <a:lnTo>
                    <a:pt x="461" y="86"/>
                  </a:lnTo>
                  <a:lnTo>
                    <a:pt x="458" y="84"/>
                  </a:lnTo>
                  <a:cubicBezTo>
                    <a:pt x="458" y="84"/>
                    <a:pt x="455" y="87"/>
                    <a:pt x="450" y="90"/>
                  </a:cubicBezTo>
                  <a:cubicBezTo>
                    <a:pt x="443" y="95"/>
                    <a:pt x="430" y="100"/>
                    <a:pt x="415" y="104"/>
                  </a:cubicBezTo>
                  <a:cubicBezTo>
                    <a:pt x="401" y="109"/>
                    <a:pt x="383" y="113"/>
                    <a:pt x="365" y="116"/>
                  </a:cubicBezTo>
                  <a:cubicBezTo>
                    <a:pt x="349" y="118"/>
                    <a:pt x="328" y="119"/>
                    <a:pt x="304" y="119"/>
                  </a:cubicBezTo>
                  <a:cubicBezTo>
                    <a:pt x="253" y="119"/>
                    <a:pt x="189" y="115"/>
                    <a:pt x="131" y="115"/>
                  </a:cubicBezTo>
                  <a:cubicBezTo>
                    <a:pt x="104" y="115"/>
                    <a:pt x="79" y="115"/>
                    <a:pt x="57" y="118"/>
                  </a:cubicBezTo>
                  <a:lnTo>
                    <a:pt x="57" y="118"/>
                  </a:lnTo>
                  <a:cubicBezTo>
                    <a:pt x="54" y="119"/>
                    <a:pt x="51" y="119"/>
                    <a:pt x="48" y="119"/>
                  </a:cubicBezTo>
                  <a:cubicBezTo>
                    <a:pt x="44" y="119"/>
                    <a:pt x="41" y="118"/>
                    <a:pt x="38" y="118"/>
                  </a:cubicBezTo>
                  <a:cubicBezTo>
                    <a:pt x="36" y="117"/>
                    <a:pt x="35" y="116"/>
                    <a:pt x="35" y="115"/>
                  </a:cubicBezTo>
                  <a:cubicBezTo>
                    <a:pt x="34" y="114"/>
                    <a:pt x="33" y="111"/>
                    <a:pt x="33" y="107"/>
                  </a:cubicBezTo>
                  <a:cubicBezTo>
                    <a:pt x="33" y="102"/>
                    <a:pt x="35" y="94"/>
                    <a:pt x="37" y="86"/>
                  </a:cubicBezTo>
                  <a:cubicBezTo>
                    <a:pt x="41" y="74"/>
                    <a:pt x="47" y="61"/>
                    <a:pt x="53" y="51"/>
                  </a:cubicBezTo>
                  <a:cubicBezTo>
                    <a:pt x="55" y="47"/>
                    <a:pt x="58" y="43"/>
                    <a:pt x="59" y="40"/>
                  </a:cubicBezTo>
                  <a:lnTo>
                    <a:pt x="61" y="37"/>
                  </a:lnTo>
                  <a:lnTo>
                    <a:pt x="62" y="36"/>
                  </a:lnTo>
                  <a:lnTo>
                    <a:pt x="62" y="36"/>
                  </a:lnTo>
                  <a:lnTo>
                    <a:pt x="48" y="26"/>
                  </a:lnTo>
                  <a:lnTo>
                    <a:pt x="50" y="43"/>
                  </a:lnTo>
                  <a:lnTo>
                    <a:pt x="48" y="26"/>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Shape 2991">
              <a:extLst>
                <a:ext uri="{FF2B5EF4-FFF2-40B4-BE49-F238E27FC236}">
                  <a16:creationId xmlns:a16="http://schemas.microsoft.com/office/drawing/2014/main" id="{3147778E-CA3B-6A45-6EA5-B73C79236990}"/>
                </a:ext>
              </a:extLst>
            </p:cNvPr>
            <p:cNvSpPr>
              <a:spLocks/>
            </p:cNvSpPr>
            <p:nvPr/>
          </p:nvSpPr>
          <p:spPr bwMode="auto">
            <a:xfrm>
              <a:off x="8047398" y="4164541"/>
              <a:ext cx="571542" cy="616612"/>
            </a:xfrm>
            <a:custGeom>
              <a:avLst/>
              <a:gdLst>
                <a:gd name="connsiteX0" fmla="*/ 509625 w 571542"/>
                <a:gd name="connsiteY0" fmla="*/ 250293 h 616612"/>
                <a:gd name="connsiteX1" fmla="*/ 513990 w 571542"/>
                <a:gd name="connsiteY1" fmla="*/ 256767 h 616612"/>
                <a:gd name="connsiteX2" fmla="*/ 553189 w 571542"/>
                <a:gd name="connsiteY2" fmla="*/ 283196 h 616612"/>
                <a:gd name="connsiteX3" fmla="*/ 571542 w 571542"/>
                <a:gd name="connsiteY3" fmla="*/ 286901 h 616612"/>
                <a:gd name="connsiteX4" fmla="*/ 184984 w 571542"/>
                <a:gd name="connsiteY4" fmla="*/ 616612 h 616612"/>
                <a:gd name="connsiteX5" fmla="*/ 138738 w 571542"/>
                <a:gd name="connsiteY5" fmla="*/ 554951 h 616612"/>
                <a:gd name="connsiteX6" fmla="*/ 15416 w 571542"/>
                <a:gd name="connsiteY6" fmla="*/ 0 h 616612"/>
                <a:gd name="connsiteX7" fmla="*/ 491119 w 571542"/>
                <a:gd name="connsiteY7" fmla="*/ 116283 h 616612"/>
                <a:gd name="connsiteX8" fmla="*/ 487560 w 571542"/>
                <a:gd name="connsiteY8" fmla="*/ 121562 h 616612"/>
                <a:gd name="connsiteX9" fmla="*/ 477869 w 571542"/>
                <a:gd name="connsiteY9" fmla="*/ 169564 h 616612"/>
                <a:gd name="connsiteX10" fmla="*/ 479639 w 571542"/>
                <a:gd name="connsiteY10" fmla="*/ 178330 h 616612"/>
                <a:gd name="connsiteX11" fmla="*/ 0 w 571542"/>
                <a:gd name="connsiteY11" fmla="*/ 61661 h 61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42" h="616612">
                  <a:moveTo>
                    <a:pt x="509625" y="250293"/>
                  </a:moveTo>
                  <a:lnTo>
                    <a:pt x="513990" y="256767"/>
                  </a:lnTo>
                  <a:cubicBezTo>
                    <a:pt x="525148" y="267925"/>
                    <a:pt x="538435" y="276955"/>
                    <a:pt x="553189" y="283196"/>
                  </a:cubicBezTo>
                  <a:lnTo>
                    <a:pt x="571542" y="286901"/>
                  </a:lnTo>
                  <a:lnTo>
                    <a:pt x="184984" y="616612"/>
                  </a:lnTo>
                  <a:lnTo>
                    <a:pt x="138738" y="554951"/>
                  </a:lnTo>
                  <a:close/>
                  <a:moveTo>
                    <a:pt x="15416" y="0"/>
                  </a:moveTo>
                  <a:lnTo>
                    <a:pt x="491119" y="116283"/>
                  </a:lnTo>
                  <a:lnTo>
                    <a:pt x="487560" y="121562"/>
                  </a:lnTo>
                  <a:cubicBezTo>
                    <a:pt x="481320" y="136316"/>
                    <a:pt x="477869" y="152537"/>
                    <a:pt x="477869" y="169564"/>
                  </a:cubicBezTo>
                  <a:lnTo>
                    <a:pt x="479639" y="178330"/>
                  </a:lnTo>
                  <a:lnTo>
                    <a:pt x="0" y="61661"/>
                  </a:ln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Line 2541">
              <a:extLst>
                <a:ext uri="{FF2B5EF4-FFF2-40B4-BE49-F238E27FC236}">
                  <a16:creationId xmlns:a16="http://schemas.microsoft.com/office/drawing/2014/main" id="{5837E905-8B4A-B3B0-36F9-A0EDB26241BF}"/>
                </a:ext>
              </a:extLst>
            </p:cNvPr>
            <p:cNvSpPr>
              <a:spLocks noChangeShapeType="1"/>
            </p:cNvSpPr>
            <p:nvPr/>
          </p:nvSpPr>
          <p:spPr bwMode="auto">
            <a:xfrm>
              <a:off x="7168721" y="3979558"/>
              <a:ext cx="786185" cy="200404"/>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2542">
              <a:extLst>
                <a:ext uri="{FF2B5EF4-FFF2-40B4-BE49-F238E27FC236}">
                  <a16:creationId xmlns:a16="http://schemas.microsoft.com/office/drawing/2014/main" id="{910716FC-BF91-3ADD-A7EF-B6583C5B4770}"/>
                </a:ext>
              </a:extLst>
            </p:cNvPr>
            <p:cNvSpPr>
              <a:spLocks/>
            </p:cNvSpPr>
            <p:nvPr/>
          </p:nvSpPr>
          <p:spPr bwMode="auto">
            <a:xfrm>
              <a:off x="7153310" y="3948727"/>
              <a:ext cx="801595" cy="262065"/>
            </a:xfrm>
            <a:custGeom>
              <a:avLst/>
              <a:gdLst>
                <a:gd name="T0" fmla="*/ 0 w 403"/>
                <a:gd name="T1" fmla="*/ 33 h 128"/>
                <a:gd name="T2" fmla="*/ 395 w 403"/>
                <a:gd name="T3" fmla="*/ 128 h 128"/>
                <a:gd name="T4" fmla="*/ 403 w 403"/>
                <a:gd name="T5" fmla="*/ 95 h 128"/>
                <a:gd name="T6" fmla="*/ 7 w 403"/>
                <a:gd name="T7" fmla="*/ 0 h 128"/>
              </a:gdLst>
              <a:ahLst/>
              <a:cxnLst>
                <a:cxn ang="0">
                  <a:pos x="T0" y="T1"/>
                </a:cxn>
                <a:cxn ang="0">
                  <a:pos x="T2" y="T3"/>
                </a:cxn>
                <a:cxn ang="0">
                  <a:pos x="T4" y="T5"/>
                </a:cxn>
                <a:cxn ang="0">
                  <a:pos x="T6" y="T7"/>
                </a:cxn>
              </a:cxnLst>
              <a:rect l="0" t="0" r="r" b="b"/>
              <a:pathLst>
                <a:path w="403" h="128">
                  <a:moveTo>
                    <a:pt x="0" y="33"/>
                  </a:moveTo>
                  <a:lnTo>
                    <a:pt x="395" y="128"/>
                  </a:lnTo>
                  <a:lnTo>
                    <a:pt x="403" y="95"/>
                  </a:lnTo>
                  <a:lnTo>
                    <a:pt x="7" y="0"/>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Line 2543">
              <a:extLst>
                <a:ext uri="{FF2B5EF4-FFF2-40B4-BE49-F238E27FC236}">
                  <a16:creationId xmlns:a16="http://schemas.microsoft.com/office/drawing/2014/main" id="{89FB9A6B-1F8C-F540-6BED-DBAD3AD59A66}"/>
                </a:ext>
              </a:extLst>
            </p:cNvPr>
            <p:cNvSpPr>
              <a:spLocks noChangeShapeType="1"/>
            </p:cNvSpPr>
            <p:nvPr/>
          </p:nvSpPr>
          <p:spPr bwMode="auto">
            <a:xfrm>
              <a:off x="6983737" y="3948727"/>
              <a:ext cx="92492" cy="15420"/>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2544">
              <a:extLst>
                <a:ext uri="{FF2B5EF4-FFF2-40B4-BE49-F238E27FC236}">
                  <a16:creationId xmlns:a16="http://schemas.microsoft.com/office/drawing/2014/main" id="{6F0F3595-EA4A-C051-97D5-B64F00E7341C}"/>
                </a:ext>
              </a:extLst>
            </p:cNvPr>
            <p:cNvSpPr>
              <a:spLocks/>
            </p:cNvSpPr>
            <p:nvPr/>
          </p:nvSpPr>
          <p:spPr bwMode="auto">
            <a:xfrm>
              <a:off x="6968327" y="3902476"/>
              <a:ext cx="123322" cy="92492"/>
            </a:xfrm>
            <a:custGeom>
              <a:avLst/>
              <a:gdLst>
                <a:gd name="T0" fmla="*/ 0 w 59"/>
                <a:gd name="T1" fmla="*/ 32 h 44"/>
                <a:gd name="T2" fmla="*/ 51 w 59"/>
                <a:gd name="T3" fmla="*/ 44 h 44"/>
                <a:gd name="T4" fmla="*/ 59 w 59"/>
                <a:gd name="T5" fmla="*/ 12 h 44"/>
                <a:gd name="T6" fmla="*/ 8 w 59"/>
                <a:gd name="T7" fmla="*/ 0 h 44"/>
              </a:gdLst>
              <a:ahLst/>
              <a:cxnLst>
                <a:cxn ang="0">
                  <a:pos x="T0" y="T1"/>
                </a:cxn>
                <a:cxn ang="0">
                  <a:pos x="T2" y="T3"/>
                </a:cxn>
                <a:cxn ang="0">
                  <a:pos x="T4" y="T5"/>
                </a:cxn>
                <a:cxn ang="0">
                  <a:pos x="T6" y="T7"/>
                </a:cxn>
              </a:cxnLst>
              <a:rect l="0" t="0" r="r" b="b"/>
              <a:pathLst>
                <a:path w="59" h="44">
                  <a:moveTo>
                    <a:pt x="0" y="32"/>
                  </a:moveTo>
                  <a:lnTo>
                    <a:pt x="51" y="44"/>
                  </a:lnTo>
                  <a:lnTo>
                    <a:pt x="59" y="12"/>
                  </a:lnTo>
                  <a:lnTo>
                    <a:pt x="8" y="0"/>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Line 2545">
              <a:extLst>
                <a:ext uri="{FF2B5EF4-FFF2-40B4-BE49-F238E27FC236}">
                  <a16:creationId xmlns:a16="http://schemas.microsoft.com/office/drawing/2014/main" id="{B925D901-1352-83C8-DD05-B38B41A14B61}"/>
                </a:ext>
              </a:extLst>
            </p:cNvPr>
            <p:cNvSpPr>
              <a:spLocks noChangeShapeType="1"/>
            </p:cNvSpPr>
            <p:nvPr/>
          </p:nvSpPr>
          <p:spPr bwMode="auto">
            <a:xfrm flipV="1">
              <a:off x="7584939" y="4796564"/>
              <a:ext cx="570371" cy="462459"/>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546">
              <a:extLst>
                <a:ext uri="{FF2B5EF4-FFF2-40B4-BE49-F238E27FC236}">
                  <a16:creationId xmlns:a16="http://schemas.microsoft.com/office/drawing/2014/main" id="{20AAC5E0-BD65-280D-1453-660A8934CFCF}"/>
                </a:ext>
              </a:extLst>
            </p:cNvPr>
            <p:cNvSpPr>
              <a:spLocks/>
            </p:cNvSpPr>
            <p:nvPr/>
          </p:nvSpPr>
          <p:spPr bwMode="auto">
            <a:xfrm>
              <a:off x="7569518" y="4781154"/>
              <a:ext cx="601201" cy="508710"/>
            </a:xfrm>
            <a:custGeom>
              <a:avLst/>
              <a:gdLst>
                <a:gd name="T0" fmla="*/ 22 w 303"/>
                <a:gd name="T1" fmla="*/ 258 h 258"/>
                <a:gd name="T2" fmla="*/ 303 w 303"/>
                <a:gd name="T3" fmla="*/ 26 h 258"/>
                <a:gd name="T4" fmla="*/ 282 w 303"/>
                <a:gd name="T5" fmla="*/ 0 h 258"/>
                <a:gd name="T6" fmla="*/ 0 w 303"/>
                <a:gd name="T7" fmla="*/ 233 h 258"/>
              </a:gdLst>
              <a:ahLst/>
              <a:cxnLst>
                <a:cxn ang="0">
                  <a:pos x="T0" y="T1"/>
                </a:cxn>
                <a:cxn ang="0">
                  <a:pos x="T2" y="T3"/>
                </a:cxn>
                <a:cxn ang="0">
                  <a:pos x="T4" y="T5"/>
                </a:cxn>
                <a:cxn ang="0">
                  <a:pos x="T6" y="T7"/>
                </a:cxn>
              </a:cxnLst>
              <a:rect l="0" t="0" r="r" b="b"/>
              <a:pathLst>
                <a:path w="303" h="258">
                  <a:moveTo>
                    <a:pt x="22" y="258"/>
                  </a:moveTo>
                  <a:lnTo>
                    <a:pt x="303" y="26"/>
                  </a:lnTo>
                  <a:lnTo>
                    <a:pt x="282" y="0"/>
                  </a:lnTo>
                  <a:lnTo>
                    <a:pt x="0" y="233"/>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Line 2547">
              <a:extLst>
                <a:ext uri="{FF2B5EF4-FFF2-40B4-BE49-F238E27FC236}">
                  <a16:creationId xmlns:a16="http://schemas.microsoft.com/office/drawing/2014/main" id="{DC038803-2DAB-CA4D-29FB-C1DBBACF67DD}"/>
                </a:ext>
              </a:extLst>
            </p:cNvPr>
            <p:cNvSpPr>
              <a:spLocks noChangeShapeType="1"/>
            </p:cNvSpPr>
            <p:nvPr/>
          </p:nvSpPr>
          <p:spPr bwMode="auto">
            <a:xfrm flipV="1">
              <a:off x="7461616" y="5305274"/>
              <a:ext cx="61661" cy="61661"/>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548">
              <a:extLst>
                <a:ext uri="{FF2B5EF4-FFF2-40B4-BE49-F238E27FC236}">
                  <a16:creationId xmlns:a16="http://schemas.microsoft.com/office/drawing/2014/main" id="{F69D04A8-5499-2589-7F07-4EA782083FB2}"/>
                </a:ext>
              </a:extLst>
            </p:cNvPr>
            <p:cNvSpPr>
              <a:spLocks/>
            </p:cNvSpPr>
            <p:nvPr/>
          </p:nvSpPr>
          <p:spPr bwMode="auto">
            <a:xfrm>
              <a:off x="7430786" y="5289854"/>
              <a:ext cx="123322" cy="107912"/>
            </a:xfrm>
            <a:custGeom>
              <a:avLst/>
              <a:gdLst>
                <a:gd name="T0" fmla="*/ 21 w 58"/>
                <a:gd name="T1" fmla="*/ 56 h 56"/>
                <a:gd name="T2" fmla="*/ 58 w 58"/>
                <a:gd name="T3" fmla="*/ 26 h 56"/>
                <a:gd name="T4" fmla="*/ 37 w 58"/>
                <a:gd name="T5" fmla="*/ 0 h 56"/>
                <a:gd name="T6" fmla="*/ 0 w 58"/>
                <a:gd name="T7" fmla="*/ 31 h 56"/>
              </a:gdLst>
              <a:ahLst/>
              <a:cxnLst>
                <a:cxn ang="0">
                  <a:pos x="T0" y="T1"/>
                </a:cxn>
                <a:cxn ang="0">
                  <a:pos x="T2" y="T3"/>
                </a:cxn>
                <a:cxn ang="0">
                  <a:pos x="T4" y="T5"/>
                </a:cxn>
                <a:cxn ang="0">
                  <a:pos x="T6" y="T7"/>
                </a:cxn>
              </a:cxnLst>
              <a:rect l="0" t="0" r="r" b="b"/>
              <a:pathLst>
                <a:path w="58" h="56">
                  <a:moveTo>
                    <a:pt x="21" y="56"/>
                  </a:moveTo>
                  <a:lnTo>
                    <a:pt x="58" y="26"/>
                  </a:lnTo>
                  <a:lnTo>
                    <a:pt x="37" y="0"/>
                  </a:lnTo>
                  <a:lnTo>
                    <a:pt x="0" y="31"/>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3000">
              <a:extLst>
                <a:ext uri="{FF2B5EF4-FFF2-40B4-BE49-F238E27FC236}">
                  <a16:creationId xmlns:a16="http://schemas.microsoft.com/office/drawing/2014/main" id="{EE31D6DA-CC89-ED4E-7A94-ABF12AED234B}"/>
                </a:ext>
              </a:extLst>
            </p:cNvPr>
            <p:cNvSpPr>
              <a:spLocks/>
            </p:cNvSpPr>
            <p:nvPr/>
          </p:nvSpPr>
          <p:spPr bwMode="auto">
            <a:xfrm>
              <a:off x="6652288" y="3855394"/>
              <a:ext cx="269799" cy="540382"/>
            </a:xfrm>
            <a:custGeom>
              <a:avLst/>
              <a:gdLst>
                <a:gd name="connsiteX0" fmla="*/ 0 w 269799"/>
                <a:gd name="connsiteY0" fmla="*/ 100959 h 540382"/>
                <a:gd name="connsiteX1" fmla="*/ 38565 w 269799"/>
                <a:gd name="connsiteY1" fmla="*/ 108745 h 540382"/>
                <a:gd name="connsiteX2" fmla="*/ 71712 w 269799"/>
                <a:gd name="connsiteY2" fmla="*/ 102053 h 540382"/>
                <a:gd name="connsiteX3" fmla="*/ 208137 w 269799"/>
                <a:gd name="connsiteY3" fmla="*/ 524967 h 540382"/>
                <a:gd name="connsiteX4" fmla="*/ 146475 w 269799"/>
                <a:gd name="connsiteY4" fmla="*/ 540382 h 540382"/>
                <a:gd name="connsiteX5" fmla="*/ 158945 w 269799"/>
                <a:gd name="connsiteY5" fmla="*/ 0 h 540382"/>
                <a:gd name="connsiteX6" fmla="*/ 269799 w 269799"/>
                <a:gd name="connsiteY6" fmla="*/ 31673 h 540382"/>
                <a:gd name="connsiteX7" fmla="*/ 254384 w 269799"/>
                <a:gd name="connsiteY7" fmla="*/ 93334 h 540382"/>
                <a:gd name="connsiteX8" fmla="*/ 131001 w 269799"/>
                <a:gd name="connsiteY8" fmla="*/ 64862 h 540382"/>
                <a:gd name="connsiteX9" fmla="*/ 152197 w 269799"/>
                <a:gd name="connsiteY9" fmla="*/ 33425 h 54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799" h="540382">
                  <a:moveTo>
                    <a:pt x="0" y="100959"/>
                  </a:moveTo>
                  <a:lnTo>
                    <a:pt x="38565" y="108745"/>
                  </a:lnTo>
                  <a:lnTo>
                    <a:pt x="71712" y="102053"/>
                  </a:lnTo>
                  <a:lnTo>
                    <a:pt x="208137" y="524967"/>
                  </a:lnTo>
                  <a:lnTo>
                    <a:pt x="146475" y="540382"/>
                  </a:lnTo>
                  <a:close/>
                  <a:moveTo>
                    <a:pt x="158945" y="0"/>
                  </a:moveTo>
                  <a:lnTo>
                    <a:pt x="269799" y="31673"/>
                  </a:lnTo>
                  <a:lnTo>
                    <a:pt x="254384" y="93334"/>
                  </a:lnTo>
                  <a:lnTo>
                    <a:pt x="131001" y="64862"/>
                  </a:lnTo>
                  <a:lnTo>
                    <a:pt x="152197" y="33425"/>
                  </a:ln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Line 2550">
              <a:extLst>
                <a:ext uri="{FF2B5EF4-FFF2-40B4-BE49-F238E27FC236}">
                  <a16:creationId xmlns:a16="http://schemas.microsoft.com/office/drawing/2014/main" id="{D46D8344-830E-FFB1-0398-BB9208A091AE}"/>
                </a:ext>
              </a:extLst>
            </p:cNvPr>
            <p:cNvSpPr>
              <a:spLocks noChangeShapeType="1"/>
            </p:cNvSpPr>
            <p:nvPr/>
          </p:nvSpPr>
          <p:spPr bwMode="auto">
            <a:xfrm flipH="1" flipV="1">
              <a:off x="6860415" y="4472847"/>
              <a:ext cx="215814" cy="647443"/>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2551">
              <a:extLst>
                <a:ext uri="{FF2B5EF4-FFF2-40B4-BE49-F238E27FC236}">
                  <a16:creationId xmlns:a16="http://schemas.microsoft.com/office/drawing/2014/main" id="{8B1C427C-2385-FF21-6DC6-1949694D16D0}"/>
                </a:ext>
              </a:extLst>
            </p:cNvPr>
            <p:cNvSpPr>
              <a:spLocks/>
            </p:cNvSpPr>
            <p:nvPr/>
          </p:nvSpPr>
          <p:spPr bwMode="auto">
            <a:xfrm>
              <a:off x="6829584" y="4457427"/>
              <a:ext cx="292895" cy="678273"/>
            </a:xfrm>
            <a:custGeom>
              <a:avLst/>
              <a:gdLst>
                <a:gd name="T0" fmla="*/ 143 w 143"/>
                <a:gd name="T1" fmla="*/ 328 h 339"/>
                <a:gd name="T2" fmla="*/ 32 w 143"/>
                <a:gd name="T3" fmla="*/ 0 h 339"/>
                <a:gd name="T4" fmla="*/ 0 w 143"/>
                <a:gd name="T5" fmla="*/ 11 h 339"/>
                <a:gd name="T6" fmla="*/ 111 w 143"/>
                <a:gd name="T7" fmla="*/ 339 h 339"/>
              </a:gdLst>
              <a:ahLst/>
              <a:cxnLst>
                <a:cxn ang="0">
                  <a:pos x="T0" y="T1"/>
                </a:cxn>
                <a:cxn ang="0">
                  <a:pos x="T2" y="T3"/>
                </a:cxn>
                <a:cxn ang="0">
                  <a:pos x="T4" y="T5"/>
                </a:cxn>
                <a:cxn ang="0">
                  <a:pos x="T6" y="T7"/>
                </a:cxn>
              </a:cxnLst>
              <a:rect l="0" t="0" r="r" b="b"/>
              <a:pathLst>
                <a:path w="143" h="339">
                  <a:moveTo>
                    <a:pt x="143" y="328"/>
                  </a:moveTo>
                  <a:lnTo>
                    <a:pt x="32" y="0"/>
                  </a:lnTo>
                  <a:lnTo>
                    <a:pt x="0" y="11"/>
                  </a:lnTo>
                  <a:lnTo>
                    <a:pt x="111" y="339"/>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Line 2552">
              <a:extLst>
                <a:ext uri="{FF2B5EF4-FFF2-40B4-BE49-F238E27FC236}">
                  <a16:creationId xmlns:a16="http://schemas.microsoft.com/office/drawing/2014/main" id="{05C0FBE4-8B6E-4AFA-559B-983D3D343B29}"/>
                </a:ext>
              </a:extLst>
            </p:cNvPr>
            <p:cNvSpPr>
              <a:spLocks noChangeShapeType="1"/>
            </p:cNvSpPr>
            <p:nvPr/>
          </p:nvSpPr>
          <p:spPr bwMode="auto">
            <a:xfrm flipH="1" flipV="1">
              <a:off x="7107060" y="5181951"/>
              <a:ext cx="30831" cy="92492"/>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2553">
              <a:extLst>
                <a:ext uri="{FF2B5EF4-FFF2-40B4-BE49-F238E27FC236}">
                  <a16:creationId xmlns:a16="http://schemas.microsoft.com/office/drawing/2014/main" id="{2EDF0138-B96E-6449-42AB-130048D3BDE7}"/>
                </a:ext>
              </a:extLst>
            </p:cNvPr>
            <p:cNvSpPr>
              <a:spLocks/>
            </p:cNvSpPr>
            <p:nvPr/>
          </p:nvSpPr>
          <p:spPr bwMode="auto">
            <a:xfrm>
              <a:off x="7076229" y="5181951"/>
              <a:ext cx="92492" cy="107912"/>
            </a:xfrm>
            <a:custGeom>
              <a:avLst/>
              <a:gdLst>
                <a:gd name="T0" fmla="*/ 46 w 46"/>
                <a:gd name="T1" fmla="*/ 42 h 53"/>
                <a:gd name="T2" fmla="*/ 32 w 46"/>
                <a:gd name="T3" fmla="*/ 0 h 53"/>
                <a:gd name="T4" fmla="*/ 0 w 46"/>
                <a:gd name="T5" fmla="*/ 11 h 53"/>
                <a:gd name="T6" fmla="*/ 15 w 46"/>
                <a:gd name="T7" fmla="*/ 53 h 53"/>
              </a:gdLst>
              <a:ahLst/>
              <a:cxnLst>
                <a:cxn ang="0">
                  <a:pos x="T0" y="T1"/>
                </a:cxn>
                <a:cxn ang="0">
                  <a:pos x="T2" y="T3"/>
                </a:cxn>
                <a:cxn ang="0">
                  <a:pos x="T4" y="T5"/>
                </a:cxn>
                <a:cxn ang="0">
                  <a:pos x="T6" y="T7"/>
                </a:cxn>
              </a:cxnLst>
              <a:rect l="0" t="0" r="r" b="b"/>
              <a:pathLst>
                <a:path w="46" h="53">
                  <a:moveTo>
                    <a:pt x="46" y="42"/>
                  </a:moveTo>
                  <a:lnTo>
                    <a:pt x="32" y="0"/>
                  </a:lnTo>
                  <a:lnTo>
                    <a:pt x="0" y="11"/>
                  </a:lnTo>
                  <a:lnTo>
                    <a:pt x="15" y="53"/>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Shape 3005">
              <a:extLst>
                <a:ext uri="{FF2B5EF4-FFF2-40B4-BE49-F238E27FC236}">
                  <a16:creationId xmlns:a16="http://schemas.microsoft.com/office/drawing/2014/main" id="{2592B062-E931-E392-7E30-88DB3A96AA36}"/>
                </a:ext>
              </a:extLst>
            </p:cNvPr>
            <p:cNvSpPr>
              <a:spLocks/>
            </p:cNvSpPr>
            <p:nvPr/>
          </p:nvSpPr>
          <p:spPr bwMode="auto">
            <a:xfrm>
              <a:off x="7122480" y="5336104"/>
              <a:ext cx="308306" cy="177305"/>
            </a:xfrm>
            <a:custGeom>
              <a:avLst/>
              <a:gdLst>
                <a:gd name="connsiteX0" fmla="*/ 262060 w 308306"/>
                <a:gd name="connsiteY0" fmla="*/ 46247 h 177305"/>
                <a:gd name="connsiteX1" fmla="*/ 308306 w 308306"/>
                <a:gd name="connsiteY1" fmla="*/ 107909 h 177305"/>
                <a:gd name="connsiteX2" fmla="*/ 211154 w 308306"/>
                <a:gd name="connsiteY2" fmla="*/ 177305 h 177305"/>
                <a:gd name="connsiteX3" fmla="*/ 206124 w 308306"/>
                <a:gd name="connsiteY3" fmla="*/ 152393 h 177305"/>
                <a:gd name="connsiteX4" fmla="*/ 179695 w 308306"/>
                <a:gd name="connsiteY4" fmla="*/ 113193 h 177305"/>
                <a:gd name="connsiteX5" fmla="*/ 177710 w 308306"/>
                <a:gd name="connsiteY5" fmla="*/ 111855 h 177305"/>
                <a:gd name="connsiteX6" fmla="*/ 61661 w 308306"/>
                <a:gd name="connsiteY6" fmla="*/ 0 h 177305"/>
                <a:gd name="connsiteX7" fmla="*/ 92490 w 308306"/>
                <a:gd name="connsiteY7" fmla="*/ 77073 h 177305"/>
                <a:gd name="connsiteX8" fmla="*/ 44490 w 308306"/>
                <a:gd name="connsiteY8" fmla="*/ 86764 h 177305"/>
                <a:gd name="connsiteX9" fmla="*/ 30334 w 308306"/>
                <a:gd name="connsiteY9" fmla="*/ 96308 h 177305"/>
                <a:gd name="connsiteX10" fmla="*/ 0 w 308306"/>
                <a:gd name="connsiteY10" fmla="*/ 15416 h 17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8306" h="177305">
                  <a:moveTo>
                    <a:pt x="262060" y="46247"/>
                  </a:moveTo>
                  <a:lnTo>
                    <a:pt x="308306" y="107909"/>
                  </a:lnTo>
                  <a:lnTo>
                    <a:pt x="211154" y="177305"/>
                  </a:lnTo>
                  <a:lnTo>
                    <a:pt x="206124" y="152393"/>
                  </a:lnTo>
                  <a:cubicBezTo>
                    <a:pt x="199883" y="137638"/>
                    <a:pt x="190853" y="124351"/>
                    <a:pt x="179695" y="113193"/>
                  </a:cubicBezTo>
                  <a:lnTo>
                    <a:pt x="177710" y="111855"/>
                  </a:lnTo>
                  <a:close/>
                  <a:moveTo>
                    <a:pt x="61661" y="0"/>
                  </a:moveTo>
                  <a:lnTo>
                    <a:pt x="92490" y="77073"/>
                  </a:lnTo>
                  <a:lnTo>
                    <a:pt x="44490" y="86764"/>
                  </a:lnTo>
                  <a:lnTo>
                    <a:pt x="30334" y="96308"/>
                  </a:lnTo>
                  <a:lnTo>
                    <a:pt x="0" y="15416"/>
                  </a:lnTo>
                  <a:close/>
                </a:path>
              </a:pathLst>
            </a:custGeom>
            <a:grpFill/>
            <a:ln>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2556">
              <a:extLst>
                <a:ext uri="{FF2B5EF4-FFF2-40B4-BE49-F238E27FC236}">
                  <a16:creationId xmlns:a16="http://schemas.microsoft.com/office/drawing/2014/main" id="{3780E251-9A33-1AB6-0E63-92645A0C4EBC}"/>
                </a:ext>
              </a:extLst>
            </p:cNvPr>
            <p:cNvSpPr>
              <a:spLocks/>
            </p:cNvSpPr>
            <p:nvPr/>
          </p:nvSpPr>
          <p:spPr bwMode="auto">
            <a:xfrm>
              <a:off x="6536698" y="3686662"/>
              <a:ext cx="308306" cy="308306"/>
            </a:xfrm>
            <a:custGeom>
              <a:avLst/>
              <a:gdLst>
                <a:gd name="T0" fmla="*/ 140 w 157"/>
                <a:gd name="T1" fmla="*/ 79 h 157"/>
                <a:gd name="T2" fmla="*/ 123 w 157"/>
                <a:gd name="T3" fmla="*/ 79 h 157"/>
                <a:gd name="T4" fmla="*/ 78 w 157"/>
                <a:gd name="T5" fmla="*/ 124 h 157"/>
                <a:gd name="T6" fmla="*/ 33 w 157"/>
                <a:gd name="T7" fmla="*/ 79 h 157"/>
                <a:gd name="T8" fmla="*/ 78 w 157"/>
                <a:gd name="T9" fmla="*/ 34 h 157"/>
                <a:gd name="T10" fmla="*/ 123 w 157"/>
                <a:gd name="T11" fmla="*/ 79 h 157"/>
                <a:gd name="T12" fmla="*/ 140 w 157"/>
                <a:gd name="T13" fmla="*/ 79 h 157"/>
                <a:gd name="T14" fmla="*/ 157 w 157"/>
                <a:gd name="T15" fmla="*/ 79 h 157"/>
                <a:gd name="T16" fmla="*/ 78 w 157"/>
                <a:gd name="T17" fmla="*/ 0 h 157"/>
                <a:gd name="T18" fmla="*/ 0 w 157"/>
                <a:gd name="T19" fmla="*/ 79 h 157"/>
                <a:gd name="T20" fmla="*/ 78 w 157"/>
                <a:gd name="T21" fmla="*/ 157 h 157"/>
                <a:gd name="T22" fmla="*/ 157 w 157"/>
                <a:gd name="T23" fmla="*/ 79 h 157"/>
                <a:gd name="T24" fmla="*/ 140 w 157"/>
                <a:gd name="T25"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7">
                  <a:moveTo>
                    <a:pt x="140" y="79"/>
                  </a:moveTo>
                  <a:lnTo>
                    <a:pt x="123" y="79"/>
                  </a:lnTo>
                  <a:cubicBezTo>
                    <a:pt x="123" y="104"/>
                    <a:pt x="103" y="124"/>
                    <a:pt x="78" y="124"/>
                  </a:cubicBezTo>
                  <a:cubicBezTo>
                    <a:pt x="53" y="124"/>
                    <a:pt x="33" y="104"/>
                    <a:pt x="33" y="79"/>
                  </a:cubicBezTo>
                  <a:cubicBezTo>
                    <a:pt x="33" y="54"/>
                    <a:pt x="53" y="34"/>
                    <a:pt x="78" y="34"/>
                  </a:cubicBezTo>
                  <a:cubicBezTo>
                    <a:pt x="103" y="34"/>
                    <a:pt x="123" y="54"/>
                    <a:pt x="123" y="79"/>
                  </a:cubicBezTo>
                  <a:lnTo>
                    <a:pt x="140" y="79"/>
                  </a:lnTo>
                  <a:lnTo>
                    <a:pt x="157" y="79"/>
                  </a:lnTo>
                  <a:cubicBezTo>
                    <a:pt x="157" y="35"/>
                    <a:pt x="121" y="0"/>
                    <a:pt x="78" y="0"/>
                  </a:cubicBezTo>
                  <a:cubicBezTo>
                    <a:pt x="35" y="0"/>
                    <a:pt x="0" y="35"/>
                    <a:pt x="0" y="79"/>
                  </a:cubicBezTo>
                  <a:cubicBezTo>
                    <a:pt x="0" y="122"/>
                    <a:pt x="35" y="157"/>
                    <a:pt x="78" y="157"/>
                  </a:cubicBezTo>
                  <a:cubicBezTo>
                    <a:pt x="121" y="157"/>
                    <a:pt x="157" y="122"/>
                    <a:pt x="157" y="79"/>
                  </a:cubicBezTo>
                  <a:lnTo>
                    <a:pt x="140" y="79"/>
                  </a:lnTo>
                  <a:close/>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2558">
              <a:extLst>
                <a:ext uri="{FF2B5EF4-FFF2-40B4-BE49-F238E27FC236}">
                  <a16:creationId xmlns:a16="http://schemas.microsoft.com/office/drawing/2014/main" id="{5709830C-419C-B676-EBF4-4B8576B1E675}"/>
                </a:ext>
              </a:extLst>
            </p:cNvPr>
            <p:cNvSpPr>
              <a:spLocks/>
            </p:cNvSpPr>
            <p:nvPr/>
          </p:nvSpPr>
          <p:spPr bwMode="auto">
            <a:xfrm>
              <a:off x="8494436" y="4179952"/>
              <a:ext cx="308306" cy="308306"/>
            </a:xfrm>
            <a:custGeom>
              <a:avLst/>
              <a:gdLst>
                <a:gd name="T0" fmla="*/ 140 w 157"/>
                <a:gd name="T1" fmla="*/ 78 h 157"/>
                <a:gd name="T2" fmla="*/ 124 w 157"/>
                <a:gd name="T3" fmla="*/ 78 h 157"/>
                <a:gd name="T4" fmla="*/ 78 w 157"/>
                <a:gd name="T5" fmla="*/ 123 h 157"/>
                <a:gd name="T6" fmla="*/ 33 w 157"/>
                <a:gd name="T7" fmla="*/ 78 h 157"/>
                <a:gd name="T8" fmla="*/ 78 w 157"/>
                <a:gd name="T9" fmla="*/ 33 h 157"/>
                <a:gd name="T10" fmla="*/ 124 w 157"/>
                <a:gd name="T11" fmla="*/ 78 h 157"/>
                <a:gd name="T12" fmla="*/ 140 w 157"/>
                <a:gd name="T13" fmla="*/ 78 h 157"/>
                <a:gd name="T14" fmla="*/ 157 w 157"/>
                <a:gd name="T15" fmla="*/ 78 h 157"/>
                <a:gd name="T16" fmla="*/ 78 w 157"/>
                <a:gd name="T17" fmla="*/ 0 h 157"/>
                <a:gd name="T18" fmla="*/ 0 w 157"/>
                <a:gd name="T19" fmla="*/ 78 h 157"/>
                <a:gd name="T20" fmla="*/ 78 w 157"/>
                <a:gd name="T21" fmla="*/ 157 h 157"/>
                <a:gd name="T22" fmla="*/ 157 w 157"/>
                <a:gd name="T23" fmla="*/ 78 h 157"/>
                <a:gd name="T24" fmla="*/ 140 w 157"/>
                <a:gd name="T25"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7">
                  <a:moveTo>
                    <a:pt x="140" y="78"/>
                  </a:moveTo>
                  <a:lnTo>
                    <a:pt x="124" y="78"/>
                  </a:lnTo>
                  <a:cubicBezTo>
                    <a:pt x="124" y="103"/>
                    <a:pt x="103" y="123"/>
                    <a:pt x="78" y="123"/>
                  </a:cubicBezTo>
                  <a:cubicBezTo>
                    <a:pt x="54" y="123"/>
                    <a:pt x="33" y="103"/>
                    <a:pt x="33" y="78"/>
                  </a:cubicBezTo>
                  <a:cubicBezTo>
                    <a:pt x="33" y="53"/>
                    <a:pt x="54" y="33"/>
                    <a:pt x="78" y="33"/>
                  </a:cubicBezTo>
                  <a:cubicBezTo>
                    <a:pt x="103" y="33"/>
                    <a:pt x="124" y="53"/>
                    <a:pt x="124" y="78"/>
                  </a:cubicBezTo>
                  <a:lnTo>
                    <a:pt x="140" y="78"/>
                  </a:lnTo>
                  <a:lnTo>
                    <a:pt x="157" y="78"/>
                  </a:lnTo>
                  <a:cubicBezTo>
                    <a:pt x="157" y="35"/>
                    <a:pt x="122" y="0"/>
                    <a:pt x="78" y="0"/>
                  </a:cubicBezTo>
                  <a:cubicBezTo>
                    <a:pt x="35" y="0"/>
                    <a:pt x="0" y="35"/>
                    <a:pt x="0" y="78"/>
                  </a:cubicBezTo>
                  <a:cubicBezTo>
                    <a:pt x="0" y="122"/>
                    <a:pt x="35" y="157"/>
                    <a:pt x="78" y="157"/>
                  </a:cubicBezTo>
                  <a:cubicBezTo>
                    <a:pt x="122" y="157"/>
                    <a:pt x="157" y="122"/>
                    <a:pt x="157" y="78"/>
                  </a:cubicBezTo>
                  <a:lnTo>
                    <a:pt x="140" y="78"/>
                  </a:lnTo>
                  <a:close/>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560">
              <a:extLst>
                <a:ext uri="{FF2B5EF4-FFF2-40B4-BE49-F238E27FC236}">
                  <a16:creationId xmlns:a16="http://schemas.microsoft.com/office/drawing/2014/main" id="{C8715E02-AF92-434A-43C7-8A6B6961FF7E}"/>
                </a:ext>
              </a:extLst>
            </p:cNvPr>
            <p:cNvSpPr>
              <a:spLocks/>
            </p:cNvSpPr>
            <p:nvPr/>
          </p:nvSpPr>
          <p:spPr bwMode="auto">
            <a:xfrm>
              <a:off x="7060819" y="5382346"/>
              <a:ext cx="308306" cy="308306"/>
            </a:xfrm>
            <a:custGeom>
              <a:avLst/>
              <a:gdLst>
                <a:gd name="T0" fmla="*/ 141 w 157"/>
                <a:gd name="T1" fmla="*/ 78 h 156"/>
                <a:gd name="T2" fmla="*/ 124 w 157"/>
                <a:gd name="T3" fmla="*/ 78 h 156"/>
                <a:gd name="T4" fmla="*/ 79 w 157"/>
                <a:gd name="T5" fmla="*/ 123 h 156"/>
                <a:gd name="T6" fmla="*/ 34 w 157"/>
                <a:gd name="T7" fmla="*/ 78 h 156"/>
                <a:gd name="T8" fmla="*/ 79 w 157"/>
                <a:gd name="T9" fmla="*/ 33 h 156"/>
                <a:gd name="T10" fmla="*/ 124 w 157"/>
                <a:gd name="T11" fmla="*/ 78 h 156"/>
                <a:gd name="T12" fmla="*/ 141 w 157"/>
                <a:gd name="T13" fmla="*/ 78 h 156"/>
                <a:gd name="T14" fmla="*/ 157 w 157"/>
                <a:gd name="T15" fmla="*/ 78 h 156"/>
                <a:gd name="T16" fmla="*/ 79 w 157"/>
                <a:gd name="T17" fmla="*/ 0 h 156"/>
                <a:gd name="T18" fmla="*/ 0 w 157"/>
                <a:gd name="T19" fmla="*/ 78 h 156"/>
                <a:gd name="T20" fmla="*/ 79 w 157"/>
                <a:gd name="T21" fmla="*/ 156 h 156"/>
                <a:gd name="T22" fmla="*/ 157 w 157"/>
                <a:gd name="T23" fmla="*/ 78 h 156"/>
                <a:gd name="T24" fmla="*/ 141 w 157"/>
                <a:gd name="T2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56">
                  <a:moveTo>
                    <a:pt x="141" y="78"/>
                  </a:moveTo>
                  <a:lnTo>
                    <a:pt x="124" y="78"/>
                  </a:lnTo>
                  <a:cubicBezTo>
                    <a:pt x="124" y="103"/>
                    <a:pt x="104" y="123"/>
                    <a:pt x="79" y="123"/>
                  </a:cubicBezTo>
                  <a:cubicBezTo>
                    <a:pt x="54" y="123"/>
                    <a:pt x="34" y="103"/>
                    <a:pt x="34" y="78"/>
                  </a:cubicBezTo>
                  <a:cubicBezTo>
                    <a:pt x="34" y="53"/>
                    <a:pt x="54" y="33"/>
                    <a:pt x="79" y="33"/>
                  </a:cubicBezTo>
                  <a:cubicBezTo>
                    <a:pt x="104" y="33"/>
                    <a:pt x="124" y="53"/>
                    <a:pt x="124" y="78"/>
                  </a:cubicBezTo>
                  <a:lnTo>
                    <a:pt x="141" y="78"/>
                  </a:lnTo>
                  <a:lnTo>
                    <a:pt x="157" y="78"/>
                  </a:lnTo>
                  <a:cubicBezTo>
                    <a:pt x="157" y="35"/>
                    <a:pt x="122" y="0"/>
                    <a:pt x="79" y="0"/>
                  </a:cubicBezTo>
                  <a:cubicBezTo>
                    <a:pt x="35" y="0"/>
                    <a:pt x="0" y="35"/>
                    <a:pt x="0" y="78"/>
                  </a:cubicBezTo>
                  <a:cubicBezTo>
                    <a:pt x="0" y="121"/>
                    <a:pt x="35" y="156"/>
                    <a:pt x="79" y="156"/>
                  </a:cubicBezTo>
                  <a:cubicBezTo>
                    <a:pt x="122" y="156"/>
                    <a:pt x="157" y="121"/>
                    <a:pt x="157" y="78"/>
                  </a:cubicBezTo>
                  <a:lnTo>
                    <a:pt x="141" y="78"/>
                  </a:lnTo>
                  <a:close/>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2562">
              <a:extLst>
                <a:ext uri="{FF2B5EF4-FFF2-40B4-BE49-F238E27FC236}">
                  <a16:creationId xmlns:a16="http://schemas.microsoft.com/office/drawing/2014/main" id="{C8B9568A-F843-D28E-ADE1-8ACBE0B72B1E}"/>
                </a:ext>
              </a:extLst>
            </p:cNvPr>
            <p:cNvSpPr>
              <a:spLocks/>
            </p:cNvSpPr>
            <p:nvPr/>
          </p:nvSpPr>
          <p:spPr bwMode="auto">
            <a:xfrm>
              <a:off x="7045398" y="4657831"/>
              <a:ext cx="554951" cy="739935"/>
            </a:xfrm>
            <a:custGeom>
              <a:avLst/>
              <a:gdLst>
                <a:gd name="T0" fmla="*/ 259 w 276"/>
                <a:gd name="T1" fmla="*/ 129 h 370"/>
                <a:gd name="T2" fmla="*/ 243 w 276"/>
                <a:gd name="T3" fmla="*/ 129 h 370"/>
                <a:gd name="T4" fmla="*/ 238 w 276"/>
                <a:gd name="T5" fmla="*/ 151 h 370"/>
                <a:gd name="T6" fmla="*/ 175 w 276"/>
                <a:gd name="T7" fmla="*/ 267 h 370"/>
                <a:gd name="T8" fmla="*/ 142 w 276"/>
                <a:gd name="T9" fmla="*/ 314 h 370"/>
                <a:gd name="T10" fmla="*/ 132 w 276"/>
                <a:gd name="T11" fmla="*/ 328 h 370"/>
                <a:gd name="T12" fmla="*/ 128 w 276"/>
                <a:gd name="T13" fmla="*/ 333 h 370"/>
                <a:gd name="T14" fmla="*/ 141 w 276"/>
                <a:gd name="T15" fmla="*/ 343 h 370"/>
                <a:gd name="T16" fmla="*/ 154 w 276"/>
                <a:gd name="T17" fmla="*/ 333 h 370"/>
                <a:gd name="T18" fmla="*/ 153 w 276"/>
                <a:gd name="T19" fmla="*/ 331 h 370"/>
                <a:gd name="T20" fmla="*/ 87 w 276"/>
                <a:gd name="T21" fmla="*/ 242 h 370"/>
                <a:gd name="T22" fmla="*/ 49 w 276"/>
                <a:gd name="T23" fmla="*/ 177 h 370"/>
                <a:gd name="T24" fmla="*/ 37 w 276"/>
                <a:gd name="T25" fmla="*/ 149 h 370"/>
                <a:gd name="T26" fmla="*/ 33 w 276"/>
                <a:gd name="T27" fmla="*/ 129 h 370"/>
                <a:gd name="T28" fmla="*/ 63 w 276"/>
                <a:gd name="T29" fmla="*/ 62 h 370"/>
                <a:gd name="T30" fmla="*/ 138 w 276"/>
                <a:gd name="T31" fmla="*/ 33 h 370"/>
                <a:gd name="T32" fmla="*/ 212 w 276"/>
                <a:gd name="T33" fmla="*/ 62 h 370"/>
                <a:gd name="T34" fmla="*/ 243 w 276"/>
                <a:gd name="T35" fmla="*/ 129 h 370"/>
                <a:gd name="T36" fmla="*/ 259 w 276"/>
                <a:gd name="T37" fmla="*/ 129 h 370"/>
                <a:gd name="T38" fmla="*/ 276 w 276"/>
                <a:gd name="T39" fmla="*/ 129 h 370"/>
                <a:gd name="T40" fmla="*/ 235 w 276"/>
                <a:gd name="T41" fmla="*/ 37 h 370"/>
                <a:gd name="T42" fmla="*/ 138 w 276"/>
                <a:gd name="T43" fmla="*/ 0 h 370"/>
                <a:gd name="T44" fmla="*/ 41 w 276"/>
                <a:gd name="T45" fmla="*/ 37 h 370"/>
                <a:gd name="T46" fmla="*/ 0 w 276"/>
                <a:gd name="T47" fmla="*/ 129 h 370"/>
                <a:gd name="T48" fmla="*/ 6 w 276"/>
                <a:gd name="T49" fmla="*/ 162 h 370"/>
                <a:gd name="T50" fmla="*/ 77 w 276"/>
                <a:gd name="T51" fmla="*/ 286 h 370"/>
                <a:gd name="T52" fmla="*/ 128 w 276"/>
                <a:gd name="T53" fmla="*/ 354 h 370"/>
                <a:gd name="T54" fmla="*/ 142 w 276"/>
                <a:gd name="T55" fmla="*/ 370 h 370"/>
                <a:gd name="T56" fmla="*/ 154 w 276"/>
                <a:gd name="T57" fmla="*/ 354 h 370"/>
                <a:gd name="T58" fmla="*/ 214 w 276"/>
                <a:gd name="T59" fmla="*/ 269 h 370"/>
                <a:gd name="T60" fmla="*/ 256 w 276"/>
                <a:gd name="T61" fmla="*/ 196 h 370"/>
                <a:gd name="T62" fmla="*/ 270 w 276"/>
                <a:gd name="T63" fmla="*/ 162 h 370"/>
                <a:gd name="T64" fmla="*/ 276 w 276"/>
                <a:gd name="T65" fmla="*/ 129 h 370"/>
                <a:gd name="T66" fmla="*/ 259 w 276"/>
                <a:gd name="T67" fmla="*/ 129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370">
                  <a:moveTo>
                    <a:pt x="259" y="129"/>
                  </a:moveTo>
                  <a:lnTo>
                    <a:pt x="243" y="129"/>
                  </a:lnTo>
                  <a:cubicBezTo>
                    <a:pt x="243" y="134"/>
                    <a:pt x="241" y="142"/>
                    <a:pt x="238" y="151"/>
                  </a:cubicBezTo>
                  <a:cubicBezTo>
                    <a:pt x="228" y="183"/>
                    <a:pt x="201" y="230"/>
                    <a:pt x="175" y="267"/>
                  </a:cubicBezTo>
                  <a:cubicBezTo>
                    <a:pt x="163" y="286"/>
                    <a:pt x="151" y="302"/>
                    <a:pt x="142" y="314"/>
                  </a:cubicBezTo>
                  <a:cubicBezTo>
                    <a:pt x="138" y="320"/>
                    <a:pt x="134" y="325"/>
                    <a:pt x="132" y="328"/>
                  </a:cubicBezTo>
                  <a:cubicBezTo>
                    <a:pt x="129" y="332"/>
                    <a:pt x="128" y="333"/>
                    <a:pt x="128" y="333"/>
                  </a:cubicBezTo>
                  <a:lnTo>
                    <a:pt x="141" y="343"/>
                  </a:lnTo>
                  <a:lnTo>
                    <a:pt x="154" y="333"/>
                  </a:lnTo>
                  <a:lnTo>
                    <a:pt x="153" y="331"/>
                  </a:lnTo>
                  <a:cubicBezTo>
                    <a:pt x="146" y="323"/>
                    <a:pt x="116" y="285"/>
                    <a:pt x="87" y="242"/>
                  </a:cubicBezTo>
                  <a:cubicBezTo>
                    <a:pt x="73" y="220"/>
                    <a:pt x="59" y="198"/>
                    <a:pt x="49" y="177"/>
                  </a:cubicBezTo>
                  <a:cubicBezTo>
                    <a:pt x="44" y="167"/>
                    <a:pt x="40" y="158"/>
                    <a:pt x="37" y="149"/>
                  </a:cubicBezTo>
                  <a:cubicBezTo>
                    <a:pt x="35" y="141"/>
                    <a:pt x="33" y="134"/>
                    <a:pt x="33" y="129"/>
                  </a:cubicBezTo>
                  <a:cubicBezTo>
                    <a:pt x="33" y="103"/>
                    <a:pt x="45" y="79"/>
                    <a:pt x="63" y="62"/>
                  </a:cubicBezTo>
                  <a:cubicBezTo>
                    <a:pt x="82" y="44"/>
                    <a:pt x="109" y="33"/>
                    <a:pt x="138" y="33"/>
                  </a:cubicBezTo>
                  <a:cubicBezTo>
                    <a:pt x="167" y="33"/>
                    <a:pt x="194" y="44"/>
                    <a:pt x="212" y="62"/>
                  </a:cubicBezTo>
                  <a:cubicBezTo>
                    <a:pt x="231" y="79"/>
                    <a:pt x="243" y="103"/>
                    <a:pt x="243" y="129"/>
                  </a:cubicBezTo>
                  <a:lnTo>
                    <a:pt x="259" y="129"/>
                  </a:lnTo>
                  <a:lnTo>
                    <a:pt x="276" y="129"/>
                  </a:lnTo>
                  <a:cubicBezTo>
                    <a:pt x="276" y="93"/>
                    <a:pt x="260" y="61"/>
                    <a:pt x="235" y="37"/>
                  </a:cubicBezTo>
                  <a:cubicBezTo>
                    <a:pt x="210" y="14"/>
                    <a:pt x="176" y="0"/>
                    <a:pt x="138" y="0"/>
                  </a:cubicBezTo>
                  <a:cubicBezTo>
                    <a:pt x="100" y="0"/>
                    <a:pt x="66" y="14"/>
                    <a:pt x="41" y="37"/>
                  </a:cubicBezTo>
                  <a:cubicBezTo>
                    <a:pt x="16" y="61"/>
                    <a:pt x="0" y="93"/>
                    <a:pt x="0" y="129"/>
                  </a:cubicBezTo>
                  <a:cubicBezTo>
                    <a:pt x="0" y="140"/>
                    <a:pt x="2" y="151"/>
                    <a:pt x="6" y="162"/>
                  </a:cubicBezTo>
                  <a:cubicBezTo>
                    <a:pt x="19" y="201"/>
                    <a:pt x="50" y="248"/>
                    <a:pt x="77" y="286"/>
                  </a:cubicBezTo>
                  <a:cubicBezTo>
                    <a:pt x="104" y="325"/>
                    <a:pt x="128" y="354"/>
                    <a:pt x="128" y="354"/>
                  </a:cubicBezTo>
                  <a:lnTo>
                    <a:pt x="142" y="370"/>
                  </a:lnTo>
                  <a:lnTo>
                    <a:pt x="154" y="354"/>
                  </a:lnTo>
                  <a:cubicBezTo>
                    <a:pt x="155" y="354"/>
                    <a:pt x="184" y="315"/>
                    <a:pt x="214" y="269"/>
                  </a:cubicBezTo>
                  <a:cubicBezTo>
                    <a:pt x="229" y="246"/>
                    <a:pt x="244" y="220"/>
                    <a:pt x="256" y="196"/>
                  </a:cubicBezTo>
                  <a:cubicBezTo>
                    <a:pt x="262" y="184"/>
                    <a:pt x="267" y="173"/>
                    <a:pt x="270" y="162"/>
                  </a:cubicBezTo>
                  <a:cubicBezTo>
                    <a:pt x="274" y="150"/>
                    <a:pt x="276" y="140"/>
                    <a:pt x="276" y="129"/>
                  </a:cubicBezTo>
                  <a:lnTo>
                    <a:pt x="259" y="129"/>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2564">
              <a:extLst>
                <a:ext uri="{FF2B5EF4-FFF2-40B4-BE49-F238E27FC236}">
                  <a16:creationId xmlns:a16="http://schemas.microsoft.com/office/drawing/2014/main" id="{7E691956-6DB3-6A98-104B-F648DB3BB47A}"/>
                </a:ext>
              </a:extLst>
            </p:cNvPr>
            <p:cNvSpPr>
              <a:spLocks/>
            </p:cNvSpPr>
            <p:nvPr/>
          </p:nvSpPr>
          <p:spPr bwMode="auto">
            <a:xfrm>
              <a:off x="7153310" y="4750323"/>
              <a:ext cx="354557" cy="354557"/>
            </a:xfrm>
            <a:custGeom>
              <a:avLst/>
              <a:gdLst>
                <a:gd name="T0" fmla="*/ 155 w 172"/>
                <a:gd name="T1" fmla="*/ 88 h 175"/>
                <a:gd name="T2" fmla="*/ 138 w 172"/>
                <a:gd name="T3" fmla="*/ 88 h 175"/>
                <a:gd name="T4" fmla="*/ 123 w 172"/>
                <a:gd name="T5" fmla="*/ 126 h 175"/>
                <a:gd name="T6" fmla="*/ 86 w 172"/>
                <a:gd name="T7" fmla="*/ 142 h 175"/>
                <a:gd name="T8" fmla="*/ 49 w 172"/>
                <a:gd name="T9" fmla="*/ 126 h 175"/>
                <a:gd name="T10" fmla="*/ 33 w 172"/>
                <a:gd name="T11" fmla="*/ 88 h 175"/>
                <a:gd name="T12" fmla="*/ 49 w 172"/>
                <a:gd name="T13" fmla="*/ 49 h 175"/>
                <a:gd name="T14" fmla="*/ 86 w 172"/>
                <a:gd name="T15" fmla="*/ 34 h 175"/>
                <a:gd name="T16" fmla="*/ 123 w 172"/>
                <a:gd name="T17" fmla="*/ 49 h 175"/>
                <a:gd name="T18" fmla="*/ 138 w 172"/>
                <a:gd name="T19" fmla="*/ 88 h 175"/>
                <a:gd name="T20" fmla="*/ 155 w 172"/>
                <a:gd name="T21" fmla="*/ 88 h 175"/>
                <a:gd name="T22" fmla="*/ 172 w 172"/>
                <a:gd name="T23" fmla="*/ 88 h 175"/>
                <a:gd name="T24" fmla="*/ 147 w 172"/>
                <a:gd name="T25" fmla="*/ 26 h 175"/>
                <a:gd name="T26" fmla="*/ 86 w 172"/>
                <a:gd name="T27" fmla="*/ 0 h 175"/>
                <a:gd name="T28" fmla="*/ 25 w 172"/>
                <a:gd name="T29" fmla="*/ 26 h 175"/>
                <a:gd name="T30" fmla="*/ 0 w 172"/>
                <a:gd name="T31" fmla="*/ 88 h 175"/>
                <a:gd name="T32" fmla="*/ 25 w 172"/>
                <a:gd name="T33" fmla="*/ 150 h 175"/>
                <a:gd name="T34" fmla="*/ 86 w 172"/>
                <a:gd name="T35" fmla="*/ 175 h 175"/>
                <a:gd name="T36" fmla="*/ 147 w 172"/>
                <a:gd name="T37" fmla="*/ 150 h 175"/>
                <a:gd name="T38" fmla="*/ 172 w 172"/>
                <a:gd name="T39" fmla="*/ 88 h 175"/>
                <a:gd name="T40" fmla="*/ 155 w 172"/>
                <a:gd name="T41" fmla="*/ 8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2" h="175">
                  <a:moveTo>
                    <a:pt x="155" y="88"/>
                  </a:moveTo>
                  <a:lnTo>
                    <a:pt x="138" y="88"/>
                  </a:lnTo>
                  <a:cubicBezTo>
                    <a:pt x="138" y="103"/>
                    <a:pt x="132" y="116"/>
                    <a:pt x="123" y="126"/>
                  </a:cubicBezTo>
                  <a:cubicBezTo>
                    <a:pt x="113" y="136"/>
                    <a:pt x="100" y="142"/>
                    <a:pt x="86" y="142"/>
                  </a:cubicBezTo>
                  <a:cubicBezTo>
                    <a:pt x="71" y="142"/>
                    <a:pt x="58" y="136"/>
                    <a:pt x="49" y="126"/>
                  </a:cubicBezTo>
                  <a:cubicBezTo>
                    <a:pt x="39" y="116"/>
                    <a:pt x="33" y="103"/>
                    <a:pt x="33" y="88"/>
                  </a:cubicBezTo>
                  <a:cubicBezTo>
                    <a:pt x="33" y="73"/>
                    <a:pt x="39" y="59"/>
                    <a:pt x="49" y="49"/>
                  </a:cubicBezTo>
                  <a:cubicBezTo>
                    <a:pt x="58" y="40"/>
                    <a:pt x="71" y="34"/>
                    <a:pt x="86" y="34"/>
                  </a:cubicBezTo>
                  <a:cubicBezTo>
                    <a:pt x="100" y="34"/>
                    <a:pt x="113" y="40"/>
                    <a:pt x="123" y="49"/>
                  </a:cubicBezTo>
                  <a:cubicBezTo>
                    <a:pt x="132" y="59"/>
                    <a:pt x="138" y="73"/>
                    <a:pt x="138" y="88"/>
                  </a:cubicBezTo>
                  <a:lnTo>
                    <a:pt x="155" y="88"/>
                  </a:lnTo>
                  <a:lnTo>
                    <a:pt x="172" y="88"/>
                  </a:lnTo>
                  <a:cubicBezTo>
                    <a:pt x="172" y="64"/>
                    <a:pt x="162" y="42"/>
                    <a:pt x="147" y="26"/>
                  </a:cubicBezTo>
                  <a:cubicBezTo>
                    <a:pt x="131" y="10"/>
                    <a:pt x="110" y="0"/>
                    <a:pt x="86" y="0"/>
                  </a:cubicBezTo>
                  <a:cubicBezTo>
                    <a:pt x="62" y="0"/>
                    <a:pt x="40" y="10"/>
                    <a:pt x="25" y="26"/>
                  </a:cubicBezTo>
                  <a:cubicBezTo>
                    <a:pt x="10" y="42"/>
                    <a:pt x="0" y="64"/>
                    <a:pt x="0" y="88"/>
                  </a:cubicBezTo>
                  <a:cubicBezTo>
                    <a:pt x="0" y="112"/>
                    <a:pt x="10" y="134"/>
                    <a:pt x="25" y="150"/>
                  </a:cubicBezTo>
                  <a:cubicBezTo>
                    <a:pt x="40" y="165"/>
                    <a:pt x="62" y="175"/>
                    <a:pt x="86" y="175"/>
                  </a:cubicBezTo>
                  <a:cubicBezTo>
                    <a:pt x="110" y="175"/>
                    <a:pt x="131" y="165"/>
                    <a:pt x="147" y="150"/>
                  </a:cubicBezTo>
                  <a:cubicBezTo>
                    <a:pt x="162" y="134"/>
                    <a:pt x="172" y="112"/>
                    <a:pt x="172" y="88"/>
                  </a:cubicBezTo>
                  <a:lnTo>
                    <a:pt x="155" y="88"/>
                  </a:lnTo>
                  <a:close/>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2566">
              <a:extLst>
                <a:ext uri="{FF2B5EF4-FFF2-40B4-BE49-F238E27FC236}">
                  <a16:creationId xmlns:a16="http://schemas.microsoft.com/office/drawing/2014/main" id="{84A9F944-5430-F991-6E54-9B8E11C30DBF}"/>
                </a:ext>
              </a:extLst>
            </p:cNvPr>
            <p:cNvSpPr>
              <a:spLocks/>
            </p:cNvSpPr>
            <p:nvPr/>
          </p:nvSpPr>
          <p:spPr bwMode="auto">
            <a:xfrm>
              <a:off x="8417365" y="3486268"/>
              <a:ext cx="508710" cy="678273"/>
            </a:xfrm>
            <a:custGeom>
              <a:avLst/>
              <a:gdLst>
                <a:gd name="T0" fmla="*/ 236 w 253"/>
                <a:gd name="T1" fmla="*/ 119 h 340"/>
                <a:gd name="T2" fmla="*/ 219 w 253"/>
                <a:gd name="T3" fmla="*/ 119 h 340"/>
                <a:gd name="T4" fmla="*/ 215 w 253"/>
                <a:gd name="T5" fmla="*/ 139 h 340"/>
                <a:gd name="T6" fmla="*/ 159 w 253"/>
                <a:gd name="T7" fmla="*/ 243 h 340"/>
                <a:gd name="T8" fmla="*/ 129 w 253"/>
                <a:gd name="T9" fmla="*/ 286 h 340"/>
                <a:gd name="T10" fmla="*/ 119 w 253"/>
                <a:gd name="T11" fmla="*/ 298 h 340"/>
                <a:gd name="T12" fmla="*/ 116 w 253"/>
                <a:gd name="T13" fmla="*/ 303 h 340"/>
                <a:gd name="T14" fmla="*/ 129 w 253"/>
                <a:gd name="T15" fmla="*/ 313 h 340"/>
                <a:gd name="T16" fmla="*/ 142 w 253"/>
                <a:gd name="T17" fmla="*/ 302 h 340"/>
                <a:gd name="T18" fmla="*/ 141 w 253"/>
                <a:gd name="T19" fmla="*/ 301 h 340"/>
                <a:gd name="T20" fmla="*/ 81 w 253"/>
                <a:gd name="T21" fmla="*/ 220 h 340"/>
                <a:gd name="T22" fmla="*/ 47 w 253"/>
                <a:gd name="T23" fmla="*/ 162 h 340"/>
                <a:gd name="T24" fmla="*/ 37 w 253"/>
                <a:gd name="T25" fmla="*/ 137 h 340"/>
                <a:gd name="T26" fmla="*/ 33 w 253"/>
                <a:gd name="T27" fmla="*/ 119 h 340"/>
                <a:gd name="T28" fmla="*/ 60 w 253"/>
                <a:gd name="T29" fmla="*/ 59 h 340"/>
                <a:gd name="T30" fmla="*/ 126 w 253"/>
                <a:gd name="T31" fmla="*/ 34 h 340"/>
                <a:gd name="T32" fmla="*/ 192 w 253"/>
                <a:gd name="T33" fmla="*/ 59 h 340"/>
                <a:gd name="T34" fmla="*/ 219 w 253"/>
                <a:gd name="T35" fmla="*/ 119 h 340"/>
                <a:gd name="T36" fmla="*/ 236 w 253"/>
                <a:gd name="T37" fmla="*/ 119 h 340"/>
                <a:gd name="T38" fmla="*/ 253 w 253"/>
                <a:gd name="T39" fmla="*/ 119 h 340"/>
                <a:gd name="T40" fmla="*/ 215 w 253"/>
                <a:gd name="T41" fmla="*/ 35 h 340"/>
                <a:gd name="T42" fmla="*/ 126 w 253"/>
                <a:gd name="T43" fmla="*/ 0 h 340"/>
                <a:gd name="T44" fmla="*/ 37 w 253"/>
                <a:gd name="T45" fmla="*/ 35 h 340"/>
                <a:gd name="T46" fmla="*/ 0 w 253"/>
                <a:gd name="T47" fmla="*/ 119 h 340"/>
                <a:gd name="T48" fmla="*/ 5 w 253"/>
                <a:gd name="T49" fmla="*/ 149 h 340"/>
                <a:gd name="T50" fmla="*/ 70 w 253"/>
                <a:gd name="T51" fmla="*/ 262 h 340"/>
                <a:gd name="T52" fmla="*/ 116 w 253"/>
                <a:gd name="T53" fmla="*/ 324 h 340"/>
                <a:gd name="T54" fmla="*/ 129 w 253"/>
                <a:gd name="T55" fmla="*/ 340 h 340"/>
                <a:gd name="T56" fmla="*/ 142 w 253"/>
                <a:gd name="T57" fmla="*/ 323 h 340"/>
                <a:gd name="T58" fmla="*/ 197 w 253"/>
                <a:gd name="T59" fmla="*/ 246 h 340"/>
                <a:gd name="T60" fmla="*/ 234 w 253"/>
                <a:gd name="T61" fmla="*/ 181 h 340"/>
                <a:gd name="T62" fmla="*/ 247 w 253"/>
                <a:gd name="T63" fmla="*/ 149 h 340"/>
                <a:gd name="T64" fmla="*/ 253 w 253"/>
                <a:gd name="T65" fmla="*/ 119 h 340"/>
                <a:gd name="T66" fmla="*/ 236 w 253"/>
                <a:gd name="T67" fmla="*/ 11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3" h="340">
                  <a:moveTo>
                    <a:pt x="236" y="119"/>
                  </a:moveTo>
                  <a:lnTo>
                    <a:pt x="219" y="119"/>
                  </a:lnTo>
                  <a:cubicBezTo>
                    <a:pt x="219" y="124"/>
                    <a:pt x="218" y="131"/>
                    <a:pt x="215" y="139"/>
                  </a:cubicBezTo>
                  <a:cubicBezTo>
                    <a:pt x="206" y="168"/>
                    <a:pt x="181" y="210"/>
                    <a:pt x="159" y="243"/>
                  </a:cubicBezTo>
                  <a:cubicBezTo>
                    <a:pt x="147" y="260"/>
                    <a:pt x="137" y="275"/>
                    <a:pt x="129" y="286"/>
                  </a:cubicBezTo>
                  <a:cubicBezTo>
                    <a:pt x="125" y="291"/>
                    <a:pt x="122" y="295"/>
                    <a:pt x="119" y="298"/>
                  </a:cubicBezTo>
                  <a:cubicBezTo>
                    <a:pt x="117" y="301"/>
                    <a:pt x="116" y="303"/>
                    <a:pt x="116" y="303"/>
                  </a:cubicBezTo>
                  <a:lnTo>
                    <a:pt x="129" y="313"/>
                  </a:lnTo>
                  <a:lnTo>
                    <a:pt x="142" y="302"/>
                  </a:lnTo>
                  <a:lnTo>
                    <a:pt x="141" y="301"/>
                  </a:lnTo>
                  <a:cubicBezTo>
                    <a:pt x="135" y="294"/>
                    <a:pt x="107" y="259"/>
                    <a:pt x="81" y="220"/>
                  </a:cubicBezTo>
                  <a:cubicBezTo>
                    <a:pt x="68" y="201"/>
                    <a:pt x="56" y="180"/>
                    <a:pt x="47" y="162"/>
                  </a:cubicBezTo>
                  <a:cubicBezTo>
                    <a:pt x="43" y="153"/>
                    <a:pt x="39" y="144"/>
                    <a:pt x="37" y="137"/>
                  </a:cubicBezTo>
                  <a:cubicBezTo>
                    <a:pt x="34" y="130"/>
                    <a:pt x="33" y="123"/>
                    <a:pt x="33" y="119"/>
                  </a:cubicBezTo>
                  <a:cubicBezTo>
                    <a:pt x="33" y="96"/>
                    <a:pt x="43" y="75"/>
                    <a:pt x="60" y="59"/>
                  </a:cubicBezTo>
                  <a:cubicBezTo>
                    <a:pt x="76" y="44"/>
                    <a:pt x="100" y="34"/>
                    <a:pt x="126" y="34"/>
                  </a:cubicBezTo>
                  <a:cubicBezTo>
                    <a:pt x="152" y="34"/>
                    <a:pt x="176" y="44"/>
                    <a:pt x="192" y="59"/>
                  </a:cubicBezTo>
                  <a:cubicBezTo>
                    <a:pt x="209" y="75"/>
                    <a:pt x="219" y="96"/>
                    <a:pt x="219" y="119"/>
                  </a:cubicBezTo>
                  <a:lnTo>
                    <a:pt x="236" y="119"/>
                  </a:lnTo>
                  <a:lnTo>
                    <a:pt x="253" y="119"/>
                  </a:lnTo>
                  <a:cubicBezTo>
                    <a:pt x="253" y="86"/>
                    <a:pt x="238" y="56"/>
                    <a:pt x="215" y="35"/>
                  </a:cubicBezTo>
                  <a:cubicBezTo>
                    <a:pt x="192" y="14"/>
                    <a:pt x="161" y="0"/>
                    <a:pt x="126" y="0"/>
                  </a:cubicBezTo>
                  <a:cubicBezTo>
                    <a:pt x="92" y="0"/>
                    <a:pt x="60" y="14"/>
                    <a:pt x="37" y="35"/>
                  </a:cubicBezTo>
                  <a:cubicBezTo>
                    <a:pt x="14" y="56"/>
                    <a:pt x="0" y="86"/>
                    <a:pt x="0" y="119"/>
                  </a:cubicBezTo>
                  <a:cubicBezTo>
                    <a:pt x="0" y="129"/>
                    <a:pt x="2" y="139"/>
                    <a:pt x="5" y="149"/>
                  </a:cubicBezTo>
                  <a:cubicBezTo>
                    <a:pt x="18" y="185"/>
                    <a:pt x="45" y="227"/>
                    <a:pt x="70" y="262"/>
                  </a:cubicBezTo>
                  <a:cubicBezTo>
                    <a:pt x="94" y="297"/>
                    <a:pt x="116" y="323"/>
                    <a:pt x="116" y="324"/>
                  </a:cubicBezTo>
                  <a:lnTo>
                    <a:pt x="129" y="340"/>
                  </a:lnTo>
                  <a:lnTo>
                    <a:pt x="142" y="323"/>
                  </a:lnTo>
                  <a:cubicBezTo>
                    <a:pt x="143" y="323"/>
                    <a:pt x="169" y="288"/>
                    <a:pt x="197" y="246"/>
                  </a:cubicBezTo>
                  <a:cubicBezTo>
                    <a:pt x="210" y="225"/>
                    <a:pt x="224" y="202"/>
                    <a:pt x="234" y="181"/>
                  </a:cubicBezTo>
                  <a:cubicBezTo>
                    <a:pt x="239" y="170"/>
                    <a:pt x="244" y="159"/>
                    <a:pt x="247" y="149"/>
                  </a:cubicBezTo>
                  <a:cubicBezTo>
                    <a:pt x="250" y="139"/>
                    <a:pt x="253" y="129"/>
                    <a:pt x="253" y="119"/>
                  </a:cubicBezTo>
                  <a:lnTo>
                    <a:pt x="236" y="119"/>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2568">
              <a:extLst>
                <a:ext uri="{FF2B5EF4-FFF2-40B4-BE49-F238E27FC236}">
                  <a16:creationId xmlns:a16="http://schemas.microsoft.com/office/drawing/2014/main" id="{1FF2DEAC-0763-1E4E-F497-31A2403869F4}"/>
                </a:ext>
              </a:extLst>
            </p:cNvPr>
            <p:cNvSpPr>
              <a:spLocks/>
            </p:cNvSpPr>
            <p:nvPr/>
          </p:nvSpPr>
          <p:spPr bwMode="auto">
            <a:xfrm>
              <a:off x="8525267" y="3578760"/>
              <a:ext cx="308306" cy="323726"/>
            </a:xfrm>
            <a:custGeom>
              <a:avLst/>
              <a:gdLst>
                <a:gd name="T0" fmla="*/ 142 w 159"/>
                <a:gd name="T1" fmla="*/ 81 h 162"/>
                <a:gd name="T2" fmla="*/ 125 w 159"/>
                <a:gd name="T3" fmla="*/ 81 h 162"/>
                <a:gd name="T4" fmla="*/ 112 w 159"/>
                <a:gd name="T5" fmla="*/ 115 h 162"/>
                <a:gd name="T6" fmla="*/ 80 w 159"/>
                <a:gd name="T7" fmla="*/ 129 h 162"/>
                <a:gd name="T8" fmla="*/ 47 w 159"/>
                <a:gd name="T9" fmla="*/ 115 h 162"/>
                <a:gd name="T10" fmla="*/ 34 w 159"/>
                <a:gd name="T11" fmla="*/ 81 h 162"/>
                <a:gd name="T12" fmla="*/ 47 w 159"/>
                <a:gd name="T13" fmla="*/ 47 h 162"/>
                <a:gd name="T14" fmla="*/ 80 w 159"/>
                <a:gd name="T15" fmla="*/ 34 h 162"/>
                <a:gd name="T16" fmla="*/ 112 w 159"/>
                <a:gd name="T17" fmla="*/ 47 h 162"/>
                <a:gd name="T18" fmla="*/ 125 w 159"/>
                <a:gd name="T19" fmla="*/ 81 h 162"/>
                <a:gd name="T20" fmla="*/ 142 w 159"/>
                <a:gd name="T21" fmla="*/ 81 h 162"/>
                <a:gd name="T22" fmla="*/ 159 w 159"/>
                <a:gd name="T23" fmla="*/ 81 h 162"/>
                <a:gd name="T24" fmla="*/ 136 w 159"/>
                <a:gd name="T25" fmla="*/ 24 h 162"/>
                <a:gd name="T26" fmla="*/ 80 w 159"/>
                <a:gd name="T27" fmla="*/ 0 h 162"/>
                <a:gd name="T28" fmla="*/ 23 w 159"/>
                <a:gd name="T29" fmla="*/ 24 h 162"/>
                <a:gd name="T30" fmla="*/ 0 w 159"/>
                <a:gd name="T31" fmla="*/ 81 h 162"/>
                <a:gd name="T32" fmla="*/ 23 w 159"/>
                <a:gd name="T33" fmla="*/ 138 h 162"/>
                <a:gd name="T34" fmla="*/ 80 w 159"/>
                <a:gd name="T35" fmla="*/ 162 h 162"/>
                <a:gd name="T36" fmla="*/ 136 w 159"/>
                <a:gd name="T37" fmla="*/ 138 h 162"/>
                <a:gd name="T38" fmla="*/ 159 w 159"/>
                <a:gd name="T39" fmla="*/ 81 h 162"/>
                <a:gd name="T40" fmla="*/ 142 w 159"/>
                <a:gd name="T41"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162">
                  <a:moveTo>
                    <a:pt x="142" y="81"/>
                  </a:moveTo>
                  <a:lnTo>
                    <a:pt x="125" y="81"/>
                  </a:lnTo>
                  <a:cubicBezTo>
                    <a:pt x="125" y="94"/>
                    <a:pt x="120" y="106"/>
                    <a:pt x="112" y="115"/>
                  </a:cubicBezTo>
                  <a:cubicBezTo>
                    <a:pt x="103" y="123"/>
                    <a:pt x="92" y="129"/>
                    <a:pt x="80" y="129"/>
                  </a:cubicBezTo>
                  <a:cubicBezTo>
                    <a:pt x="67" y="129"/>
                    <a:pt x="56" y="123"/>
                    <a:pt x="47" y="115"/>
                  </a:cubicBezTo>
                  <a:cubicBezTo>
                    <a:pt x="39" y="106"/>
                    <a:pt x="34" y="94"/>
                    <a:pt x="34" y="81"/>
                  </a:cubicBezTo>
                  <a:cubicBezTo>
                    <a:pt x="34" y="68"/>
                    <a:pt x="39" y="56"/>
                    <a:pt x="47" y="47"/>
                  </a:cubicBezTo>
                  <a:cubicBezTo>
                    <a:pt x="56" y="39"/>
                    <a:pt x="67" y="34"/>
                    <a:pt x="80" y="34"/>
                  </a:cubicBezTo>
                  <a:cubicBezTo>
                    <a:pt x="92" y="34"/>
                    <a:pt x="103" y="39"/>
                    <a:pt x="112" y="47"/>
                  </a:cubicBezTo>
                  <a:cubicBezTo>
                    <a:pt x="120" y="56"/>
                    <a:pt x="125" y="68"/>
                    <a:pt x="125" y="81"/>
                  </a:cubicBezTo>
                  <a:lnTo>
                    <a:pt x="142" y="81"/>
                  </a:lnTo>
                  <a:lnTo>
                    <a:pt x="159" y="81"/>
                  </a:lnTo>
                  <a:cubicBezTo>
                    <a:pt x="159" y="59"/>
                    <a:pt x="150" y="39"/>
                    <a:pt x="136" y="24"/>
                  </a:cubicBezTo>
                  <a:cubicBezTo>
                    <a:pt x="122" y="10"/>
                    <a:pt x="102" y="0"/>
                    <a:pt x="80" y="0"/>
                  </a:cubicBezTo>
                  <a:cubicBezTo>
                    <a:pt x="58" y="0"/>
                    <a:pt x="38" y="10"/>
                    <a:pt x="23" y="24"/>
                  </a:cubicBezTo>
                  <a:cubicBezTo>
                    <a:pt x="9" y="39"/>
                    <a:pt x="0" y="59"/>
                    <a:pt x="0" y="81"/>
                  </a:cubicBezTo>
                  <a:cubicBezTo>
                    <a:pt x="0" y="103"/>
                    <a:pt x="9" y="124"/>
                    <a:pt x="23" y="138"/>
                  </a:cubicBezTo>
                  <a:cubicBezTo>
                    <a:pt x="38" y="153"/>
                    <a:pt x="58" y="162"/>
                    <a:pt x="80" y="162"/>
                  </a:cubicBezTo>
                  <a:cubicBezTo>
                    <a:pt x="102" y="162"/>
                    <a:pt x="122" y="153"/>
                    <a:pt x="136" y="138"/>
                  </a:cubicBezTo>
                  <a:cubicBezTo>
                    <a:pt x="150" y="124"/>
                    <a:pt x="159" y="103"/>
                    <a:pt x="159" y="81"/>
                  </a:cubicBezTo>
                  <a:lnTo>
                    <a:pt x="142" y="81"/>
                  </a:lnTo>
                  <a:close/>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2570">
              <a:extLst>
                <a:ext uri="{FF2B5EF4-FFF2-40B4-BE49-F238E27FC236}">
                  <a16:creationId xmlns:a16="http://schemas.microsoft.com/office/drawing/2014/main" id="{581B1927-A16F-12F3-375E-D42FDCEF305F}"/>
                </a:ext>
              </a:extLst>
            </p:cNvPr>
            <p:cNvSpPr>
              <a:spLocks/>
            </p:cNvSpPr>
            <p:nvPr/>
          </p:nvSpPr>
          <p:spPr bwMode="auto">
            <a:xfrm>
              <a:off x="6351715" y="3008389"/>
              <a:ext cx="524120" cy="693693"/>
            </a:xfrm>
            <a:custGeom>
              <a:avLst/>
              <a:gdLst>
                <a:gd name="T0" fmla="*/ 242 w 259"/>
                <a:gd name="T1" fmla="*/ 121 h 347"/>
                <a:gd name="T2" fmla="*/ 225 w 259"/>
                <a:gd name="T3" fmla="*/ 121 h 347"/>
                <a:gd name="T4" fmla="*/ 221 w 259"/>
                <a:gd name="T5" fmla="*/ 141 h 347"/>
                <a:gd name="T6" fmla="*/ 163 w 259"/>
                <a:gd name="T7" fmla="*/ 249 h 347"/>
                <a:gd name="T8" fmla="*/ 132 w 259"/>
                <a:gd name="T9" fmla="*/ 293 h 347"/>
                <a:gd name="T10" fmla="*/ 123 w 259"/>
                <a:gd name="T11" fmla="*/ 306 h 347"/>
                <a:gd name="T12" fmla="*/ 119 w 259"/>
                <a:gd name="T13" fmla="*/ 310 h 347"/>
                <a:gd name="T14" fmla="*/ 132 w 259"/>
                <a:gd name="T15" fmla="*/ 320 h 347"/>
                <a:gd name="T16" fmla="*/ 145 w 259"/>
                <a:gd name="T17" fmla="*/ 310 h 347"/>
                <a:gd name="T18" fmla="*/ 144 w 259"/>
                <a:gd name="T19" fmla="*/ 308 h 347"/>
                <a:gd name="T20" fmla="*/ 83 w 259"/>
                <a:gd name="T21" fmla="*/ 225 h 347"/>
                <a:gd name="T22" fmla="*/ 47 w 259"/>
                <a:gd name="T23" fmla="*/ 166 h 347"/>
                <a:gd name="T24" fmla="*/ 36 w 259"/>
                <a:gd name="T25" fmla="*/ 140 h 347"/>
                <a:gd name="T26" fmla="*/ 33 w 259"/>
                <a:gd name="T27" fmla="*/ 121 h 347"/>
                <a:gd name="T28" fmla="*/ 61 w 259"/>
                <a:gd name="T29" fmla="*/ 59 h 347"/>
                <a:gd name="T30" fmla="*/ 129 w 259"/>
                <a:gd name="T31" fmla="*/ 33 h 347"/>
                <a:gd name="T32" fmla="*/ 198 w 259"/>
                <a:gd name="T33" fmla="*/ 59 h 347"/>
                <a:gd name="T34" fmla="*/ 225 w 259"/>
                <a:gd name="T35" fmla="*/ 121 h 347"/>
                <a:gd name="T36" fmla="*/ 242 w 259"/>
                <a:gd name="T37" fmla="*/ 121 h 347"/>
                <a:gd name="T38" fmla="*/ 259 w 259"/>
                <a:gd name="T39" fmla="*/ 121 h 347"/>
                <a:gd name="T40" fmla="*/ 220 w 259"/>
                <a:gd name="T41" fmla="*/ 35 h 347"/>
                <a:gd name="T42" fmla="*/ 129 w 259"/>
                <a:gd name="T43" fmla="*/ 0 h 347"/>
                <a:gd name="T44" fmla="*/ 38 w 259"/>
                <a:gd name="T45" fmla="*/ 35 h 347"/>
                <a:gd name="T46" fmla="*/ 0 w 259"/>
                <a:gd name="T47" fmla="*/ 121 h 347"/>
                <a:gd name="T48" fmla="*/ 5 w 259"/>
                <a:gd name="T49" fmla="*/ 152 h 347"/>
                <a:gd name="T50" fmla="*/ 71 w 259"/>
                <a:gd name="T51" fmla="*/ 268 h 347"/>
                <a:gd name="T52" fmla="*/ 119 w 259"/>
                <a:gd name="T53" fmla="*/ 331 h 347"/>
                <a:gd name="T54" fmla="*/ 133 w 259"/>
                <a:gd name="T55" fmla="*/ 347 h 347"/>
                <a:gd name="T56" fmla="*/ 145 w 259"/>
                <a:gd name="T57" fmla="*/ 331 h 347"/>
                <a:gd name="T58" fmla="*/ 201 w 259"/>
                <a:gd name="T59" fmla="*/ 252 h 347"/>
                <a:gd name="T60" fmla="*/ 240 w 259"/>
                <a:gd name="T61" fmla="*/ 184 h 347"/>
                <a:gd name="T62" fmla="*/ 253 w 259"/>
                <a:gd name="T63" fmla="*/ 152 h 347"/>
                <a:gd name="T64" fmla="*/ 259 w 259"/>
                <a:gd name="T65" fmla="*/ 121 h 347"/>
                <a:gd name="T66" fmla="*/ 242 w 259"/>
                <a:gd name="T67" fmla="*/ 12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9" h="347">
                  <a:moveTo>
                    <a:pt x="242" y="121"/>
                  </a:moveTo>
                  <a:lnTo>
                    <a:pt x="225" y="121"/>
                  </a:lnTo>
                  <a:cubicBezTo>
                    <a:pt x="225" y="126"/>
                    <a:pt x="224" y="133"/>
                    <a:pt x="221" y="141"/>
                  </a:cubicBezTo>
                  <a:cubicBezTo>
                    <a:pt x="212" y="171"/>
                    <a:pt x="186" y="214"/>
                    <a:pt x="163" y="249"/>
                  </a:cubicBezTo>
                  <a:cubicBezTo>
                    <a:pt x="151" y="266"/>
                    <a:pt x="140" y="282"/>
                    <a:pt x="132" y="293"/>
                  </a:cubicBezTo>
                  <a:cubicBezTo>
                    <a:pt x="128" y="298"/>
                    <a:pt x="125" y="303"/>
                    <a:pt x="123" y="306"/>
                  </a:cubicBezTo>
                  <a:cubicBezTo>
                    <a:pt x="120" y="309"/>
                    <a:pt x="119" y="310"/>
                    <a:pt x="119" y="310"/>
                  </a:cubicBezTo>
                  <a:lnTo>
                    <a:pt x="132" y="320"/>
                  </a:lnTo>
                  <a:lnTo>
                    <a:pt x="145" y="310"/>
                  </a:lnTo>
                  <a:lnTo>
                    <a:pt x="144" y="308"/>
                  </a:lnTo>
                  <a:cubicBezTo>
                    <a:pt x="138" y="301"/>
                    <a:pt x="109" y="265"/>
                    <a:pt x="83" y="225"/>
                  </a:cubicBezTo>
                  <a:cubicBezTo>
                    <a:pt x="69" y="205"/>
                    <a:pt x="57" y="184"/>
                    <a:pt x="47" y="166"/>
                  </a:cubicBezTo>
                  <a:cubicBezTo>
                    <a:pt x="43" y="156"/>
                    <a:pt x="39" y="147"/>
                    <a:pt x="36" y="140"/>
                  </a:cubicBezTo>
                  <a:cubicBezTo>
                    <a:pt x="34" y="132"/>
                    <a:pt x="33" y="125"/>
                    <a:pt x="33" y="121"/>
                  </a:cubicBezTo>
                  <a:cubicBezTo>
                    <a:pt x="33" y="97"/>
                    <a:pt x="43" y="75"/>
                    <a:pt x="61" y="59"/>
                  </a:cubicBezTo>
                  <a:cubicBezTo>
                    <a:pt x="78" y="43"/>
                    <a:pt x="102" y="33"/>
                    <a:pt x="129" y="33"/>
                  </a:cubicBezTo>
                  <a:cubicBezTo>
                    <a:pt x="156" y="33"/>
                    <a:pt x="180" y="43"/>
                    <a:pt x="198" y="59"/>
                  </a:cubicBezTo>
                  <a:cubicBezTo>
                    <a:pt x="215" y="75"/>
                    <a:pt x="225" y="97"/>
                    <a:pt x="225" y="121"/>
                  </a:cubicBezTo>
                  <a:lnTo>
                    <a:pt x="242" y="121"/>
                  </a:lnTo>
                  <a:lnTo>
                    <a:pt x="259" y="121"/>
                  </a:lnTo>
                  <a:cubicBezTo>
                    <a:pt x="259" y="87"/>
                    <a:pt x="244" y="57"/>
                    <a:pt x="220" y="35"/>
                  </a:cubicBezTo>
                  <a:cubicBezTo>
                    <a:pt x="197" y="13"/>
                    <a:pt x="164" y="0"/>
                    <a:pt x="129" y="0"/>
                  </a:cubicBezTo>
                  <a:cubicBezTo>
                    <a:pt x="94" y="0"/>
                    <a:pt x="61" y="13"/>
                    <a:pt x="38" y="35"/>
                  </a:cubicBezTo>
                  <a:cubicBezTo>
                    <a:pt x="14" y="57"/>
                    <a:pt x="0" y="87"/>
                    <a:pt x="0" y="121"/>
                  </a:cubicBezTo>
                  <a:cubicBezTo>
                    <a:pt x="0" y="131"/>
                    <a:pt x="2" y="141"/>
                    <a:pt x="5" y="152"/>
                  </a:cubicBezTo>
                  <a:cubicBezTo>
                    <a:pt x="18" y="188"/>
                    <a:pt x="46" y="232"/>
                    <a:pt x="71" y="268"/>
                  </a:cubicBezTo>
                  <a:cubicBezTo>
                    <a:pt x="97" y="304"/>
                    <a:pt x="119" y="331"/>
                    <a:pt x="119" y="331"/>
                  </a:cubicBezTo>
                  <a:lnTo>
                    <a:pt x="133" y="347"/>
                  </a:lnTo>
                  <a:lnTo>
                    <a:pt x="145" y="331"/>
                  </a:lnTo>
                  <a:cubicBezTo>
                    <a:pt x="146" y="330"/>
                    <a:pt x="173" y="295"/>
                    <a:pt x="201" y="252"/>
                  </a:cubicBezTo>
                  <a:cubicBezTo>
                    <a:pt x="215" y="230"/>
                    <a:pt x="229" y="207"/>
                    <a:pt x="240" y="184"/>
                  </a:cubicBezTo>
                  <a:cubicBezTo>
                    <a:pt x="245" y="173"/>
                    <a:pt x="250" y="162"/>
                    <a:pt x="253" y="152"/>
                  </a:cubicBezTo>
                  <a:cubicBezTo>
                    <a:pt x="256" y="141"/>
                    <a:pt x="259" y="131"/>
                    <a:pt x="259" y="121"/>
                  </a:cubicBezTo>
                  <a:lnTo>
                    <a:pt x="242" y="121"/>
                  </a:lnTo>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2572">
              <a:extLst>
                <a:ext uri="{FF2B5EF4-FFF2-40B4-BE49-F238E27FC236}">
                  <a16:creationId xmlns:a16="http://schemas.microsoft.com/office/drawing/2014/main" id="{62598EF3-51B2-A5EA-018E-7A1E0A418A02}"/>
                </a:ext>
              </a:extLst>
            </p:cNvPr>
            <p:cNvSpPr>
              <a:spLocks/>
            </p:cNvSpPr>
            <p:nvPr/>
          </p:nvSpPr>
          <p:spPr bwMode="auto">
            <a:xfrm>
              <a:off x="6459617" y="3100881"/>
              <a:ext cx="323726" cy="323726"/>
            </a:xfrm>
            <a:custGeom>
              <a:avLst/>
              <a:gdLst>
                <a:gd name="T0" fmla="*/ 145 w 161"/>
                <a:gd name="T1" fmla="*/ 83 h 165"/>
                <a:gd name="T2" fmla="*/ 128 w 161"/>
                <a:gd name="T3" fmla="*/ 83 h 165"/>
                <a:gd name="T4" fmla="*/ 114 w 161"/>
                <a:gd name="T5" fmla="*/ 118 h 165"/>
                <a:gd name="T6" fmla="*/ 80 w 161"/>
                <a:gd name="T7" fmla="*/ 132 h 165"/>
                <a:gd name="T8" fmla="*/ 47 w 161"/>
                <a:gd name="T9" fmla="*/ 118 h 165"/>
                <a:gd name="T10" fmla="*/ 33 w 161"/>
                <a:gd name="T11" fmla="*/ 83 h 165"/>
                <a:gd name="T12" fmla="*/ 47 w 161"/>
                <a:gd name="T13" fmla="*/ 48 h 165"/>
                <a:gd name="T14" fmla="*/ 80 w 161"/>
                <a:gd name="T15" fmla="*/ 33 h 165"/>
                <a:gd name="T16" fmla="*/ 114 w 161"/>
                <a:gd name="T17" fmla="*/ 48 h 165"/>
                <a:gd name="T18" fmla="*/ 128 w 161"/>
                <a:gd name="T19" fmla="*/ 83 h 165"/>
                <a:gd name="T20" fmla="*/ 145 w 161"/>
                <a:gd name="T21" fmla="*/ 83 h 165"/>
                <a:gd name="T22" fmla="*/ 161 w 161"/>
                <a:gd name="T23" fmla="*/ 83 h 165"/>
                <a:gd name="T24" fmla="*/ 138 w 161"/>
                <a:gd name="T25" fmla="*/ 24 h 165"/>
                <a:gd name="T26" fmla="*/ 80 w 161"/>
                <a:gd name="T27" fmla="*/ 0 h 165"/>
                <a:gd name="T28" fmla="*/ 23 w 161"/>
                <a:gd name="T29" fmla="*/ 24 h 165"/>
                <a:gd name="T30" fmla="*/ 0 w 161"/>
                <a:gd name="T31" fmla="*/ 83 h 165"/>
                <a:gd name="T32" fmla="*/ 23 w 161"/>
                <a:gd name="T33" fmla="*/ 141 h 165"/>
                <a:gd name="T34" fmla="*/ 80 w 161"/>
                <a:gd name="T35" fmla="*/ 165 h 165"/>
                <a:gd name="T36" fmla="*/ 138 w 161"/>
                <a:gd name="T37" fmla="*/ 141 h 165"/>
                <a:gd name="T38" fmla="*/ 161 w 161"/>
                <a:gd name="T39" fmla="*/ 83 h 165"/>
                <a:gd name="T40" fmla="*/ 145 w 161"/>
                <a:gd name="T41" fmla="*/ 8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 h="165">
                  <a:moveTo>
                    <a:pt x="145" y="83"/>
                  </a:moveTo>
                  <a:lnTo>
                    <a:pt x="128" y="83"/>
                  </a:lnTo>
                  <a:cubicBezTo>
                    <a:pt x="128" y="96"/>
                    <a:pt x="123" y="109"/>
                    <a:pt x="114" y="118"/>
                  </a:cubicBezTo>
                  <a:cubicBezTo>
                    <a:pt x="105" y="126"/>
                    <a:pt x="93" y="132"/>
                    <a:pt x="80" y="132"/>
                  </a:cubicBezTo>
                  <a:cubicBezTo>
                    <a:pt x="67" y="132"/>
                    <a:pt x="55" y="126"/>
                    <a:pt x="47" y="118"/>
                  </a:cubicBezTo>
                  <a:cubicBezTo>
                    <a:pt x="38" y="109"/>
                    <a:pt x="33" y="96"/>
                    <a:pt x="33" y="83"/>
                  </a:cubicBezTo>
                  <a:cubicBezTo>
                    <a:pt x="33" y="69"/>
                    <a:pt x="38" y="57"/>
                    <a:pt x="47" y="48"/>
                  </a:cubicBezTo>
                  <a:cubicBezTo>
                    <a:pt x="55" y="39"/>
                    <a:pt x="67" y="33"/>
                    <a:pt x="80" y="33"/>
                  </a:cubicBezTo>
                  <a:cubicBezTo>
                    <a:pt x="93" y="33"/>
                    <a:pt x="105" y="39"/>
                    <a:pt x="114" y="48"/>
                  </a:cubicBezTo>
                  <a:cubicBezTo>
                    <a:pt x="123" y="57"/>
                    <a:pt x="128" y="69"/>
                    <a:pt x="128" y="83"/>
                  </a:cubicBezTo>
                  <a:lnTo>
                    <a:pt x="145" y="83"/>
                  </a:lnTo>
                  <a:lnTo>
                    <a:pt x="161" y="83"/>
                  </a:lnTo>
                  <a:cubicBezTo>
                    <a:pt x="161" y="60"/>
                    <a:pt x="152" y="39"/>
                    <a:pt x="138" y="24"/>
                  </a:cubicBezTo>
                  <a:cubicBezTo>
                    <a:pt x="123" y="9"/>
                    <a:pt x="103" y="0"/>
                    <a:pt x="80" y="0"/>
                  </a:cubicBezTo>
                  <a:cubicBezTo>
                    <a:pt x="58" y="0"/>
                    <a:pt x="38" y="9"/>
                    <a:pt x="23" y="24"/>
                  </a:cubicBezTo>
                  <a:cubicBezTo>
                    <a:pt x="8" y="39"/>
                    <a:pt x="0" y="60"/>
                    <a:pt x="0" y="83"/>
                  </a:cubicBezTo>
                  <a:cubicBezTo>
                    <a:pt x="0" y="105"/>
                    <a:pt x="8" y="126"/>
                    <a:pt x="23" y="141"/>
                  </a:cubicBezTo>
                  <a:cubicBezTo>
                    <a:pt x="38" y="156"/>
                    <a:pt x="58" y="165"/>
                    <a:pt x="80" y="165"/>
                  </a:cubicBezTo>
                  <a:cubicBezTo>
                    <a:pt x="103" y="165"/>
                    <a:pt x="123" y="156"/>
                    <a:pt x="138" y="141"/>
                  </a:cubicBezTo>
                  <a:cubicBezTo>
                    <a:pt x="152" y="126"/>
                    <a:pt x="161" y="105"/>
                    <a:pt x="161" y="83"/>
                  </a:cubicBezTo>
                  <a:lnTo>
                    <a:pt x="145" y="83"/>
                  </a:lnTo>
                  <a:close/>
                </a:path>
              </a:pathLst>
            </a:custGeom>
            <a:grp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6" name="Contract" descr="{&quot;Key&quot;:&quot;POWER_USER_SHAPE_ICON&quot;,&quot;Value&quot;:&quot;POWER_USER_SHAPE_ICON_STYLE_1&quot;}">
            <a:extLst>
              <a:ext uri="{FF2B5EF4-FFF2-40B4-BE49-F238E27FC236}">
                <a16:creationId xmlns:a16="http://schemas.microsoft.com/office/drawing/2014/main" id="{62B28792-309B-A98D-D602-8F7DD3D09950}"/>
              </a:ext>
            </a:extLst>
          </p:cNvPr>
          <p:cNvGrpSpPr>
            <a:grpSpLocks noChangeAspect="1"/>
          </p:cNvGrpSpPr>
          <p:nvPr/>
        </p:nvGrpSpPr>
        <p:grpSpPr>
          <a:xfrm>
            <a:off x="3221218" y="2191357"/>
            <a:ext cx="753880" cy="647700"/>
            <a:chOff x="6470649" y="5883275"/>
            <a:chExt cx="563564" cy="484189"/>
          </a:xfrm>
          <a:noFill/>
        </p:grpSpPr>
        <p:sp>
          <p:nvSpPr>
            <p:cNvPr id="77" name="Line 1734">
              <a:extLst>
                <a:ext uri="{FF2B5EF4-FFF2-40B4-BE49-F238E27FC236}">
                  <a16:creationId xmlns:a16="http://schemas.microsoft.com/office/drawing/2014/main" id="{A7667443-D5EA-BD8A-91FA-5482EDABE4F6}"/>
                </a:ext>
              </a:extLst>
            </p:cNvPr>
            <p:cNvSpPr>
              <a:spLocks noChangeShapeType="1"/>
            </p:cNvSpPr>
            <p:nvPr/>
          </p:nvSpPr>
          <p:spPr bwMode="auto">
            <a:xfrm>
              <a:off x="6557963" y="5883275"/>
              <a:ext cx="206375"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Line 1735">
              <a:extLst>
                <a:ext uri="{FF2B5EF4-FFF2-40B4-BE49-F238E27FC236}">
                  <a16:creationId xmlns:a16="http://schemas.microsoft.com/office/drawing/2014/main" id="{13540DA3-F2F5-19B0-1E60-FA0F283E8E53}"/>
                </a:ext>
              </a:extLst>
            </p:cNvPr>
            <p:cNvSpPr>
              <a:spLocks noChangeShapeType="1"/>
            </p:cNvSpPr>
            <p:nvPr/>
          </p:nvSpPr>
          <p:spPr bwMode="auto">
            <a:xfrm>
              <a:off x="6557963" y="5978525"/>
              <a:ext cx="206375"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Line 1736">
              <a:extLst>
                <a:ext uri="{FF2B5EF4-FFF2-40B4-BE49-F238E27FC236}">
                  <a16:creationId xmlns:a16="http://schemas.microsoft.com/office/drawing/2014/main" id="{D07415C4-1D29-EF71-DE53-D12FCD61ACBE}"/>
                </a:ext>
              </a:extLst>
            </p:cNvPr>
            <p:cNvSpPr>
              <a:spLocks noChangeShapeType="1"/>
            </p:cNvSpPr>
            <p:nvPr/>
          </p:nvSpPr>
          <p:spPr bwMode="auto">
            <a:xfrm>
              <a:off x="6557963" y="6075363"/>
              <a:ext cx="206375"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Line 1737">
              <a:extLst>
                <a:ext uri="{FF2B5EF4-FFF2-40B4-BE49-F238E27FC236}">
                  <a16:creationId xmlns:a16="http://schemas.microsoft.com/office/drawing/2014/main" id="{39B97608-C5B9-30ED-7301-A92C2A0A382D}"/>
                </a:ext>
              </a:extLst>
            </p:cNvPr>
            <p:cNvSpPr>
              <a:spLocks noChangeShapeType="1"/>
            </p:cNvSpPr>
            <p:nvPr/>
          </p:nvSpPr>
          <p:spPr bwMode="auto">
            <a:xfrm>
              <a:off x="6557964" y="6173788"/>
              <a:ext cx="119062"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Line 1738">
              <a:extLst>
                <a:ext uri="{FF2B5EF4-FFF2-40B4-BE49-F238E27FC236}">
                  <a16:creationId xmlns:a16="http://schemas.microsoft.com/office/drawing/2014/main" id="{20CB87C3-05BF-5676-2336-04D4E7F27725}"/>
                </a:ext>
              </a:extLst>
            </p:cNvPr>
            <p:cNvSpPr>
              <a:spLocks noChangeShapeType="1"/>
            </p:cNvSpPr>
            <p:nvPr/>
          </p:nvSpPr>
          <p:spPr bwMode="auto">
            <a:xfrm>
              <a:off x="6557963" y="6270625"/>
              <a:ext cx="90487"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Line 1739">
              <a:extLst>
                <a:ext uri="{FF2B5EF4-FFF2-40B4-BE49-F238E27FC236}">
                  <a16:creationId xmlns:a16="http://schemas.microsoft.com/office/drawing/2014/main" id="{6611B538-3365-60C6-8E31-CF045932DAA4}"/>
                </a:ext>
              </a:extLst>
            </p:cNvPr>
            <p:cNvSpPr>
              <a:spLocks noChangeShapeType="1"/>
            </p:cNvSpPr>
            <p:nvPr/>
          </p:nvSpPr>
          <p:spPr bwMode="auto">
            <a:xfrm flipH="1">
              <a:off x="6557963" y="6367463"/>
              <a:ext cx="206375"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1745">
              <a:extLst>
                <a:ext uri="{FF2B5EF4-FFF2-40B4-BE49-F238E27FC236}">
                  <a16:creationId xmlns:a16="http://schemas.microsoft.com/office/drawing/2014/main" id="{6DDA6AE4-E2E9-0345-11BF-0890DF4B7BB0}"/>
                </a:ext>
              </a:extLst>
            </p:cNvPr>
            <p:cNvSpPr>
              <a:spLocks/>
            </p:cNvSpPr>
            <p:nvPr/>
          </p:nvSpPr>
          <p:spPr bwMode="auto">
            <a:xfrm>
              <a:off x="6724650" y="5918200"/>
              <a:ext cx="309563" cy="311150"/>
            </a:xfrm>
            <a:custGeom>
              <a:avLst/>
              <a:gdLst>
                <a:gd name="T0" fmla="*/ 49 w 278"/>
                <a:gd name="T1" fmla="*/ 278 h 278"/>
                <a:gd name="T2" fmla="*/ 0 w 278"/>
                <a:gd name="T3" fmla="*/ 229 h 278"/>
                <a:gd name="T4" fmla="*/ 229 w 278"/>
                <a:gd name="T5" fmla="*/ 0 h 278"/>
                <a:gd name="T6" fmla="*/ 278 w 278"/>
                <a:gd name="T7" fmla="*/ 49 h 278"/>
                <a:gd name="T8" fmla="*/ 49 w 278"/>
                <a:gd name="T9" fmla="*/ 278 h 278"/>
              </a:gdLst>
              <a:ahLst/>
              <a:cxnLst>
                <a:cxn ang="0">
                  <a:pos x="T0" y="T1"/>
                </a:cxn>
                <a:cxn ang="0">
                  <a:pos x="T2" y="T3"/>
                </a:cxn>
                <a:cxn ang="0">
                  <a:pos x="T4" y="T5"/>
                </a:cxn>
                <a:cxn ang="0">
                  <a:pos x="T6" y="T7"/>
                </a:cxn>
                <a:cxn ang="0">
                  <a:pos x="T8" y="T9"/>
                </a:cxn>
              </a:cxnLst>
              <a:rect l="0" t="0" r="r" b="b"/>
              <a:pathLst>
                <a:path w="278" h="278">
                  <a:moveTo>
                    <a:pt x="49" y="278"/>
                  </a:moveTo>
                  <a:lnTo>
                    <a:pt x="0" y="229"/>
                  </a:lnTo>
                  <a:lnTo>
                    <a:pt x="229" y="0"/>
                  </a:lnTo>
                  <a:lnTo>
                    <a:pt x="278" y="49"/>
                  </a:lnTo>
                  <a:lnTo>
                    <a:pt x="49" y="278"/>
                  </a:lnTo>
                  <a:close/>
                </a:path>
              </a:pathLst>
            </a:cu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Line 1746">
              <a:extLst>
                <a:ext uri="{FF2B5EF4-FFF2-40B4-BE49-F238E27FC236}">
                  <a16:creationId xmlns:a16="http://schemas.microsoft.com/office/drawing/2014/main" id="{EB730573-4423-DE8E-DC86-05C6EE12A93F}"/>
                </a:ext>
              </a:extLst>
            </p:cNvPr>
            <p:cNvSpPr>
              <a:spLocks noChangeShapeType="1"/>
            </p:cNvSpPr>
            <p:nvPr/>
          </p:nvSpPr>
          <p:spPr bwMode="auto">
            <a:xfrm>
              <a:off x="6938963" y="5959475"/>
              <a:ext cx="53975" cy="55563"/>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1747">
              <a:extLst>
                <a:ext uri="{FF2B5EF4-FFF2-40B4-BE49-F238E27FC236}">
                  <a16:creationId xmlns:a16="http://schemas.microsoft.com/office/drawing/2014/main" id="{C4EDC63A-40FB-98BF-5D32-916B5B0CDCD2}"/>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1748">
              <a:extLst>
                <a:ext uri="{FF2B5EF4-FFF2-40B4-BE49-F238E27FC236}">
                  <a16:creationId xmlns:a16="http://schemas.microsoft.com/office/drawing/2014/main" id="{6070B1AF-8D89-8699-4376-5190DE2A5274}"/>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Line 1735">
              <a:extLst>
                <a:ext uri="{FF2B5EF4-FFF2-40B4-BE49-F238E27FC236}">
                  <a16:creationId xmlns:a16="http://schemas.microsoft.com/office/drawing/2014/main" id="{22041C0C-1573-D2FC-6D61-8D71DD9974AE}"/>
                </a:ext>
              </a:extLst>
            </p:cNvPr>
            <p:cNvSpPr>
              <a:spLocks noChangeShapeType="1"/>
            </p:cNvSpPr>
            <p:nvPr/>
          </p:nvSpPr>
          <p:spPr bwMode="auto">
            <a:xfrm rot="5400000">
              <a:off x="6800849" y="5938839"/>
              <a:ext cx="107951"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Line 1735">
              <a:extLst>
                <a:ext uri="{FF2B5EF4-FFF2-40B4-BE49-F238E27FC236}">
                  <a16:creationId xmlns:a16="http://schemas.microsoft.com/office/drawing/2014/main" id="{1D56D8F7-5C8F-D09E-E5AF-19CA6E30A5EE}"/>
                </a:ext>
              </a:extLst>
            </p:cNvPr>
            <p:cNvSpPr>
              <a:spLocks noChangeShapeType="1"/>
            </p:cNvSpPr>
            <p:nvPr/>
          </p:nvSpPr>
          <p:spPr bwMode="auto">
            <a:xfrm rot="5400000">
              <a:off x="6772275" y="6284913"/>
              <a:ext cx="165100"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Line 1735">
              <a:extLst>
                <a:ext uri="{FF2B5EF4-FFF2-40B4-BE49-F238E27FC236}">
                  <a16:creationId xmlns:a16="http://schemas.microsoft.com/office/drawing/2014/main" id="{765C1018-7EBD-B6F6-E453-DF475C27DE3F}"/>
                </a:ext>
              </a:extLst>
            </p:cNvPr>
            <p:cNvSpPr>
              <a:spLocks noChangeShapeType="1"/>
            </p:cNvSpPr>
            <p:nvPr/>
          </p:nvSpPr>
          <p:spPr bwMode="auto">
            <a:xfrm rot="10800000">
              <a:off x="6472487" y="6367464"/>
              <a:ext cx="374400"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Line 1735">
              <a:extLst>
                <a:ext uri="{FF2B5EF4-FFF2-40B4-BE49-F238E27FC236}">
                  <a16:creationId xmlns:a16="http://schemas.microsoft.com/office/drawing/2014/main" id="{22EB2A84-4DA3-2756-8D1B-CD23A3724614}"/>
                </a:ext>
              </a:extLst>
            </p:cNvPr>
            <p:cNvSpPr>
              <a:spLocks noChangeShapeType="1"/>
            </p:cNvSpPr>
            <p:nvPr/>
          </p:nvSpPr>
          <p:spPr bwMode="auto">
            <a:xfrm rot="10800000">
              <a:off x="6472487" y="5883275"/>
              <a:ext cx="374400"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Line 1735">
              <a:extLst>
                <a:ext uri="{FF2B5EF4-FFF2-40B4-BE49-F238E27FC236}">
                  <a16:creationId xmlns:a16="http://schemas.microsoft.com/office/drawing/2014/main" id="{7E430AB1-DEFD-AD54-DB45-80AEAA987455}"/>
                </a:ext>
              </a:extLst>
            </p:cNvPr>
            <p:cNvSpPr>
              <a:spLocks noChangeShapeType="1"/>
            </p:cNvSpPr>
            <p:nvPr/>
          </p:nvSpPr>
          <p:spPr bwMode="auto">
            <a:xfrm rot="16200000">
              <a:off x="6229449" y="6125470"/>
              <a:ext cx="482400" cy="0"/>
            </a:xfrm>
            <a:prstGeom prst="line">
              <a:avLst/>
            </a:prstGeom>
            <a:grpFill/>
            <a:ln w="20638"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9" name="Titre 58"/>
          <p:cNvSpPr>
            <a:spLocks noGrp="1"/>
          </p:cNvSpPr>
          <p:nvPr>
            <p:ph type="title"/>
          </p:nvPr>
        </p:nvSpPr>
        <p:spPr/>
        <p:txBody>
          <a:bodyPr vert="horz">
            <a:noAutofit/>
          </a:bodyPr>
          <a:lstStyle/>
          <a:p>
            <a:r>
              <a:rPr lang="en-US"/>
              <a:t>Uber communicates its commitment to sustainability through different frameworks to third-parties</a:t>
            </a:r>
          </a:p>
        </p:txBody>
      </p:sp>
      <p:sp>
        <p:nvSpPr>
          <p:cNvPr id="3" name="Inhaltsplatzhalter 2">
            <a:extLst>
              <a:ext uri="{FF2B5EF4-FFF2-40B4-BE49-F238E27FC236}">
                <a16:creationId xmlns:a16="http://schemas.microsoft.com/office/drawing/2014/main" id="{975F35E9-AA86-D52A-D8B0-A5293C4800BF}"/>
              </a:ext>
            </a:extLst>
          </p:cNvPr>
          <p:cNvSpPr>
            <a:spLocks noGrp="1"/>
          </p:cNvSpPr>
          <p:nvPr>
            <p:ph idx="10"/>
          </p:nvPr>
        </p:nvSpPr>
        <p:spPr/>
        <p:txBody>
          <a:bodyPr/>
          <a:lstStyle/>
          <a:p>
            <a:r>
              <a:rPr lang="en-US"/>
              <a:t>ESG Communication</a:t>
            </a:r>
          </a:p>
        </p:txBody>
      </p:sp>
      <p:sp>
        <p:nvSpPr>
          <p:cNvPr id="4" name="Inhaltsplatzhalter 3">
            <a:extLst>
              <a:ext uri="{FF2B5EF4-FFF2-40B4-BE49-F238E27FC236}">
                <a16:creationId xmlns:a16="http://schemas.microsoft.com/office/drawing/2014/main" id="{D68442E4-FA7F-2BD9-A83E-17FC26E2DA5C}"/>
              </a:ext>
            </a:extLst>
          </p:cNvPr>
          <p:cNvSpPr>
            <a:spLocks noGrp="1"/>
          </p:cNvSpPr>
          <p:nvPr>
            <p:ph idx="11"/>
          </p:nvPr>
        </p:nvSpPr>
        <p:spPr/>
        <p:txBody>
          <a:bodyPr/>
          <a:lstStyle/>
          <a:p>
            <a:r>
              <a:rPr lang="en-US"/>
              <a:t>Uber ESG-Report</a:t>
            </a:r>
          </a:p>
        </p:txBody>
      </p:sp>
      <p:sp>
        <p:nvSpPr>
          <p:cNvPr id="5" name="Inhaltsplatzhalter 4">
            <a:extLst>
              <a:ext uri="{FF2B5EF4-FFF2-40B4-BE49-F238E27FC236}">
                <a16:creationId xmlns:a16="http://schemas.microsoft.com/office/drawing/2014/main" id="{6D983D1C-9AE7-A74C-E2FA-09649784CC16}"/>
              </a:ext>
            </a:extLst>
          </p:cNvPr>
          <p:cNvSpPr>
            <a:spLocks noGrp="1"/>
          </p:cNvSpPr>
          <p:nvPr>
            <p:ph idx="12"/>
          </p:nvPr>
        </p:nvSpPr>
        <p:spPr/>
        <p:txBody>
          <a:bodyPr/>
          <a:lstStyle/>
          <a:p>
            <a:r>
              <a:rPr lang="en-US"/>
              <a:t>ESG</a:t>
            </a:r>
          </a:p>
        </p:txBody>
      </p:sp>
      <p:sp>
        <p:nvSpPr>
          <p:cNvPr id="55" name="ZoneTexte 54 - 3 - 1 - 1"/>
          <p:cNvSpPr txBox="1"/>
          <p:nvPr/>
        </p:nvSpPr>
        <p:spPr>
          <a:xfrm>
            <a:off x="453518" y="3084527"/>
            <a:ext cx="2025000" cy="1755000"/>
          </a:xfrm>
          <a:prstGeom prst="rect">
            <a:avLst/>
          </a:prstGeom>
          <a:noFill/>
        </p:spPr>
        <p:txBody>
          <a:bodyPr wrap="square" rtlCol="0" anchor="t">
            <a:noAutofit/>
          </a:bodyPr>
          <a:lstStyle/>
          <a:p>
            <a:pPr algn="ctr"/>
            <a:r>
              <a:rPr lang="en-US" sz="1200" b="1">
                <a:solidFill>
                  <a:schemeClr val="accent1"/>
                </a:solidFill>
              </a:rPr>
              <a:t>SASB Metrics:</a:t>
            </a:r>
          </a:p>
          <a:p>
            <a:pPr algn="ctr"/>
            <a:r>
              <a:rPr lang="en-US" sz="1200"/>
              <a:t>Uber's report aligns with SASB standards for Internet Media, Services, and Road Transportation, adjusted for relevance to its operations. It includes TCFD-aligned information on governance, strategy, risk management, and climate-related metrics and targets.</a:t>
            </a:r>
          </a:p>
        </p:txBody>
      </p:sp>
      <p:cxnSp>
        <p:nvCxnSpPr>
          <p:cNvPr id="68" name="Straight Connector 67">
            <a:extLst>
              <a:ext uri="{FF2B5EF4-FFF2-40B4-BE49-F238E27FC236}">
                <a16:creationId xmlns:a16="http://schemas.microsoft.com/office/drawing/2014/main" id="{1B7524EC-DED6-47FE-BB55-385C13320D9E}"/>
              </a:ext>
            </a:extLst>
          </p:cNvPr>
          <p:cNvCxnSpPr>
            <a:cxnSpLocks/>
          </p:cNvCxnSpPr>
          <p:nvPr/>
        </p:nvCxnSpPr>
        <p:spPr>
          <a:xfrm rot="5400000">
            <a:off x="1579277" y="3948662"/>
            <a:ext cx="1844136"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CB34C70-DC60-4EC4-8BF4-D56FF826C312}"/>
              </a:ext>
            </a:extLst>
          </p:cNvPr>
          <p:cNvCxnSpPr>
            <a:cxnSpLocks/>
          </p:cNvCxnSpPr>
          <p:nvPr/>
        </p:nvCxnSpPr>
        <p:spPr>
          <a:xfrm rot="5400000">
            <a:off x="3649931" y="3948662"/>
            <a:ext cx="1844136"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184" name="ZoneTexte 54 - 3 - 2">
            <a:extLst>
              <a:ext uri="{FF2B5EF4-FFF2-40B4-BE49-F238E27FC236}">
                <a16:creationId xmlns:a16="http://schemas.microsoft.com/office/drawing/2014/main" id="{D9ED1504-ED70-4927-9B6A-A7581A311781}"/>
              </a:ext>
            </a:extLst>
          </p:cNvPr>
          <p:cNvSpPr txBox="1"/>
          <p:nvPr/>
        </p:nvSpPr>
        <p:spPr>
          <a:xfrm>
            <a:off x="2524172" y="3084527"/>
            <a:ext cx="2025000" cy="1755000"/>
          </a:xfrm>
          <a:prstGeom prst="rect">
            <a:avLst/>
          </a:prstGeom>
          <a:noFill/>
        </p:spPr>
        <p:txBody>
          <a:bodyPr wrap="square" rtlCol="0" anchor="t">
            <a:noAutofit/>
          </a:bodyPr>
          <a:lstStyle/>
          <a:p>
            <a:pPr algn="ctr"/>
            <a:r>
              <a:rPr lang="en-US" sz="1200" b="1">
                <a:solidFill>
                  <a:schemeClr val="accent2"/>
                </a:solidFill>
              </a:rPr>
              <a:t>TCFD Recommendations:</a:t>
            </a:r>
          </a:p>
          <a:p>
            <a:pPr algn="ctr"/>
            <a:r>
              <a:rPr lang="en-US" sz="1200"/>
              <a:t>The report outlines governance of climate-related risks, impacts on business strategy and financial planning, and methods of identifying, assessing, and managing climate risks. It includes material climate-related metrics and targets.</a:t>
            </a:r>
          </a:p>
        </p:txBody>
      </p:sp>
      <p:sp>
        <p:nvSpPr>
          <p:cNvPr id="185" name="ZoneTexte 54 - 3 - 1">
            <a:extLst>
              <a:ext uri="{FF2B5EF4-FFF2-40B4-BE49-F238E27FC236}">
                <a16:creationId xmlns:a16="http://schemas.microsoft.com/office/drawing/2014/main" id="{71E603A7-03DA-4427-918D-58CA0A98563F}"/>
              </a:ext>
            </a:extLst>
          </p:cNvPr>
          <p:cNvSpPr txBox="1"/>
          <p:nvPr/>
        </p:nvSpPr>
        <p:spPr>
          <a:xfrm>
            <a:off x="4594827" y="3084527"/>
            <a:ext cx="2025000" cy="1755000"/>
          </a:xfrm>
          <a:prstGeom prst="rect">
            <a:avLst/>
          </a:prstGeom>
          <a:noFill/>
        </p:spPr>
        <p:txBody>
          <a:bodyPr wrap="square" rtlCol="0" anchor="t">
            <a:noAutofit/>
          </a:bodyPr>
          <a:lstStyle/>
          <a:p>
            <a:pPr algn="ctr"/>
            <a:r>
              <a:rPr lang="en-US" sz="1200" b="1">
                <a:solidFill>
                  <a:schemeClr val="accent3"/>
                </a:solidFill>
              </a:rPr>
              <a:t>Alignment with Priority SDGs and Targets:</a:t>
            </a:r>
          </a:p>
          <a:p>
            <a:pPr algn="ctr"/>
            <a:r>
              <a:rPr lang="en-US" sz="1200"/>
              <a:t>Uber highlights its contributions to the UN's Sustainable Development Goals, showing how its initiatives align with these global goals.</a:t>
            </a:r>
          </a:p>
        </p:txBody>
      </p:sp>
      <p:sp>
        <p:nvSpPr>
          <p:cNvPr id="48" name="ZoneTexte 54 - 3">
            <a:extLst>
              <a:ext uri="{FF2B5EF4-FFF2-40B4-BE49-F238E27FC236}">
                <a16:creationId xmlns:a16="http://schemas.microsoft.com/office/drawing/2014/main" id="{1D4CC69E-24A6-44E1-80A9-34FFF8CA5D8E}"/>
              </a:ext>
            </a:extLst>
          </p:cNvPr>
          <p:cNvSpPr txBox="1"/>
          <p:nvPr/>
        </p:nvSpPr>
        <p:spPr>
          <a:xfrm>
            <a:off x="6665483" y="3084527"/>
            <a:ext cx="2025000" cy="1755000"/>
          </a:xfrm>
          <a:prstGeom prst="rect">
            <a:avLst/>
          </a:prstGeom>
          <a:noFill/>
        </p:spPr>
        <p:txBody>
          <a:bodyPr wrap="square" rtlCol="0" anchor="t">
            <a:noAutofit/>
          </a:bodyPr>
          <a:lstStyle/>
          <a:p>
            <a:pPr algn="ctr"/>
            <a:r>
              <a:rPr lang="en-US" sz="1200" b="1">
                <a:solidFill>
                  <a:schemeClr val="accent4"/>
                </a:solidFill>
              </a:rPr>
              <a:t>Forward-Looking Statements and Third-Party Verification:</a:t>
            </a:r>
          </a:p>
          <a:p>
            <a:pPr algn="ctr"/>
            <a:r>
              <a:rPr lang="en-US" sz="1200"/>
              <a:t>The report contains future business projections, noting potential discrepancies due to risks and uncertainties. It confirms third-party verification of its greenhouse gas emissions data for enhanced credibility.</a:t>
            </a:r>
          </a:p>
        </p:txBody>
      </p:sp>
      <p:cxnSp>
        <p:nvCxnSpPr>
          <p:cNvPr id="49" name="Straight Connector 48">
            <a:extLst>
              <a:ext uri="{FF2B5EF4-FFF2-40B4-BE49-F238E27FC236}">
                <a16:creationId xmlns:a16="http://schemas.microsoft.com/office/drawing/2014/main" id="{7E775A73-1606-4135-AFB2-DF95C9A94109}"/>
              </a:ext>
            </a:extLst>
          </p:cNvPr>
          <p:cNvCxnSpPr>
            <a:cxnSpLocks/>
          </p:cNvCxnSpPr>
          <p:nvPr/>
        </p:nvCxnSpPr>
        <p:spPr>
          <a:xfrm rot="5400000">
            <a:off x="5720587" y="3948662"/>
            <a:ext cx="1844136"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11" name="Institution2" descr="{&quot;Key&quot;:&quot;POWER_USER_SHAPE_ICON&quot;,&quot;Value&quot;:&quot;POWER_USER_SHAPE_ICON_STYLE_1&quot;}">
            <a:extLst>
              <a:ext uri="{FF2B5EF4-FFF2-40B4-BE49-F238E27FC236}">
                <a16:creationId xmlns:a16="http://schemas.microsoft.com/office/drawing/2014/main" id="{4B362077-0D8A-F1A8-9E8D-E894A40432D3}"/>
              </a:ext>
            </a:extLst>
          </p:cNvPr>
          <p:cNvGrpSpPr>
            <a:grpSpLocks noChangeAspect="1"/>
          </p:cNvGrpSpPr>
          <p:nvPr/>
        </p:nvGrpSpPr>
        <p:grpSpPr>
          <a:xfrm>
            <a:off x="1106185" y="2085391"/>
            <a:ext cx="739588" cy="762000"/>
            <a:chOff x="5913438" y="1757363"/>
            <a:chExt cx="419100" cy="431800"/>
          </a:xfrm>
          <a:solidFill>
            <a:schemeClr val="accent1"/>
          </a:solidFill>
        </p:grpSpPr>
        <p:sp>
          <p:nvSpPr>
            <p:cNvPr id="12" name="Freeform 108">
              <a:extLst>
                <a:ext uri="{FF2B5EF4-FFF2-40B4-BE49-F238E27FC236}">
                  <a16:creationId xmlns:a16="http://schemas.microsoft.com/office/drawing/2014/main" id="{58415BBB-D126-5FA9-8571-9BCA4D1BD163}"/>
                </a:ext>
              </a:extLst>
            </p:cNvPr>
            <p:cNvSpPr>
              <a:spLocks noEditPoints="1"/>
            </p:cNvSpPr>
            <p:nvPr/>
          </p:nvSpPr>
          <p:spPr bwMode="auto">
            <a:xfrm>
              <a:off x="5913438" y="1757363"/>
              <a:ext cx="419100" cy="152400"/>
            </a:xfrm>
            <a:custGeom>
              <a:avLst/>
              <a:gdLst>
                <a:gd name="T0" fmla="*/ 31 w 460"/>
                <a:gd name="T1" fmla="*/ 152 h 167"/>
                <a:gd name="T2" fmla="*/ 429 w 460"/>
                <a:gd name="T3" fmla="*/ 152 h 167"/>
                <a:gd name="T4" fmla="*/ 230 w 460"/>
                <a:gd name="T5" fmla="*/ 16 h 167"/>
                <a:gd name="T6" fmla="*/ 31 w 460"/>
                <a:gd name="T7" fmla="*/ 152 h 167"/>
                <a:gd name="T8" fmla="*/ 452 w 460"/>
                <a:gd name="T9" fmla="*/ 167 h 167"/>
                <a:gd name="T10" fmla="*/ 8 w 460"/>
                <a:gd name="T11" fmla="*/ 167 h 167"/>
                <a:gd name="T12" fmla="*/ 1 w 460"/>
                <a:gd name="T13" fmla="*/ 162 h 167"/>
                <a:gd name="T14" fmla="*/ 4 w 460"/>
                <a:gd name="T15" fmla="*/ 153 h 167"/>
                <a:gd name="T16" fmla="*/ 226 w 460"/>
                <a:gd name="T17" fmla="*/ 2 h 167"/>
                <a:gd name="T18" fmla="*/ 234 w 460"/>
                <a:gd name="T19" fmla="*/ 2 h 167"/>
                <a:gd name="T20" fmla="*/ 456 w 460"/>
                <a:gd name="T21" fmla="*/ 153 h 167"/>
                <a:gd name="T22" fmla="*/ 459 w 460"/>
                <a:gd name="T23" fmla="*/ 162 h 167"/>
                <a:gd name="T24" fmla="*/ 452 w 460"/>
                <a:gd name="T2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0" h="167">
                  <a:moveTo>
                    <a:pt x="31" y="152"/>
                  </a:moveTo>
                  <a:lnTo>
                    <a:pt x="429" y="152"/>
                  </a:lnTo>
                  <a:lnTo>
                    <a:pt x="230" y="16"/>
                  </a:lnTo>
                  <a:lnTo>
                    <a:pt x="31" y="152"/>
                  </a:lnTo>
                  <a:close/>
                  <a:moveTo>
                    <a:pt x="452" y="167"/>
                  </a:moveTo>
                  <a:lnTo>
                    <a:pt x="8" y="167"/>
                  </a:lnTo>
                  <a:cubicBezTo>
                    <a:pt x="5" y="167"/>
                    <a:pt x="2" y="165"/>
                    <a:pt x="1" y="162"/>
                  </a:cubicBezTo>
                  <a:cubicBezTo>
                    <a:pt x="0" y="158"/>
                    <a:pt x="1" y="155"/>
                    <a:pt x="4" y="153"/>
                  </a:cubicBezTo>
                  <a:lnTo>
                    <a:pt x="226" y="2"/>
                  </a:lnTo>
                  <a:cubicBezTo>
                    <a:pt x="228" y="0"/>
                    <a:pt x="232" y="0"/>
                    <a:pt x="234" y="2"/>
                  </a:cubicBezTo>
                  <a:lnTo>
                    <a:pt x="456" y="153"/>
                  </a:lnTo>
                  <a:cubicBezTo>
                    <a:pt x="459" y="155"/>
                    <a:pt x="460" y="158"/>
                    <a:pt x="459" y="162"/>
                  </a:cubicBezTo>
                  <a:cubicBezTo>
                    <a:pt x="458" y="165"/>
                    <a:pt x="455" y="167"/>
                    <a:pt x="452" y="16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09">
              <a:extLst>
                <a:ext uri="{FF2B5EF4-FFF2-40B4-BE49-F238E27FC236}">
                  <a16:creationId xmlns:a16="http://schemas.microsoft.com/office/drawing/2014/main" id="{CA89FD93-5C7E-4486-0196-B5CDAC1BAE76}"/>
                </a:ext>
              </a:extLst>
            </p:cNvPr>
            <p:cNvSpPr>
              <a:spLocks/>
            </p:cNvSpPr>
            <p:nvPr/>
          </p:nvSpPr>
          <p:spPr bwMode="auto">
            <a:xfrm>
              <a:off x="5930901" y="1897063"/>
              <a:ext cx="385763" cy="44450"/>
            </a:xfrm>
            <a:custGeom>
              <a:avLst/>
              <a:gdLst>
                <a:gd name="T0" fmla="*/ 417 w 424"/>
                <a:gd name="T1" fmla="*/ 50 h 50"/>
                <a:gd name="T2" fmla="*/ 7 w 424"/>
                <a:gd name="T3" fmla="*/ 50 h 50"/>
                <a:gd name="T4" fmla="*/ 0 w 424"/>
                <a:gd name="T5" fmla="*/ 43 h 50"/>
                <a:gd name="T6" fmla="*/ 0 w 424"/>
                <a:gd name="T7" fmla="*/ 7 h 50"/>
                <a:gd name="T8" fmla="*/ 7 w 424"/>
                <a:gd name="T9" fmla="*/ 0 h 50"/>
                <a:gd name="T10" fmla="*/ 14 w 424"/>
                <a:gd name="T11" fmla="*/ 7 h 50"/>
                <a:gd name="T12" fmla="*/ 14 w 424"/>
                <a:gd name="T13" fmla="*/ 35 h 50"/>
                <a:gd name="T14" fmla="*/ 410 w 424"/>
                <a:gd name="T15" fmla="*/ 35 h 50"/>
                <a:gd name="T16" fmla="*/ 410 w 424"/>
                <a:gd name="T17" fmla="*/ 7 h 50"/>
                <a:gd name="T18" fmla="*/ 417 w 424"/>
                <a:gd name="T19" fmla="*/ 0 h 50"/>
                <a:gd name="T20" fmla="*/ 424 w 424"/>
                <a:gd name="T21" fmla="*/ 7 h 50"/>
                <a:gd name="T22" fmla="*/ 424 w 424"/>
                <a:gd name="T23" fmla="*/ 43 h 50"/>
                <a:gd name="T24" fmla="*/ 417 w 424"/>
                <a:gd name="T2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4" h="50">
                  <a:moveTo>
                    <a:pt x="417" y="50"/>
                  </a:moveTo>
                  <a:lnTo>
                    <a:pt x="7" y="50"/>
                  </a:lnTo>
                  <a:cubicBezTo>
                    <a:pt x="3" y="50"/>
                    <a:pt x="0" y="47"/>
                    <a:pt x="0" y="43"/>
                  </a:cubicBezTo>
                  <a:lnTo>
                    <a:pt x="0" y="7"/>
                  </a:lnTo>
                  <a:cubicBezTo>
                    <a:pt x="0" y="3"/>
                    <a:pt x="3" y="0"/>
                    <a:pt x="7" y="0"/>
                  </a:cubicBezTo>
                  <a:cubicBezTo>
                    <a:pt x="11" y="0"/>
                    <a:pt x="14" y="3"/>
                    <a:pt x="14" y="7"/>
                  </a:cubicBezTo>
                  <a:lnTo>
                    <a:pt x="14" y="35"/>
                  </a:lnTo>
                  <a:lnTo>
                    <a:pt x="410" y="35"/>
                  </a:lnTo>
                  <a:lnTo>
                    <a:pt x="410" y="7"/>
                  </a:lnTo>
                  <a:cubicBezTo>
                    <a:pt x="410" y="3"/>
                    <a:pt x="413" y="0"/>
                    <a:pt x="417" y="0"/>
                  </a:cubicBezTo>
                  <a:cubicBezTo>
                    <a:pt x="421" y="0"/>
                    <a:pt x="424" y="3"/>
                    <a:pt x="424" y="7"/>
                  </a:cubicBezTo>
                  <a:lnTo>
                    <a:pt x="424" y="43"/>
                  </a:lnTo>
                  <a:cubicBezTo>
                    <a:pt x="424" y="47"/>
                    <a:pt x="421" y="50"/>
                    <a:pt x="417" y="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10">
              <a:extLst>
                <a:ext uri="{FF2B5EF4-FFF2-40B4-BE49-F238E27FC236}">
                  <a16:creationId xmlns:a16="http://schemas.microsoft.com/office/drawing/2014/main" id="{5A835963-B8AE-1DC3-95C6-4FA63D396822}"/>
                </a:ext>
              </a:extLst>
            </p:cNvPr>
            <p:cNvSpPr>
              <a:spLocks/>
            </p:cNvSpPr>
            <p:nvPr/>
          </p:nvSpPr>
          <p:spPr bwMode="auto">
            <a:xfrm>
              <a:off x="5954713" y="1928813"/>
              <a:ext cx="14288" cy="220663"/>
            </a:xfrm>
            <a:custGeom>
              <a:avLst/>
              <a:gdLst>
                <a:gd name="T0" fmla="*/ 8 w 15"/>
                <a:gd name="T1" fmla="*/ 243 h 243"/>
                <a:gd name="T2" fmla="*/ 0 w 15"/>
                <a:gd name="T3" fmla="*/ 236 h 243"/>
                <a:gd name="T4" fmla="*/ 0 w 15"/>
                <a:gd name="T5" fmla="*/ 8 h 243"/>
                <a:gd name="T6" fmla="*/ 8 w 15"/>
                <a:gd name="T7" fmla="*/ 0 h 243"/>
                <a:gd name="T8" fmla="*/ 15 w 15"/>
                <a:gd name="T9" fmla="*/ 8 h 243"/>
                <a:gd name="T10" fmla="*/ 15 w 15"/>
                <a:gd name="T11" fmla="*/ 236 h 243"/>
                <a:gd name="T12" fmla="*/ 8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8" y="243"/>
                  </a:moveTo>
                  <a:cubicBezTo>
                    <a:pt x="4" y="243"/>
                    <a:pt x="0" y="240"/>
                    <a:pt x="0" y="236"/>
                  </a:cubicBezTo>
                  <a:lnTo>
                    <a:pt x="0" y="8"/>
                  </a:lnTo>
                  <a:cubicBezTo>
                    <a:pt x="0" y="4"/>
                    <a:pt x="4" y="0"/>
                    <a:pt x="8" y="0"/>
                  </a:cubicBezTo>
                  <a:cubicBezTo>
                    <a:pt x="12" y="0"/>
                    <a:pt x="15" y="4"/>
                    <a:pt x="15" y="8"/>
                  </a:cubicBezTo>
                  <a:lnTo>
                    <a:pt x="15" y="236"/>
                  </a:lnTo>
                  <a:cubicBezTo>
                    <a:pt x="15" y="240"/>
                    <a:pt x="12" y="243"/>
                    <a:pt x="8"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111">
              <a:extLst>
                <a:ext uri="{FF2B5EF4-FFF2-40B4-BE49-F238E27FC236}">
                  <a16:creationId xmlns:a16="http://schemas.microsoft.com/office/drawing/2014/main" id="{38501824-A2D2-A6D6-8CB3-490F0E0A868B}"/>
                </a:ext>
              </a:extLst>
            </p:cNvPr>
            <p:cNvSpPr>
              <a:spLocks/>
            </p:cNvSpPr>
            <p:nvPr/>
          </p:nvSpPr>
          <p:spPr bwMode="auto">
            <a:xfrm>
              <a:off x="6278563" y="1928813"/>
              <a:ext cx="14288" cy="220663"/>
            </a:xfrm>
            <a:custGeom>
              <a:avLst/>
              <a:gdLst>
                <a:gd name="T0" fmla="*/ 7 w 15"/>
                <a:gd name="T1" fmla="*/ 243 h 243"/>
                <a:gd name="T2" fmla="*/ 0 w 15"/>
                <a:gd name="T3" fmla="*/ 236 h 243"/>
                <a:gd name="T4" fmla="*/ 0 w 15"/>
                <a:gd name="T5" fmla="*/ 8 h 243"/>
                <a:gd name="T6" fmla="*/ 7 w 15"/>
                <a:gd name="T7" fmla="*/ 0 h 243"/>
                <a:gd name="T8" fmla="*/ 15 w 15"/>
                <a:gd name="T9" fmla="*/ 8 h 243"/>
                <a:gd name="T10" fmla="*/ 15 w 15"/>
                <a:gd name="T11" fmla="*/ 236 h 243"/>
                <a:gd name="T12" fmla="*/ 7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7" y="243"/>
                  </a:moveTo>
                  <a:cubicBezTo>
                    <a:pt x="3" y="243"/>
                    <a:pt x="0" y="240"/>
                    <a:pt x="0" y="236"/>
                  </a:cubicBezTo>
                  <a:lnTo>
                    <a:pt x="0" y="8"/>
                  </a:lnTo>
                  <a:cubicBezTo>
                    <a:pt x="0" y="4"/>
                    <a:pt x="3" y="0"/>
                    <a:pt x="7" y="0"/>
                  </a:cubicBezTo>
                  <a:cubicBezTo>
                    <a:pt x="11" y="0"/>
                    <a:pt x="15" y="4"/>
                    <a:pt x="15" y="8"/>
                  </a:cubicBezTo>
                  <a:lnTo>
                    <a:pt x="15" y="236"/>
                  </a:lnTo>
                  <a:cubicBezTo>
                    <a:pt x="15" y="240"/>
                    <a:pt x="11" y="243"/>
                    <a:pt x="7"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12">
              <a:extLst>
                <a:ext uri="{FF2B5EF4-FFF2-40B4-BE49-F238E27FC236}">
                  <a16:creationId xmlns:a16="http://schemas.microsoft.com/office/drawing/2014/main" id="{0084BDC9-2803-D7D0-5E47-ED76EE4CE2A0}"/>
                </a:ext>
              </a:extLst>
            </p:cNvPr>
            <p:cNvSpPr>
              <a:spLocks/>
            </p:cNvSpPr>
            <p:nvPr/>
          </p:nvSpPr>
          <p:spPr bwMode="auto">
            <a:xfrm>
              <a:off x="6005513" y="1928813"/>
              <a:ext cx="14288" cy="220663"/>
            </a:xfrm>
            <a:custGeom>
              <a:avLst/>
              <a:gdLst>
                <a:gd name="T0" fmla="*/ 8 w 15"/>
                <a:gd name="T1" fmla="*/ 243 h 243"/>
                <a:gd name="T2" fmla="*/ 0 w 15"/>
                <a:gd name="T3" fmla="*/ 236 h 243"/>
                <a:gd name="T4" fmla="*/ 0 w 15"/>
                <a:gd name="T5" fmla="*/ 8 h 243"/>
                <a:gd name="T6" fmla="*/ 8 w 15"/>
                <a:gd name="T7" fmla="*/ 0 h 243"/>
                <a:gd name="T8" fmla="*/ 15 w 15"/>
                <a:gd name="T9" fmla="*/ 8 h 243"/>
                <a:gd name="T10" fmla="*/ 15 w 15"/>
                <a:gd name="T11" fmla="*/ 236 h 243"/>
                <a:gd name="T12" fmla="*/ 8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8" y="243"/>
                  </a:moveTo>
                  <a:cubicBezTo>
                    <a:pt x="4" y="243"/>
                    <a:pt x="0" y="240"/>
                    <a:pt x="0" y="236"/>
                  </a:cubicBezTo>
                  <a:lnTo>
                    <a:pt x="0" y="8"/>
                  </a:lnTo>
                  <a:cubicBezTo>
                    <a:pt x="0" y="4"/>
                    <a:pt x="4" y="0"/>
                    <a:pt x="8" y="0"/>
                  </a:cubicBezTo>
                  <a:cubicBezTo>
                    <a:pt x="12" y="0"/>
                    <a:pt x="15" y="4"/>
                    <a:pt x="15" y="8"/>
                  </a:cubicBezTo>
                  <a:lnTo>
                    <a:pt x="15" y="236"/>
                  </a:lnTo>
                  <a:cubicBezTo>
                    <a:pt x="15" y="240"/>
                    <a:pt x="12" y="243"/>
                    <a:pt x="8"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13">
              <a:extLst>
                <a:ext uri="{FF2B5EF4-FFF2-40B4-BE49-F238E27FC236}">
                  <a16:creationId xmlns:a16="http://schemas.microsoft.com/office/drawing/2014/main" id="{8E9FF1ED-535B-BBC1-A30E-0EDE2E6BC0DB}"/>
                </a:ext>
              </a:extLst>
            </p:cNvPr>
            <p:cNvSpPr>
              <a:spLocks/>
            </p:cNvSpPr>
            <p:nvPr/>
          </p:nvSpPr>
          <p:spPr bwMode="auto">
            <a:xfrm>
              <a:off x="6227763" y="1928813"/>
              <a:ext cx="12700" cy="220663"/>
            </a:xfrm>
            <a:custGeom>
              <a:avLst/>
              <a:gdLst>
                <a:gd name="T0" fmla="*/ 7 w 15"/>
                <a:gd name="T1" fmla="*/ 243 h 243"/>
                <a:gd name="T2" fmla="*/ 0 w 15"/>
                <a:gd name="T3" fmla="*/ 236 h 243"/>
                <a:gd name="T4" fmla="*/ 0 w 15"/>
                <a:gd name="T5" fmla="*/ 8 h 243"/>
                <a:gd name="T6" fmla="*/ 7 w 15"/>
                <a:gd name="T7" fmla="*/ 0 h 243"/>
                <a:gd name="T8" fmla="*/ 15 w 15"/>
                <a:gd name="T9" fmla="*/ 8 h 243"/>
                <a:gd name="T10" fmla="*/ 15 w 15"/>
                <a:gd name="T11" fmla="*/ 236 h 243"/>
                <a:gd name="T12" fmla="*/ 7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7" y="243"/>
                  </a:moveTo>
                  <a:cubicBezTo>
                    <a:pt x="3" y="243"/>
                    <a:pt x="0" y="240"/>
                    <a:pt x="0" y="236"/>
                  </a:cubicBezTo>
                  <a:lnTo>
                    <a:pt x="0" y="8"/>
                  </a:lnTo>
                  <a:cubicBezTo>
                    <a:pt x="0" y="4"/>
                    <a:pt x="3" y="0"/>
                    <a:pt x="7" y="0"/>
                  </a:cubicBezTo>
                  <a:cubicBezTo>
                    <a:pt x="11" y="0"/>
                    <a:pt x="15" y="4"/>
                    <a:pt x="15" y="8"/>
                  </a:cubicBezTo>
                  <a:lnTo>
                    <a:pt x="15" y="236"/>
                  </a:lnTo>
                  <a:cubicBezTo>
                    <a:pt x="15" y="240"/>
                    <a:pt x="11" y="243"/>
                    <a:pt x="7"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14">
              <a:extLst>
                <a:ext uri="{FF2B5EF4-FFF2-40B4-BE49-F238E27FC236}">
                  <a16:creationId xmlns:a16="http://schemas.microsoft.com/office/drawing/2014/main" id="{CEA3C4EE-D1C2-F879-08D8-C3297EE6DFE8}"/>
                </a:ext>
              </a:extLst>
            </p:cNvPr>
            <p:cNvSpPr>
              <a:spLocks noEditPoints="1"/>
            </p:cNvSpPr>
            <p:nvPr/>
          </p:nvSpPr>
          <p:spPr bwMode="auto">
            <a:xfrm>
              <a:off x="5930901" y="2136775"/>
              <a:ext cx="385763" cy="52388"/>
            </a:xfrm>
            <a:custGeom>
              <a:avLst/>
              <a:gdLst>
                <a:gd name="T0" fmla="*/ 14 w 424"/>
                <a:gd name="T1" fmla="*/ 42 h 57"/>
                <a:gd name="T2" fmla="*/ 410 w 424"/>
                <a:gd name="T3" fmla="*/ 42 h 57"/>
                <a:gd name="T4" fmla="*/ 410 w 424"/>
                <a:gd name="T5" fmla="*/ 14 h 57"/>
                <a:gd name="T6" fmla="*/ 14 w 424"/>
                <a:gd name="T7" fmla="*/ 14 h 57"/>
                <a:gd name="T8" fmla="*/ 14 w 424"/>
                <a:gd name="T9" fmla="*/ 42 h 57"/>
                <a:gd name="T10" fmla="*/ 417 w 424"/>
                <a:gd name="T11" fmla="*/ 57 h 57"/>
                <a:gd name="T12" fmla="*/ 7 w 424"/>
                <a:gd name="T13" fmla="*/ 57 h 57"/>
                <a:gd name="T14" fmla="*/ 0 w 424"/>
                <a:gd name="T15" fmla="*/ 49 h 57"/>
                <a:gd name="T16" fmla="*/ 0 w 424"/>
                <a:gd name="T17" fmla="*/ 7 h 57"/>
                <a:gd name="T18" fmla="*/ 7 w 424"/>
                <a:gd name="T19" fmla="*/ 0 h 57"/>
                <a:gd name="T20" fmla="*/ 417 w 424"/>
                <a:gd name="T21" fmla="*/ 0 h 57"/>
                <a:gd name="T22" fmla="*/ 424 w 424"/>
                <a:gd name="T23" fmla="*/ 7 h 57"/>
                <a:gd name="T24" fmla="*/ 424 w 424"/>
                <a:gd name="T25" fmla="*/ 49 h 57"/>
                <a:gd name="T26" fmla="*/ 417 w 424"/>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4" h="57">
                  <a:moveTo>
                    <a:pt x="14" y="42"/>
                  </a:moveTo>
                  <a:lnTo>
                    <a:pt x="410" y="42"/>
                  </a:lnTo>
                  <a:lnTo>
                    <a:pt x="410" y="14"/>
                  </a:lnTo>
                  <a:lnTo>
                    <a:pt x="14" y="14"/>
                  </a:lnTo>
                  <a:lnTo>
                    <a:pt x="14" y="42"/>
                  </a:lnTo>
                  <a:close/>
                  <a:moveTo>
                    <a:pt x="417" y="57"/>
                  </a:moveTo>
                  <a:lnTo>
                    <a:pt x="7" y="57"/>
                  </a:lnTo>
                  <a:cubicBezTo>
                    <a:pt x="3" y="57"/>
                    <a:pt x="0" y="53"/>
                    <a:pt x="0" y="49"/>
                  </a:cubicBezTo>
                  <a:lnTo>
                    <a:pt x="0" y="7"/>
                  </a:lnTo>
                  <a:cubicBezTo>
                    <a:pt x="0" y="3"/>
                    <a:pt x="3" y="0"/>
                    <a:pt x="7" y="0"/>
                  </a:cubicBezTo>
                  <a:lnTo>
                    <a:pt x="417" y="0"/>
                  </a:lnTo>
                  <a:cubicBezTo>
                    <a:pt x="421" y="0"/>
                    <a:pt x="424" y="3"/>
                    <a:pt x="424" y="7"/>
                  </a:cubicBezTo>
                  <a:lnTo>
                    <a:pt x="424" y="49"/>
                  </a:lnTo>
                  <a:cubicBezTo>
                    <a:pt x="424" y="53"/>
                    <a:pt x="421" y="57"/>
                    <a:pt x="417"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15">
              <a:extLst>
                <a:ext uri="{FF2B5EF4-FFF2-40B4-BE49-F238E27FC236}">
                  <a16:creationId xmlns:a16="http://schemas.microsoft.com/office/drawing/2014/main" id="{23552411-2E17-5ADE-F2C8-8FFDEAC43479}"/>
                </a:ext>
              </a:extLst>
            </p:cNvPr>
            <p:cNvSpPr>
              <a:spLocks/>
            </p:cNvSpPr>
            <p:nvPr/>
          </p:nvSpPr>
          <p:spPr bwMode="auto">
            <a:xfrm>
              <a:off x="6049963" y="1928813"/>
              <a:ext cx="12700" cy="220663"/>
            </a:xfrm>
            <a:custGeom>
              <a:avLst/>
              <a:gdLst>
                <a:gd name="T0" fmla="*/ 7 w 14"/>
                <a:gd name="T1" fmla="*/ 243 h 243"/>
                <a:gd name="T2" fmla="*/ 0 w 14"/>
                <a:gd name="T3" fmla="*/ 236 h 243"/>
                <a:gd name="T4" fmla="*/ 0 w 14"/>
                <a:gd name="T5" fmla="*/ 8 h 243"/>
                <a:gd name="T6" fmla="*/ 7 w 14"/>
                <a:gd name="T7" fmla="*/ 0 h 243"/>
                <a:gd name="T8" fmla="*/ 14 w 14"/>
                <a:gd name="T9" fmla="*/ 8 h 243"/>
                <a:gd name="T10" fmla="*/ 14 w 14"/>
                <a:gd name="T11" fmla="*/ 236 h 243"/>
                <a:gd name="T12" fmla="*/ 7 w 14"/>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4" h="243">
                  <a:moveTo>
                    <a:pt x="7" y="243"/>
                  </a:moveTo>
                  <a:cubicBezTo>
                    <a:pt x="3" y="243"/>
                    <a:pt x="0" y="240"/>
                    <a:pt x="0" y="236"/>
                  </a:cubicBezTo>
                  <a:lnTo>
                    <a:pt x="0" y="8"/>
                  </a:lnTo>
                  <a:cubicBezTo>
                    <a:pt x="0" y="4"/>
                    <a:pt x="3" y="0"/>
                    <a:pt x="7" y="0"/>
                  </a:cubicBezTo>
                  <a:cubicBezTo>
                    <a:pt x="11" y="0"/>
                    <a:pt x="14" y="4"/>
                    <a:pt x="14" y="8"/>
                  </a:cubicBezTo>
                  <a:lnTo>
                    <a:pt x="14" y="236"/>
                  </a:lnTo>
                  <a:cubicBezTo>
                    <a:pt x="14" y="240"/>
                    <a:pt x="11" y="243"/>
                    <a:pt x="7"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16">
              <a:extLst>
                <a:ext uri="{FF2B5EF4-FFF2-40B4-BE49-F238E27FC236}">
                  <a16:creationId xmlns:a16="http://schemas.microsoft.com/office/drawing/2014/main" id="{405CC8D1-5BFE-EDD9-7EB7-A7F4D3767143}"/>
                </a:ext>
              </a:extLst>
            </p:cNvPr>
            <p:cNvSpPr>
              <a:spLocks/>
            </p:cNvSpPr>
            <p:nvPr/>
          </p:nvSpPr>
          <p:spPr bwMode="auto">
            <a:xfrm>
              <a:off x="6184901" y="1928813"/>
              <a:ext cx="12700" cy="220663"/>
            </a:xfrm>
            <a:custGeom>
              <a:avLst/>
              <a:gdLst>
                <a:gd name="T0" fmla="*/ 7 w 14"/>
                <a:gd name="T1" fmla="*/ 243 h 243"/>
                <a:gd name="T2" fmla="*/ 0 w 14"/>
                <a:gd name="T3" fmla="*/ 236 h 243"/>
                <a:gd name="T4" fmla="*/ 0 w 14"/>
                <a:gd name="T5" fmla="*/ 8 h 243"/>
                <a:gd name="T6" fmla="*/ 7 w 14"/>
                <a:gd name="T7" fmla="*/ 0 h 243"/>
                <a:gd name="T8" fmla="*/ 14 w 14"/>
                <a:gd name="T9" fmla="*/ 8 h 243"/>
                <a:gd name="T10" fmla="*/ 14 w 14"/>
                <a:gd name="T11" fmla="*/ 236 h 243"/>
                <a:gd name="T12" fmla="*/ 7 w 14"/>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4" h="243">
                  <a:moveTo>
                    <a:pt x="7" y="243"/>
                  </a:moveTo>
                  <a:cubicBezTo>
                    <a:pt x="3" y="243"/>
                    <a:pt x="0" y="240"/>
                    <a:pt x="0" y="236"/>
                  </a:cubicBezTo>
                  <a:lnTo>
                    <a:pt x="0" y="8"/>
                  </a:lnTo>
                  <a:cubicBezTo>
                    <a:pt x="0" y="4"/>
                    <a:pt x="3" y="0"/>
                    <a:pt x="7" y="0"/>
                  </a:cubicBezTo>
                  <a:cubicBezTo>
                    <a:pt x="11" y="0"/>
                    <a:pt x="14" y="4"/>
                    <a:pt x="14" y="8"/>
                  </a:cubicBezTo>
                  <a:lnTo>
                    <a:pt x="14" y="236"/>
                  </a:lnTo>
                  <a:cubicBezTo>
                    <a:pt x="14" y="240"/>
                    <a:pt x="11" y="243"/>
                    <a:pt x="7"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117">
              <a:extLst>
                <a:ext uri="{FF2B5EF4-FFF2-40B4-BE49-F238E27FC236}">
                  <a16:creationId xmlns:a16="http://schemas.microsoft.com/office/drawing/2014/main" id="{10BAD2D5-D5DA-BBCA-7E37-8C3AD1E42568}"/>
                </a:ext>
              </a:extLst>
            </p:cNvPr>
            <p:cNvSpPr>
              <a:spLocks/>
            </p:cNvSpPr>
            <p:nvPr/>
          </p:nvSpPr>
          <p:spPr bwMode="auto">
            <a:xfrm>
              <a:off x="6097588" y="1928813"/>
              <a:ext cx="12700" cy="220663"/>
            </a:xfrm>
            <a:custGeom>
              <a:avLst/>
              <a:gdLst>
                <a:gd name="T0" fmla="*/ 7 w 15"/>
                <a:gd name="T1" fmla="*/ 243 h 243"/>
                <a:gd name="T2" fmla="*/ 0 w 15"/>
                <a:gd name="T3" fmla="*/ 236 h 243"/>
                <a:gd name="T4" fmla="*/ 0 w 15"/>
                <a:gd name="T5" fmla="*/ 8 h 243"/>
                <a:gd name="T6" fmla="*/ 7 w 15"/>
                <a:gd name="T7" fmla="*/ 0 h 243"/>
                <a:gd name="T8" fmla="*/ 15 w 15"/>
                <a:gd name="T9" fmla="*/ 8 h 243"/>
                <a:gd name="T10" fmla="*/ 15 w 15"/>
                <a:gd name="T11" fmla="*/ 236 h 243"/>
                <a:gd name="T12" fmla="*/ 7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7" y="243"/>
                  </a:moveTo>
                  <a:cubicBezTo>
                    <a:pt x="3" y="243"/>
                    <a:pt x="0" y="240"/>
                    <a:pt x="0" y="236"/>
                  </a:cubicBezTo>
                  <a:lnTo>
                    <a:pt x="0" y="8"/>
                  </a:lnTo>
                  <a:cubicBezTo>
                    <a:pt x="0" y="4"/>
                    <a:pt x="3" y="0"/>
                    <a:pt x="7" y="0"/>
                  </a:cubicBezTo>
                  <a:cubicBezTo>
                    <a:pt x="11" y="0"/>
                    <a:pt x="15" y="4"/>
                    <a:pt x="15" y="8"/>
                  </a:cubicBezTo>
                  <a:lnTo>
                    <a:pt x="15" y="236"/>
                  </a:lnTo>
                  <a:cubicBezTo>
                    <a:pt x="15" y="240"/>
                    <a:pt x="11" y="243"/>
                    <a:pt x="7"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118">
              <a:extLst>
                <a:ext uri="{FF2B5EF4-FFF2-40B4-BE49-F238E27FC236}">
                  <a16:creationId xmlns:a16="http://schemas.microsoft.com/office/drawing/2014/main" id="{75E13937-9F03-9E2A-F90E-7DCE3007AC79}"/>
                </a:ext>
              </a:extLst>
            </p:cNvPr>
            <p:cNvSpPr>
              <a:spLocks/>
            </p:cNvSpPr>
            <p:nvPr/>
          </p:nvSpPr>
          <p:spPr bwMode="auto">
            <a:xfrm>
              <a:off x="6135688" y="1928813"/>
              <a:ext cx="14288" cy="220663"/>
            </a:xfrm>
            <a:custGeom>
              <a:avLst/>
              <a:gdLst>
                <a:gd name="T0" fmla="*/ 8 w 15"/>
                <a:gd name="T1" fmla="*/ 243 h 243"/>
                <a:gd name="T2" fmla="*/ 0 w 15"/>
                <a:gd name="T3" fmla="*/ 236 h 243"/>
                <a:gd name="T4" fmla="*/ 0 w 15"/>
                <a:gd name="T5" fmla="*/ 8 h 243"/>
                <a:gd name="T6" fmla="*/ 8 w 15"/>
                <a:gd name="T7" fmla="*/ 0 h 243"/>
                <a:gd name="T8" fmla="*/ 15 w 15"/>
                <a:gd name="T9" fmla="*/ 8 h 243"/>
                <a:gd name="T10" fmla="*/ 15 w 15"/>
                <a:gd name="T11" fmla="*/ 236 h 243"/>
                <a:gd name="T12" fmla="*/ 8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8" y="243"/>
                  </a:moveTo>
                  <a:cubicBezTo>
                    <a:pt x="4" y="243"/>
                    <a:pt x="0" y="240"/>
                    <a:pt x="0" y="236"/>
                  </a:cubicBezTo>
                  <a:lnTo>
                    <a:pt x="0" y="8"/>
                  </a:lnTo>
                  <a:cubicBezTo>
                    <a:pt x="0" y="4"/>
                    <a:pt x="4" y="0"/>
                    <a:pt x="8" y="0"/>
                  </a:cubicBezTo>
                  <a:cubicBezTo>
                    <a:pt x="12" y="0"/>
                    <a:pt x="15" y="4"/>
                    <a:pt x="15" y="8"/>
                  </a:cubicBezTo>
                  <a:lnTo>
                    <a:pt x="15" y="236"/>
                  </a:lnTo>
                  <a:cubicBezTo>
                    <a:pt x="15" y="240"/>
                    <a:pt x="12" y="243"/>
                    <a:pt x="8"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947373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FCABE1-19D9-0C31-E5FD-FCF48DE829E4}"/>
              </a:ext>
            </a:extLst>
          </p:cNvPr>
          <p:cNvSpPr>
            <a:spLocks noGrp="1"/>
          </p:cNvSpPr>
          <p:nvPr>
            <p:ph type="title"/>
          </p:nvPr>
        </p:nvSpPr>
        <p:spPr/>
        <p:txBody>
          <a:bodyPr/>
          <a:lstStyle/>
          <a:p>
            <a:endParaRPr lang="en-US"/>
          </a:p>
        </p:txBody>
      </p:sp>
      <p:sp>
        <p:nvSpPr>
          <p:cNvPr id="4" name="Foliennummernplatzhalter 3">
            <a:extLst>
              <a:ext uri="{FF2B5EF4-FFF2-40B4-BE49-F238E27FC236}">
                <a16:creationId xmlns:a16="http://schemas.microsoft.com/office/drawing/2014/main" id="{769A17D8-BEA7-2AF3-4B6C-248DD44F94F2}"/>
              </a:ext>
            </a:extLst>
          </p:cNvPr>
          <p:cNvSpPr>
            <a:spLocks noGrp="1"/>
          </p:cNvSpPr>
          <p:nvPr>
            <p:ph type="sldNum" sz="quarter" idx="4"/>
          </p:nvPr>
        </p:nvSpPr>
        <p:spPr/>
        <p:txBody>
          <a:bodyPr/>
          <a:lstStyle/>
          <a:p>
            <a:fld id="{BAF04893-69FB-435D-AB2E-CA259D85B32F}" type="slidenum">
              <a:rPr lang="de-DE" smtClean="0"/>
              <a:pPr/>
              <a:t>7</a:t>
            </a:fld>
            <a:endParaRPr lang="de-DE"/>
          </a:p>
        </p:txBody>
      </p:sp>
      <p:sp>
        <p:nvSpPr>
          <p:cNvPr id="5" name="Inhaltsplatzhalter 4">
            <a:extLst>
              <a:ext uri="{FF2B5EF4-FFF2-40B4-BE49-F238E27FC236}">
                <a16:creationId xmlns:a16="http://schemas.microsoft.com/office/drawing/2014/main" id="{85487CDD-E65E-598E-E5B6-8A828C54E5FA}"/>
              </a:ext>
            </a:extLst>
          </p:cNvPr>
          <p:cNvSpPr>
            <a:spLocks noGrp="1"/>
          </p:cNvSpPr>
          <p:nvPr>
            <p:ph idx="10"/>
          </p:nvPr>
        </p:nvSpPr>
        <p:spPr/>
        <p:txBody>
          <a:bodyPr/>
          <a:lstStyle/>
          <a:p>
            <a:r>
              <a:rPr lang="en-US"/>
              <a:t>Ubers Position und Herrausforderungen der Branche</a:t>
            </a:r>
          </a:p>
          <a:p>
            <a:endParaRPr lang="en-US"/>
          </a:p>
        </p:txBody>
      </p:sp>
      <p:sp>
        <p:nvSpPr>
          <p:cNvPr id="6" name="Inhaltsplatzhalter 5">
            <a:extLst>
              <a:ext uri="{FF2B5EF4-FFF2-40B4-BE49-F238E27FC236}">
                <a16:creationId xmlns:a16="http://schemas.microsoft.com/office/drawing/2014/main" id="{5EFE24AE-57D3-7DE2-51F9-74042449E2D6}"/>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3A329A28-43B5-8570-258A-C52CE8E39BB0}"/>
              </a:ext>
            </a:extLst>
          </p:cNvPr>
          <p:cNvSpPr>
            <a:spLocks noGrp="1"/>
          </p:cNvSpPr>
          <p:nvPr>
            <p:ph idx="12"/>
          </p:nvPr>
        </p:nvSpPr>
        <p:spPr/>
        <p:txBody>
          <a:bodyPr/>
          <a:lstStyle/>
          <a:p>
            <a:endParaRPr lang="en-US"/>
          </a:p>
        </p:txBody>
      </p:sp>
      <p:cxnSp>
        <p:nvCxnSpPr>
          <p:cNvPr id="8" name="Gerader Verbinder 7">
            <a:extLst>
              <a:ext uri="{FF2B5EF4-FFF2-40B4-BE49-F238E27FC236}">
                <a16:creationId xmlns:a16="http://schemas.microsoft.com/office/drawing/2014/main" id="{0F4A785A-C2BB-C4F2-D22A-9C3454BC1525}"/>
              </a:ext>
            </a:extLst>
          </p:cNvPr>
          <p:cNvCxnSpPr/>
          <p:nvPr/>
        </p:nvCxnSpPr>
        <p:spPr>
          <a:xfrm>
            <a:off x="4572000" y="2123573"/>
            <a:ext cx="0" cy="3904248"/>
          </a:xfrm>
          <a:prstGeom prst="line">
            <a:avLst/>
          </a:prstGeom>
        </p:spPr>
        <p:style>
          <a:lnRef idx="1">
            <a:schemeClr val="accent2"/>
          </a:lnRef>
          <a:fillRef idx="0">
            <a:schemeClr val="accent2"/>
          </a:fillRef>
          <a:effectRef idx="0">
            <a:schemeClr val="accent2"/>
          </a:effectRef>
          <a:fontRef idx="minor">
            <a:schemeClr val="tx1"/>
          </a:fontRef>
        </p:style>
      </p:cxnSp>
      <p:sp>
        <p:nvSpPr>
          <p:cNvPr id="9" name="Textfeld 8">
            <a:extLst>
              <a:ext uri="{FF2B5EF4-FFF2-40B4-BE49-F238E27FC236}">
                <a16:creationId xmlns:a16="http://schemas.microsoft.com/office/drawing/2014/main" id="{938AFA62-5077-0CB5-C5D8-8DEA4C53C095}"/>
              </a:ext>
            </a:extLst>
          </p:cNvPr>
          <p:cNvSpPr txBox="1"/>
          <p:nvPr/>
        </p:nvSpPr>
        <p:spPr>
          <a:xfrm>
            <a:off x="359997" y="2159547"/>
            <a:ext cx="4575008" cy="276999"/>
          </a:xfrm>
          <a:prstGeom prst="rect">
            <a:avLst/>
          </a:prstGeom>
          <a:noFill/>
        </p:spPr>
        <p:txBody>
          <a:bodyPr wrap="square">
            <a:spAutoFit/>
          </a:bodyPr>
          <a:lstStyle/>
          <a:p>
            <a:r>
              <a:rPr lang="en-US" sz="1200" b="1"/>
              <a:t>Kernelemente von Ubers Position in der Branche:</a:t>
            </a:r>
          </a:p>
        </p:txBody>
      </p:sp>
      <p:sp>
        <p:nvSpPr>
          <p:cNvPr id="13" name="Textfeld 12">
            <a:extLst>
              <a:ext uri="{FF2B5EF4-FFF2-40B4-BE49-F238E27FC236}">
                <a16:creationId xmlns:a16="http://schemas.microsoft.com/office/drawing/2014/main" id="{76A39EC6-A65D-0817-C566-FBA7906A2DDE}"/>
              </a:ext>
            </a:extLst>
          </p:cNvPr>
          <p:cNvSpPr txBox="1"/>
          <p:nvPr/>
        </p:nvSpPr>
        <p:spPr>
          <a:xfrm>
            <a:off x="359996" y="2537661"/>
            <a:ext cx="4165965" cy="2308324"/>
          </a:xfrm>
          <a:prstGeom prst="rect">
            <a:avLst/>
          </a:prstGeom>
          <a:noFill/>
        </p:spPr>
        <p:txBody>
          <a:bodyPr wrap="square" rtlCol="0">
            <a:spAutoFit/>
          </a:bodyPr>
          <a:lstStyle/>
          <a:p>
            <a:pPr marL="171450" indent="-171450">
              <a:buFont typeface="Arial" panose="020B0604020202020204" pitchFamily="34" charset="0"/>
              <a:buChar char="•"/>
            </a:pPr>
            <a:r>
              <a:rPr lang="de-DE" sz="1200" b="1"/>
              <a:t>Uber</a:t>
            </a:r>
            <a:r>
              <a:rPr lang="de-DE" sz="1200"/>
              <a:t> ist ein</a:t>
            </a:r>
            <a:r>
              <a:rPr lang="de-DE" sz="1200" b="1"/>
              <a:t> führendes Technologieunternehmen </a:t>
            </a:r>
            <a:r>
              <a:rPr lang="de-DE" sz="1200"/>
              <a:t>im Bereich </a:t>
            </a:r>
            <a:r>
              <a:rPr lang="de-DE" sz="1200" b="1"/>
              <a:t>Mobilität</a:t>
            </a:r>
            <a:r>
              <a:rPr lang="de-DE" sz="1200"/>
              <a:t> und </a:t>
            </a:r>
            <a:r>
              <a:rPr lang="de-DE" sz="1200" b="1"/>
              <a:t>Logistik</a:t>
            </a:r>
          </a:p>
          <a:p>
            <a:pPr marL="171450" indent="-171450">
              <a:buFont typeface="Arial" panose="020B0604020202020204" pitchFamily="34" charset="0"/>
              <a:buChar char="•"/>
            </a:pPr>
            <a:r>
              <a:rPr lang="de-DE" sz="1200"/>
              <a:t>Das Unternehmen strebt danach, den </a:t>
            </a:r>
            <a:r>
              <a:rPr lang="de-DE" sz="1200" b="1"/>
              <a:t>Transport von Menschen und Gütern</a:t>
            </a:r>
            <a:r>
              <a:rPr lang="de-DE" sz="1200"/>
              <a:t> </a:t>
            </a:r>
            <a:r>
              <a:rPr lang="de-DE" sz="1200" b="1"/>
              <a:t>durch innovative Technologien </a:t>
            </a:r>
            <a:r>
              <a:rPr lang="de-DE" sz="1200"/>
              <a:t>zu verbessern</a:t>
            </a:r>
          </a:p>
          <a:p>
            <a:pPr marL="171450" indent="-171450">
              <a:buFont typeface="Arial" panose="020B0604020202020204" pitchFamily="34" charset="0"/>
              <a:buChar char="•"/>
            </a:pPr>
            <a:r>
              <a:rPr lang="de-DE" sz="1200"/>
              <a:t>Uber </a:t>
            </a:r>
            <a:r>
              <a:rPr lang="de-DE" sz="1200" b="1"/>
              <a:t>diversifiziert</a:t>
            </a:r>
            <a:r>
              <a:rPr lang="de-DE" sz="1200"/>
              <a:t> seine Dienstleistungen, darunter </a:t>
            </a:r>
            <a:r>
              <a:rPr lang="de-DE" sz="1200" b="1"/>
              <a:t>Fahrdienstvermittlung</a:t>
            </a:r>
            <a:r>
              <a:rPr lang="de-DE" sz="1200"/>
              <a:t> (wie </a:t>
            </a:r>
            <a:r>
              <a:rPr lang="de-DE" sz="1200" err="1"/>
              <a:t>UberX</a:t>
            </a:r>
            <a:r>
              <a:rPr lang="de-DE" sz="1200"/>
              <a:t> und </a:t>
            </a:r>
            <a:r>
              <a:rPr lang="de-DE" sz="1200" err="1"/>
              <a:t>UberPool</a:t>
            </a:r>
            <a:r>
              <a:rPr lang="de-DE" sz="1200"/>
              <a:t>), </a:t>
            </a:r>
            <a:r>
              <a:rPr lang="de-DE" sz="1200" b="1"/>
              <a:t>Essenslieferungen</a:t>
            </a:r>
            <a:r>
              <a:rPr lang="de-DE" sz="1200"/>
              <a:t> (UberEats) und </a:t>
            </a:r>
            <a:r>
              <a:rPr lang="de-DE" sz="1200" b="1"/>
              <a:t>Frachttransport</a:t>
            </a:r>
            <a:r>
              <a:rPr lang="de-DE" sz="1200"/>
              <a:t> (Uber Freight)</a:t>
            </a:r>
          </a:p>
          <a:p>
            <a:pPr marL="171450" indent="-171450">
              <a:buFont typeface="Arial" panose="020B0604020202020204" pitchFamily="34" charset="0"/>
              <a:buChar char="•"/>
            </a:pPr>
            <a:r>
              <a:rPr lang="de-DE" sz="1200"/>
              <a:t>Uber erforscht </a:t>
            </a:r>
            <a:r>
              <a:rPr lang="de-DE" sz="1200" b="1"/>
              <a:t>zukunftsträchtige Bereiche </a:t>
            </a:r>
            <a:r>
              <a:rPr lang="de-DE" sz="1200"/>
              <a:t>wie das </a:t>
            </a:r>
            <a:r>
              <a:rPr lang="de-DE" sz="1200" b="1"/>
              <a:t>autonome Fahren </a:t>
            </a:r>
            <a:r>
              <a:rPr lang="de-DE" sz="1200"/>
              <a:t>und muss sich ständig anpassen, </a:t>
            </a:r>
            <a:r>
              <a:rPr lang="de-DE" sz="1200" b="1"/>
              <a:t>um langfristig erfolgreich </a:t>
            </a:r>
            <a:r>
              <a:rPr lang="de-DE" sz="1200"/>
              <a:t>zu sein</a:t>
            </a:r>
          </a:p>
        </p:txBody>
      </p:sp>
      <p:sp>
        <p:nvSpPr>
          <p:cNvPr id="16" name="Exchange5" descr="{&quot;Key&quot;:&quot;POWER_USER_SHAPE_ICON&quot;,&quot;Value&quot;:&quot;POWER_USER_SHAPE_ICON_STYLE_1&quot;}">
            <a:extLst>
              <a:ext uri="{FF2B5EF4-FFF2-40B4-BE49-F238E27FC236}">
                <a16:creationId xmlns:a16="http://schemas.microsoft.com/office/drawing/2014/main" id="{AC9D6E34-B308-3409-3AD6-F736C1AC3CE2}"/>
              </a:ext>
            </a:extLst>
          </p:cNvPr>
          <p:cNvSpPr>
            <a:spLocks noChangeAspect="1"/>
          </p:cNvSpPr>
          <p:nvPr/>
        </p:nvSpPr>
        <p:spPr bwMode="auto">
          <a:xfrm>
            <a:off x="779782" y="5332022"/>
            <a:ext cx="425672" cy="340735"/>
          </a:xfrm>
          <a:custGeom>
            <a:avLst/>
            <a:gdLst>
              <a:gd name="T0" fmla="*/ 507 w 1350"/>
              <a:gd name="T1" fmla="*/ 179 h 1077"/>
              <a:gd name="T2" fmla="*/ 842 w 1350"/>
              <a:gd name="T3" fmla="*/ 179 h 1077"/>
              <a:gd name="T4" fmla="*/ 842 w 1350"/>
              <a:gd name="T5" fmla="*/ 0 h 1077"/>
              <a:gd name="T6" fmla="*/ 1350 w 1350"/>
              <a:gd name="T7" fmla="*/ 359 h 1077"/>
              <a:gd name="T8" fmla="*/ 842 w 1350"/>
              <a:gd name="T9" fmla="*/ 718 h 1077"/>
              <a:gd name="T10" fmla="*/ 842 w 1350"/>
              <a:gd name="T11" fmla="*/ 538 h 1077"/>
              <a:gd name="T12" fmla="*/ 507 w 1350"/>
              <a:gd name="T13" fmla="*/ 538 h 1077"/>
              <a:gd name="T14" fmla="*/ 507 w 1350"/>
              <a:gd name="T15" fmla="*/ 358 h 1077"/>
              <a:gd name="T16" fmla="*/ 0 w 1350"/>
              <a:gd name="T17" fmla="*/ 718 h 1077"/>
              <a:gd name="T18" fmla="*/ 507 w 1350"/>
              <a:gd name="T19" fmla="*/ 1077 h 1077"/>
              <a:gd name="T20" fmla="*/ 507 w 1350"/>
              <a:gd name="T21" fmla="*/ 897 h 1077"/>
              <a:gd name="T22" fmla="*/ 842 w 1350"/>
              <a:gd name="T23" fmla="*/ 897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0" h="1077">
                <a:moveTo>
                  <a:pt x="507" y="179"/>
                </a:moveTo>
                <a:lnTo>
                  <a:pt x="842" y="179"/>
                </a:lnTo>
                <a:lnTo>
                  <a:pt x="842" y="0"/>
                </a:lnTo>
                <a:lnTo>
                  <a:pt x="1350" y="359"/>
                </a:lnTo>
                <a:lnTo>
                  <a:pt x="842" y="718"/>
                </a:lnTo>
                <a:lnTo>
                  <a:pt x="842" y="538"/>
                </a:lnTo>
                <a:lnTo>
                  <a:pt x="507" y="538"/>
                </a:lnTo>
                <a:lnTo>
                  <a:pt x="507" y="358"/>
                </a:lnTo>
                <a:lnTo>
                  <a:pt x="0" y="718"/>
                </a:lnTo>
                <a:lnTo>
                  <a:pt x="507" y="1077"/>
                </a:lnTo>
                <a:lnTo>
                  <a:pt x="507" y="897"/>
                </a:lnTo>
                <a:lnTo>
                  <a:pt x="842" y="897"/>
                </a:lnTo>
              </a:path>
            </a:pathLst>
          </a:custGeom>
          <a:noFill/>
          <a:ln w="14288"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7" name="Capital_appreciation" descr="{&quot;Key&quot;:&quot;POWER_USER_SHAPE_ICON&quot;,&quot;Value&quot;:&quot;POWER_USER_SHAPE_ICON_STYLE_1&quot;}">
            <a:extLst>
              <a:ext uri="{FF2B5EF4-FFF2-40B4-BE49-F238E27FC236}">
                <a16:creationId xmlns:a16="http://schemas.microsoft.com/office/drawing/2014/main" id="{AB177C7F-6DB5-C6F9-1082-0DF773029E4B}"/>
              </a:ext>
            </a:extLst>
          </p:cNvPr>
          <p:cNvGrpSpPr>
            <a:grpSpLocks noChangeAspect="1"/>
          </p:cNvGrpSpPr>
          <p:nvPr/>
        </p:nvGrpSpPr>
        <p:grpSpPr>
          <a:xfrm>
            <a:off x="2162174" y="5289131"/>
            <a:ext cx="400326" cy="425918"/>
            <a:chOff x="6289676" y="1268413"/>
            <a:chExt cx="347663" cy="369888"/>
          </a:xfrm>
          <a:solidFill>
            <a:schemeClr val="tx1"/>
          </a:solidFill>
        </p:grpSpPr>
        <p:sp>
          <p:nvSpPr>
            <p:cNvPr id="18" name="Rectangle 872">
              <a:extLst>
                <a:ext uri="{FF2B5EF4-FFF2-40B4-BE49-F238E27FC236}">
                  <a16:creationId xmlns:a16="http://schemas.microsoft.com/office/drawing/2014/main" id="{FFAFDE82-56BF-7902-15CB-6FB1A384647D}"/>
                </a:ext>
              </a:extLst>
            </p:cNvPr>
            <p:cNvSpPr>
              <a:spLocks noChangeArrowheads="1"/>
            </p:cNvSpPr>
            <p:nvPr/>
          </p:nvSpPr>
          <p:spPr bwMode="auto">
            <a:xfrm>
              <a:off x="6388101" y="1546226"/>
              <a:ext cx="12700" cy="85725"/>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873">
              <a:extLst>
                <a:ext uri="{FF2B5EF4-FFF2-40B4-BE49-F238E27FC236}">
                  <a16:creationId xmlns:a16="http://schemas.microsoft.com/office/drawing/2014/main" id="{1FFA66E0-C0F7-CD52-6AA3-51F3EB2B9775}"/>
                </a:ext>
              </a:extLst>
            </p:cNvPr>
            <p:cNvSpPr>
              <a:spLocks noChangeArrowheads="1"/>
            </p:cNvSpPr>
            <p:nvPr/>
          </p:nvSpPr>
          <p:spPr bwMode="auto">
            <a:xfrm>
              <a:off x="6411913" y="1520826"/>
              <a:ext cx="14288" cy="111125"/>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874">
              <a:extLst>
                <a:ext uri="{FF2B5EF4-FFF2-40B4-BE49-F238E27FC236}">
                  <a16:creationId xmlns:a16="http://schemas.microsoft.com/office/drawing/2014/main" id="{0CDB3F46-028F-E796-F6AF-535195F8E1EB}"/>
                </a:ext>
              </a:extLst>
            </p:cNvPr>
            <p:cNvSpPr>
              <a:spLocks noChangeArrowheads="1"/>
            </p:cNvSpPr>
            <p:nvPr/>
          </p:nvSpPr>
          <p:spPr bwMode="auto">
            <a:xfrm>
              <a:off x="6464301" y="1470026"/>
              <a:ext cx="12700" cy="161925"/>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875">
              <a:extLst>
                <a:ext uri="{FF2B5EF4-FFF2-40B4-BE49-F238E27FC236}">
                  <a16:creationId xmlns:a16="http://schemas.microsoft.com/office/drawing/2014/main" id="{AA55A757-2C71-DA30-E6DB-391EF13AE25D}"/>
                </a:ext>
              </a:extLst>
            </p:cNvPr>
            <p:cNvSpPr>
              <a:spLocks noChangeArrowheads="1"/>
            </p:cNvSpPr>
            <p:nvPr/>
          </p:nvSpPr>
          <p:spPr bwMode="auto">
            <a:xfrm>
              <a:off x="6488113" y="1444626"/>
              <a:ext cx="14288" cy="187325"/>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876">
              <a:extLst>
                <a:ext uri="{FF2B5EF4-FFF2-40B4-BE49-F238E27FC236}">
                  <a16:creationId xmlns:a16="http://schemas.microsoft.com/office/drawing/2014/main" id="{1F549860-DD20-830B-1CD1-810C9E789631}"/>
                </a:ext>
              </a:extLst>
            </p:cNvPr>
            <p:cNvSpPr>
              <a:spLocks noChangeArrowheads="1"/>
            </p:cNvSpPr>
            <p:nvPr/>
          </p:nvSpPr>
          <p:spPr bwMode="auto">
            <a:xfrm>
              <a:off x="6540501" y="1397001"/>
              <a:ext cx="12700" cy="234950"/>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877">
              <a:extLst>
                <a:ext uri="{FF2B5EF4-FFF2-40B4-BE49-F238E27FC236}">
                  <a16:creationId xmlns:a16="http://schemas.microsoft.com/office/drawing/2014/main" id="{3E88A1FB-DF44-A2D6-A762-ED836482A3A9}"/>
                </a:ext>
              </a:extLst>
            </p:cNvPr>
            <p:cNvSpPr>
              <a:spLocks noChangeArrowheads="1"/>
            </p:cNvSpPr>
            <p:nvPr/>
          </p:nvSpPr>
          <p:spPr bwMode="auto">
            <a:xfrm>
              <a:off x="6591301" y="1373188"/>
              <a:ext cx="11113" cy="258763"/>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878">
              <a:extLst>
                <a:ext uri="{FF2B5EF4-FFF2-40B4-BE49-F238E27FC236}">
                  <a16:creationId xmlns:a16="http://schemas.microsoft.com/office/drawing/2014/main" id="{3B65C77B-CC3D-9743-CDE3-3F8FFF0394A8}"/>
                </a:ext>
              </a:extLst>
            </p:cNvPr>
            <p:cNvSpPr>
              <a:spLocks noChangeArrowheads="1"/>
            </p:cNvSpPr>
            <p:nvPr/>
          </p:nvSpPr>
          <p:spPr bwMode="auto">
            <a:xfrm>
              <a:off x="6335713" y="1597026"/>
              <a:ext cx="14288" cy="34925"/>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879">
              <a:extLst>
                <a:ext uri="{FF2B5EF4-FFF2-40B4-BE49-F238E27FC236}">
                  <a16:creationId xmlns:a16="http://schemas.microsoft.com/office/drawing/2014/main" id="{C4C0FC62-F0F3-021F-9A47-5D76823104A4}"/>
                </a:ext>
              </a:extLst>
            </p:cNvPr>
            <p:cNvSpPr>
              <a:spLocks noChangeArrowheads="1"/>
            </p:cNvSpPr>
            <p:nvPr/>
          </p:nvSpPr>
          <p:spPr bwMode="auto">
            <a:xfrm>
              <a:off x="6289676" y="1625601"/>
              <a:ext cx="347663" cy="12700"/>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880">
              <a:extLst>
                <a:ext uri="{FF2B5EF4-FFF2-40B4-BE49-F238E27FC236}">
                  <a16:creationId xmlns:a16="http://schemas.microsoft.com/office/drawing/2014/main" id="{DEB057C0-4777-B89A-8C07-48CB6FE63A27}"/>
                </a:ext>
              </a:extLst>
            </p:cNvPr>
            <p:cNvSpPr>
              <a:spLocks/>
            </p:cNvSpPr>
            <p:nvPr/>
          </p:nvSpPr>
          <p:spPr bwMode="auto">
            <a:xfrm>
              <a:off x="6543676" y="1293813"/>
              <a:ext cx="58738" cy="60325"/>
            </a:xfrm>
            <a:custGeom>
              <a:avLst/>
              <a:gdLst>
                <a:gd name="T0" fmla="*/ 37 w 37"/>
                <a:gd name="T1" fmla="*/ 38 h 38"/>
                <a:gd name="T2" fmla="*/ 30 w 37"/>
                <a:gd name="T3" fmla="*/ 38 h 38"/>
                <a:gd name="T4" fmla="*/ 30 w 37"/>
                <a:gd name="T5" fmla="*/ 8 h 38"/>
                <a:gd name="T6" fmla="*/ 0 w 37"/>
                <a:gd name="T7" fmla="*/ 8 h 38"/>
                <a:gd name="T8" fmla="*/ 0 w 37"/>
                <a:gd name="T9" fmla="*/ 0 h 38"/>
                <a:gd name="T10" fmla="*/ 37 w 37"/>
                <a:gd name="T11" fmla="*/ 0 h 38"/>
                <a:gd name="T12" fmla="*/ 37 w 37"/>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37" h="38">
                  <a:moveTo>
                    <a:pt x="37" y="38"/>
                  </a:moveTo>
                  <a:lnTo>
                    <a:pt x="30" y="38"/>
                  </a:lnTo>
                  <a:lnTo>
                    <a:pt x="30" y="8"/>
                  </a:lnTo>
                  <a:lnTo>
                    <a:pt x="0" y="8"/>
                  </a:lnTo>
                  <a:lnTo>
                    <a:pt x="0" y="0"/>
                  </a:lnTo>
                  <a:lnTo>
                    <a:pt x="37" y="0"/>
                  </a:lnTo>
                  <a:lnTo>
                    <a:pt x="37" y="3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881">
              <a:extLst>
                <a:ext uri="{FF2B5EF4-FFF2-40B4-BE49-F238E27FC236}">
                  <a16:creationId xmlns:a16="http://schemas.microsoft.com/office/drawing/2014/main" id="{BEFA6FD7-FEAE-C7C4-DFE6-99FDBC74E090}"/>
                </a:ext>
              </a:extLst>
            </p:cNvPr>
            <p:cNvSpPr>
              <a:spLocks/>
            </p:cNvSpPr>
            <p:nvPr/>
          </p:nvSpPr>
          <p:spPr bwMode="auto">
            <a:xfrm>
              <a:off x="6302376" y="1295401"/>
              <a:ext cx="298450" cy="298450"/>
            </a:xfrm>
            <a:custGeom>
              <a:avLst/>
              <a:gdLst>
                <a:gd name="T0" fmla="*/ 6 w 188"/>
                <a:gd name="T1" fmla="*/ 188 h 188"/>
                <a:gd name="T2" fmla="*/ 0 w 188"/>
                <a:gd name="T3" fmla="*/ 182 h 188"/>
                <a:gd name="T4" fmla="*/ 183 w 188"/>
                <a:gd name="T5" fmla="*/ 0 h 188"/>
                <a:gd name="T6" fmla="*/ 188 w 188"/>
                <a:gd name="T7" fmla="*/ 6 h 188"/>
                <a:gd name="T8" fmla="*/ 6 w 188"/>
                <a:gd name="T9" fmla="*/ 188 h 188"/>
              </a:gdLst>
              <a:ahLst/>
              <a:cxnLst>
                <a:cxn ang="0">
                  <a:pos x="T0" y="T1"/>
                </a:cxn>
                <a:cxn ang="0">
                  <a:pos x="T2" y="T3"/>
                </a:cxn>
                <a:cxn ang="0">
                  <a:pos x="T4" y="T5"/>
                </a:cxn>
                <a:cxn ang="0">
                  <a:pos x="T6" y="T7"/>
                </a:cxn>
                <a:cxn ang="0">
                  <a:pos x="T8" y="T9"/>
                </a:cxn>
              </a:cxnLst>
              <a:rect l="0" t="0" r="r" b="b"/>
              <a:pathLst>
                <a:path w="188" h="188">
                  <a:moveTo>
                    <a:pt x="6" y="188"/>
                  </a:moveTo>
                  <a:lnTo>
                    <a:pt x="0" y="182"/>
                  </a:lnTo>
                  <a:lnTo>
                    <a:pt x="183" y="0"/>
                  </a:lnTo>
                  <a:lnTo>
                    <a:pt x="188" y="6"/>
                  </a:lnTo>
                  <a:lnTo>
                    <a:pt x="6" y="18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882">
              <a:extLst>
                <a:ext uri="{FF2B5EF4-FFF2-40B4-BE49-F238E27FC236}">
                  <a16:creationId xmlns:a16="http://schemas.microsoft.com/office/drawing/2014/main" id="{389BFC2B-8670-1ED1-F3E0-798E2891D537}"/>
                </a:ext>
              </a:extLst>
            </p:cNvPr>
            <p:cNvSpPr>
              <a:spLocks/>
            </p:cNvSpPr>
            <p:nvPr/>
          </p:nvSpPr>
          <p:spPr bwMode="auto">
            <a:xfrm>
              <a:off x="6376988" y="1436688"/>
              <a:ext cx="22225" cy="23813"/>
            </a:xfrm>
            <a:custGeom>
              <a:avLst/>
              <a:gdLst>
                <a:gd name="T0" fmla="*/ 5 w 14"/>
                <a:gd name="T1" fmla="*/ 15 h 15"/>
                <a:gd name="T2" fmla="*/ 0 w 14"/>
                <a:gd name="T3" fmla="*/ 9 h 15"/>
                <a:gd name="T4" fmla="*/ 8 w 14"/>
                <a:gd name="T5" fmla="*/ 0 h 15"/>
                <a:gd name="T6" fmla="*/ 14 w 14"/>
                <a:gd name="T7" fmla="*/ 5 h 15"/>
                <a:gd name="T8" fmla="*/ 5 w 14"/>
                <a:gd name="T9" fmla="*/ 15 h 15"/>
              </a:gdLst>
              <a:ahLst/>
              <a:cxnLst>
                <a:cxn ang="0">
                  <a:pos x="T0" y="T1"/>
                </a:cxn>
                <a:cxn ang="0">
                  <a:pos x="T2" y="T3"/>
                </a:cxn>
                <a:cxn ang="0">
                  <a:pos x="T4" y="T5"/>
                </a:cxn>
                <a:cxn ang="0">
                  <a:pos x="T6" y="T7"/>
                </a:cxn>
                <a:cxn ang="0">
                  <a:pos x="T8" y="T9"/>
                </a:cxn>
              </a:cxnLst>
              <a:rect l="0" t="0" r="r" b="b"/>
              <a:pathLst>
                <a:path w="14" h="15">
                  <a:moveTo>
                    <a:pt x="5" y="15"/>
                  </a:moveTo>
                  <a:lnTo>
                    <a:pt x="0" y="9"/>
                  </a:lnTo>
                  <a:lnTo>
                    <a:pt x="8" y="0"/>
                  </a:lnTo>
                  <a:lnTo>
                    <a:pt x="14" y="5"/>
                  </a:lnTo>
                  <a:lnTo>
                    <a:pt x="5" y="15"/>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883">
              <a:extLst>
                <a:ext uri="{FF2B5EF4-FFF2-40B4-BE49-F238E27FC236}">
                  <a16:creationId xmlns:a16="http://schemas.microsoft.com/office/drawing/2014/main" id="{728EDD35-FA6C-C6AB-9AA6-E80C6F583B4F}"/>
                </a:ext>
              </a:extLst>
            </p:cNvPr>
            <p:cNvSpPr>
              <a:spLocks/>
            </p:cNvSpPr>
            <p:nvPr/>
          </p:nvSpPr>
          <p:spPr bwMode="auto">
            <a:xfrm>
              <a:off x="6402388" y="1411288"/>
              <a:ext cx="23813" cy="23813"/>
            </a:xfrm>
            <a:custGeom>
              <a:avLst/>
              <a:gdLst>
                <a:gd name="T0" fmla="*/ 5 w 15"/>
                <a:gd name="T1" fmla="*/ 15 h 15"/>
                <a:gd name="T2" fmla="*/ 0 w 15"/>
                <a:gd name="T3" fmla="*/ 9 h 15"/>
                <a:gd name="T4" fmla="*/ 9 w 15"/>
                <a:gd name="T5" fmla="*/ 0 h 15"/>
                <a:gd name="T6" fmla="*/ 15 w 15"/>
                <a:gd name="T7" fmla="*/ 5 h 15"/>
                <a:gd name="T8" fmla="*/ 5 w 15"/>
                <a:gd name="T9" fmla="*/ 15 h 15"/>
              </a:gdLst>
              <a:ahLst/>
              <a:cxnLst>
                <a:cxn ang="0">
                  <a:pos x="T0" y="T1"/>
                </a:cxn>
                <a:cxn ang="0">
                  <a:pos x="T2" y="T3"/>
                </a:cxn>
                <a:cxn ang="0">
                  <a:pos x="T4" y="T5"/>
                </a:cxn>
                <a:cxn ang="0">
                  <a:pos x="T6" y="T7"/>
                </a:cxn>
                <a:cxn ang="0">
                  <a:pos x="T8" y="T9"/>
                </a:cxn>
              </a:cxnLst>
              <a:rect l="0" t="0" r="r" b="b"/>
              <a:pathLst>
                <a:path w="15" h="15">
                  <a:moveTo>
                    <a:pt x="5" y="15"/>
                  </a:moveTo>
                  <a:lnTo>
                    <a:pt x="0" y="9"/>
                  </a:lnTo>
                  <a:lnTo>
                    <a:pt x="9" y="0"/>
                  </a:lnTo>
                  <a:lnTo>
                    <a:pt x="15" y="5"/>
                  </a:lnTo>
                  <a:lnTo>
                    <a:pt x="5" y="15"/>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884">
              <a:extLst>
                <a:ext uri="{FF2B5EF4-FFF2-40B4-BE49-F238E27FC236}">
                  <a16:creationId xmlns:a16="http://schemas.microsoft.com/office/drawing/2014/main" id="{4B5824AB-1A09-71E0-E38C-901EF2BACF40}"/>
                </a:ext>
              </a:extLst>
            </p:cNvPr>
            <p:cNvSpPr>
              <a:spLocks/>
            </p:cNvSpPr>
            <p:nvPr/>
          </p:nvSpPr>
          <p:spPr bwMode="auto">
            <a:xfrm>
              <a:off x="6430963" y="1347788"/>
              <a:ext cx="57150" cy="57150"/>
            </a:xfrm>
            <a:custGeom>
              <a:avLst/>
              <a:gdLst>
                <a:gd name="T0" fmla="*/ 6 w 36"/>
                <a:gd name="T1" fmla="*/ 36 h 36"/>
                <a:gd name="T2" fmla="*/ 0 w 36"/>
                <a:gd name="T3" fmla="*/ 31 h 36"/>
                <a:gd name="T4" fmla="*/ 31 w 36"/>
                <a:gd name="T5" fmla="*/ 0 h 36"/>
                <a:gd name="T6" fmla="*/ 36 w 36"/>
                <a:gd name="T7" fmla="*/ 6 h 36"/>
                <a:gd name="T8" fmla="*/ 6 w 36"/>
                <a:gd name="T9" fmla="*/ 36 h 36"/>
              </a:gdLst>
              <a:ahLst/>
              <a:cxnLst>
                <a:cxn ang="0">
                  <a:pos x="T0" y="T1"/>
                </a:cxn>
                <a:cxn ang="0">
                  <a:pos x="T2" y="T3"/>
                </a:cxn>
                <a:cxn ang="0">
                  <a:pos x="T4" y="T5"/>
                </a:cxn>
                <a:cxn ang="0">
                  <a:pos x="T6" y="T7"/>
                </a:cxn>
                <a:cxn ang="0">
                  <a:pos x="T8" y="T9"/>
                </a:cxn>
              </a:cxnLst>
              <a:rect l="0" t="0" r="r" b="b"/>
              <a:pathLst>
                <a:path w="36" h="36">
                  <a:moveTo>
                    <a:pt x="6" y="36"/>
                  </a:moveTo>
                  <a:lnTo>
                    <a:pt x="0" y="31"/>
                  </a:lnTo>
                  <a:lnTo>
                    <a:pt x="31" y="0"/>
                  </a:lnTo>
                  <a:lnTo>
                    <a:pt x="36" y="6"/>
                  </a:lnTo>
                  <a:lnTo>
                    <a:pt x="6" y="3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885">
              <a:extLst>
                <a:ext uri="{FF2B5EF4-FFF2-40B4-BE49-F238E27FC236}">
                  <a16:creationId xmlns:a16="http://schemas.microsoft.com/office/drawing/2014/main" id="{42A31366-3AAF-ADE8-FC16-33FCB287A064}"/>
                </a:ext>
              </a:extLst>
            </p:cNvPr>
            <p:cNvSpPr>
              <a:spLocks/>
            </p:cNvSpPr>
            <p:nvPr/>
          </p:nvSpPr>
          <p:spPr bwMode="auto">
            <a:xfrm>
              <a:off x="6297613" y="1516063"/>
              <a:ext cx="22225" cy="22225"/>
            </a:xfrm>
            <a:custGeom>
              <a:avLst/>
              <a:gdLst>
                <a:gd name="T0" fmla="*/ 6 w 14"/>
                <a:gd name="T1" fmla="*/ 14 h 14"/>
                <a:gd name="T2" fmla="*/ 0 w 14"/>
                <a:gd name="T3" fmla="*/ 9 h 14"/>
                <a:gd name="T4" fmla="*/ 9 w 14"/>
                <a:gd name="T5" fmla="*/ 0 h 14"/>
                <a:gd name="T6" fmla="*/ 14 w 14"/>
                <a:gd name="T7" fmla="*/ 5 h 14"/>
                <a:gd name="T8" fmla="*/ 6 w 14"/>
                <a:gd name="T9" fmla="*/ 14 h 14"/>
              </a:gdLst>
              <a:ahLst/>
              <a:cxnLst>
                <a:cxn ang="0">
                  <a:pos x="T0" y="T1"/>
                </a:cxn>
                <a:cxn ang="0">
                  <a:pos x="T2" y="T3"/>
                </a:cxn>
                <a:cxn ang="0">
                  <a:pos x="T4" y="T5"/>
                </a:cxn>
                <a:cxn ang="0">
                  <a:pos x="T6" y="T7"/>
                </a:cxn>
                <a:cxn ang="0">
                  <a:pos x="T8" y="T9"/>
                </a:cxn>
              </a:cxnLst>
              <a:rect l="0" t="0" r="r" b="b"/>
              <a:pathLst>
                <a:path w="14" h="14">
                  <a:moveTo>
                    <a:pt x="6" y="14"/>
                  </a:moveTo>
                  <a:lnTo>
                    <a:pt x="0" y="9"/>
                  </a:lnTo>
                  <a:lnTo>
                    <a:pt x="9" y="0"/>
                  </a:lnTo>
                  <a:lnTo>
                    <a:pt x="14" y="5"/>
                  </a:lnTo>
                  <a:lnTo>
                    <a:pt x="6" y="1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886">
              <a:extLst>
                <a:ext uri="{FF2B5EF4-FFF2-40B4-BE49-F238E27FC236}">
                  <a16:creationId xmlns:a16="http://schemas.microsoft.com/office/drawing/2014/main" id="{0C4C4032-CA31-91DF-DA64-A5333D29D761}"/>
                </a:ext>
              </a:extLst>
            </p:cNvPr>
            <p:cNvSpPr>
              <a:spLocks/>
            </p:cNvSpPr>
            <p:nvPr/>
          </p:nvSpPr>
          <p:spPr bwMode="auto">
            <a:xfrm>
              <a:off x="6326188" y="1465263"/>
              <a:ext cx="42863" cy="44450"/>
            </a:xfrm>
            <a:custGeom>
              <a:avLst/>
              <a:gdLst>
                <a:gd name="T0" fmla="*/ 5 w 27"/>
                <a:gd name="T1" fmla="*/ 28 h 28"/>
                <a:gd name="T2" fmla="*/ 0 w 27"/>
                <a:gd name="T3" fmla="*/ 22 h 28"/>
                <a:gd name="T4" fmla="*/ 22 w 27"/>
                <a:gd name="T5" fmla="*/ 0 h 28"/>
                <a:gd name="T6" fmla="*/ 27 w 27"/>
                <a:gd name="T7" fmla="*/ 6 h 28"/>
                <a:gd name="T8" fmla="*/ 5 w 27"/>
                <a:gd name="T9" fmla="*/ 28 h 28"/>
              </a:gdLst>
              <a:ahLst/>
              <a:cxnLst>
                <a:cxn ang="0">
                  <a:pos x="T0" y="T1"/>
                </a:cxn>
                <a:cxn ang="0">
                  <a:pos x="T2" y="T3"/>
                </a:cxn>
                <a:cxn ang="0">
                  <a:pos x="T4" y="T5"/>
                </a:cxn>
                <a:cxn ang="0">
                  <a:pos x="T6" y="T7"/>
                </a:cxn>
                <a:cxn ang="0">
                  <a:pos x="T8" y="T9"/>
                </a:cxn>
              </a:cxnLst>
              <a:rect l="0" t="0" r="r" b="b"/>
              <a:pathLst>
                <a:path w="27" h="28">
                  <a:moveTo>
                    <a:pt x="5" y="28"/>
                  </a:moveTo>
                  <a:lnTo>
                    <a:pt x="0" y="22"/>
                  </a:lnTo>
                  <a:lnTo>
                    <a:pt x="22" y="0"/>
                  </a:lnTo>
                  <a:lnTo>
                    <a:pt x="27" y="6"/>
                  </a:lnTo>
                  <a:lnTo>
                    <a:pt x="5" y="2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887">
              <a:extLst>
                <a:ext uri="{FF2B5EF4-FFF2-40B4-BE49-F238E27FC236}">
                  <a16:creationId xmlns:a16="http://schemas.microsoft.com/office/drawing/2014/main" id="{B52B4BF3-8CD5-0F4B-7659-DBCC1815A2C9}"/>
                </a:ext>
              </a:extLst>
            </p:cNvPr>
            <p:cNvSpPr>
              <a:spLocks noChangeArrowheads="1"/>
            </p:cNvSpPr>
            <p:nvPr/>
          </p:nvSpPr>
          <p:spPr bwMode="auto">
            <a:xfrm>
              <a:off x="6324601" y="1363663"/>
              <a:ext cx="11113" cy="80963"/>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888">
              <a:extLst>
                <a:ext uri="{FF2B5EF4-FFF2-40B4-BE49-F238E27FC236}">
                  <a16:creationId xmlns:a16="http://schemas.microsoft.com/office/drawing/2014/main" id="{B8A66E41-FA3C-BC44-91ED-58B264D558EA}"/>
                </a:ext>
              </a:extLst>
            </p:cNvPr>
            <p:cNvSpPr>
              <a:spLocks noChangeArrowheads="1"/>
            </p:cNvSpPr>
            <p:nvPr/>
          </p:nvSpPr>
          <p:spPr bwMode="auto">
            <a:xfrm>
              <a:off x="6289676" y="1397001"/>
              <a:ext cx="80963" cy="12700"/>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889">
              <a:extLst>
                <a:ext uri="{FF2B5EF4-FFF2-40B4-BE49-F238E27FC236}">
                  <a16:creationId xmlns:a16="http://schemas.microsoft.com/office/drawing/2014/main" id="{E06CB0BD-A4D8-817E-B76C-AB8EB0CC900A}"/>
                </a:ext>
              </a:extLst>
            </p:cNvPr>
            <p:cNvSpPr>
              <a:spLocks noChangeArrowheads="1"/>
            </p:cNvSpPr>
            <p:nvPr/>
          </p:nvSpPr>
          <p:spPr bwMode="auto">
            <a:xfrm>
              <a:off x="6416676" y="1268413"/>
              <a:ext cx="12700" cy="61913"/>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890">
              <a:extLst>
                <a:ext uri="{FF2B5EF4-FFF2-40B4-BE49-F238E27FC236}">
                  <a16:creationId xmlns:a16="http://schemas.microsoft.com/office/drawing/2014/main" id="{D8D54364-AE3C-BF70-BEA8-7FD39121A407}"/>
                </a:ext>
              </a:extLst>
            </p:cNvPr>
            <p:cNvSpPr>
              <a:spLocks noChangeArrowheads="1"/>
            </p:cNvSpPr>
            <p:nvPr/>
          </p:nvSpPr>
          <p:spPr bwMode="auto">
            <a:xfrm>
              <a:off x="6392863" y="1293813"/>
              <a:ext cx="61913" cy="12700"/>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891">
              <a:extLst>
                <a:ext uri="{FF2B5EF4-FFF2-40B4-BE49-F238E27FC236}">
                  <a16:creationId xmlns:a16="http://schemas.microsoft.com/office/drawing/2014/main" id="{6439BC2E-5C86-8F56-AC96-CA88232C8879}"/>
                </a:ext>
              </a:extLst>
            </p:cNvPr>
            <p:cNvSpPr>
              <a:spLocks noChangeArrowheads="1"/>
            </p:cNvSpPr>
            <p:nvPr/>
          </p:nvSpPr>
          <p:spPr bwMode="auto">
            <a:xfrm>
              <a:off x="6564313" y="1373188"/>
              <a:ext cx="14288" cy="258763"/>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892">
              <a:extLst>
                <a:ext uri="{FF2B5EF4-FFF2-40B4-BE49-F238E27FC236}">
                  <a16:creationId xmlns:a16="http://schemas.microsoft.com/office/drawing/2014/main" id="{C379EFD1-97C9-CFA4-28D0-7FFC2A0AA957}"/>
                </a:ext>
              </a:extLst>
            </p:cNvPr>
            <p:cNvSpPr>
              <a:spLocks noChangeArrowheads="1"/>
            </p:cNvSpPr>
            <p:nvPr/>
          </p:nvSpPr>
          <p:spPr bwMode="auto">
            <a:xfrm>
              <a:off x="6515101" y="1419226"/>
              <a:ext cx="11113" cy="212725"/>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893">
              <a:extLst>
                <a:ext uri="{FF2B5EF4-FFF2-40B4-BE49-F238E27FC236}">
                  <a16:creationId xmlns:a16="http://schemas.microsoft.com/office/drawing/2014/main" id="{BBD6BFF7-E8F9-972F-4F51-5B7742E38412}"/>
                </a:ext>
              </a:extLst>
            </p:cNvPr>
            <p:cNvSpPr>
              <a:spLocks noChangeArrowheads="1"/>
            </p:cNvSpPr>
            <p:nvPr/>
          </p:nvSpPr>
          <p:spPr bwMode="auto">
            <a:xfrm>
              <a:off x="6438901" y="1495426"/>
              <a:ext cx="11113" cy="136525"/>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894">
              <a:extLst>
                <a:ext uri="{FF2B5EF4-FFF2-40B4-BE49-F238E27FC236}">
                  <a16:creationId xmlns:a16="http://schemas.microsoft.com/office/drawing/2014/main" id="{6AC4A71F-43EE-39A8-F117-A8518665CEAE}"/>
                </a:ext>
              </a:extLst>
            </p:cNvPr>
            <p:cNvSpPr>
              <a:spLocks noChangeArrowheads="1"/>
            </p:cNvSpPr>
            <p:nvPr/>
          </p:nvSpPr>
          <p:spPr bwMode="auto">
            <a:xfrm>
              <a:off x="6362701" y="1571626"/>
              <a:ext cx="11113" cy="60325"/>
            </a:xfrm>
            <a:prstGeom prst="rect">
              <a:avLst/>
            </a:prstGeom>
            <a:grp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1" name="Career" descr="{&quot;Key&quot;:&quot;POWER_USER_SHAPE_ICON&quot;,&quot;Value&quot;:&quot;POWER_USER_SHAPE_ICON_STYLE_1&quot;}">
            <a:extLst>
              <a:ext uri="{FF2B5EF4-FFF2-40B4-BE49-F238E27FC236}">
                <a16:creationId xmlns:a16="http://schemas.microsoft.com/office/drawing/2014/main" id="{6C97BE2D-82EA-7BBD-BCA9-5E3F4B1357FE}"/>
              </a:ext>
            </a:extLst>
          </p:cNvPr>
          <p:cNvGrpSpPr>
            <a:grpSpLocks noChangeAspect="1"/>
          </p:cNvGrpSpPr>
          <p:nvPr/>
        </p:nvGrpSpPr>
        <p:grpSpPr>
          <a:xfrm>
            <a:off x="3491800" y="5304455"/>
            <a:ext cx="424325" cy="411721"/>
            <a:chOff x="7407276" y="2493963"/>
            <a:chExt cx="641350" cy="622300"/>
          </a:xfrm>
          <a:noFill/>
        </p:grpSpPr>
        <p:sp>
          <p:nvSpPr>
            <p:cNvPr id="42" name="Freeform 2247">
              <a:extLst>
                <a:ext uri="{FF2B5EF4-FFF2-40B4-BE49-F238E27FC236}">
                  <a16:creationId xmlns:a16="http://schemas.microsoft.com/office/drawing/2014/main" id="{3280D637-6F86-CD2F-E7FA-862E84D8A46D}"/>
                </a:ext>
              </a:extLst>
            </p:cNvPr>
            <p:cNvSpPr>
              <a:spLocks/>
            </p:cNvSpPr>
            <p:nvPr/>
          </p:nvSpPr>
          <p:spPr bwMode="auto">
            <a:xfrm>
              <a:off x="7407276" y="2493963"/>
              <a:ext cx="641350" cy="622300"/>
            </a:xfrm>
            <a:custGeom>
              <a:avLst/>
              <a:gdLst>
                <a:gd name="T0" fmla="*/ 0 w 575"/>
                <a:gd name="T1" fmla="*/ 558 h 558"/>
                <a:gd name="T2" fmla="*/ 194 w 575"/>
                <a:gd name="T3" fmla="*/ 558 h 558"/>
                <a:gd name="T4" fmla="*/ 194 w 575"/>
                <a:gd name="T5" fmla="*/ 489 h 558"/>
                <a:gd name="T6" fmla="*/ 388 w 575"/>
                <a:gd name="T7" fmla="*/ 489 h 558"/>
                <a:gd name="T8" fmla="*/ 388 w 575"/>
                <a:gd name="T9" fmla="*/ 421 h 558"/>
                <a:gd name="T10" fmla="*/ 575 w 575"/>
                <a:gd name="T11" fmla="*/ 421 h 558"/>
                <a:gd name="T12" fmla="*/ 575 w 575"/>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575" h="558">
                  <a:moveTo>
                    <a:pt x="0" y="558"/>
                  </a:moveTo>
                  <a:lnTo>
                    <a:pt x="194" y="558"/>
                  </a:lnTo>
                  <a:lnTo>
                    <a:pt x="194" y="489"/>
                  </a:lnTo>
                  <a:lnTo>
                    <a:pt x="388" y="489"/>
                  </a:lnTo>
                  <a:lnTo>
                    <a:pt x="388" y="421"/>
                  </a:lnTo>
                  <a:lnTo>
                    <a:pt x="575" y="421"/>
                  </a:lnTo>
                  <a:lnTo>
                    <a:pt x="575" y="0"/>
                  </a:lnTo>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Oval 2248">
              <a:extLst>
                <a:ext uri="{FF2B5EF4-FFF2-40B4-BE49-F238E27FC236}">
                  <a16:creationId xmlns:a16="http://schemas.microsoft.com/office/drawing/2014/main" id="{38BB6115-CDFB-B95E-752F-37516FB83A2D}"/>
                </a:ext>
              </a:extLst>
            </p:cNvPr>
            <p:cNvSpPr>
              <a:spLocks noChangeArrowheads="1"/>
            </p:cNvSpPr>
            <p:nvPr/>
          </p:nvSpPr>
          <p:spPr bwMode="auto">
            <a:xfrm>
              <a:off x="7612063" y="2493963"/>
              <a:ext cx="95250" cy="95250"/>
            </a:xfrm>
            <a:prstGeom prst="ellipse">
              <a:avLst/>
            </a:prstGeom>
            <a:grp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val 2249">
              <a:extLst>
                <a:ext uri="{FF2B5EF4-FFF2-40B4-BE49-F238E27FC236}">
                  <a16:creationId xmlns:a16="http://schemas.microsoft.com/office/drawing/2014/main" id="{EA407521-7E59-2C55-EC31-9E9E3A7A2EDE}"/>
                </a:ext>
              </a:extLst>
            </p:cNvPr>
            <p:cNvSpPr>
              <a:spLocks noChangeArrowheads="1"/>
            </p:cNvSpPr>
            <p:nvPr/>
          </p:nvSpPr>
          <p:spPr bwMode="auto">
            <a:xfrm>
              <a:off x="7612063" y="2493963"/>
              <a:ext cx="95250" cy="95250"/>
            </a:xfrm>
            <a:prstGeom prst="ellipse">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Oval 2250">
              <a:extLst>
                <a:ext uri="{FF2B5EF4-FFF2-40B4-BE49-F238E27FC236}">
                  <a16:creationId xmlns:a16="http://schemas.microsoft.com/office/drawing/2014/main" id="{4D6DE748-D4CC-BC9D-88A1-399BA4FE8D0F}"/>
                </a:ext>
              </a:extLst>
            </p:cNvPr>
            <p:cNvSpPr>
              <a:spLocks noChangeArrowheads="1"/>
            </p:cNvSpPr>
            <p:nvPr/>
          </p:nvSpPr>
          <p:spPr bwMode="auto">
            <a:xfrm>
              <a:off x="7612063" y="2493963"/>
              <a:ext cx="95250" cy="95250"/>
            </a:xfrm>
            <a:prstGeom prst="ellipse">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251">
              <a:extLst>
                <a:ext uri="{FF2B5EF4-FFF2-40B4-BE49-F238E27FC236}">
                  <a16:creationId xmlns:a16="http://schemas.microsoft.com/office/drawing/2014/main" id="{D17F82D6-15A8-0C58-34AB-C640C7D2E326}"/>
                </a:ext>
              </a:extLst>
            </p:cNvPr>
            <p:cNvSpPr>
              <a:spLocks/>
            </p:cNvSpPr>
            <p:nvPr/>
          </p:nvSpPr>
          <p:spPr bwMode="auto">
            <a:xfrm>
              <a:off x="7426326" y="2619375"/>
              <a:ext cx="419100" cy="447675"/>
            </a:xfrm>
            <a:custGeom>
              <a:avLst/>
              <a:gdLst>
                <a:gd name="T0" fmla="*/ 150 w 377"/>
                <a:gd name="T1" fmla="*/ 236 h 402"/>
                <a:gd name="T2" fmla="*/ 96 w 377"/>
                <a:gd name="T3" fmla="*/ 383 h 402"/>
                <a:gd name="T4" fmla="*/ 65 w 377"/>
                <a:gd name="T5" fmla="*/ 397 h 402"/>
                <a:gd name="T6" fmla="*/ 50 w 377"/>
                <a:gd name="T7" fmla="*/ 366 h 402"/>
                <a:gd name="T8" fmla="*/ 142 w 377"/>
                <a:gd name="T9" fmla="*/ 49 h 402"/>
                <a:gd name="T10" fmla="*/ 92 w 377"/>
                <a:gd name="T11" fmla="*/ 49 h 402"/>
                <a:gd name="T12" fmla="*/ 49 w 377"/>
                <a:gd name="T13" fmla="*/ 124 h 402"/>
                <a:gd name="T14" fmla="*/ 28 w 377"/>
                <a:gd name="T15" fmla="*/ 137 h 402"/>
                <a:gd name="T16" fmla="*/ 16 w 377"/>
                <a:gd name="T17" fmla="*/ 134 h 402"/>
                <a:gd name="T18" fmla="*/ 7 w 377"/>
                <a:gd name="T19" fmla="*/ 100 h 402"/>
                <a:gd name="T20" fmla="*/ 56 w 377"/>
                <a:gd name="T21" fmla="*/ 13 h 402"/>
                <a:gd name="T22" fmla="*/ 78 w 377"/>
                <a:gd name="T23" fmla="*/ 0 h 402"/>
                <a:gd name="T24" fmla="*/ 188 w 377"/>
                <a:gd name="T25" fmla="*/ 0 h 402"/>
                <a:gd name="T26" fmla="*/ 233 w 377"/>
                <a:gd name="T27" fmla="*/ 22 h 402"/>
                <a:gd name="T28" fmla="*/ 282 w 377"/>
                <a:gd name="T29" fmla="*/ 87 h 402"/>
                <a:gd name="T30" fmla="*/ 347 w 377"/>
                <a:gd name="T31" fmla="*/ 73 h 402"/>
                <a:gd name="T32" fmla="*/ 377 w 377"/>
                <a:gd name="T33" fmla="*/ 96 h 402"/>
                <a:gd name="T34" fmla="*/ 356 w 377"/>
                <a:gd name="T35" fmla="*/ 121 h 402"/>
                <a:gd name="T36" fmla="*/ 277 w 377"/>
                <a:gd name="T37" fmla="*/ 138 h 402"/>
                <a:gd name="T38" fmla="*/ 272 w 377"/>
                <a:gd name="T39" fmla="*/ 139 h 402"/>
                <a:gd name="T40" fmla="*/ 252 w 377"/>
                <a:gd name="T41" fmla="*/ 129 h 402"/>
                <a:gd name="T42" fmla="*/ 212 w 377"/>
                <a:gd name="T43" fmla="*/ 76 h 402"/>
                <a:gd name="T44" fmla="*/ 175 w 377"/>
                <a:gd name="T45" fmla="*/ 181 h 402"/>
                <a:gd name="T46" fmla="*/ 258 w 377"/>
                <a:gd name="T47" fmla="*/ 186 h 402"/>
                <a:gd name="T48" fmla="*/ 267 w 377"/>
                <a:gd name="T49" fmla="*/ 197 h 402"/>
                <a:gd name="T50" fmla="*/ 297 w 377"/>
                <a:gd name="T51" fmla="*/ 299 h 402"/>
                <a:gd name="T52" fmla="*/ 282 w 377"/>
                <a:gd name="T53" fmla="*/ 330 h 402"/>
                <a:gd name="T54" fmla="*/ 274 w 377"/>
                <a:gd name="T55" fmla="*/ 332 h 402"/>
                <a:gd name="T56" fmla="*/ 251 w 377"/>
                <a:gd name="T57" fmla="*/ 315 h 402"/>
                <a:gd name="T58" fmla="*/ 221 w 377"/>
                <a:gd name="T59" fmla="*/ 238 h 402"/>
                <a:gd name="T60" fmla="*/ 150 w 377"/>
                <a:gd name="T61" fmla="*/ 236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7" h="402">
                  <a:moveTo>
                    <a:pt x="150" y="236"/>
                  </a:moveTo>
                  <a:lnTo>
                    <a:pt x="96" y="383"/>
                  </a:lnTo>
                  <a:cubicBezTo>
                    <a:pt x="91" y="396"/>
                    <a:pt x="77" y="402"/>
                    <a:pt x="65" y="397"/>
                  </a:cubicBezTo>
                  <a:cubicBezTo>
                    <a:pt x="52" y="393"/>
                    <a:pt x="46" y="378"/>
                    <a:pt x="50" y="366"/>
                  </a:cubicBezTo>
                  <a:lnTo>
                    <a:pt x="142" y="49"/>
                  </a:lnTo>
                  <a:lnTo>
                    <a:pt x="92" y="49"/>
                  </a:lnTo>
                  <a:lnTo>
                    <a:pt x="49" y="124"/>
                  </a:lnTo>
                  <a:cubicBezTo>
                    <a:pt x="45" y="132"/>
                    <a:pt x="37" y="137"/>
                    <a:pt x="28" y="137"/>
                  </a:cubicBezTo>
                  <a:cubicBezTo>
                    <a:pt x="24" y="137"/>
                    <a:pt x="20" y="136"/>
                    <a:pt x="16" y="134"/>
                  </a:cubicBezTo>
                  <a:cubicBezTo>
                    <a:pt x="4" y="127"/>
                    <a:pt x="0" y="112"/>
                    <a:pt x="7" y="100"/>
                  </a:cubicBezTo>
                  <a:lnTo>
                    <a:pt x="56" y="13"/>
                  </a:lnTo>
                  <a:cubicBezTo>
                    <a:pt x="61" y="5"/>
                    <a:pt x="69" y="0"/>
                    <a:pt x="78" y="0"/>
                  </a:cubicBezTo>
                  <a:lnTo>
                    <a:pt x="188" y="0"/>
                  </a:lnTo>
                  <a:cubicBezTo>
                    <a:pt x="206" y="0"/>
                    <a:pt x="222" y="9"/>
                    <a:pt x="233" y="22"/>
                  </a:cubicBezTo>
                  <a:lnTo>
                    <a:pt x="282" y="87"/>
                  </a:lnTo>
                  <a:lnTo>
                    <a:pt x="347" y="73"/>
                  </a:lnTo>
                  <a:cubicBezTo>
                    <a:pt x="361" y="70"/>
                    <a:pt x="376" y="80"/>
                    <a:pt x="377" y="96"/>
                  </a:cubicBezTo>
                  <a:cubicBezTo>
                    <a:pt x="377" y="108"/>
                    <a:pt x="368" y="118"/>
                    <a:pt x="356" y="121"/>
                  </a:cubicBezTo>
                  <a:lnTo>
                    <a:pt x="277" y="138"/>
                  </a:lnTo>
                  <a:cubicBezTo>
                    <a:pt x="275" y="138"/>
                    <a:pt x="273" y="139"/>
                    <a:pt x="272" y="139"/>
                  </a:cubicBezTo>
                  <a:cubicBezTo>
                    <a:pt x="264" y="139"/>
                    <a:pt x="257" y="135"/>
                    <a:pt x="252" y="129"/>
                  </a:cubicBezTo>
                  <a:lnTo>
                    <a:pt x="212" y="76"/>
                  </a:lnTo>
                  <a:lnTo>
                    <a:pt x="175" y="181"/>
                  </a:lnTo>
                  <a:lnTo>
                    <a:pt x="258" y="186"/>
                  </a:lnTo>
                  <a:cubicBezTo>
                    <a:pt x="262" y="188"/>
                    <a:pt x="266" y="191"/>
                    <a:pt x="267" y="197"/>
                  </a:cubicBezTo>
                  <a:lnTo>
                    <a:pt x="297" y="299"/>
                  </a:lnTo>
                  <a:cubicBezTo>
                    <a:pt x="301" y="312"/>
                    <a:pt x="295" y="326"/>
                    <a:pt x="282" y="330"/>
                  </a:cubicBezTo>
                  <a:cubicBezTo>
                    <a:pt x="279" y="331"/>
                    <a:pt x="277" y="332"/>
                    <a:pt x="274" y="332"/>
                  </a:cubicBezTo>
                  <a:cubicBezTo>
                    <a:pt x="264" y="332"/>
                    <a:pt x="254" y="325"/>
                    <a:pt x="251" y="315"/>
                  </a:cubicBezTo>
                  <a:lnTo>
                    <a:pt x="221" y="238"/>
                  </a:lnTo>
                  <a:lnTo>
                    <a:pt x="150" y="236"/>
                  </a:lnTo>
                  <a:close/>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2252">
              <a:extLst>
                <a:ext uri="{FF2B5EF4-FFF2-40B4-BE49-F238E27FC236}">
                  <a16:creationId xmlns:a16="http://schemas.microsoft.com/office/drawing/2014/main" id="{FE58DFDD-0587-4D07-6FC0-3D9CF9A36E7C}"/>
                </a:ext>
              </a:extLst>
            </p:cNvPr>
            <p:cNvSpPr>
              <a:spLocks/>
            </p:cNvSpPr>
            <p:nvPr/>
          </p:nvSpPr>
          <p:spPr bwMode="auto">
            <a:xfrm>
              <a:off x="7850188" y="2493963"/>
              <a:ext cx="198438" cy="117475"/>
            </a:xfrm>
            <a:custGeom>
              <a:avLst/>
              <a:gdLst>
                <a:gd name="T0" fmla="*/ 0 w 177"/>
                <a:gd name="T1" fmla="*/ 53 h 106"/>
                <a:gd name="T2" fmla="*/ 177 w 177"/>
                <a:gd name="T3" fmla="*/ 0 h 106"/>
                <a:gd name="T4" fmla="*/ 177 w 177"/>
                <a:gd name="T5" fmla="*/ 106 h 106"/>
                <a:gd name="T6" fmla="*/ 0 w 177"/>
                <a:gd name="T7" fmla="*/ 53 h 106"/>
              </a:gdLst>
              <a:ahLst/>
              <a:cxnLst>
                <a:cxn ang="0">
                  <a:pos x="T0" y="T1"/>
                </a:cxn>
                <a:cxn ang="0">
                  <a:pos x="T2" y="T3"/>
                </a:cxn>
                <a:cxn ang="0">
                  <a:pos x="T4" y="T5"/>
                </a:cxn>
                <a:cxn ang="0">
                  <a:pos x="T6" y="T7"/>
                </a:cxn>
              </a:cxnLst>
              <a:rect l="0" t="0" r="r" b="b"/>
              <a:pathLst>
                <a:path w="177" h="106">
                  <a:moveTo>
                    <a:pt x="0" y="53"/>
                  </a:moveTo>
                  <a:lnTo>
                    <a:pt x="177" y="0"/>
                  </a:lnTo>
                  <a:lnTo>
                    <a:pt x="177" y="106"/>
                  </a:lnTo>
                  <a:lnTo>
                    <a:pt x="0" y="53"/>
                  </a:lnTo>
                  <a:close/>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9" name="Textfeld 48">
            <a:extLst>
              <a:ext uri="{FF2B5EF4-FFF2-40B4-BE49-F238E27FC236}">
                <a16:creationId xmlns:a16="http://schemas.microsoft.com/office/drawing/2014/main" id="{B9765C73-CFFA-DBDA-60C6-6085BDAF7BBB}"/>
              </a:ext>
            </a:extLst>
          </p:cNvPr>
          <p:cNvSpPr txBox="1"/>
          <p:nvPr/>
        </p:nvSpPr>
        <p:spPr>
          <a:xfrm>
            <a:off x="277010" y="5909798"/>
            <a:ext cx="1431216" cy="461665"/>
          </a:xfrm>
          <a:prstGeom prst="rect">
            <a:avLst/>
          </a:prstGeom>
          <a:noFill/>
        </p:spPr>
        <p:txBody>
          <a:bodyPr wrap="square">
            <a:spAutoFit/>
          </a:bodyPr>
          <a:lstStyle/>
          <a:p>
            <a:pPr algn="ctr"/>
            <a:r>
              <a:rPr lang="en-US" sz="1200" b="1" err="1"/>
              <a:t>Ständig</a:t>
            </a:r>
            <a:r>
              <a:rPr lang="en-US" sz="1200" b="1"/>
              <a:t> </a:t>
            </a:r>
            <a:r>
              <a:rPr lang="en-US" sz="1200" b="1" err="1"/>
              <a:t>änderndes</a:t>
            </a:r>
            <a:r>
              <a:rPr lang="en-US" sz="1200" b="1"/>
              <a:t> </a:t>
            </a:r>
            <a:r>
              <a:rPr lang="en-US" sz="1200" b="1" err="1"/>
              <a:t>Umfeld</a:t>
            </a:r>
            <a:endParaRPr lang="en-US" sz="1200" b="1"/>
          </a:p>
        </p:txBody>
      </p:sp>
      <p:sp>
        <p:nvSpPr>
          <p:cNvPr id="50" name="Textfeld 49">
            <a:extLst>
              <a:ext uri="{FF2B5EF4-FFF2-40B4-BE49-F238E27FC236}">
                <a16:creationId xmlns:a16="http://schemas.microsoft.com/office/drawing/2014/main" id="{BAC1BE08-68B2-8C38-4D1E-AC0C4F413D6D}"/>
              </a:ext>
            </a:extLst>
          </p:cNvPr>
          <p:cNvSpPr txBox="1"/>
          <p:nvPr/>
        </p:nvSpPr>
        <p:spPr>
          <a:xfrm>
            <a:off x="1628738" y="5909798"/>
            <a:ext cx="1458056" cy="461665"/>
          </a:xfrm>
          <a:prstGeom prst="rect">
            <a:avLst/>
          </a:prstGeom>
          <a:noFill/>
        </p:spPr>
        <p:txBody>
          <a:bodyPr wrap="square">
            <a:spAutoFit/>
          </a:bodyPr>
          <a:lstStyle/>
          <a:p>
            <a:pPr algn="ctr"/>
            <a:r>
              <a:rPr lang="en-US" sz="1200" b="1"/>
              <a:t>Position </a:t>
            </a:r>
            <a:r>
              <a:rPr lang="en-US" sz="1200" b="1" err="1"/>
              <a:t>im</a:t>
            </a:r>
            <a:r>
              <a:rPr lang="en-US" sz="1200" b="1"/>
              <a:t> </a:t>
            </a:r>
            <a:r>
              <a:rPr lang="en-US" sz="1200" b="1" err="1"/>
              <a:t>Markt</a:t>
            </a:r>
            <a:r>
              <a:rPr lang="en-US" sz="1200" b="1"/>
              <a:t> </a:t>
            </a:r>
            <a:r>
              <a:rPr lang="en-US" sz="1200" b="1" err="1"/>
              <a:t>Stärken</a:t>
            </a:r>
            <a:endParaRPr lang="en-US" sz="1200" b="1"/>
          </a:p>
        </p:txBody>
      </p:sp>
      <p:sp>
        <p:nvSpPr>
          <p:cNvPr id="51" name="Textfeld 50">
            <a:extLst>
              <a:ext uri="{FF2B5EF4-FFF2-40B4-BE49-F238E27FC236}">
                <a16:creationId xmlns:a16="http://schemas.microsoft.com/office/drawing/2014/main" id="{C123F3C4-7F8F-91A2-EC40-1F2F5B82373E}"/>
              </a:ext>
            </a:extLst>
          </p:cNvPr>
          <p:cNvSpPr txBox="1"/>
          <p:nvPr/>
        </p:nvSpPr>
        <p:spPr>
          <a:xfrm>
            <a:off x="2974934" y="5911670"/>
            <a:ext cx="1458056" cy="461665"/>
          </a:xfrm>
          <a:prstGeom prst="rect">
            <a:avLst/>
          </a:prstGeom>
          <a:noFill/>
        </p:spPr>
        <p:txBody>
          <a:bodyPr wrap="square">
            <a:spAutoFit/>
          </a:bodyPr>
          <a:lstStyle/>
          <a:p>
            <a:pPr algn="ctr"/>
            <a:r>
              <a:rPr lang="en-US" sz="1200" b="1"/>
              <a:t>Herrausforderungen </a:t>
            </a:r>
            <a:r>
              <a:rPr lang="en-US" sz="1200" b="1" err="1"/>
              <a:t>bewältigen</a:t>
            </a:r>
            <a:endParaRPr lang="en-US" sz="1200" b="1"/>
          </a:p>
        </p:txBody>
      </p:sp>
      <p:sp>
        <p:nvSpPr>
          <p:cNvPr id="52" name="Textfeld 51">
            <a:extLst>
              <a:ext uri="{FF2B5EF4-FFF2-40B4-BE49-F238E27FC236}">
                <a16:creationId xmlns:a16="http://schemas.microsoft.com/office/drawing/2014/main" id="{5192357A-3656-89CD-DA94-AEA888D8077A}"/>
              </a:ext>
            </a:extLst>
          </p:cNvPr>
          <p:cNvSpPr txBox="1"/>
          <p:nvPr/>
        </p:nvSpPr>
        <p:spPr>
          <a:xfrm>
            <a:off x="359996" y="4881858"/>
            <a:ext cx="3022620" cy="276999"/>
          </a:xfrm>
          <a:prstGeom prst="rect">
            <a:avLst/>
          </a:prstGeom>
          <a:noFill/>
        </p:spPr>
        <p:txBody>
          <a:bodyPr wrap="square">
            <a:spAutoFit/>
          </a:bodyPr>
          <a:lstStyle/>
          <a:p>
            <a:r>
              <a:rPr lang="en-US" sz="1200" b="1"/>
              <a:t>Herrausforderungen für Uber:</a:t>
            </a:r>
          </a:p>
        </p:txBody>
      </p:sp>
      <p:sp>
        <p:nvSpPr>
          <p:cNvPr id="54" name="Textfeld 53">
            <a:extLst>
              <a:ext uri="{FF2B5EF4-FFF2-40B4-BE49-F238E27FC236}">
                <a16:creationId xmlns:a16="http://schemas.microsoft.com/office/drawing/2014/main" id="{843C6120-1298-27B6-BD00-2452F4B74AE7}"/>
              </a:ext>
            </a:extLst>
          </p:cNvPr>
          <p:cNvSpPr txBox="1"/>
          <p:nvPr/>
        </p:nvSpPr>
        <p:spPr>
          <a:xfrm>
            <a:off x="4644048" y="2537661"/>
            <a:ext cx="4575008" cy="2677656"/>
          </a:xfrm>
          <a:prstGeom prst="rect">
            <a:avLst/>
          </a:prstGeom>
          <a:noFill/>
        </p:spPr>
        <p:txBody>
          <a:bodyPr wrap="square">
            <a:spAutoFit/>
          </a:bodyPr>
          <a:lstStyle/>
          <a:p>
            <a:pPr lvl="0"/>
            <a:r>
              <a:rPr lang="en-US" sz="1200" b="1" err="1"/>
              <a:t>Regulatorische</a:t>
            </a:r>
            <a:r>
              <a:rPr lang="en-US" sz="1200" b="1"/>
              <a:t> </a:t>
            </a:r>
            <a:r>
              <a:rPr lang="en-US" sz="1200" b="1" err="1"/>
              <a:t>Hindernisse</a:t>
            </a:r>
            <a:endParaRPr lang="en-US" sz="1200" b="1"/>
          </a:p>
          <a:p>
            <a:pPr marL="171450" lvl="0" indent="-171450">
              <a:buFont typeface="Arial" panose="020B0604020202020204" pitchFamily="34" charset="0"/>
              <a:buChar char="•"/>
            </a:pPr>
            <a:r>
              <a:rPr lang="en-US" sz="1200" i="0" err="1">
                <a:effectLst/>
                <a:latin typeface="Söhne"/>
              </a:rPr>
              <a:t>Globale</a:t>
            </a:r>
            <a:r>
              <a:rPr lang="en-US" sz="1200" i="0">
                <a:effectLst/>
                <a:latin typeface="Söhne"/>
              </a:rPr>
              <a:t> </a:t>
            </a:r>
            <a:r>
              <a:rPr lang="en-US" sz="1200" i="0" err="1">
                <a:effectLst/>
                <a:latin typeface="Söhne"/>
              </a:rPr>
              <a:t>Gesetzesunterschiede</a:t>
            </a:r>
            <a:r>
              <a:rPr lang="en-US" sz="1200" i="0">
                <a:effectLst/>
                <a:latin typeface="Söhne"/>
              </a:rPr>
              <a:t> </a:t>
            </a:r>
            <a:r>
              <a:rPr lang="en-US" sz="1200" i="0" err="1">
                <a:effectLst/>
                <a:latin typeface="Söhne"/>
              </a:rPr>
              <a:t>beeinflussen</a:t>
            </a:r>
            <a:r>
              <a:rPr lang="en-US" sz="1200" i="0">
                <a:effectLst/>
                <a:latin typeface="Söhne"/>
              </a:rPr>
              <a:t> Ride-Hailing-</a:t>
            </a:r>
            <a:r>
              <a:rPr lang="en-US" sz="1200" i="0" err="1">
                <a:effectLst/>
                <a:latin typeface="Söhne"/>
              </a:rPr>
              <a:t>Dienste</a:t>
            </a:r>
            <a:endParaRPr lang="en-US" sz="1200">
              <a:latin typeface="Söhne"/>
            </a:endParaRPr>
          </a:p>
          <a:p>
            <a:pPr marL="171450" lvl="0" indent="-171450">
              <a:buFont typeface="Arial" panose="020B0604020202020204" pitchFamily="34" charset="0"/>
              <a:buChar char="•"/>
            </a:pPr>
            <a:endParaRPr lang="en-US" sz="1200">
              <a:latin typeface="Söhne"/>
            </a:endParaRPr>
          </a:p>
          <a:p>
            <a:pPr lvl="0"/>
            <a:r>
              <a:rPr lang="en-US" sz="1200" b="1" err="1"/>
              <a:t>Arbeitsbedingungen</a:t>
            </a:r>
            <a:r>
              <a:rPr lang="en-US" sz="1200" b="1"/>
              <a:t> und </a:t>
            </a:r>
            <a:r>
              <a:rPr lang="en-US" sz="1200" b="1" err="1"/>
              <a:t>Fahrerbeziehungen</a:t>
            </a:r>
            <a:endParaRPr lang="en-US" sz="1200" b="1"/>
          </a:p>
          <a:p>
            <a:pPr marL="171450" lvl="0" indent="-171450">
              <a:buFont typeface="Arial" panose="020B0604020202020204" pitchFamily="34" charset="0"/>
              <a:buChar char="•"/>
            </a:pPr>
            <a:r>
              <a:rPr lang="de-DE" sz="1200"/>
              <a:t>Fahrerbindung durch faire Arbeitsbedingungen verbessern</a:t>
            </a:r>
          </a:p>
          <a:p>
            <a:pPr lvl="0"/>
            <a:endParaRPr lang="en-US" sz="1200"/>
          </a:p>
          <a:p>
            <a:pPr lvl="0"/>
            <a:r>
              <a:rPr lang="en-US" sz="1200" b="1" err="1"/>
              <a:t>Wettbewerb</a:t>
            </a:r>
            <a:endParaRPr lang="en-US" sz="1200" b="1"/>
          </a:p>
          <a:p>
            <a:pPr marL="171450" lvl="0" indent="-171450">
              <a:buFont typeface="Arial" panose="020B0604020202020204" pitchFamily="34" charset="0"/>
              <a:buChar char="•"/>
            </a:pPr>
            <a:r>
              <a:rPr lang="de-DE" sz="1200"/>
              <a:t>Intensive globale Konkurrenz fordert ständige Anpassung</a:t>
            </a:r>
          </a:p>
          <a:p>
            <a:pPr lvl="0"/>
            <a:endParaRPr lang="en-US" sz="1200"/>
          </a:p>
          <a:p>
            <a:pPr lvl="0"/>
            <a:r>
              <a:rPr lang="en-US" sz="1200" b="1" err="1"/>
              <a:t>Technologische</a:t>
            </a:r>
            <a:r>
              <a:rPr lang="en-US" sz="1200" b="1"/>
              <a:t> </a:t>
            </a:r>
            <a:r>
              <a:rPr lang="en-US" sz="1200" b="1" err="1"/>
              <a:t>Entwicklung</a:t>
            </a:r>
            <a:r>
              <a:rPr lang="en-US" sz="1200" b="1"/>
              <a:t> und Innovation</a:t>
            </a:r>
          </a:p>
          <a:p>
            <a:pPr marL="171450" lvl="0" indent="-171450">
              <a:buFont typeface="Arial" panose="020B0604020202020204" pitchFamily="34" charset="0"/>
              <a:buChar char="•"/>
            </a:pPr>
            <a:r>
              <a:rPr lang="de-DE" sz="1200"/>
              <a:t>Fortschritt durch neue Technologien sichert Marktstellung</a:t>
            </a:r>
          </a:p>
          <a:p>
            <a:pPr lvl="0"/>
            <a:endParaRPr lang="en-US" sz="1200"/>
          </a:p>
          <a:p>
            <a:pPr lvl="0"/>
            <a:r>
              <a:rPr lang="en-US" sz="1200" b="1" err="1"/>
              <a:t>Öffentliches</a:t>
            </a:r>
            <a:r>
              <a:rPr lang="en-US" sz="1200" b="1"/>
              <a:t> Image und </a:t>
            </a:r>
            <a:r>
              <a:rPr lang="en-US" sz="1200" b="1" err="1"/>
              <a:t>Vertrauen</a:t>
            </a:r>
            <a:endParaRPr lang="en-US" sz="1200" b="1"/>
          </a:p>
          <a:p>
            <a:pPr marL="171450" lvl="0" indent="-171450">
              <a:buFont typeface="Arial" panose="020B0604020202020204" pitchFamily="34" charset="0"/>
              <a:buChar char="•"/>
            </a:pPr>
            <a:r>
              <a:rPr lang="de-DE" sz="1200" i="0">
                <a:effectLst/>
                <a:latin typeface="Söhne"/>
              </a:rPr>
              <a:t>Öffentliches Vertrauen durch Aufarbeitung von Fehlern stärken</a:t>
            </a:r>
            <a:endParaRPr lang="en-US" sz="1200"/>
          </a:p>
        </p:txBody>
      </p:sp>
      <p:sp>
        <p:nvSpPr>
          <p:cNvPr id="55" name="Textfeld 54">
            <a:extLst>
              <a:ext uri="{FF2B5EF4-FFF2-40B4-BE49-F238E27FC236}">
                <a16:creationId xmlns:a16="http://schemas.microsoft.com/office/drawing/2014/main" id="{778CEB99-D758-DFA0-AB47-95BED05C29E7}"/>
              </a:ext>
            </a:extLst>
          </p:cNvPr>
          <p:cNvSpPr txBox="1"/>
          <p:nvPr/>
        </p:nvSpPr>
        <p:spPr>
          <a:xfrm>
            <a:off x="4618040" y="2159546"/>
            <a:ext cx="4575008" cy="276999"/>
          </a:xfrm>
          <a:prstGeom prst="rect">
            <a:avLst/>
          </a:prstGeom>
          <a:noFill/>
        </p:spPr>
        <p:txBody>
          <a:bodyPr wrap="square">
            <a:spAutoFit/>
          </a:bodyPr>
          <a:lstStyle/>
          <a:p>
            <a:r>
              <a:rPr lang="en-US" sz="1200" b="1"/>
              <a:t>Herrausforderungen der Branche</a:t>
            </a:r>
          </a:p>
        </p:txBody>
      </p:sp>
      <p:sp>
        <p:nvSpPr>
          <p:cNvPr id="59" name="Textfeld 58">
            <a:extLst>
              <a:ext uri="{FF2B5EF4-FFF2-40B4-BE49-F238E27FC236}">
                <a16:creationId xmlns:a16="http://schemas.microsoft.com/office/drawing/2014/main" id="{53DA1C1A-4BFA-A6C3-2CD7-175416115A26}"/>
              </a:ext>
            </a:extLst>
          </p:cNvPr>
          <p:cNvSpPr txBox="1"/>
          <p:nvPr/>
        </p:nvSpPr>
        <p:spPr>
          <a:xfrm>
            <a:off x="4595835" y="5414488"/>
            <a:ext cx="4611102" cy="461665"/>
          </a:xfrm>
          <a:prstGeom prst="rect">
            <a:avLst/>
          </a:prstGeom>
          <a:noFill/>
        </p:spPr>
        <p:txBody>
          <a:bodyPr wrap="square">
            <a:spAutoFit/>
          </a:bodyPr>
          <a:lstStyle/>
          <a:p>
            <a:pPr algn="ctr"/>
            <a:r>
              <a:rPr lang="de-DE" sz="1200" b="1"/>
              <a:t>Uber muss Geschäfts- und Technologiestrategien stetig anpassen, um in einem dynamischen Markt langfristig erfolgreich zu sein.</a:t>
            </a:r>
            <a:endParaRPr lang="en-US" sz="1200" b="1"/>
          </a:p>
        </p:txBody>
      </p:sp>
    </p:spTree>
    <p:extLst>
      <p:ext uri="{BB962C8B-B14F-4D97-AF65-F5344CB8AC3E}">
        <p14:creationId xmlns:p14="http://schemas.microsoft.com/office/powerpoint/2010/main" val="347587393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2F0F678-2764-8918-EF98-93591CA8FA64}"/>
              </a:ext>
            </a:extLst>
          </p:cNvPr>
          <p:cNvGraphicFramePr>
            <a:graphicFrameLocks noChangeAspect="1"/>
          </p:cNvGraphicFramePr>
          <p:nvPr>
            <p:custDataLst>
              <p:tags r:id="rId1"/>
            </p:custDataLst>
            <p:extLst>
              <p:ext uri="{D42A27DB-BD31-4B8C-83A1-F6EECF244321}">
                <p14:modId xmlns:p14="http://schemas.microsoft.com/office/powerpoint/2010/main" val="1474192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2" name="think-cell data - do not delete" hidden="1">
                        <a:extLst>
                          <a:ext uri="{FF2B5EF4-FFF2-40B4-BE49-F238E27FC236}">
                            <a16:creationId xmlns:a16="http://schemas.microsoft.com/office/drawing/2014/main" id="{42F0F678-2764-8918-EF98-93591CA8FA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D8EDD2-84ED-DE4A-734B-283E2B0BCFCE}"/>
              </a:ext>
            </a:extLst>
          </p:cNvPr>
          <p:cNvSpPr>
            <a:spLocks noGrp="1"/>
          </p:cNvSpPr>
          <p:nvPr>
            <p:ph type="title"/>
          </p:nvPr>
        </p:nvSpPr>
        <p:spPr/>
        <p:txBody>
          <a:bodyPr vert="horz"/>
          <a:lstStyle/>
          <a:p>
            <a:r>
              <a:rPr lang="en-US"/>
              <a:t>ESG-Initiatives provide different financial, environmental and social benefits for companies</a:t>
            </a:r>
          </a:p>
        </p:txBody>
      </p:sp>
      <p:sp>
        <p:nvSpPr>
          <p:cNvPr id="4" name="Foliennummernplatzhalter 3">
            <a:extLst>
              <a:ext uri="{FF2B5EF4-FFF2-40B4-BE49-F238E27FC236}">
                <a16:creationId xmlns:a16="http://schemas.microsoft.com/office/drawing/2014/main" id="{7FB46D2D-7718-A11A-A02D-53591F02A4EA}"/>
              </a:ext>
            </a:extLst>
          </p:cNvPr>
          <p:cNvSpPr>
            <a:spLocks noGrp="1"/>
          </p:cNvSpPr>
          <p:nvPr>
            <p:ph type="sldNum" sz="quarter" idx="4"/>
          </p:nvPr>
        </p:nvSpPr>
        <p:spPr/>
        <p:txBody>
          <a:bodyPr/>
          <a:lstStyle/>
          <a:p>
            <a:fld id="{BAF04893-69FB-435D-AB2E-CA259D85B32F}" type="slidenum">
              <a:rPr lang="en-US" smtClean="0"/>
              <a:pPr/>
              <a:t>70</a:t>
            </a:fld>
            <a:endParaRPr lang="en-US"/>
          </a:p>
        </p:txBody>
      </p:sp>
      <p:sp>
        <p:nvSpPr>
          <p:cNvPr id="5" name="Inhaltsplatzhalter 4">
            <a:extLst>
              <a:ext uri="{FF2B5EF4-FFF2-40B4-BE49-F238E27FC236}">
                <a16:creationId xmlns:a16="http://schemas.microsoft.com/office/drawing/2014/main" id="{EFA2F9DB-B164-3DC7-B4B6-886999C79FD2}"/>
              </a:ext>
            </a:extLst>
          </p:cNvPr>
          <p:cNvSpPr>
            <a:spLocks noGrp="1"/>
          </p:cNvSpPr>
          <p:nvPr>
            <p:ph idx="10"/>
          </p:nvPr>
        </p:nvSpPr>
        <p:spPr/>
        <p:txBody>
          <a:bodyPr/>
          <a:lstStyle/>
          <a:p>
            <a:r>
              <a:rPr lang="en-US"/>
              <a:t>Advantages through the Application of ESG-Initiatives</a:t>
            </a:r>
          </a:p>
        </p:txBody>
      </p:sp>
      <p:sp>
        <p:nvSpPr>
          <p:cNvPr id="7" name="Inhaltsplatzhalter 6">
            <a:extLst>
              <a:ext uri="{FF2B5EF4-FFF2-40B4-BE49-F238E27FC236}">
                <a16:creationId xmlns:a16="http://schemas.microsoft.com/office/drawing/2014/main" id="{8060D6B5-3B54-D5DF-DAA4-47C8816CC56B}"/>
              </a:ext>
            </a:extLst>
          </p:cNvPr>
          <p:cNvSpPr>
            <a:spLocks noGrp="1"/>
          </p:cNvSpPr>
          <p:nvPr>
            <p:ph idx="12"/>
          </p:nvPr>
        </p:nvSpPr>
        <p:spPr/>
        <p:txBody>
          <a:bodyPr/>
          <a:lstStyle/>
          <a:p>
            <a:r>
              <a:rPr lang="en-US"/>
              <a:t>ESG</a:t>
            </a:r>
          </a:p>
        </p:txBody>
      </p:sp>
      <p:sp>
        <p:nvSpPr>
          <p:cNvPr id="8" name="ZoneTexte 54 - 3 - 1">
            <a:extLst>
              <a:ext uri="{FF2B5EF4-FFF2-40B4-BE49-F238E27FC236}">
                <a16:creationId xmlns:a16="http://schemas.microsoft.com/office/drawing/2014/main" id="{ED04975C-C723-263B-2CFF-E2CA08DDDE95}"/>
              </a:ext>
            </a:extLst>
          </p:cNvPr>
          <p:cNvSpPr txBox="1"/>
          <p:nvPr/>
        </p:nvSpPr>
        <p:spPr>
          <a:xfrm>
            <a:off x="359997" y="2590915"/>
            <a:ext cx="3854194" cy="3850383"/>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wrap="square" rtlCol="0" anchor="t">
            <a:noAutofit/>
          </a:bodyPr>
          <a:lstStyle/>
          <a:p>
            <a:pPr marL="171450" indent="-171450">
              <a:buFont typeface="Arial" panose="020B0604020202020204" pitchFamily="34" charset="0"/>
              <a:buChar char="•"/>
            </a:pPr>
            <a:r>
              <a:rPr lang="en-US" sz="1200" b="1"/>
              <a:t>Reducing Operating Expenses</a:t>
            </a:r>
            <a:r>
              <a:rPr lang="en-US" sz="1200"/>
              <a:t>: </a:t>
            </a:r>
            <a:r>
              <a:rPr lang="en-US" sz="1200" b="1"/>
              <a:t>Enhancing</a:t>
            </a:r>
            <a:r>
              <a:rPr lang="en-US" sz="1200"/>
              <a:t> resource </a:t>
            </a:r>
            <a:r>
              <a:rPr lang="en-US" sz="1200" b="1"/>
              <a:t>efficiency</a:t>
            </a:r>
            <a:r>
              <a:rPr lang="en-US" sz="1200"/>
              <a:t> to cut costs, </a:t>
            </a:r>
            <a:r>
              <a:rPr lang="en-US" sz="1200" b="1"/>
              <a:t>focusing</a:t>
            </a:r>
            <a:r>
              <a:rPr lang="en-US" sz="1200"/>
              <a:t> on </a:t>
            </a:r>
            <a:r>
              <a:rPr lang="en-US" sz="1200" b="1"/>
              <a:t>sustainable practices </a:t>
            </a:r>
            <a:r>
              <a:rPr lang="en-US" sz="1200"/>
              <a:t>that reduce resource consumption and waste</a:t>
            </a:r>
          </a:p>
          <a:p>
            <a:pPr marL="171450" indent="-171450">
              <a:buFont typeface="Arial" panose="020B0604020202020204" pitchFamily="34" charset="0"/>
              <a:buChar char="•"/>
            </a:pPr>
            <a:r>
              <a:rPr lang="en-US" sz="1200" b="1"/>
              <a:t>Prevent Pollution/Waste</a:t>
            </a:r>
            <a:r>
              <a:rPr lang="en-US" sz="1200"/>
              <a:t>: </a:t>
            </a:r>
            <a:r>
              <a:rPr lang="en-US" sz="1200" b="1"/>
              <a:t>Implementing proactive measures to manage environmental risks</a:t>
            </a:r>
            <a:r>
              <a:rPr lang="en-US" sz="1200"/>
              <a:t>, such as pollution prevention and waste reduction, which can also bring cost savings</a:t>
            </a:r>
          </a:p>
          <a:p>
            <a:pPr marL="171450" indent="-171450">
              <a:buFont typeface="Arial" panose="020B0604020202020204" pitchFamily="34" charset="0"/>
              <a:buChar char="•"/>
            </a:pPr>
            <a:r>
              <a:rPr lang="en-US" sz="1200" b="1"/>
              <a:t>Energy Consumption and Recovery</a:t>
            </a:r>
            <a:r>
              <a:rPr lang="en-US" sz="1200"/>
              <a:t>: Concentrate on </a:t>
            </a:r>
            <a:r>
              <a:rPr lang="en-US" sz="1200" b="1"/>
              <a:t>reducing energy consumption </a:t>
            </a:r>
            <a:r>
              <a:rPr lang="en-US" sz="1200"/>
              <a:t>and </a:t>
            </a:r>
            <a:r>
              <a:rPr lang="en-US" sz="1200" b="1"/>
              <a:t>recovering resources, </a:t>
            </a:r>
            <a:r>
              <a:rPr lang="en-US" sz="1200"/>
              <a:t>leading to </a:t>
            </a:r>
            <a:r>
              <a:rPr lang="en-US" sz="1200" b="1"/>
              <a:t>significant cost savings </a:t>
            </a:r>
            <a:r>
              <a:rPr lang="en-US" sz="1200"/>
              <a:t>through efficient energy use and recycling</a:t>
            </a:r>
          </a:p>
          <a:p>
            <a:pPr marL="171450" indent="-171450">
              <a:buFont typeface="Arial" panose="020B0604020202020204" pitchFamily="34" charset="0"/>
              <a:buChar char="•"/>
            </a:pPr>
            <a:r>
              <a:rPr lang="en-US" sz="1200" b="1"/>
              <a:t>Fleet Conversion</a:t>
            </a:r>
            <a:r>
              <a:rPr lang="en-US" sz="1200"/>
              <a:t>: Transition the </a:t>
            </a:r>
            <a:r>
              <a:rPr lang="en-US" sz="1200" b="1"/>
              <a:t>vehicle fleet to electric </a:t>
            </a:r>
            <a:r>
              <a:rPr lang="en-US" sz="1200"/>
              <a:t>or hybrid models, </a:t>
            </a:r>
            <a:r>
              <a:rPr lang="en-US" sz="1200" b="1"/>
              <a:t>reducing fuel consumption </a:t>
            </a:r>
            <a:r>
              <a:rPr lang="en-US" sz="1200"/>
              <a:t>and </a:t>
            </a:r>
            <a:r>
              <a:rPr lang="en-US" sz="1200" b="1"/>
              <a:t>maintenance costs </a:t>
            </a:r>
            <a:r>
              <a:rPr lang="en-US" sz="1200"/>
              <a:t>while improving environmental impact</a:t>
            </a:r>
          </a:p>
          <a:p>
            <a:pPr marL="171450" indent="-171450">
              <a:buFont typeface="Arial" panose="020B0604020202020204" pitchFamily="34" charset="0"/>
              <a:buChar char="•"/>
            </a:pPr>
            <a:r>
              <a:rPr lang="en-US" sz="1200" b="1"/>
              <a:t>Strategic Resource Allocation</a:t>
            </a:r>
            <a:r>
              <a:rPr lang="en-US" sz="1200"/>
              <a:t>: Allocate resources </a:t>
            </a:r>
            <a:r>
              <a:rPr lang="en-US" sz="1200" b="1"/>
              <a:t>towards sustainable practices </a:t>
            </a:r>
            <a:r>
              <a:rPr lang="en-US" sz="1200"/>
              <a:t>and </a:t>
            </a:r>
            <a:r>
              <a:rPr lang="en-US" sz="1200" b="1"/>
              <a:t>investments</a:t>
            </a:r>
            <a:r>
              <a:rPr lang="en-US" sz="1200"/>
              <a:t>, avoiding long-term environmental risks and enhancing overall financial performance</a:t>
            </a:r>
          </a:p>
        </p:txBody>
      </p:sp>
      <p:sp>
        <p:nvSpPr>
          <p:cNvPr id="9" name="Textfeld 8">
            <a:extLst>
              <a:ext uri="{FF2B5EF4-FFF2-40B4-BE49-F238E27FC236}">
                <a16:creationId xmlns:a16="http://schemas.microsoft.com/office/drawing/2014/main" id="{0587BF02-9105-48B5-6CF5-A046F6706F3F}"/>
              </a:ext>
            </a:extLst>
          </p:cNvPr>
          <p:cNvSpPr txBox="1"/>
          <p:nvPr/>
        </p:nvSpPr>
        <p:spPr>
          <a:xfrm>
            <a:off x="359996" y="2283138"/>
            <a:ext cx="3854193" cy="307777"/>
          </a:xfrm>
          <a:prstGeom prst="rect">
            <a:avLst/>
          </a:prstGeom>
          <a:noFill/>
        </p:spPr>
        <p:txBody>
          <a:bodyPr wrap="square" rtlCol="0">
            <a:spAutoFit/>
          </a:bodyPr>
          <a:lstStyle/>
          <a:p>
            <a:r>
              <a:rPr lang="en-US" sz="1400" b="1"/>
              <a:t>General Cost Reduction through ESG</a:t>
            </a:r>
          </a:p>
        </p:txBody>
      </p:sp>
      <p:sp>
        <p:nvSpPr>
          <p:cNvPr id="10" name="ZoneTexte 54 - 3 - 1">
            <a:extLst>
              <a:ext uri="{FF2B5EF4-FFF2-40B4-BE49-F238E27FC236}">
                <a16:creationId xmlns:a16="http://schemas.microsoft.com/office/drawing/2014/main" id="{5802BC80-FFBC-CD00-A81C-76A0110EC363}"/>
              </a:ext>
            </a:extLst>
          </p:cNvPr>
          <p:cNvSpPr txBox="1"/>
          <p:nvPr/>
        </p:nvSpPr>
        <p:spPr>
          <a:xfrm>
            <a:off x="5073906" y="2590915"/>
            <a:ext cx="3854194" cy="3850383"/>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wrap="square" rtlCol="0" anchor="t">
            <a:noAutofit/>
          </a:bodyPr>
          <a:lstStyle/>
          <a:p>
            <a:pPr marL="171450" indent="-171450">
              <a:buFont typeface="Arial" panose="020B0604020202020204" pitchFamily="34" charset="0"/>
              <a:buChar char="•"/>
            </a:pPr>
            <a:r>
              <a:rPr lang="en-US" sz="1200" b="1"/>
              <a:t>Optimize Operations</a:t>
            </a:r>
            <a:r>
              <a:rPr lang="en-US" sz="1200"/>
              <a:t>: </a:t>
            </a:r>
            <a:r>
              <a:rPr lang="en-US" sz="1200" b="1"/>
              <a:t>Utilizing advanced routing </a:t>
            </a:r>
            <a:r>
              <a:rPr lang="en-US" sz="1200"/>
              <a:t>and digital tools </a:t>
            </a:r>
            <a:r>
              <a:rPr lang="en-US" sz="1200" b="1"/>
              <a:t>to optimize driver routes </a:t>
            </a:r>
            <a:r>
              <a:rPr lang="en-US" sz="1200"/>
              <a:t>and </a:t>
            </a:r>
            <a:r>
              <a:rPr lang="en-US" sz="1200" b="1"/>
              <a:t>improve demand forecasting</a:t>
            </a:r>
            <a:r>
              <a:rPr lang="en-US" sz="1200"/>
              <a:t>, </a:t>
            </a:r>
            <a:r>
              <a:rPr lang="en-US" sz="1200" b="1"/>
              <a:t>reducing</a:t>
            </a:r>
            <a:r>
              <a:rPr lang="en-US" sz="1200"/>
              <a:t> idle time and </a:t>
            </a:r>
            <a:r>
              <a:rPr lang="en-US" sz="1200" b="1"/>
              <a:t>operational</a:t>
            </a:r>
            <a:r>
              <a:rPr lang="en-US" sz="1200"/>
              <a:t> </a:t>
            </a:r>
            <a:r>
              <a:rPr lang="en-US" sz="1200" b="1"/>
              <a:t>costs</a:t>
            </a:r>
          </a:p>
          <a:p>
            <a:pPr marL="171450" indent="-171450">
              <a:buFont typeface="Arial" panose="020B0604020202020204" pitchFamily="34" charset="0"/>
              <a:buChar char="•"/>
            </a:pPr>
            <a:r>
              <a:rPr lang="en-US" sz="1200" b="1"/>
              <a:t>Eco-friendly Rideshare Options: </a:t>
            </a:r>
            <a:r>
              <a:rPr lang="en-US" sz="1200"/>
              <a:t>Encourage </a:t>
            </a:r>
            <a:r>
              <a:rPr lang="en-US" sz="1200" b="1"/>
              <a:t>eco-friendly</a:t>
            </a:r>
            <a:r>
              <a:rPr lang="en-US" sz="1200"/>
              <a:t> </a:t>
            </a:r>
            <a:r>
              <a:rPr lang="en-US" sz="1200" b="1"/>
              <a:t>transport options</a:t>
            </a:r>
            <a:r>
              <a:rPr lang="en-US" sz="1200"/>
              <a:t> like carpooling, electric vehicles, and alternative transport modes like bikes and scooters to </a:t>
            </a:r>
            <a:r>
              <a:rPr lang="en-US" sz="1200" b="1"/>
              <a:t>reduce emissions </a:t>
            </a:r>
            <a:r>
              <a:rPr lang="en-US" sz="1200"/>
              <a:t>and </a:t>
            </a:r>
            <a:r>
              <a:rPr lang="en-US" sz="1200" b="1"/>
              <a:t>appeal to environmentally conscious consumers</a:t>
            </a:r>
            <a:endParaRPr lang="en-US" sz="1200"/>
          </a:p>
          <a:p>
            <a:pPr marL="171450" indent="-171450">
              <a:buFont typeface="Arial" panose="020B0604020202020204" pitchFamily="34" charset="0"/>
              <a:buChar char="•"/>
            </a:pPr>
            <a:r>
              <a:rPr lang="en-US" sz="1200" b="1"/>
              <a:t>EV Transition for Fleet</a:t>
            </a:r>
            <a:r>
              <a:rPr lang="en-US" sz="1200"/>
              <a:t>: Gradually </a:t>
            </a:r>
            <a:r>
              <a:rPr lang="en-US" sz="1200" b="1"/>
              <a:t>transition</a:t>
            </a:r>
            <a:r>
              <a:rPr lang="en-US" sz="1200"/>
              <a:t> to an </a:t>
            </a:r>
            <a:r>
              <a:rPr lang="en-US" sz="1200" b="1"/>
              <a:t>electric vehicle fleet</a:t>
            </a:r>
            <a:r>
              <a:rPr lang="en-US" sz="1200"/>
              <a:t>, which will </a:t>
            </a:r>
            <a:r>
              <a:rPr lang="en-US" sz="1200" b="1"/>
              <a:t>lower long-term fuel and maintenance costs </a:t>
            </a:r>
            <a:r>
              <a:rPr lang="en-US" sz="1200"/>
              <a:t>and align with environmental sustainability goals</a:t>
            </a:r>
          </a:p>
          <a:p>
            <a:pPr marL="171450" indent="-171450">
              <a:buFont typeface="Arial" panose="020B0604020202020204" pitchFamily="34" charset="0"/>
              <a:buChar char="•"/>
            </a:pPr>
            <a:r>
              <a:rPr lang="en-US" sz="1200" b="1"/>
              <a:t>Invest in Green Technologies</a:t>
            </a:r>
            <a:r>
              <a:rPr lang="en-US" sz="1200"/>
              <a:t>: Invest in </a:t>
            </a:r>
            <a:r>
              <a:rPr lang="en-US" sz="1200" b="1"/>
              <a:t>EV infrastructure, autonomous vehicles</a:t>
            </a:r>
            <a:r>
              <a:rPr lang="en-US" sz="1200"/>
              <a:t>, and other sustainable technologies </a:t>
            </a:r>
            <a:r>
              <a:rPr lang="en-US" sz="1200" b="1"/>
              <a:t>to stay ahead </a:t>
            </a:r>
            <a:r>
              <a:rPr lang="en-US" sz="1200"/>
              <a:t>in the </a:t>
            </a:r>
            <a:r>
              <a:rPr lang="en-US" sz="1200" b="1"/>
              <a:t>competitive transportation </a:t>
            </a:r>
            <a:r>
              <a:rPr lang="en-US" sz="1200"/>
              <a:t>market and meet regulatory standards.</a:t>
            </a:r>
          </a:p>
        </p:txBody>
      </p:sp>
      <p:sp>
        <p:nvSpPr>
          <p:cNvPr id="11" name="Textfeld 10">
            <a:extLst>
              <a:ext uri="{FF2B5EF4-FFF2-40B4-BE49-F238E27FC236}">
                <a16:creationId xmlns:a16="http://schemas.microsoft.com/office/drawing/2014/main" id="{CBA36633-56CE-7CF4-5FAA-16792D2F2DC0}"/>
              </a:ext>
            </a:extLst>
          </p:cNvPr>
          <p:cNvSpPr txBox="1"/>
          <p:nvPr/>
        </p:nvSpPr>
        <p:spPr>
          <a:xfrm>
            <a:off x="5073907" y="2283137"/>
            <a:ext cx="3854193" cy="307777"/>
          </a:xfrm>
          <a:prstGeom prst="rect">
            <a:avLst/>
          </a:prstGeom>
          <a:noFill/>
        </p:spPr>
        <p:txBody>
          <a:bodyPr wrap="square" rtlCol="0">
            <a:spAutoFit/>
          </a:bodyPr>
          <a:lstStyle/>
          <a:p>
            <a:r>
              <a:rPr lang="en-US" sz="1400" b="1"/>
              <a:t>Uber Cost Reduction through ESG</a:t>
            </a:r>
          </a:p>
        </p:txBody>
      </p:sp>
      <p:sp>
        <p:nvSpPr>
          <p:cNvPr id="13" name="Inhaltsplatzhalter 5">
            <a:extLst>
              <a:ext uri="{FF2B5EF4-FFF2-40B4-BE49-F238E27FC236}">
                <a16:creationId xmlns:a16="http://schemas.microsoft.com/office/drawing/2014/main" id="{5E7ABC79-90DA-8454-C9B2-F9AF8278C309}"/>
              </a:ext>
            </a:extLst>
          </p:cNvPr>
          <p:cNvSpPr txBox="1">
            <a:spLocks/>
          </p:cNvSpPr>
          <p:nvPr/>
        </p:nvSpPr>
        <p:spPr>
          <a:xfrm>
            <a:off x="825820" y="6517499"/>
            <a:ext cx="3746180" cy="298828"/>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100" b="0" kern="1200" baseline="0">
                <a:solidFill>
                  <a:schemeClr val="tx1"/>
                </a:solidFill>
                <a:latin typeface="+mn-lt"/>
                <a:ea typeface="+mn-ea"/>
                <a:cs typeface="+mn-cs"/>
              </a:defRPr>
            </a:lvl1pPr>
            <a:lvl2pPr marL="179388" marR="0" indent="-179388" algn="l" defTabSz="896938" rtl="0" eaLnBrk="1" fontAlgn="auto" latinLnBrk="0" hangingPunct="1">
              <a:lnSpc>
                <a:spcPct val="90000"/>
              </a:lnSpc>
              <a:spcBef>
                <a:spcPts val="500"/>
              </a:spcBef>
              <a:spcAft>
                <a:spcPts val="0"/>
              </a:spcAft>
              <a:buClrTx/>
              <a:buSzTx/>
              <a:buFont typeface="Arial" panose="020B0604020202020204" pitchFamily="34" charset="0"/>
              <a:buNone/>
              <a:tabLst/>
              <a:defRPr sz="1100" kern="1200" baseline="0">
                <a:solidFill>
                  <a:schemeClr val="tx1"/>
                </a:solidFill>
                <a:latin typeface="+mn-lt"/>
                <a:ea typeface="+mn-ea"/>
                <a:cs typeface="+mn-cs"/>
              </a:defRPr>
            </a:lvl2pPr>
            <a:lvl3pPr marL="358775"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hlinkClick r:id="rId6"/>
              </a:rPr>
              <a:t>McKinsey 2019</a:t>
            </a:r>
            <a:r>
              <a:rPr lang="en-US"/>
              <a:t>, </a:t>
            </a:r>
          </a:p>
        </p:txBody>
      </p:sp>
    </p:spTree>
    <p:extLst>
      <p:ext uri="{BB962C8B-B14F-4D97-AF65-F5344CB8AC3E}">
        <p14:creationId xmlns:p14="http://schemas.microsoft.com/office/powerpoint/2010/main" val="14157874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2F0F678-2764-8918-EF98-93591CA8FA64}"/>
              </a:ext>
            </a:extLst>
          </p:cNvPr>
          <p:cNvGraphicFramePr>
            <a:graphicFrameLocks noChangeAspect="1"/>
          </p:cNvGraphicFramePr>
          <p:nvPr>
            <p:custDataLst>
              <p:tags r:id="rId1"/>
            </p:custDataLst>
            <p:extLst>
              <p:ext uri="{D42A27DB-BD31-4B8C-83A1-F6EECF244321}">
                <p14:modId xmlns:p14="http://schemas.microsoft.com/office/powerpoint/2010/main" val="2798772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2" name="think-cell data - do not delete" hidden="1">
                        <a:extLst>
                          <a:ext uri="{FF2B5EF4-FFF2-40B4-BE49-F238E27FC236}">
                            <a16:creationId xmlns:a16="http://schemas.microsoft.com/office/drawing/2014/main" id="{42F0F678-2764-8918-EF98-93591CA8FA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D8EDD2-84ED-DE4A-734B-283E2B0BCFCE}"/>
              </a:ext>
            </a:extLst>
          </p:cNvPr>
          <p:cNvSpPr>
            <a:spLocks noGrp="1"/>
          </p:cNvSpPr>
          <p:nvPr>
            <p:ph type="title"/>
          </p:nvPr>
        </p:nvSpPr>
        <p:spPr/>
        <p:txBody>
          <a:bodyPr vert="horz"/>
          <a:lstStyle/>
          <a:p>
            <a:r>
              <a:rPr lang="en-US"/>
              <a:t>ESG integration is pivotal for Ubers revenue growth and market positioning</a:t>
            </a:r>
          </a:p>
        </p:txBody>
      </p:sp>
      <p:sp>
        <p:nvSpPr>
          <p:cNvPr id="4" name="Foliennummernplatzhalter 3">
            <a:extLst>
              <a:ext uri="{FF2B5EF4-FFF2-40B4-BE49-F238E27FC236}">
                <a16:creationId xmlns:a16="http://schemas.microsoft.com/office/drawing/2014/main" id="{7FB46D2D-7718-A11A-A02D-53591F02A4EA}"/>
              </a:ext>
            </a:extLst>
          </p:cNvPr>
          <p:cNvSpPr>
            <a:spLocks noGrp="1"/>
          </p:cNvSpPr>
          <p:nvPr>
            <p:ph type="sldNum" sz="quarter" idx="4"/>
          </p:nvPr>
        </p:nvSpPr>
        <p:spPr/>
        <p:txBody>
          <a:bodyPr/>
          <a:lstStyle/>
          <a:p>
            <a:fld id="{BAF04893-69FB-435D-AB2E-CA259D85B32F}" type="slidenum">
              <a:rPr lang="en-US" smtClean="0"/>
              <a:pPr/>
              <a:t>71</a:t>
            </a:fld>
            <a:endParaRPr lang="en-US"/>
          </a:p>
        </p:txBody>
      </p:sp>
      <p:sp>
        <p:nvSpPr>
          <p:cNvPr id="5" name="Inhaltsplatzhalter 4">
            <a:extLst>
              <a:ext uri="{FF2B5EF4-FFF2-40B4-BE49-F238E27FC236}">
                <a16:creationId xmlns:a16="http://schemas.microsoft.com/office/drawing/2014/main" id="{EFA2F9DB-B164-3DC7-B4B6-886999C79FD2}"/>
              </a:ext>
            </a:extLst>
          </p:cNvPr>
          <p:cNvSpPr>
            <a:spLocks noGrp="1"/>
          </p:cNvSpPr>
          <p:nvPr>
            <p:ph idx="10"/>
          </p:nvPr>
        </p:nvSpPr>
        <p:spPr/>
        <p:txBody>
          <a:bodyPr/>
          <a:lstStyle/>
          <a:p>
            <a:r>
              <a:rPr lang="en-US"/>
              <a:t>Advantages through the Application of ESG-Initiatives</a:t>
            </a:r>
          </a:p>
        </p:txBody>
      </p:sp>
      <p:sp>
        <p:nvSpPr>
          <p:cNvPr id="7" name="Inhaltsplatzhalter 6">
            <a:extLst>
              <a:ext uri="{FF2B5EF4-FFF2-40B4-BE49-F238E27FC236}">
                <a16:creationId xmlns:a16="http://schemas.microsoft.com/office/drawing/2014/main" id="{8060D6B5-3B54-D5DF-DAA4-47C8816CC56B}"/>
              </a:ext>
            </a:extLst>
          </p:cNvPr>
          <p:cNvSpPr>
            <a:spLocks noGrp="1"/>
          </p:cNvSpPr>
          <p:nvPr>
            <p:ph idx="12"/>
          </p:nvPr>
        </p:nvSpPr>
        <p:spPr/>
        <p:txBody>
          <a:bodyPr/>
          <a:lstStyle/>
          <a:p>
            <a:r>
              <a:rPr lang="en-US"/>
              <a:t>ESG</a:t>
            </a:r>
          </a:p>
        </p:txBody>
      </p:sp>
      <p:sp>
        <p:nvSpPr>
          <p:cNvPr id="8" name="ZoneTexte 54 - 3 - 1">
            <a:extLst>
              <a:ext uri="{FF2B5EF4-FFF2-40B4-BE49-F238E27FC236}">
                <a16:creationId xmlns:a16="http://schemas.microsoft.com/office/drawing/2014/main" id="{ED04975C-C723-263B-2CFF-E2CA08DDDE95}"/>
              </a:ext>
            </a:extLst>
          </p:cNvPr>
          <p:cNvSpPr txBox="1"/>
          <p:nvPr/>
        </p:nvSpPr>
        <p:spPr>
          <a:xfrm>
            <a:off x="359997" y="2590915"/>
            <a:ext cx="3854194" cy="3850383"/>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wrap="square" rtlCol="0" anchor="t">
            <a:noAutofit/>
          </a:bodyPr>
          <a:lstStyle/>
          <a:p>
            <a:pPr marL="171450" indent="-171450">
              <a:buFont typeface="Arial" panose="020B0604020202020204" pitchFamily="34" charset="0"/>
              <a:buChar char="•"/>
            </a:pPr>
            <a:r>
              <a:rPr lang="en-US" sz="1200" b="1"/>
              <a:t>Higher Growth and Profitability: </a:t>
            </a:r>
            <a:r>
              <a:rPr lang="en-US" sz="1200"/>
              <a:t>ESG in</a:t>
            </a:r>
            <a:r>
              <a:rPr lang="en-US" sz="1200" b="1"/>
              <a:t>tegration into growth strategies</a:t>
            </a:r>
            <a:r>
              <a:rPr lang="en-US" sz="1200"/>
              <a:t> often </a:t>
            </a:r>
            <a:r>
              <a:rPr lang="en-US" sz="1200" b="1"/>
              <a:t>results in outperformance </a:t>
            </a:r>
            <a:r>
              <a:rPr lang="en-US" sz="1200"/>
              <a:t>and </a:t>
            </a:r>
            <a:r>
              <a:rPr lang="en-US" sz="1200" b="1"/>
              <a:t>increased shareholder returns</a:t>
            </a:r>
            <a:r>
              <a:rPr lang="en-US" sz="1200"/>
              <a:t>​​</a:t>
            </a:r>
          </a:p>
          <a:p>
            <a:pPr marL="171450" indent="-171450">
              <a:buFont typeface="Arial" panose="020B0604020202020204" pitchFamily="34" charset="0"/>
              <a:buChar char="•"/>
            </a:pPr>
            <a:r>
              <a:rPr lang="en-US" sz="1200" b="1"/>
              <a:t>Increased Revenue Rate</a:t>
            </a:r>
            <a:r>
              <a:rPr lang="en-US" sz="1200"/>
              <a:t>: "</a:t>
            </a:r>
            <a:r>
              <a:rPr lang="en-US" sz="1200" b="1"/>
              <a:t>Triple outperformers</a:t>
            </a:r>
            <a:r>
              <a:rPr lang="en-US" sz="1200"/>
              <a:t>" with strong ESG performance </a:t>
            </a:r>
            <a:r>
              <a:rPr lang="en-US" sz="1200" b="1"/>
              <a:t>see higher revenue growth </a:t>
            </a:r>
            <a:r>
              <a:rPr lang="en-US" sz="1200"/>
              <a:t>rates​​</a:t>
            </a:r>
          </a:p>
          <a:p>
            <a:pPr marL="171450" indent="-171450">
              <a:buFont typeface="Arial" panose="020B0604020202020204" pitchFamily="34" charset="0"/>
              <a:buChar char="•"/>
            </a:pPr>
            <a:r>
              <a:rPr lang="en-US" sz="1200" b="1"/>
              <a:t>Core Strategy Integration</a:t>
            </a:r>
            <a:r>
              <a:rPr lang="en-US" sz="1200"/>
              <a:t>: </a:t>
            </a:r>
            <a:r>
              <a:rPr lang="en-US" sz="1200" b="1"/>
              <a:t>Successful integration </a:t>
            </a:r>
            <a:r>
              <a:rPr lang="en-US" sz="1200"/>
              <a:t>of </a:t>
            </a:r>
            <a:r>
              <a:rPr lang="en-US" sz="1200" b="1"/>
              <a:t>ESG</a:t>
            </a:r>
            <a:r>
              <a:rPr lang="en-US" sz="1200"/>
              <a:t> into core strategy </a:t>
            </a:r>
            <a:r>
              <a:rPr lang="en-US" sz="1200" b="1"/>
              <a:t>reduces regulatory risks and boosts productivity</a:t>
            </a:r>
            <a:r>
              <a:rPr lang="en-US" sz="1200"/>
              <a:t>​​</a:t>
            </a:r>
          </a:p>
          <a:p>
            <a:pPr marL="171450" indent="-171450">
              <a:buFont typeface="Arial" panose="020B0604020202020204" pitchFamily="34" charset="0"/>
              <a:buChar char="•"/>
            </a:pPr>
            <a:r>
              <a:rPr lang="en-US" sz="1200" b="1"/>
              <a:t>Innovative ESG Offerings</a:t>
            </a:r>
            <a:r>
              <a:rPr lang="en-US" sz="1200"/>
              <a:t>: </a:t>
            </a:r>
            <a:r>
              <a:rPr lang="en-US" sz="1200" b="1"/>
              <a:t>Innovation</a:t>
            </a:r>
            <a:r>
              <a:rPr lang="en-US" sz="1200"/>
              <a:t> in ESG offerings to meet emerging customer needs </a:t>
            </a:r>
            <a:r>
              <a:rPr lang="en-US" sz="1200" b="1"/>
              <a:t>can lead to new revenue streams</a:t>
            </a:r>
            <a:r>
              <a:rPr lang="en-US" sz="1200"/>
              <a:t>​​</a:t>
            </a:r>
          </a:p>
          <a:p>
            <a:pPr marL="171450" indent="-171450">
              <a:buFont typeface="Arial" panose="020B0604020202020204" pitchFamily="34" charset="0"/>
              <a:buChar char="•"/>
            </a:pPr>
            <a:r>
              <a:rPr lang="en-US" sz="1200" b="1"/>
              <a:t>Transparent Reporting: Clear communication </a:t>
            </a:r>
            <a:r>
              <a:rPr lang="en-US" sz="1200"/>
              <a:t>about </a:t>
            </a:r>
            <a:r>
              <a:rPr lang="en-US" sz="1200" b="1"/>
              <a:t>ESG initiatives </a:t>
            </a:r>
            <a:r>
              <a:rPr lang="en-US" sz="1200"/>
              <a:t>helps </a:t>
            </a:r>
            <a:r>
              <a:rPr lang="en-US" sz="1200" b="1"/>
              <a:t>gain investor and consumer trust</a:t>
            </a:r>
            <a:r>
              <a:rPr lang="en-US" sz="1200"/>
              <a:t>​​</a:t>
            </a:r>
          </a:p>
        </p:txBody>
      </p:sp>
      <p:sp>
        <p:nvSpPr>
          <p:cNvPr id="9" name="Textfeld 8">
            <a:extLst>
              <a:ext uri="{FF2B5EF4-FFF2-40B4-BE49-F238E27FC236}">
                <a16:creationId xmlns:a16="http://schemas.microsoft.com/office/drawing/2014/main" id="{0587BF02-9105-48B5-6CF5-A046F6706F3F}"/>
              </a:ext>
            </a:extLst>
          </p:cNvPr>
          <p:cNvSpPr txBox="1"/>
          <p:nvPr/>
        </p:nvSpPr>
        <p:spPr>
          <a:xfrm>
            <a:off x="359996" y="2283138"/>
            <a:ext cx="3854193" cy="307777"/>
          </a:xfrm>
          <a:prstGeom prst="rect">
            <a:avLst/>
          </a:prstGeom>
          <a:noFill/>
        </p:spPr>
        <p:txBody>
          <a:bodyPr wrap="square" rtlCol="0">
            <a:spAutoFit/>
          </a:bodyPr>
          <a:lstStyle/>
          <a:p>
            <a:r>
              <a:rPr lang="en-US" sz="1400" b="1"/>
              <a:t>General Revenue Growth through ESG</a:t>
            </a:r>
          </a:p>
        </p:txBody>
      </p:sp>
      <p:sp>
        <p:nvSpPr>
          <p:cNvPr id="10" name="ZoneTexte 54 - 3 - 1">
            <a:extLst>
              <a:ext uri="{FF2B5EF4-FFF2-40B4-BE49-F238E27FC236}">
                <a16:creationId xmlns:a16="http://schemas.microsoft.com/office/drawing/2014/main" id="{5802BC80-FFBC-CD00-A81C-76A0110EC363}"/>
              </a:ext>
            </a:extLst>
          </p:cNvPr>
          <p:cNvSpPr txBox="1"/>
          <p:nvPr/>
        </p:nvSpPr>
        <p:spPr>
          <a:xfrm>
            <a:off x="5073906" y="2590915"/>
            <a:ext cx="3854194" cy="3850383"/>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wrap="square" rtlCol="0" anchor="t">
            <a:noAutofit/>
          </a:bodyPr>
          <a:lstStyle/>
          <a:p>
            <a:pPr marL="171450" indent="-171450">
              <a:buFont typeface="Arial" panose="020B0604020202020204" pitchFamily="34" charset="0"/>
              <a:buChar char="•"/>
            </a:pPr>
            <a:r>
              <a:rPr lang="en-US" sz="1200" b="1"/>
              <a:t>EV Transition: Uber's shift to EVs appeals</a:t>
            </a:r>
            <a:r>
              <a:rPr lang="en-US" sz="1200"/>
              <a:t> to </a:t>
            </a:r>
            <a:r>
              <a:rPr lang="en-US" sz="1200" b="1"/>
              <a:t>environmentally conscious consumers</a:t>
            </a:r>
            <a:r>
              <a:rPr lang="en-US" sz="1200"/>
              <a:t>, potentially </a:t>
            </a:r>
            <a:r>
              <a:rPr lang="en-US" sz="1200" b="1"/>
              <a:t>increasing market share</a:t>
            </a:r>
            <a:r>
              <a:rPr lang="en-US" sz="1200"/>
              <a:t>​​</a:t>
            </a:r>
          </a:p>
          <a:p>
            <a:pPr marL="171450" indent="-171450">
              <a:buFont typeface="Arial" panose="020B0604020202020204" pitchFamily="34" charset="0"/>
              <a:buChar char="•"/>
            </a:pPr>
            <a:r>
              <a:rPr lang="en-US" sz="1200" b="1"/>
              <a:t>Improving Driver Relations: Enhancing driver pay </a:t>
            </a:r>
            <a:r>
              <a:rPr lang="en-US" sz="1200"/>
              <a:t>and safety can </a:t>
            </a:r>
            <a:r>
              <a:rPr lang="en-US" sz="1200" b="1"/>
              <a:t>improve Uber's reputation </a:t>
            </a:r>
            <a:r>
              <a:rPr lang="en-US" sz="1200"/>
              <a:t>and customer loyalty​​</a:t>
            </a:r>
          </a:p>
          <a:p>
            <a:pPr marL="171450" indent="-171450">
              <a:buFont typeface="Arial" panose="020B0604020202020204" pitchFamily="34" charset="0"/>
              <a:buChar char="•"/>
            </a:pPr>
            <a:r>
              <a:rPr lang="en-US" sz="1200" b="1"/>
              <a:t>Adapting to Consumer Behavior: Innovating</a:t>
            </a:r>
            <a:r>
              <a:rPr lang="en-US" sz="1200"/>
              <a:t> in response to the increasing consumer demand for responsible businesses </a:t>
            </a:r>
            <a:r>
              <a:rPr lang="en-US" sz="1200" b="1"/>
              <a:t>can position Uber as an industry leader​​</a:t>
            </a:r>
          </a:p>
        </p:txBody>
      </p:sp>
      <p:sp>
        <p:nvSpPr>
          <p:cNvPr id="11" name="Textfeld 10">
            <a:extLst>
              <a:ext uri="{FF2B5EF4-FFF2-40B4-BE49-F238E27FC236}">
                <a16:creationId xmlns:a16="http://schemas.microsoft.com/office/drawing/2014/main" id="{CBA36633-56CE-7CF4-5FAA-16792D2F2DC0}"/>
              </a:ext>
            </a:extLst>
          </p:cNvPr>
          <p:cNvSpPr txBox="1"/>
          <p:nvPr/>
        </p:nvSpPr>
        <p:spPr>
          <a:xfrm>
            <a:off x="5073907" y="2283137"/>
            <a:ext cx="3854193" cy="307777"/>
          </a:xfrm>
          <a:prstGeom prst="rect">
            <a:avLst/>
          </a:prstGeom>
          <a:noFill/>
        </p:spPr>
        <p:txBody>
          <a:bodyPr wrap="square" rtlCol="0">
            <a:spAutoFit/>
          </a:bodyPr>
          <a:lstStyle/>
          <a:p>
            <a:r>
              <a:rPr lang="en-US" sz="1400" b="1"/>
              <a:t>Uber Revenue Growth through ESG</a:t>
            </a:r>
          </a:p>
        </p:txBody>
      </p:sp>
      <p:sp>
        <p:nvSpPr>
          <p:cNvPr id="13" name="Inhaltsplatzhalter 12">
            <a:extLst>
              <a:ext uri="{FF2B5EF4-FFF2-40B4-BE49-F238E27FC236}">
                <a16:creationId xmlns:a16="http://schemas.microsoft.com/office/drawing/2014/main" id="{D7D9A494-FC1F-CAC4-9F57-0065FC1FE052}"/>
              </a:ext>
            </a:extLst>
          </p:cNvPr>
          <p:cNvSpPr>
            <a:spLocks noGrp="1"/>
          </p:cNvSpPr>
          <p:nvPr>
            <p:ph idx="11"/>
          </p:nvPr>
        </p:nvSpPr>
        <p:spPr/>
        <p:txBody>
          <a:bodyPr/>
          <a:lstStyle/>
          <a:p>
            <a:r>
              <a:rPr lang="en-US">
                <a:hlinkClick r:id="rId6"/>
              </a:rPr>
              <a:t>McKinsey 2023</a:t>
            </a:r>
            <a:r>
              <a:rPr lang="en-US"/>
              <a:t>, </a:t>
            </a:r>
            <a:r>
              <a:rPr lang="en-US">
                <a:hlinkClick r:id="rId7"/>
              </a:rPr>
              <a:t>Permutable.AI 2023</a:t>
            </a:r>
            <a:endParaRPr lang="en-US"/>
          </a:p>
        </p:txBody>
      </p:sp>
    </p:spTree>
    <p:extLst>
      <p:ext uri="{BB962C8B-B14F-4D97-AF65-F5344CB8AC3E}">
        <p14:creationId xmlns:p14="http://schemas.microsoft.com/office/powerpoint/2010/main" val="56149917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2F0F678-2764-8918-EF98-93591CA8FA64}"/>
              </a:ext>
            </a:extLst>
          </p:cNvPr>
          <p:cNvGraphicFramePr>
            <a:graphicFrameLocks noChangeAspect="1"/>
          </p:cNvGraphicFramePr>
          <p:nvPr>
            <p:custDataLst>
              <p:tags r:id="rId1"/>
            </p:custDataLst>
            <p:extLst>
              <p:ext uri="{D42A27DB-BD31-4B8C-83A1-F6EECF244321}">
                <p14:modId xmlns:p14="http://schemas.microsoft.com/office/powerpoint/2010/main" val="147154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2" name="think-cell data - do not delete" hidden="1">
                        <a:extLst>
                          <a:ext uri="{FF2B5EF4-FFF2-40B4-BE49-F238E27FC236}">
                            <a16:creationId xmlns:a16="http://schemas.microsoft.com/office/drawing/2014/main" id="{42F0F678-2764-8918-EF98-93591CA8FA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D8EDD2-84ED-DE4A-734B-283E2B0BCFCE}"/>
              </a:ext>
            </a:extLst>
          </p:cNvPr>
          <p:cNvSpPr>
            <a:spLocks noGrp="1"/>
          </p:cNvSpPr>
          <p:nvPr>
            <p:ph type="title"/>
          </p:nvPr>
        </p:nvSpPr>
        <p:spPr/>
        <p:txBody>
          <a:bodyPr vert="horz"/>
          <a:lstStyle/>
          <a:p>
            <a:r>
              <a:rPr lang="en-US"/>
              <a:t>Uber can improve its financial valuation through ESG and secure better long-term sustainability by adreesing key priorities</a:t>
            </a:r>
          </a:p>
        </p:txBody>
      </p:sp>
      <p:sp>
        <p:nvSpPr>
          <p:cNvPr id="4" name="Foliennummernplatzhalter 3">
            <a:extLst>
              <a:ext uri="{FF2B5EF4-FFF2-40B4-BE49-F238E27FC236}">
                <a16:creationId xmlns:a16="http://schemas.microsoft.com/office/drawing/2014/main" id="{7FB46D2D-7718-A11A-A02D-53591F02A4EA}"/>
              </a:ext>
            </a:extLst>
          </p:cNvPr>
          <p:cNvSpPr>
            <a:spLocks noGrp="1"/>
          </p:cNvSpPr>
          <p:nvPr>
            <p:ph type="sldNum" sz="quarter" idx="4"/>
          </p:nvPr>
        </p:nvSpPr>
        <p:spPr/>
        <p:txBody>
          <a:bodyPr/>
          <a:lstStyle/>
          <a:p>
            <a:fld id="{BAF04893-69FB-435D-AB2E-CA259D85B32F}" type="slidenum">
              <a:rPr lang="en-US" smtClean="0"/>
              <a:pPr/>
              <a:t>72</a:t>
            </a:fld>
            <a:endParaRPr lang="en-US"/>
          </a:p>
        </p:txBody>
      </p:sp>
      <p:sp>
        <p:nvSpPr>
          <p:cNvPr id="5" name="Inhaltsplatzhalter 4">
            <a:extLst>
              <a:ext uri="{FF2B5EF4-FFF2-40B4-BE49-F238E27FC236}">
                <a16:creationId xmlns:a16="http://schemas.microsoft.com/office/drawing/2014/main" id="{EFA2F9DB-B164-3DC7-B4B6-886999C79FD2}"/>
              </a:ext>
            </a:extLst>
          </p:cNvPr>
          <p:cNvSpPr>
            <a:spLocks noGrp="1"/>
          </p:cNvSpPr>
          <p:nvPr>
            <p:ph idx="10"/>
          </p:nvPr>
        </p:nvSpPr>
        <p:spPr/>
        <p:txBody>
          <a:bodyPr/>
          <a:lstStyle/>
          <a:p>
            <a:r>
              <a:rPr lang="en-US"/>
              <a:t>Advantages through the Application of ESG-Initiatives</a:t>
            </a:r>
          </a:p>
        </p:txBody>
      </p:sp>
      <p:sp>
        <p:nvSpPr>
          <p:cNvPr id="7" name="Inhaltsplatzhalter 6">
            <a:extLst>
              <a:ext uri="{FF2B5EF4-FFF2-40B4-BE49-F238E27FC236}">
                <a16:creationId xmlns:a16="http://schemas.microsoft.com/office/drawing/2014/main" id="{8060D6B5-3B54-D5DF-DAA4-47C8816CC56B}"/>
              </a:ext>
            </a:extLst>
          </p:cNvPr>
          <p:cNvSpPr>
            <a:spLocks noGrp="1"/>
          </p:cNvSpPr>
          <p:nvPr>
            <p:ph idx="12"/>
          </p:nvPr>
        </p:nvSpPr>
        <p:spPr/>
        <p:txBody>
          <a:bodyPr/>
          <a:lstStyle/>
          <a:p>
            <a:r>
              <a:rPr lang="en-US"/>
              <a:t>ESG</a:t>
            </a:r>
          </a:p>
        </p:txBody>
      </p:sp>
      <p:sp>
        <p:nvSpPr>
          <p:cNvPr id="8" name="ZoneTexte 54 - 3 - 1">
            <a:extLst>
              <a:ext uri="{FF2B5EF4-FFF2-40B4-BE49-F238E27FC236}">
                <a16:creationId xmlns:a16="http://schemas.microsoft.com/office/drawing/2014/main" id="{ED04975C-C723-263B-2CFF-E2CA08DDDE95}"/>
              </a:ext>
            </a:extLst>
          </p:cNvPr>
          <p:cNvSpPr txBox="1"/>
          <p:nvPr/>
        </p:nvSpPr>
        <p:spPr>
          <a:xfrm>
            <a:off x="359997" y="2806358"/>
            <a:ext cx="3854194" cy="3634940"/>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wrap="square" rtlCol="0" anchor="t">
            <a:noAutofit/>
          </a:bodyPr>
          <a:lstStyle/>
          <a:p>
            <a:pPr marL="171450" indent="-171450">
              <a:buFont typeface="Arial" panose="020B0604020202020204" pitchFamily="34" charset="0"/>
              <a:buChar char="•"/>
            </a:pPr>
            <a:r>
              <a:rPr lang="en-US" sz="1200" b="1"/>
              <a:t>Financial Performance Correlation</a:t>
            </a:r>
            <a:r>
              <a:rPr lang="en-US" sz="1200"/>
              <a:t>: Strong ESG performance correlates with higher equity returns, reduced risk, improved Return on Equity (ROE), and Return on Assets (ROA)​​</a:t>
            </a:r>
          </a:p>
          <a:p>
            <a:pPr marL="171450" indent="-171450">
              <a:buFont typeface="Arial" panose="020B0604020202020204" pitchFamily="34" charset="0"/>
              <a:buChar char="•"/>
            </a:pPr>
            <a:r>
              <a:rPr lang="en-US" sz="1200" b="1"/>
              <a:t>ESG Risk Management:</a:t>
            </a:r>
            <a:r>
              <a:rPr lang="en-US" sz="1200"/>
              <a:t> Focused ESG management, like emissions reduction and operational risk programs, can enhance financial performance and productivity​​</a:t>
            </a:r>
          </a:p>
          <a:p>
            <a:pPr marL="171450" indent="-171450">
              <a:buFont typeface="Arial" panose="020B0604020202020204" pitchFamily="34" charset="0"/>
              <a:buChar char="•"/>
            </a:pPr>
            <a:r>
              <a:rPr lang="en-US" sz="1200" b="1"/>
              <a:t>DEIB and Governance Benefits</a:t>
            </a:r>
            <a:r>
              <a:rPr lang="en-US" sz="1200"/>
              <a:t>: Emphasizing Diversity, Equity, Inclusion, and Belonging (DEIB), along with strong governance, can increase worker productivity and reduce regulatory risks​​</a:t>
            </a:r>
          </a:p>
        </p:txBody>
      </p:sp>
      <p:sp>
        <p:nvSpPr>
          <p:cNvPr id="9" name="Textfeld 8">
            <a:extLst>
              <a:ext uri="{FF2B5EF4-FFF2-40B4-BE49-F238E27FC236}">
                <a16:creationId xmlns:a16="http://schemas.microsoft.com/office/drawing/2014/main" id="{0587BF02-9105-48B5-6CF5-A046F6706F3F}"/>
              </a:ext>
            </a:extLst>
          </p:cNvPr>
          <p:cNvSpPr txBox="1"/>
          <p:nvPr/>
        </p:nvSpPr>
        <p:spPr>
          <a:xfrm>
            <a:off x="359996" y="2283138"/>
            <a:ext cx="3854193" cy="523220"/>
          </a:xfrm>
          <a:prstGeom prst="rect">
            <a:avLst/>
          </a:prstGeom>
          <a:noFill/>
        </p:spPr>
        <p:txBody>
          <a:bodyPr wrap="square" rtlCol="0">
            <a:spAutoFit/>
          </a:bodyPr>
          <a:lstStyle/>
          <a:p>
            <a:r>
              <a:rPr lang="en-US" sz="1400" b="1"/>
              <a:t>General improvement of Financial Valuation through ESG</a:t>
            </a:r>
          </a:p>
        </p:txBody>
      </p:sp>
      <p:sp>
        <p:nvSpPr>
          <p:cNvPr id="10" name="ZoneTexte 54 - 3 - 1">
            <a:extLst>
              <a:ext uri="{FF2B5EF4-FFF2-40B4-BE49-F238E27FC236}">
                <a16:creationId xmlns:a16="http://schemas.microsoft.com/office/drawing/2014/main" id="{5802BC80-FFBC-CD00-A81C-76A0110EC363}"/>
              </a:ext>
            </a:extLst>
          </p:cNvPr>
          <p:cNvSpPr txBox="1"/>
          <p:nvPr/>
        </p:nvSpPr>
        <p:spPr>
          <a:xfrm>
            <a:off x="5073906" y="2806358"/>
            <a:ext cx="3854194" cy="3634940"/>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wrap="square" rtlCol="0" anchor="t">
            <a:noAutofit/>
          </a:bodyPr>
          <a:lstStyle/>
          <a:p>
            <a:pPr marL="171450" indent="-171450">
              <a:buFont typeface="Arial" panose="020B0604020202020204" pitchFamily="34" charset="0"/>
              <a:buChar char="•"/>
            </a:pPr>
            <a:r>
              <a:rPr lang="en-US" sz="1200" b="1"/>
              <a:t>Sustainable Business Focus</a:t>
            </a:r>
            <a:r>
              <a:rPr lang="en-US" sz="1200"/>
              <a:t>: Uber aims for long-term sustainability by addressing key environmental, social, and governance priorities, impacting their bottom line​​</a:t>
            </a:r>
          </a:p>
          <a:p>
            <a:pPr marL="171450" indent="-171450">
              <a:buFont typeface="Arial" panose="020B0604020202020204" pitchFamily="34" charset="0"/>
              <a:buChar char="•"/>
            </a:pPr>
            <a:r>
              <a:rPr lang="en-US" sz="1200" b="1"/>
              <a:t>Zero Emissions Goal</a:t>
            </a:r>
            <a:r>
              <a:rPr lang="en-US" sz="1200"/>
              <a:t>: Uber targets net zero emissions by 2040, planning for all rides to be via zero-emission vehicles or public transit by 2030 in key markets and globally by 2040​​</a:t>
            </a:r>
          </a:p>
          <a:p>
            <a:pPr marL="171450" indent="-171450">
              <a:buFont typeface="Arial" panose="020B0604020202020204" pitchFamily="34" charset="0"/>
              <a:buChar char="•"/>
            </a:pPr>
            <a:r>
              <a:rPr lang="en-US" sz="1200" b="1"/>
              <a:t>Employee Engagement Strategy</a:t>
            </a:r>
            <a:r>
              <a:rPr lang="en-US" sz="1200"/>
              <a:t>: Uber's strategy focuses on understanding and addressing diverse employee needs, promoting an inclusive work environment​​</a:t>
            </a:r>
          </a:p>
          <a:p>
            <a:pPr marL="171450" indent="-171450">
              <a:buFont typeface="Arial" panose="020B0604020202020204" pitchFamily="34" charset="0"/>
              <a:buChar char="•"/>
            </a:pPr>
            <a:r>
              <a:rPr lang="en-US" sz="1200" b="1"/>
              <a:t>Board Oversight on ESG</a:t>
            </a:r>
            <a:r>
              <a:rPr lang="en-US" sz="1200"/>
              <a:t>: Uber’s ESG issues are overseen by its Board of Directors, aligning them with the company's long-term business strategy​​</a:t>
            </a:r>
          </a:p>
        </p:txBody>
      </p:sp>
      <p:sp>
        <p:nvSpPr>
          <p:cNvPr id="11" name="Textfeld 10">
            <a:extLst>
              <a:ext uri="{FF2B5EF4-FFF2-40B4-BE49-F238E27FC236}">
                <a16:creationId xmlns:a16="http://schemas.microsoft.com/office/drawing/2014/main" id="{CBA36633-56CE-7CF4-5FAA-16792D2F2DC0}"/>
              </a:ext>
            </a:extLst>
          </p:cNvPr>
          <p:cNvSpPr txBox="1"/>
          <p:nvPr/>
        </p:nvSpPr>
        <p:spPr>
          <a:xfrm>
            <a:off x="5073907" y="2283137"/>
            <a:ext cx="3854193" cy="523220"/>
          </a:xfrm>
          <a:prstGeom prst="rect">
            <a:avLst/>
          </a:prstGeom>
          <a:noFill/>
        </p:spPr>
        <p:txBody>
          <a:bodyPr wrap="square" rtlCol="0">
            <a:spAutoFit/>
          </a:bodyPr>
          <a:lstStyle/>
          <a:p>
            <a:r>
              <a:rPr lang="en-US" sz="1400" b="1"/>
              <a:t>Uber improvement of Financial Valuation through ESG</a:t>
            </a:r>
          </a:p>
        </p:txBody>
      </p:sp>
      <p:sp>
        <p:nvSpPr>
          <p:cNvPr id="13" name="Inhaltsplatzhalter 12">
            <a:extLst>
              <a:ext uri="{FF2B5EF4-FFF2-40B4-BE49-F238E27FC236}">
                <a16:creationId xmlns:a16="http://schemas.microsoft.com/office/drawing/2014/main" id="{D7D9A494-FC1F-CAC4-9F57-0065FC1FE052}"/>
              </a:ext>
            </a:extLst>
          </p:cNvPr>
          <p:cNvSpPr>
            <a:spLocks noGrp="1"/>
          </p:cNvSpPr>
          <p:nvPr>
            <p:ph idx="11"/>
          </p:nvPr>
        </p:nvSpPr>
        <p:spPr/>
        <p:txBody>
          <a:bodyPr/>
          <a:lstStyle/>
          <a:p>
            <a:r>
              <a:rPr lang="en-US">
                <a:hlinkClick r:id="rId6"/>
              </a:rPr>
              <a:t>Wolters Kluwer 2023</a:t>
            </a:r>
            <a:r>
              <a:rPr lang="en-US"/>
              <a:t>, </a:t>
            </a:r>
            <a:r>
              <a:rPr lang="en-US">
                <a:hlinkClick r:id="rId7"/>
              </a:rPr>
              <a:t>Uber</a:t>
            </a:r>
            <a:endParaRPr lang="en-US"/>
          </a:p>
        </p:txBody>
      </p:sp>
    </p:spTree>
    <p:extLst>
      <p:ext uri="{BB962C8B-B14F-4D97-AF65-F5344CB8AC3E}">
        <p14:creationId xmlns:p14="http://schemas.microsoft.com/office/powerpoint/2010/main" val="30386512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2F0F678-2764-8918-EF98-93591CA8FA64}"/>
              </a:ext>
            </a:extLst>
          </p:cNvPr>
          <p:cNvGraphicFramePr>
            <a:graphicFrameLocks noChangeAspect="1"/>
          </p:cNvGraphicFramePr>
          <p:nvPr>
            <p:custDataLst>
              <p:tags r:id="rId1"/>
            </p:custDataLst>
            <p:extLst>
              <p:ext uri="{D42A27DB-BD31-4B8C-83A1-F6EECF244321}">
                <p14:modId xmlns:p14="http://schemas.microsoft.com/office/powerpoint/2010/main" val="1460261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2" name="think-cell data - do not delete" hidden="1">
                        <a:extLst>
                          <a:ext uri="{FF2B5EF4-FFF2-40B4-BE49-F238E27FC236}">
                            <a16:creationId xmlns:a16="http://schemas.microsoft.com/office/drawing/2014/main" id="{42F0F678-2764-8918-EF98-93591CA8FA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D8EDD2-84ED-DE4A-734B-283E2B0BCFCE}"/>
              </a:ext>
            </a:extLst>
          </p:cNvPr>
          <p:cNvSpPr>
            <a:spLocks noGrp="1"/>
          </p:cNvSpPr>
          <p:nvPr>
            <p:ph type="title"/>
          </p:nvPr>
        </p:nvSpPr>
        <p:spPr/>
        <p:txBody>
          <a:bodyPr vert="horz"/>
          <a:lstStyle/>
          <a:p>
            <a:r>
              <a:rPr lang="en-US"/>
              <a:t>Through the implementation of ESG-Initiatives, Uber can enhance ist workplace environment and elevate employee engagement</a:t>
            </a:r>
          </a:p>
        </p:txBody>
      </p:sp>
      <p:sp>
        <p:nvSpPr>
          <p:cNvPr id="4" name="Foliennummernplatzhalter 3">
            <a:extLst>
              <a:ext uri="{FF2B5EF4-FFF2-40B4-BE49-F238E27FC236}">
                <a16:creationId xmlns:a16="http://schemas.microsoft.com/office/drawing/2014/main" id="{7FB46D2D-7718-A11A-A02D-53591F02A4EA}"/>
              </a:ext>
            </a:extLst>
          </p:cNvPr>
          <p:cNvSpPr>
            <a:spLocks noGrp="1"/>
          </p:cNvSpPr>
          <p:nvPr>
            <p:ph type="sldNum" sz="quarter" idx="4"/>
          </p:nvPr>
        </p:nvSpPr>
        <p:spPr/>
        <p:txBody>
          <a:bodyPr/>
          <a:lstStyle/>
          <a:p>
            <a:fld id="{BAF04893-69FB-435D-AB2E-CA259D85B32F}" type="slidenum">
              <a:rPr lang="en-US" smtClean="0"/>
              <a:pPr/>
              <a:t>73</a:t>
            </a:fld>
            <a:endParaRPr lang="en-US"/>
          </a:p>
        </p:txBody>
      </p:sp>
      <p:sp>
        <p:nvSpPr>
          <p:cNvPr id="5" name="Inhaltsplatzhalter 4">
            <a:extLst>
              <a:ext uri="{FF2B5EF4-FFF2-40B4-BE49-F238E27FC236}">
                <a16:creationId xmlns:a16="http://schemas.microsoft.com/office/drawing/2014/main" id="{EFA2F9DB-B164-3DC7-B4B6-886999C79FD2}"/>
              </a:ext>
            </a:extLst>
          </p:cNvPr>
          <p:cNvSpPr>
            <a:spLocks noGrp="1"/>
          </p:cNvSpPr>
          <p:nvPr>
            <p:ph idx="10"/>
          </p:nvPr>
        </p:nvSpPr>
        <p:spPr/>
        <p:txBody>
          <a:bodyPr/>
          <a:lstStyle/>
          <a:p>
            <a:r>
              <a:rPr lang="en-US"/>
              <a:t>Advantages through the Application of ESG-Initiatives</a:t>
            </a:r>
          </a:p>
        </p:txBody>
      </p:sp>
      <p:sp>
        <p:nvSpPr>
          <p:cNvPr id="7" name="Inhaltsplatzhalter 6">
            <a:extLst>
              <a:ext uri="{FF2B5EF4-FFF2-40B4-BE49-F238E27FC236}">
                <a16:creationId xmlns:a16="http://schemas.microsoft.com/office/drawing/2014/main" id="{8060D6B5-3B54-D5DF-DAA4-47C8816CC56B}"/>
              </a:ext>
            </a:extLst>
          </p:cNvPr>
          <p:cNvSpPr>
            <a:spLocks noGrp="1"/>
          </p:cNvSpPr>
          <p:nvPr>
            <p:ph idx="12"/>
          </p:nvPr>
        </p:nvSpPr>
        <p:spPr/>
        <p:txBody>
          <a:bodyPr/>
          <a:lstStyle/>
          <a:p>
            <a:r>
              <a:rPr lang="en-US"/>
              <a:t>ESG</a:t>
            </a:r>
          </a:p>
        </p:txBody>
      </p:sp>
      <p:sp>
        <p:nvSpPr>
          <p:cNvPr id="8" name="ZoneTexte 54 - 3 - 1">
            <a:extLst>
              <a:ext uri="{FF2B5EF4-FFF2-40B4-BE49-F238E27FC236}">
                <a16:creationId xmlns:a16="http://schemas.microsoft.com/office/drawing/2014/main" id="{ED04975C-C723-263B-2CFF-E2CA08DDDE95}"/>
              </a:ext>
            </a:extLst>
          </p:cNvPr>
          <p:cNvSpPr txBox="1"/>
          <p:nvPr/>
        </p:nvSpPr>
        <p:spPr>
          <a:xfrm>
            <a:off x="359997" y="2590915"/>
            <a:ext cx="3854194" cy="3850383"/>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wrap="square" rtlCol="0" anchor="t">
            <a:noAutofit/>
          </a:bodyPr>
          <a:lstStyle/>
          <a:p>
            <a:pPr marL="171450" indent="-171450">
              <a:buFont typeface="Arial" panose="020B0604020202020204" pitchFamily="34" charset="0"/>
              <a:buChar char="•"/>
            </a:pPr>
            <a:r>
              <a:rPr lang="en-US" sz="1200" b="1"/>
              <a:t>Talent Attraction and Loyalty: </a:t>
            </a:r>
            <a:r>
              <a:rPr lang="en-US" sz="1200"/>
              <a:t>Strong ESG profiles </a:t>
            </a:r>
            <a:r>
              <a:rPr lang="en-US" sz="1200" b="1"/>
              <a:t>enhance recruitment</a:t>
            </a:r>
            <a:r>
              <a:rPr lang="en-US" sz="1200"/>
              <a:t> and </a:t>
            </a:r>
            <a:r>
              <a:rPr lang="en-US" sz="1200" b="1"/>
              <a:t>retention</a:t>
            </a:r>
            <a:r>
              <a:rPr lang="en-US" sz="1200"/>
              <a:t>, especially </a:t>
            </a:r>
            <a:r>
              <a:rPr lang="en-US" sz="1200" b="1"/>
              <a:t>among values-driven younger generations</a:t>
            </a:r>
            <a:r>
              <a:rPr lang="en-US" sz="1200"/>
              <a:t>​​</a:t>
            </a:r>
          </a:p>
          <a:p>
            <a:pPr marL="171450" indent="-171450">
              <a:buFont typeface="Arial" panose="020B0604020202020204" pitchFamily="34" charset="0"/>
              <a:buChar char="•"/>
            </a:pPr>
            <a:r>
              <a:rPr lang="en-US" sz="1200" b="1"/>
              <a:t>Social Investment</a:t>
            </a:r>
            <a:r>
              <a:rPr lang="en-US" sz="1200"/>
              <a:t>: By </a:t>
            </a:r>
            <a:r>
              <a:rPr lang="en-US" sz="1200" b="1"/>
              <a:t>emphasizing</a:t>
            </a:r>
            <a:r>
              <a:rPr lang="en-US" sz="1200"/>
              <a:t> </a:t>
            </a:r>
            <a:r>
              <a:rPr lang="en-US" sz="1200" b="1"/>
              <a:t>social aspects </a:t>
            </a:r>
            <a:r>
              <a:rPr lang="en-US" sz="1200"/>
              <a:t>and investing in the well-being of employees, their </a:t>
            </a:r>
            <a:r>
              <a:rPr lang="en-US" sz="1200" b="1"/>
              <a:t>commitment and satisfaction can be increased</a:t>
            </a:r>
          </a:p>
          <a:p>
            <a:pPr marL="171450" indent="-171450">
              <a:buFont typeface="Arial" panose="020B0604020202020204" pitchFamily="34" charset="0"/>
              <a:buChar char="•"/>
            </a:pPr>
            <a:r>
              <a:rPr lang="en-US" sz="1200" b="1"/>
              <a:t>Investment into a safe working environment</a:t>
            </a:r>
            <a:r>
              <a:rPr lang="en-US" sz="1200"/>
              <a:t>: </a:t>
            </a:r>
            <a:r>
              <a:rPr lang="en-US" sz="1200" b="1"/>
              <a:t>Investing</a:t>
            </a:r>
            <a:r>
              <a:rPr lang="en-US" sz="1200"/>
              <a:t> in a </a:t>
            </a:r>
            <a:r>
              <a:rPr lang="en-US" sz="1200" b="1"/>
              <a:t>safe and healthy </a:t>
            </a:r>
            <a:r>
              <a:rPr lang="en-US" sz="1200"/>
              <a:t>working environment </a:t>
            </a:r>
            <a:r>
              <a:rPr lang="en-US" sz="1200" b="1"/>
              <a:t>reduces sick days</a:t>
            </a:r>
            <a:r>
              <a:rPr lang="en-US" sz="1200"/>
              <a:t> and </a:t>
            </a:r>
            <a:r>
              <a:rPr lang="en-US" sz="1200" b="1"/>
              <a:t>increases employee efficiency </a:t>
            </a:r>
          </a:p>
          <a:p>
            <a:pPr marL="171450" indent="-171450">
              <a:buFont typeface="Arial" panose="020B0604020202020204" pitchFamily="34" charset="0"/>
              <a:buChar char="•"/>
            </a:pPr>
            <a:r>
              <a:rPr lang="en-US" sz="1200" b="1"/>
              <a:t>Environmental Focus</a:t>
            </a:r>
            <a:r>
              <a:rPr lang="en-US" sz="1200"/>
              <a:t>: A </a:t>
            </a:r>
            <a:r>
              <a:rPr lang="en-US" sz="1200" b="1"/>
              <a:t>strong focus </a:t>
            </a:r>
            <a:r>
              <a:rPr lang="en-US" sz="1200"/>
              <a:t>on the </a:t>
            </a:r>
            <a:r>
              <a:rPr lang="en-US" sz="1200" b="1"/>
              <a:t>environment</a:t>
            </a:r>
            <a:r>
              <a:rPr lang="en-US" sz="1200"/>
              <a:t> and </a:t>
            </a:r>
            <a:r>
              <a:rPr lang="en-US" sz="1200" b="1"/>
              <a:t>sustainability</a:t>
            </a:r>
            <a:r>
              <a:rPr lang="en-US" sz="1200"/>
              <a:t> can </a:t>
            </a:r>
            <a:r>
              <a:rPr lang="en-US" sz="1200" b="1"/>
              <a:t>encourage</a:t>
            </a:r>
            <a:r>
              <a:rPr lang="en-US" sz="1200"/>
              <a:t> </a:t>
            </a:r>
            <a:r>
              <a:rPr lang="en-US" sz="1200" b="1"/>
              <a:t>innovation</a:t>
            </a:r>
            <a:r>
              <a:rPr lang="en-US" sz="1200"/>
              <a:t> as companies look for new, more efficient processes and products</a:t>
            </a:r>
          </a:p>
          <a:p>
            <a:pPr marL="171450" indent="-171450">
              <a:buFont typeface="Arial" panose="020B0604020202020204" pitchFamily="34" charset="0"/>
              <a:buChar char="•"/>
            </a:pPr>
            <a:r>
              <a:rPr lang="en-US" sz="1200" b="1"/>
              <a:t>Transparency: Transparent</a:t>
            </a:r>
            <a:r>
              <a:rPr lang="en-US" sz="1200"/>
              <a:t> and </a:t>
            </a:r>
            <a:r>
              <a:rPr lang="en-US" sz="1200" b="1"/>
              <a:t>inclusive</a:t>
            </a:r>
            <a:r>
              <a:rPr lang="en-US" sz="1200"/>
              <a:t> </a:t>
            </a:r>
            <a:r>
              <a:rPr lang="en-US" sz="1200" b="1"/>
              <a:t>governance</a:t>
            </a:r>
            <a:r>
              <a:rPr lang="en-US" sz="1200"/>
              <a:t> </a:t>
            </a:r>
            <a:r>
              <a:rPr lang="en-US" sz="1200" b="1"/>
              <a:t>creates</a:t>
            </a:r>
            <a:r>
              <a:rPr lang="en-US" sz="1200"/>
              <a:t> a </a:t>
            </a:r>
            <a:r>
              <a:rPr lang="en-US" sz="1200" b="1"/>
              <a:t>culture</a:t>
            </a:r>
            <a:r>
              <a:rPr lang="en-US" sz="1200"/>
              <a:t> of </a:t>
            </a:r>
            <a:r>
              <a:rPr lang="en-US" sz="1200" b="1"/>
              <a:t>accountability</a:t>
            </a:r>
            <a:r>
              <a:rPr lang="en-US" sz="1200"/>
              <a:t> and </a:t>
            </a:r>
            <a:r>
              <a:rPr lang="en-US" sz="1200" b="1"/>
              <a:t>responsibility</a:t>
            </a:r>
            <a:r>
              <a:rPr lang="en-US" sz="1200"/>
              <a:t>, which can improve organizational efficiency and productivity</a:t>
            </a:r>
          </a:p>
        </p:txBody>
      </p:sp>
      <p:sp>
        <p:nvSpPr>
          <p:cNvPr id="9" name="Textfeld 8">
            <a:extLst>
              <a:ext uri="{FF2B5EF4-FFF2-40B4-BE49-F238E27FC236}">
                <a16:creationId xmlns:a16="http://schemas.microsoft.com/office/drawing/2014/main" id="{0587BF02-9105-48B5-6CF5-A046F6706F3F}"/>
              </a:ext>
            </a:extLst>
          </p:cNvPr>
          <p:cNvSpPr txBox="1"/>
          <p:nvPr/>
        </p:nvSpPr>
        <p:spPr>
          <a:xfrm>
            <a:off x="359996" y="2283138"/>
            <a:ext cx="3854193" cy="307777"/>
          </a:xfrm>
          <a:prstGeom prst="rect">
            <a:avLst/>
          </a:prstGeom>
          <a:noFill/>
        </p:spPr>
        <p:txBody>
          <a:bodyPr wrap="square" rtlCol="0">
            <a:spAutoFit/>
          </a:bodyPr>
          <a:lstStyle/>
          <a:p>
            <a:r>
              <a:rPr lang="en-US" sz="1400" b="1"/>
              <a:t>General productivity increasement through ESG</a:t>
            </a:r>
          </a:p>
        </p:txBody>
      </p:sp>
      <p:sp>
        <p:nvSpPr>
          <p:cNvPr id="10" name="ZoneTexte 54 - 3 - 1">
            <a:extLst>
              <a:ext uri="{FF2B5EF4-FFF2-40B4-BE49-F238E27FC236}">
                <a16:creationId xmlns:a16="http://schemas.microsoft.com/office/drawing/2014/main" id="{5802BC80-FFBC-CD00-A81C-76A0110EC363}"/>
              </a:ext>
            </a:extLst>
          </p:cNvPr>
          <p:cNvSpPr txBox="1"/>
          <p:nvPr/>
        </p:nvSpPr>
        <p:spPr>
          <a:xfrm>
            <a:off x="5073906" y="2590914"/>
            <a:ext cx="3854194" cy="3850384"/>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wrap="square" rtlCol="0" anchor="t">
            <a:noAutofit/>
          </a:bodyPr>
          <a:lstStyle/>
          <a:p>
            <a:pPr marL="171450" indent="-171450">
              <a:buFont typeface="Arial" panose="020B0604020202020204" pitchFamily="34" charset="0"/>
              <a:buChar char="•"/>
            </a:pPr>
            <a:r>
              <a:rPr lang="en-US" sz="1200" b="1"/>
              <a:t>Workplace Environment</a:t>
            </a:r>
            <a:r>
              <a:rPr lang="en-US" sz="1200"/>
              <a:t>: Embracing </a:t>
            </a:r>
            <a:r>
              <a:rPr lang="en-US" sz="1200" b="1"/>
              <a:t>ESG initiatives </a:t>
            </a:r>
            <a:r>
              <a:rPr lang="en-US" sz="1200"/>
              <a:t>can </a:t>
            </a:r>
            <a:r>
              <a:rPr lang="en-US" sz="1200" b="1"/>
              <a:t>enhance</a:t>
            </a:r>
            <a:r>
              <a:rPr lang="en-US" sz="1200"/>
              <a:t> the </a:t>
            </a:r>
            <a:r>
              <a:rPr lang="en-US" sz="1200" b="1"/>
              <a:t>workplace environment </a:t>
            </a:r>
            <a:r>
              <a:rPr lang="en-US" sz="1200"/>
              <a:t>and elevate employee engagement, ultimately resulting in heightened productivity</a:t>
            </a:r>
          </a:p>
          <a:p>
            <a:pPr marL="171450" indent="-171450">
              <a:buFont typeface="Arial" panose="020B0604020202020204" pitchFamily="34" charset="0"/>
              <a:buChar char="•"/>
            </a:pPr>
            <a:r>
              <a:rPr lang="en-US" sz="1200" b="1"/>
              <a:t>Innovation</a:t>
            </a:r>
            <a:r>
              <a:rPr lang="en-US" sz="1200"/>
              <a:t>: ESG practices </a:t>
            </a:r>
            <a:r>
              <a:rPr lang="en-US" sz="1200" b="1"/>
              <a:t>stimulate</a:t>
            </a:r>
            <a:r>
              <a:rPr lang="en-US" sz="1200"/>
              <a:t> </a:t>
            </a:r>
            <a:r>
              <a:rPr lang="en-US" sz="1200" b="1"/>
              <a:t>innovation</a:t>
            </a:r>
            <a:r>
              <a:rPr lang="en-US" sz="1200"/>
              <a:t> within Uber, </a:t>
            </a:r>
            <a:r>
              <a:rPr lang="en-US" sz="1200" b="1"/>
              <a:t>paving the way for the creation of novel</a:t>
            </a:r>
            <a:r>
              <a:rPr lang="en-US" sz="1200"/>
              <a:t>, more streamlined, and sustainable business models and technologies</a:t>
            </a:r>
          </a:p>
          <a:p>
            <a:pPr marL="171450" indent="-171450">
              <a:buFont typeface="Arial" panose="020B0604020202020204" pitchFamily="34" charset="0"/>
              <a:buChar char="•"/>
            </a:pPr>
            <a:r>
              <a:rPr lang="en-US" sz="1200" b="1"/>
              <a:t>Operational Efficiency</a:t>
            </a:r>
            <a:r>
              <a:rPr lang="en-US" sz="1200"/>
              <a:t>: The </a:t>
            </a:r>
            <a:r>
              <a:rPr lang="en-US" sz="1200" b="1"/>
              <a:t>adoption of ESG standards enables Uber to fine-tune its internal operations</a:t>
            </a:r>
            <a:r>
              <a:rPr lang="en-US" sz="1200"/>
              <a:t>, making them </a:t>
            </a:r>
            <a:r>
              <a:rPr lang="en-US" sz="1200" b="1"/>
              <a:t>more effective and efficient</a:t>
            </a:r>
          </a:p>
        </p:txBody>
      </p:sp>
      <p:sp>
        <p:nvSpPr>
          <p:cNvPr id="11" name="Textfeld 10">
            <a:extLst>
              <a:ext uri="{FF2B5EF4-FFF2-40B4-BE49-F238E27FC236}">
                <a16:creationId xmlns:a16="http://schemas.microsoft.com/office/drawing/2014/main" id="{CBA36633-56CE-7CF4-5FAA-16792D2F2DC0}"/>
              </a:ext>
            </a:extLst>
          </p:cNvPr>
          <p:cNvSpPr txBox="1"/>
          <p:nvPr/>
        </p:nvSpPr>
        <p:spPr>
          <a:xfrm>
            <a:off x="5073907" y="2283137"/>
            <a:ext cx="3854193" cy="307777"/>
          </a:xfrm>
          <a:prstGeom prst="rect">
            <a:avLst/>
          </a:prstGeom>
          <a:noFill/>
        </p:spPr>
        <p:txBody>
          <a:bodyPr wrap="square" rtlCol="0">
            <a:spAutoFit/>
          </a:bodyPr>
          <a:lstStyle/>
          <a:p>
            <a:r>
              <a:rPr lang="en-US" sz="1400" b="1"/>
              <a:t>Uber productivity increasement through ESG</a:t>
            </a:r>
          </a:p>
        </p:txBody>
      </p:sp>
      <p:sp>
        <p:nvSpPr>
          <p:cNvPr id="13" name="Inhaltsplatzhalter 12">
            <a:extLst>
              <a:ext uri="{FF2B5EF4-FFF2-40B4-BE49-F238E27FC236}">
                <a16:creationId xmlns:a16="http://schemas.microsoft.com/office/drawing/2014/main" id="{D7D9A494-FC1F-CAC4-9F57-0065FC1FE052}"/>
              </a:ext>
            </a:extLst>
          </p:cNvPr>
          <p:cNvSpPr>
            <a:spLocks noGrp="1"/>
          </p:cNvSpPr>
          <p:nvPr>
            <p:ph idx="11"/>
          </p:nvPr>
        </p:nvSpPr>
        <p:spPr/>
        <p:txBody>
          <a:bodyPr/>
          <a:lstStyle/>
          <a:p>
            <a:r>
              <a:rPr lang="en-US">
                <a:hlinkClick r:id="rId6"/>
              </a:rPr>
              <a:t>BDO 2022</a:t>
            </a:r>
            <a:r>
              <a:rPr lang="en-US"/>
              <a:t>, </a:t>
            </a:r>
          </a:p>
        </p:txBody>
      </p:sp>
    </p:spTree>
    <p:extLst>
      <p:ext uri="{BB962C8B-B14F-4D97-AF65-F5344CB8AC3E}">
        <p14:creationId xmlns:p14="http://schemas.microsoft.com/office/powerpoint/2010/main" val="24678379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D41D2A1E-E25B-EC6C-FBC2-7147A5AB01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27" name="think-cell data - do not delete" hidden="1">
                        <a:extLst>
                          <a:ext uri="{FF2B5EF4-FFF2-40B4-BE49-F238E27FC236}">
                            <a16:creationId xmlns:a16="http://schemas.microsoft.com/office/drawing/2014/main" id="{D41D2A1E-E25B-EC6C-FBC2-7147A5AB01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Rechteck: abgerundete Ecken 25">
            <a:extLst>
              <a:ext uri="{FF2B5EF4-FFF2-40B4-BE49-F238E27FC236}">
                <a16:creationId xmlns:a16="http://schemas.microsoft.com/office/drawing/2014/main" id="{75EFEBD8-35EF-213A-42A3-17E11A4A2309}"/>
              </a:ext>
            </a:extLst>
          </p:cNvPr>
          <p:cNvSpPr/>
          <p:nvPr/>
        </p:nvSpPr>
        <p:spPr>
          <a:xfrm>
            <a:off x="1121891" y="2505872"/>
            <a:ext cx="1751341" cy="2446655"/>
          </a:xfrm>
          <a:prstGeom prst="roundRect">
            <a:avLst/>
          </a:prstGeom>
          <a:solidFill>
            <a:schemeClr val="accent2">
              <a:lumMod val="20000"/>
              <a:lumOff val="80000"/>
            </a:schemeClr>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9267E514-6D75-B2F2-03A1-ABB77C9C1487}"/>
              </a:ext>
            </a:extLst>
          </p:cNvPr>
          <p:cNvSpPr>
            <a:spLocks noGrp="1"/>
          </p:cNvSpPr>
          <p:nvPr>
            <p:ph type="title"/>
          </p:nvPr>
        </p:nvSpPr>
        <p:spPr/>
        <p:txBody>
          <a:bodyPr vert="horz"/>
          <a:lstStyle/>
          <a:p>
            <a:r>
              <a:rPr lang="en-US"/>
              <a:t>Uber should support and encourage its drivers to use sustainable transportation options to make a positive impact </a:t>
            </a:r>
          </a:p>
        </p:txBody>
      </p:sp>
      <p:sp>
        <p:nvSpPr>
          <p:cNvPr id="4" name="Foliennummernplatzhalter 3">
            <a:extLst>
              <a:ext uri="{FF2B5EF4-FFF2-40B4-BE49-F238E27FC236}">
                <a16:creationId xmlns:a16="http://schemas.microsoft.com/office/drawing/2014/main" id="{F2A3C2F4-2623-4F4B-9774-A224D2B7E96B}"/>
              </a:ext>
            </a:extLst>
          </p:cNvPr>
          <p:cNvSpPr>
            <a:spLocks noGrp="1"/>
          </p:cNvSpPr>
          <p:nvPr>
            <p:ph type="sldNum" sz="quarter" idx="4"/>
          </p:nvPr>
        </p:nvSpPr>
        <p:spPr/>
        <p:txBody>
          <a:bodyPr/>
          <a:lstStyle/>
          <a:p>
            <a:fld id="{BAF04893-69FB-435D-AB2E-CA259D85B32F}" type="slidenum">
              <a:rPr lang="en-US" smtClean="0"/>
              <a:pPr/>
              <a:t>74</a:t>
            </a:fld>
            <a:endParaRPr lang="en-US"/>
          </a:p>
        </p:txBody>
      </p:sp>
      <p:sp>
        <p:nvSpPr>
          <p:cNvPr id="5" name="Inhaltsplatzhalter 4">
            <a:extLst>
              <a:ext uri="{FF2B5EF4-FFF2-40B4-BE49-F238E27FC236}">
                <a16:creationId xmlns:a16="http://schemas.microsoft.com/office/drawing/2014/main" id="{6BF01F86-98FD-4B79-4539-E5DC35A07CFA}"/>
              </a:ext>
            </a:extLst>
          </p:cNvPr>
          <p:cNvSpPr>
            <a:spLocks noGrp="1"/>
          </p:cNvSpPr>
          <p:nvPr>
            <p:ph idx="10"/>
          </p:nvPr>
        </p:nvSpPr>
        <p:spPr/>
        <p:txBody>
          <a:bodyPr/>
          <a:lstStyle/>
          <a:p>
            <a:r>
              <a:rPr lang="en-US"/>
              <a:t>Saving Opportunities</a:t>
            </a:r>
          </a:p>
        </p:txBody>
      </p:sp>
      <p:sp>
        <p:nvSpPr>
          <p:cNvPr id="8" name="Textfeld 7">
            <a:extLst>
              <a:ext uri="{FF2B5EF4-FFF2-40B4-BE49-F238E27FC236}">
                <a16:creationId xmlns:a16="http://schemas.microsoft.com/office/drawing/2014/main" id="{AEEC7AB2-C3F6-AC7F-5E08-E9E5C5F86264}"/>
              </a:ext>
            </a:extLst>
          </p:cNvPr>
          <p:cNvSpPr txBox="1"/>
          <p:nvPr/>
        </p:nvSpPr>
        <p:spPr>
          <a:xfrm>
            <a:off x="364715" y="1982652"/>
            <a:ext cx="8563379" cy="523220"/>
          </a:xfrm>
          <a:prstGeom prst="rect">
            <a:avLst/>
          </a:prstGeom>
          <a:noFill/>
        </p:spPr>
        <p:txBody>
          <a:bodyPr wrap="square">
            <a:spAutoFit/>
          </a:bodyPr>
          <a:lstStyle/>
          <a:p>
            <a:r>
              <a:rPr lang="en-US" sz="1400" b="1"/>
              <a:t>Cost reduction for all parties and environmental benefits through less use of larger than needed vehicles for UberEATS deliveries.</a:t>
            </a:r>
          </a:p>
        </p:txBody>
      </p:sp>
      <p:sp>
        <p:nvSpPr>
          <p:cNvPr id="16" name="Inhaltsplatzhalter 15">
            <a:extLst>
              <a:ext uri="{FF2B5EF4-FFF2-40B4-BE49-F238E27FC236}">
                <a16:creationId xmlns:a16="http://schemas.microsoft.com/office/drawing/2014/main" id="{3EB6EC1C-C547-93B2-4E54-578262DE919B}"/>
              </a:ext>
            </a:extLst>
          </p:cNvPr>
          <p:cNvSpPr>
            <a:spLocks noGrp="1"/>
          </p:cNvSpPr>
          <p:nvPr>
            <p:ph idx="11"/>
          </p:nvPr>
        </p:nvSpPr>
        <p:spPr/>
        <p:txBody>
          <a:bodyPr/>
          <a:lstStyle/>
          <a:p>
            <a:r>
              <a:rPr lang="en-US"/>
              <a:t>1) Electrically-assisted, 2) </a:t>
            </a:r>
            <a:r>
              <a:rPr lang="en-US">
                <a:hlinkClick r:id="rId6"/>
              </a:rPr>
              <a:t>Westminster Research 2018</a:t>
            </a:r>
            <a:r>
              <a:rPr lang="en-US"/>
              <a:t>, Own Representation</a:t>
            </a:r>
          </a:p>
        </p:txBody>
      </p:sp>
      <p:pic>
        <p:nvPicPr>
          <p:cNvPr id="19" name="Inhaltsplatzhalter 9" descr="Radfahren mit einfarbiger Füllung">
            <a:extLst>
              <a:ext uri="{FF2B5EF4-FFF2-40B4-BE49-F238E27FC236}">
                <a16:creationId xmlns:a16="http://schemas.microsoft.com/office/drawing/2014/main" id="{E61278B0-5B65-F56F-9D86-8F032DAFC3C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1817" y="4225000"/>
            <a:ext cx="527650" cy="527650"/>
          </a:xfrm>
          <a:prstGeom prst="rect">
            <a:avLst/>
          </a:prstGeom>
        </p:spPr>
      </p:pic>
      <p:pic>
        <p:nvPicPr>
          <p:cNvPr id="20" name="Inhaltsplatzhalter 11" descr="Roller mit einfarbiger Füllung">
            <a:extLst>
              <a:ext uri="{FF2B5EF4-FFF2-40B4-BE49-F238E27FC236}">
                <a16:creationId xmlns:a16="http://schemas.microsoft.com/office/drawing/2014/main" id="{2A84FDB6-93CD-DC12-C53B-F04B66EDECC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1817" y="3455810"/>
            <a:ext cx="527650" cy="527650"/>
          </a:xfrm>
          <a:prstGeom prst="rect">
            <a:avLst/>
          </a:prstGeom>
        </p:spPr>
      </p:pic>
      <p:pic>
        <p:nvPicPr>
          <p:cNvPr id="21" name="Grafik 20" descr="Auto mit einfarbiger Füllung">
            <a:extLst>
              <a:ext uri="{FF2B5EF4-FFF2-40B4-BE49-F238E27FC236}">
                <a16:creationId xmlns:a16="http://schemas.microsoft.com/office/drawing/2014/main" id="{03FF63C1-4623-98B8-95E2-908362BB8B5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2148" y="2744572"/>
            <a:ext cx="609966" cy="609966"/>
          </a:xfrm>
          <a:prstGeom prst="rect">
            <a:avLst/>
          </a:prstGeom>
        </p:spPr>
      </p:pic>
      <p:sp>
        <p:nvSpPr>
          <p:cNvPr id="22" name="Textfeld 21">
            <a:extLst>
              <a:ext uri="{FF2B5EF4-FFF2-40B4-BE49-F238E27FC236}">
                <a16:creationId xmlns:a16="http://schemas.microsoft.com/office/drawing/2014/main" id="{19B3F426-7594-5F7C-6E5D-BF3194EB673C}"/>
              </a:ext>
            </a:extLst>
          </p:cNvPr>
          <p:cNvSpPr txBox="1"/>
          <p:nvPr/>
        </p:nvSpPr>
        <p:spPr>
          <a:xfrm>
            <a:off x="1164365" y="2553177"/>
            <a:ext cx="1666391" cy="307777"/>
          </a:xfrm>
          <a:prstGeom prst="rect">
            <a:avLst/>
          </a:prstGeom>
          <a:noFill/>
        </p:spPr>
        <p:txBody>
          <a:bodyPr wrap="square" rtlCol="0">
            <a:spAutoFit/>
          </a:bodyPr>
          <a:lstStyle/>
          <a:p>
            <a:pPr algn="ctr"/>
            <a:r>
              <a:rPr lang="en-US" sz="1400" b="1"/>
              <a:t>Cost of aquisition</a:t>
            </a:r>
          </a:p>
        </p:txBody>
      </p:sp>
      <p:sp>
        <p:nvSpPr>
          <p:cNvPr id="23" name="Textfeld 22">
            <a:extLst>
              <a:ext uri="{FF2B5EF4-FFF2-40B4-BE49-F238E27FC236}">
                <a16:creationId xmlns:a16="http://schemas.microsoft.com/office/drawing/2014/main" id="{49B18D1A-C7A9-5A4A-0C76-2FC8C3FFAC93}"/>
              </a:ext>
            </a:extLst>
          </p:cNvPr>
          <p:cNvSpPr txBox="1"/>
          <p:nvPr/>
        </p:nvSpPr>
        <p:spPr>
          <a:xfrm>
            <a:off x="442040" y="3216038"/>
            <a:ext cx="670182" cy="276999"/>
          </a:xfrm>
          <a:prstGeom prst="rect">
            <a:avLst/>
          </a:prstGeom>
          <a:noFill/>
        </p:spPr>
        <p:txBody>
          <a:bodyPr wrap="square" rtlCol="0">
            <a:spAutoFit/>
          </a:bodyPr>
          <a:lstStyle/>
          <a:p>
            <a:pPr algn="ctr"/>
            <a:r>
              <a:rPr lang="en-US" sz="1200" b="1"/>
              <a:t>Cars</a:t>
            </a:r>
          </a:p>
        </p:txBody>
      </p:sp>
      <p:sp>
        <p:nvSpPr>
          <p:cNvPr id="24" name="Textfeld 23">
            <a:extLst>
              <a:ext uri="{FF2B5EF4-FFF2-40B4-BE49-F238E27FC236}">
                <a16:creationId xmlns:a16="http://schemas.microsoft.com/office/drawing/2014/main" id="{9603599C-3A99-0CBC-EBED-6A6729D3634E}"/>
              </a:ext>
            </a:extLst>
          </p:cNvPr>
          <p:cNvSpPr txBox="1"/>
          <p:nvPr/>
        </p:nvSpPr>
        <p:spPr>
          <a:xfrm>
            <a:off x="442040" y="3890548"/>
            <a:ext cx="670182" cy="276999"/>
          </a:xfrm>
          <a:prstGeom prst="rect">
            <a:avLst/>
          </a:prstGeom>
          <a:noFill/>
        </p:spPr>
        <p:txBody>
          <a:bodyPr wrap="square" rtlCol="0">
            <a:spAutoFit/>
          </a:bodyPr>
          <a:lstStyle/>
          <a:p>
            <a:pPr algn="ctr"/>
            <a:r>
              <a:rPr lang="en-US" sz="1200" b="1"/>
              <a:t>Scooter</a:t>
            </a:r>
          </a:p>
        </p:txBody>
      </p:sp>
      <p:sp>
        <p:nvSpPr>
          <p:cNvPr id="25" name="Textfeld 24">
            <a:extLst>
              <a:ext uri="{FF2B5EF4-FFF2-40B4-BE49-F238E27FC236}">
                <a16:creationId xmlns:a16="http://schemas.microsoft.com/office/drawing/2014/main" id="{DF0BC1E2-13CC-7168-1DDE-990E56B09FA8}"/>
              </a:ext>
            </a:extLst>
          </p:cNvPr>
          <p:cNvSpPr txBox="1"/>
          <p:nvPr/>
        </p:nvSpPr>
        <p:spPr>
          <a:xfrm>
            <a:off x="442040" y="4718411"/>
            <a:ext cx="670182" cy="276999"/>
          </a:xfrm>
          <a:prstGeom prst="rect">
            <a:avLst/>
          </a:prstGeom>
          <a:noFill/>
        </p:spPr>
        <p:txBody>
          <a:bodyPr wrap="square" rtlCol="0">
            <a:spAutoFit/>
          </a:bodyPr>
          <a:lstStyle/>
          <a:p>
            <a:pPr algn="ctr"/>
            <a:r>
              <a:rPr lang="en-US" sz="1200" b="1"/>
              <a:t>Bicycle</a:t>
            </a:r>
            <a:r>
              <a:rPr lang="en-US" sz="1200" b="1" baseline="30000"/>
              <a:t>1</a:t>
            </a:r>
          </a:p>
        </p:txBody>
      </p:sp>
      <p:sp>
        <p:nvSpPr>
          <p:cNvPr id="28" name="Textfeld 27">
            <a:extLst>
              <a:ext uri="{FF2B5EF4-FFF2-40B4-BE49-F238E27FC236}">
                <a16:creationId xmlns:a16="http://schemas.microsoft.com/office/drawing/2014/main" id="{B81CF343-C0CE-3840-46AC-714DD6F76A45}"/>
              </a:ext>
            </a:extLst>
          </p:cNvPr>
          <p:cNvSpPr txBox="1"/>
          <p:nvPr/>
        </p:nvSpPr>
        <p:spPr>
          <a:xfrm>
            <a:off x="1164365" y="2908261"/>
            <a:ext cx="1666391" cy="307777"/>
          </a:xfrm>
          <a:prstGeom prst="rect">
            <a:avLst/>
          </a:prstGeom>
          <a:noFill/>
        </p:spPr>
        <p:txBody>
          <a:bodyPr wrap="square" rtlCol="0">
            <a:spAutoFit/>
          </a:bodyPr>
          <a:lstStyle/>
          <a:p>
            <a:pPr algn="ctr"/>
            <a:r>
              <a:rPr lang="en-US" sz="1400"/>
              <a:t>10 - 15,000 €</a:t>
            </a:r>
          </a:p>
        </p:txBody>
      </p:sp>
      <p:sp>
        <p:nvSpPr>
          <p:cNvPr id="29" name="Textfeld 28">
            <a:extLst>
              <a:ext uri="{FF2B5EF4-FFF2-40B4-BE49-F238E27FC236}">
                <a16:creationId xmlns:a16="http://schemas.microsoft.com/office/drawing/2014/main" id="{DB5227EC-25E7-85F1-61D3-D8E895847BBD}"/>
              </a:ext>
            </a:extLst>
          </p:cNvPr>
          <p:cNvSpPr txBox="1"/>
          <p:nvPr/>
        </p:nvSpPr>
        <p:spPr>
          <a:xfrm>
            <a:off x="1164364" y="3641963"/>
            <a:ext cx="1666391" cy="307777"/>
          </a:xfrm>
          <a:prstGeom prst="rect">
            <a:avLst/>
          </a:prstGeom>
          <a:noFill/>
        </p:spPr>
        <p:txBody>
          <a:bodyPr wrap="square" rtlCol="0">
            <a:spAutoFit/>
          </a:bodyPr>
          <a:lstStyle/>
          <a:p>
            <a:pPr algn="ctr"/>
            <a:r>
              <a:rPr lang="en-US" sz="1400"/>
              <a:t>1 - 5,000 €</a:t>
            </a:r>
          </a:p>
        </p:txBody>
      </p:sp>
      <p:sp>
        <p:nvSpPr>
          <p:cNvPr id="30" name="Textfeld 29">
            <a:extLst>
              <a:ext uri="{FF2B5EF4-FFF2-40B4-BE49-F238E27FC236}">
                <a16:creationId xmlns:a16="http://schemas.microsoft.com/office/drawing/2014/main" id="{4A24595D-8B28-EEC9-5E59-3CF80EC07C91}"/>
              </a:ext>
            </a:extLst>
          </p:cNvPr>
          <p:cNvSpPr txBox="1"/>
          <p:nvPr/>
        </p:nvSpPr>
        <p:spPr>
          <a:xfrm>
            <a:off x="1164364" y="4414449"/>
            <a:ext cx="1666391" cy="307777"/>
          </a:xfrm>
          <a:prstGeom prst="rect">
            <a:avLst/>
          </a:prstGeom>
          <a:noFill/>
        </p:spPr>
        <p:txBody>
          <a:bodyPr wrap="square" rtlCol="0">
            <a:spAutoFit/>
          </a:bodyPr>
          <a:lstStyle/>
          <a:p>
            <a:pPr algn="ctr"/>
            <a:r>
              <a:rPr lang="en-US" sz="1400"/>
              <a:t>2 - 4,500 €</a:t>
            </a:r>
          </a:p>
        </p:txBody>
      </p:sp>
      <p:sp>
        <p:nvSpPr>
          <p:cNvPr id="33" name="Inhaltsplatzhalter 32">
            <a:extLst>
              <a:ext uri="{FF2B5EF4-FFF2-40B4-BE49-F238E27FC236}">
                <a16:creationId xmlns:a16="http://schemas.microsoft.com/office/drawing/2014/main" id="{E2C70A6E-4C29-E939-51A8-B24FB6CB1B0C}"/>
              </a:ext>
            </a:extLst>
          </p:cNvPr>
          <p:cNvSpPr>
            <a:spLocks noGrp="1"/>
          </p:cNvSpPr>
          <p:nvPr>
            <p:ph idx="12"/>
          </p:nvPr>
        </p:nvSpPr>
        <p:spPr/>
        <p:txBody>
          <a:bodyPr/>
          <a:lstStyle/>
          <a:p>
            <a:r>
              <a:rPr lang="en-US"/>
              <a:t>ESG</a:t>
            </a:r>
          </a:p>
        </p:txBody>
      </p:sp>
      <p:graphicFrame>
        <p:nvGraphicFramePr>
          <p:cNvPr id="34" name="Inhaltsplatzhalter 30">
            <a:extLst>
              <a:ext uri="{FF2B5EF4-FFF2-40B4-BE49-F238E27FC236}">
                <a16:creationId xmlns:a16="http://schemas.microsoft.com/office/drawing/2014/main" id="{0C3786F3-53FF-1A3C-0D88-8A28572E2BFE}"/>
              </a:ext>
            </a:extLst>
          </p:cNvPr>
          <p:cNvGraphicFramePr>
            <a:graphicFrameLocks/>
          </p:cNvGraphicFramePr>
          <p:nvPr>
            <p:extLst>
              <p:ext uri="{D42A27DB-BD31-4B8C-83A1-F6EECF244321}">
                <p14:modId xmlns:p14="http://schemas.microsoft.com/office/powerpoint/2010/main" val="91291123"/>
              </p:ext>
            </p:extLst>
          </p:nvPr>
        </p:nvGraphicFramePr>
        <p:xfrm>
          <a:off x="442040" y="5140996"/>
          <a:ext cx="2534022" cy="1097280"/>
        </p:xfrm>
        <a:graphic>
          <a:graphicData uri="http://schemas.openxmlformats.org/drawingml/2006/table">
            <a:tbl>
              <a:tblPr firstRow="1" bandRow="1">
                <a:tableStyleId>{073A0DAA-6AF3-43AB-8588-CEC1D06C72B9}</a:tableStyleId>
              </a:tblPr>
              <a:tblGrid>
                <a:gridCol w="1381081">
                  <a:extLst>
                    <a:ext uri="{9D8B030D-6E8A-4147-A177-3AD203B41FA5}">
                      <a16:colId xmlns:a16="http://schemas.microsoft.com/office/drawing/2014/main" val="3360560837"/>
                    </a:ext>
                  </a:extLst>
                </a:gridCol>
                <a:gridCol w="1152941">
                  <a:extLst>
                    <a:ext uri="{9D8B030D-6E8A-4147-A177-3AD203B41FA5}">
                      <a16:colId xmlns:a16="http://schemas.microsoft.com/office/drawing/2014/main" val="513916372"/>
                    </a:ext>
                  </a:extLst>
                </a:gridCol>
              </a:tblGrid>
              <a:tr h="178672">
                <a:tc>
                  <a:txBody>
                    <a:bodyPr/>
                    <a:lstStyle/>
                    <a:p>
                      <a:r>
                        <a:rPr lang="en-US" sz="1200"/>
                        <a:t>Delivery type</a:t>
                      </a:r>
                    </a:p>
                  </a:txBody>
                  <a:tcPr/>
                </a:tc>
                <a:tc>
                  <a:txBody>
                    <a:bodyPr/>
                    <a:lstStyle/>
                    <a:p>
                      <a:r>
                        <a:rPr lang="en-US" sz="1200"/>
                        <a:t>Orders per Trip</a:t>
                      </a:r>
                    </a:p>
                  </a:txBody>
                  <a:tcPr/>
                </a:tc>
                <a:extLst>
                  <a:ext uri="{0D108BD9-81ED-4DB2-BD59-A6C34878D82A}">
                    <a16:rowId xmlns:a16="http://schemas.microsoft.com/office/drawing/2014/main" val="3453698667"/>
                  </a:ext>
                </a:extLst>
              </a:tr>
              <a:tr h="178672">
                <a:tc>
                  <a:txBody>
                    <a:bodyPr/>
                    <a:lstStyle/>
                    <a:p>
                      <a:r>
                        <a:rPr lang="en-US" sz="1200"/>
                        <a:t>B2C – Non-food</a:t>
                      </a:r>
                    </a:p>
                  </a:txBody>
                  <a:tcPr/>
                </a:tc>
                <a:tc>
                  <a:txBody>
                    <a:bodyPr/>
                    <a:lstStyle/>
                    <a:p>
                      <a:r>
                        <a:rPr lang="en-US" sz="1200"/>
                        <a:t>1 – 6</a:t>
                      </a:r>
                    </a:p>
                  </a:txBody>
                  <a:tcPr/>
                </a:tc>
                <a:extLst>
                  <a:ext uri="{0D108BD9-81ED-4DB2-BD59-A6C34878D82A}">
                    <a16:rowId xmlns:a16="http://schemas.microsoft.com/office/drawing/2014/main" val="628884469"/>
                  </a:ext>
                </a:extLst>
              </a:tr>
              <a:tr h="178672">
                <a:tc>
                  <a:txBody>
                    <a:bodyPr/>
                    <a:lstStyle/>
                    <a:p>
                      <a:r>
                        <a:rPr lang="en-US" sz="1200"/>
                        <a:t>Grocery shopping</a:t>
                      </a:r>
                    </a:p>
                  </a:txBody>
                  <a:tcPr/>
                </a:tc>
                <a:tc>
                  <a:txBody>
                    <a:bodyPr/>
                    <a:lstStyle/>
                    <a:p>
                      <a:r>
                        <a:rPr lang="en-US" sz="1200"/>
                        <a:t>10 – 15</a:t>
                      </a:r>
                    </a:p>
                  </a:txBody>
                  <a:tcPr/>
                </a:tc>
                <a:extLst>
                  <a:ext uri="{0D108BD9-81ED-4DB2-BD59-A6C34878D82A}">
                    <a16:rowId xmlns:a16="http://schemas.microsoft.com/office/drawing/2014/main" val="346975211"/>
                  </a:ext>
                </a:extLst>
              </a:tr>
              <a:tr h="178672">
                <a:tc>
                  <a:txBody>
                    <a:bodyPr/>
                    <a:lstStyle/>
                    <a:p>
                      <a:r>
                        <a:rPr lang="en-US" sz="1200"/>
                        <a:t>Ready to eat meals</a:t>
                      </a:r>
                    </a:p>
                  </a:txBody>
                  <a:tcPr/>
                </a:tc>
                <a:tc>
                  <a:txBody>
                    <a:bodyPr/>
                    <a:lstStyle/>
                    <a:p>
                      <a:r>
                        <a:rPr lang="en-US" sz="1200"/>
                        <a:t>1</a:t>
                      </a:r>
                    </a:p>
                  </a:txBody>
                  <a:tcPr/>
                </a:tc>
                <a:extLst>
                  <a:ext uri="{0D108BD9-81ED-4DB2-BD59-A6C34878D82A}">
                    <a16:rowId xmlns:a16="http://schemas.microsoft.com/office/drawing/2014/main" val="3467525326"/>
                  </a:ext>
                </a:extLst>
              </a:tr>
            </a:tbl>
          </a:graphicData>
        </a:graphic>
      </p:graphicFrame>
      <p:sp>
        <p:nvSpPr>
          <p:cNvPr id="35" name="Rechteck: abgerundete Ecken 34">
            <a:extLst>
              <a:ext uri="{FF2B5EF4-FFF2-40B4-BE49-F238E27FC236}">
                <a16:creationId xmlns:a16="http://schemas.microsoft.com/office/drawing/2014/main" id="{6DBD1B4C-81C4-388D-DBF5-FDE277250A2E}"/>
              </a:ext>
            </a:extLst>
          </p:cNvPr>
          <p:cNvSpPr/>
          <p:nvPr/>
        </p:nvSpPr>
        <p:spPr>
          <a:xfrm>
            <a:off x="2976062" y="2505872"/>
            <a:ext cx="1751341" cy="2446655"/>
          </a:xfrm>
          <a:prstGeom prst="roundRect">
            <a:avLst/>
          </a:prstGeom>
          <a:solidFill>
            <a:schemeClr val="accent2">
              <a:lumMod val="20000"/>
              <a:lumOff val="80000"/>
            </a:schemeClr>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6" name="Textfeld 35">
            <a:extLst>
              <a:ext uri="{FF2B5EF4-FFF2-40B4-BE49-F238E27FC236}">
                <a16:creationId xmlns:a16="http://schemas.microsoft.com/office/drawing/2014/main" id="{A41C5E55-D9EC-1DAB-FF08-D3C8D463C7A9}"/>
              </a:ext>
            </a:extLst>
          </p:cNvPr>
          <p:cNvSpPr txBox="1"/>
          <p:nvPr/>
        </p:nvSpPr>
        <p:spPr>
          <a:xfrm>
            <a:off x="3060373" y="2551128"/>
            <a:ext cx="1666391" cy="307777"/>
          </a:xfrm>
          <a:prstGeom prst="rect">
            <a:avLst/>
          </a:prstGeom>
          <a:noFill/>
        </p:spPr>
        <p:txBody>
          <a:bodyPr wrap="square" rtlCol="0">
            <a:spAutoFit/>
          </a:bodyPr>
          <a:lstStyle/>
          <a:p>
            <a:pPr algn="ctr"/>
            <a:r>
              <a:rPr lang="en-US" sz="1400" b="1"/>
              <a:t>Cost per km</a:t>
            </a:r>
          </a:p>
        </p:txBody>
      </p:sp>
      <p:sp>
        <p:nvSpPr>
          <p:cNvPr id="37" name="Rechteck: abgerundete Ecken 36">
            <a:extLst>
              <a:ext uri="{FF2B5EF4-FFF2-40B4-BE49-F238E27FC236}">
                <a16:creationId xmlns:a16="http://schemas.microsoft.com/office/drawing/2014/main" id="{28A8D097-4DCD-F9A9-A936-460A4D1A6266}"/>
              </a:ext>
            </a:extLst>
          </p:cNvPr>
          <p:cNvSpPr/>
          <p:nvPr/>
        </p:nvSpPr>
        <p:spPr>
          <a:xfrm>
            <a:off x="4872070" y="2503823"/>
            <a:ext cx="1751341" cy="2446655"/>
          </a:xfrm>
          <a:prstGeom prst="roundRect">
            <a:avLst/>
          </a:prstGeom>
          <a:solidFill>
            <a:schemeClr val="accent2">
              <a:lumMod val="20000"/>
              <a:lumOff val="80000"/>
            </a:schemeClr>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8" name="Textfeld 37">
            <a:extLst>
              <a:ext uri="{FF2B5EF4-FFF2-40B4-BE49-F238E27FC236}">
                <a16:creationId xmlns:a16="http://schemas.microsoft.com/office/drawing/2014/main" id="{34E9EB11-F842-F91A-67C8-6CFD57361FB3}"/>
              </a:ext>
            </a:extLst>
          </p:cNvPr>
          <p:cNvSpPr txBox="1"/>
          <p:nvPr/>
        </p:nvSpPr>
        <p:spPr>
          <a:xfrm>
            <a:off x="4829594" y="2544782"/>
            <a:ext cx="1666391" cy="307777"/>
          </a:xfrm>
          <a:prstGeom prst="rect">
            <a:avLst/>
          </a:prstGeom>
          <a:noFill/>
        </p:spPr>
        <p:txBody>
          <a:bodyPr wrap="square" rtlCol="0">
            <a:spAutoFit/>
          </a:bodyPr>
          <a:lstStyle/>
          <a:p>
            <a:pPr algn="ctr"/>
            <a:r>
              <a:rPr lang="en-US" sz="1400" b="1"/>
              <a:t>CO2 per km</a:t>
            </a:r>
          </a:p>
        </p:txBody>
      </p:sp>
      <p:sp>
        <p:nvSpPr>
          <p:cNvPr id="39" name="Textfeld 38">
            <a:extLst>
              <a:ext uri="{FF2B5EF4-FFF2-40B4-BE49-F238E27FC236}">
                <a16:creationId xmlns:a16="http://schemas.microsoft.com/office/drawing/2014/main" id="{B3EEC884-8E51-2836-0AB4-ED0520BAF71D}"/>
              </a:ext>
            </a:extLst>
          </p:cNvPr>
          <p:cNvSpPr txBox="1"/>
          <p:nvPr/>
        </p:nvSpPr>
        <p:spPr>
          <a:xfrm>
            <a:off x="3017899" y="2890432"/>
            <a:ext cx="1666391" cy="307777"/>
          </a:xfrm>
          <a:prstGeom prst="rect">
            <a:avLst/>
          </a:prstGeom>
          <a:noFill/>
        </p:spPr>
        <p:txBody>
          <a:bodyPr wrap="square" rtlCol="0">
            <a:spAutoFit/>
          </a:bodyPr>
          <a:lstStyle/>
          <a:p>
            <a:pPr algn="ctr"/>
            <a:r>
              <a:rPr lang="en-US" sz="1400"/>
              <a:t>0.30 € per km</a:t>
            </a:r>
          </a:p>
        </p:txBody>
      </p:sp>
      <p:sp>
        <p:nvSpPr>
          <p:cNvPr id="40" name="Textfeld 39">
            <a:extLst>
              <a:ext uri="{FF2B5EF4-FFF2-40B4-BE49-F238E27FC236}">
                <a16:creationId xmlns:a16="http://schemas.microsoft.com/office/drawing/2014/main" id="{53504B55-8FB8-7853-F406-988F706DF87F}"/>
              </a:ext>
            </a:extLst>
          </p:cNvPr>
          <p:cNvSpPr txBox="1"/>
          <p:nvPr/>
        </p:nvSpPr>
        <p:spPr>
          <a:xfrm>
            <a:off x="3017899" y="3640991"/>
            <a:ext cx="1666391" cy="307777"/>
          </a:xfrm>
          <a:prstGeom prst="rect">
            <a:avLst/>
          </a:prstGeom>
          <a:noFill/>
        </p:spPr>
        <p:txBody>
          <a:bodyPr wrap="square" rtlCol="0">
            <a:spAutoFit/>
          </a:bodyPr>
          <a:lstStyle/>
          <a:p>
            <a:pPr algn="ctr"/>
            <a:r>
              <a:rPr lang="en-US" sz="1400"/>
              <a:t>0.20 € per km</a:t>
            </a:r>
          </a:p>
        </p:txBody>
      </p:sp>
      <p:sp>
        <p:nvSpPr>
          <p:cNvPr id="41" name="Textfeld 40">
            <a:extLst>
              <a:ext uri="{FF2B5EF4-FFF2-40B4-BE49-F238E27FC236}">
                <a16:creationId xmlns:a16="http://schemas.microsoft.com/office/drawing/2014/main" id="{788F1F9F-C8B5-A2FB-FA39-833976474408}"/>
              </a:ext>
            </a:extLst>
          </p:cNvPr>
          <p:cNvSpPr txBox="1"/>
          <p:nvPr/>
        </p:nvSpPr>
        <p:spPr>
          <a:xfrm>
            <a:off x="3017898" y="4414449"/>
            <a:ext cx="1666391" cy="307777"/>
          </a:xfrm>
          <a:prstGeom prst="rect">
            <a:avLst/>
          </a:prstGeom>
          <a:noFill/>
        </p:spPr>
        <p:txBody>
          <a:bodyPr wrap="square" rtlCol="0">
            <a:spAutoFit/>
          </a:bodyPr>
          <a:lstStyle/>
          <a:p>
            <a:pPr algn="ctr"/>
            <a:r>
              <a:rPr lang="en-US" sz="1400"/>
              <a:t>0.10 € per km</a:t>
            </a:r>
          </a:p>
        </p:txBody>
      </p:sp>
      <p:sp>
        <p:nvSpPr>
          <p:cNvPr id="42" name="Textfeld 41">
            <a:extLst>
              <a:ext uri="{FF2B5EF4-FFF2-40B4-BE49-F238E27FC236}">
                <a16:creationId xmlns:a16="http://schemas.microsoft.com/office/drawing/2014/main" id="{EEAA3442-DC00-2F48-CDDA-8CF5D866DF37}"/>
              </a:ext>
            </a:extLst>
          </p:cNvPr>
          <p:cNvSpPr txBox="1"/>
          <p:nvPr/>
        </p:nvSpPr>
        <p:spPr>
          <a:xfrm>
            <a:off x="4914544" y="2860954"/>
            <a:ext cx="1666391" cy="307777"/>
          </a:xfrm>
          <a:prstGeom prst="rect">
            <a:avLst/>
          </a:prstGeom>
          <a:noFill/>
        </p:spPr>
        <p:txBody>
          <a:bodyPr wrap="square" rtlCol="0">
            <a:spAutoFit/>
          </a:bodyPr>
          <a:lstStyle/>
          <a:p>
            <a:pPr algn="ctr"/>
            <a:r>
              <a:rPr lang="en-US" sz="1400"/>
              <a:t>118 g / km</a:t>
            </a:r>
          </a:p>
        </p:txBody>
      </p:sp>
      <p:sp>
        <p:nvSpPr>
          <p:cNvPr id="43" name="Textfeld 42">
            <a:extLst>
              <a:ext uri="{FF2B5EF4-FFF2-40B4-BE49-F238E27FC236}">
                <a16:creationId xmlns:a16="http://schemas.microsoft.com/office/drawing/2014/main" id="{33D20CC3-3181-F42B-3E44-5FEFC709B933}"/>
              </a:ext>
            </a:extLst>
          </p:cNvPr>
          <p:cNvSpPr txBox="1"/>
          <p:nvPr/>
        </p:nvSpPr>
        <p:spPr>
          <a:xfrm>
            <a:off x="4914544" y="3640990"/>
            <a:ext cx="1666391" cy="307777"/>
          </a:xfrm>
          <a:prstGeom prst="rect">
            <a:avLst/>
          </a:prstGeom>
          <a:noFill/>
        </p:spPr>
        <p:txBody>
          <a:bodyPr wrap="square" rtlCol="0">
            <a:spAutoFit/>
          </a:bodyPr>
          <a:lstStyle/>
          <a:p>
            <a:pPr algn="ctr"/>
            <a:r>
              <a:rPr lang="en-US" sz="1400"/>
              <a:t>82 g / km</a:t>
            </a:r>
          </a:p>
        </p:txBody>
      </p:sp>
      <p:sp>
        <p:nvSpPr>
          <p:cNvPr id="44" name="Textfeld 43">
            <a:extLst>
              <a:ext uri="{FF2B5EF4-FFF2-40B4-BE49-F238E27FC236}">
                <a16:creationId xmlns:a16="http://schemas.microsoft.com/office/drawing/2014/main" id="{54BD2E39-456D-2FF0-F007-8FBA5DADB7BE}"/>
              </a:ext>
            </a:extLst>
          </p:cNvPr>
          <p:cNvSpPr txBox="1"/>
          <p:nvPr/>
        </p:nvSpPr>
        <p:spPr>
          <a:xfrm>
            <a:off x="4914544" y="4421026"/>
            <a:ext cx="1666391" cy="307777"/>
          </a:xfrm>
          <a:prstGeom prst="rect">
            <a:avLst/>
          </a:prstGeom>
          <a:noFill/>
        </p:spPr>
        <p:txBody>
          <a:bodyPr wrap="square" rtlCol="0">
            <a:spAutoFit/>
          </a:bodyPr>
          <a:lstStyle/>
          <a:p>
            <a:pPr algn="ctr"/>
            <a:r>
              <a:rPr lang="en-US" sz="1400"/>
              <a:t>~6 g / km</a:t>
            </a:r>
          </a:p>
        </p:txBody>
      </p:sp>
      <p:sp>
        <p:nvSpPr>
          <p:cNvPr id="45" name="Textfeld 44">
            <a:extLst>
              <a:ext uri="{FF2B5EF4-FFF2-40B4-BE49-F238E27FC236}">
                <a16:creationId xmlns:a16="http://schemas.microsoft.com/office/drawing/2014/main" id="{218DDAA1-F98E-AFA8-35D6-2B6353A2CF97}"/>
              </a:ext>
            </a:extLst>
          </p:cNvPr>
          <p:cNvSpPr txBox="1"/>
          <p:nvPr/>
        </p:nvSpPr>
        <p:spPr>
          <a:xfrm>
            <a:off x="3060373" y="5144580"/>
            <a:ext cx="3563038" cy="1169551"/>
          </a:xfrm>
          <a:prstGeom prst="rect">
            <a:avLst/>
          </a:prstGeom>
          <a:noFill/>
        </p:spPr>
        <p:txBody>
          <a:bodyPr wrap="square" rtlCol="0">
            <a:spAutoFit/>
          </a:bodyPr>
          <a:lstStyle/>
          <a:p>
            <a:pPr marL="285750" indent="-285750">
              <a:buFont typeface="Arial" panose="020B0604020202020204" pitchFamily="34" charset="0"/>
              <a:buChar char="•"/>
            </a:pPr>
            <a:r>
              <a:rPr lang="en-US" sz="1400"/>
              <a:t>Most UberEats Food and non-Food deliveries can be delivered by all 3 Types of Vehicles</a:t>
            </a:r>
          </a:p>
          <a:p>
            <a:pPr marL="285750" indent="-285750">
              <a:buFont typeface="Arial" panose="020B0604020202020204" pitchFamily="34" charset="0"/>
              <a:buChar char="•"/>
            </a:pPr>
            <a:r>
              <a:rPr lang="en-US" sz="1400"/>
              <a:t>The avarage trip range for an uber delivery in an urban environment is 2 – 3 km</a:t>
            </a:r>
          </a:p>
        </p:txBody>
      </p:sp>
      <p:sp>
        <p:nvSpPr>
          <p:cNvPr id="46" name="Textfeld 45">
            <a:extLst>
              <a:ext uri="{FF2B5EF4-FFF2-40B4-BE49-F238E27FC236}">
                <a16:creationId xmlns:a16="http://schemas.microsoft.com/office/drawing/2014/main" id="{EA6697DD-7D69-953C-E63F-B05F0AC99A53}"/>
              </a:ext>
            </a:extLst>
          </p:cNvPr>
          <p:cNvSpPr txBox="1"/>
          <p:nvPr/>
        </p:nvSpPr>
        <p:spPr>
          <a:xfrm>
            <a:off x="6768078" y="2503823"/>
            <a:ext cx="2244327" cy="2893100"/>
          </a:xfrm>
          <a:prstGeom prst="rect">
            <a:avLst/>
          </a:prstGeom>
          <a:noFill/>
        </p:spPr>
        <p:txBody>
          <a:bodyPr wrap="square" rtlCol="0">
            <a:spAutoFit/>
          </a:bodyPr>
          <a:lstStyle/>
          <a:p>
            <a:pPr marL="285750" indent="-285750">
              <a:buFont typeface="Arial" panose="020B0604020202020204" pitchFamily="34" charset="0"/>
              <a:buChar char="•"/>
            </a:pPr>
            <a:r>
              <a:rPr lang="en-US" sz="1400"/>
              <a:t>Shifting to scooter/bicycle deliveries reduces driver acquisition and maintenance costs</a:t>
            </a:r>
          </a:p>
          <a:p>
            <a:pPr marL="285750" indent="-285750">
              <a:buFont typeface="Arial" panose="020B0604020202020204" pitchFamily="34" charset="0"/>
              <a:buChar char="•"/>
            </a:pPr>
            <a:r>
              <a:rPr lang="en-US" sz="1400"/>
              <a:t>Lower driver payments help Uber cut capital expenses</a:t>
            </a:r>
          </a:p>
          <a:p>
            <a:pPr marL="285750" indent="-285750">
              <a:buFont typeface="Arial" panose="020B0604020202020204" pitchFamily="34" charset="0"/>
              <a:buChar char="•"/>
            </a:pPr>
            <a:r>
              <a:rPr lang="en-US" sz="1400"/>
              <a:t>Reduced delivery costs lead to savings for customers</a:t>
            </a:r>
          </a:p>
          <a:p>
            <a:pPr marL="285750" indent="-285750">
              <a:buFont typeface="Arial" panose="020B0604020202020204" pitchFamily="34" charset="0"/>
              <a:buChar char="•"/>
            </a:pPr>
            <a:r>
              <a:rPr lang="en-US" sz="1400"/>
              <a:t>Lower emissions boost Uber's ESG ratings</a:t>
            </a:r>
          </a:p>
        </p:txBody>
      </p:sp>
    </p:spTree>
    <p:extLst>
      <p:ext uri="{BB962C8B-B14F-4D97-AF65-F5344CB8AC3E}">
        <p14:creationId xmlns:p14="http://schemas.microsoft.com/office/powerpoint/2010/main" val="394097935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C134722B-BC48-A3D6-A4A0-0778077C26B5}"/>
              </a:ext>
            </a:extLst>
          </p:cNvPr>
          <p:cNvGraphicFramePr>
            <a:graphicFrameLocks noChangeAspect="1"/>
          </p:cNvGraphicFramePr>
          <p:nvPr>
            <p:custDataLst>
              <p:tags r:id="rId1"/>
            </p:custDataLst>
            <p:extLst>
              <p:ext uri="{D42A27DB-BD31-4B8C-83A1-F6EECF244321}">
                <p14:modId xmlns:p14="http://schemas.microsoft.com/office/powerpoint/2010/main" val="1626964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26" name="think-cell data - do not delete" hidden="1">
                        <a:extLst>
                          <a:ext uri="{FF2B5EF4-FFF2-40B4-BE49-F238E27FC236}">
                            <a16:creationId xmlns:a16="http://schemas.microsoft.com/office/drawing/2014/main" id="{C134722B-BC48-A3D6-A4A0-0778077C26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FCF470F-26E3-DE75-7C3A-92ED46D3A48B}"/>
              </a:ext>
            </a:extLst>
          </p:cNvPr>
          <p:cNvSpPr>
            <a:spLocks noGrp="1"/>
          </p:cNvSpPr>
          <p:nvPr>
            <p:ph type="title"/>
          </p:nvPr>
        </p:nvSpPr>
        <p:spPr/>
        <p:txBody>
          <a:bodyPr vert="horz"/>
          <a:lstStyle/>
          <a:p>
            <a:r>
              <a:rPr lang="en-US"/>
              <a:t>The utilization of sustainable transportation options can have many positive consequences for Uber and the communities it operates in</a:t>
            </a:r>
          </a:p>
        </p:txBody>
      </p:sp>
      <p:sp>
        <p:nvSpPr>
          <p:cNvPr id="4" name="Foliennummernplatzhalter 3">
            <a:extLst>
              <a:ext uri="{FF2B5EF4-FFF2-40B4-BE49-F238E27FC236}">
                <a16:creationId xmlns:a16="http://schemas.microsoft.com/office/drawing/2014/main" id="{625630F4-F526-CF70-E918-9F4CD1A64ED5}"/>
              </a:ext>
            </a:extLst>
          </p:cNvPr>
          <p:cNvSpPr>
            <a:spLocks noGrp="1"/>
          </p:cNvSpPr>
          <p:nvPr>
            <p:ph type="sldNum" sz="quarter" idx="4"/>
          </p:nvPr>
        </p:nvSpPr>
        <p:spPr/>
        <p:txBody>
          <a:bodyPr/>
          <a:lstStyle/>
          <a:p>
            <a:fld id="{BAF04893-69FB-435D-AB2E-CA259D85B32F}" type="slidenum">
              <a:rPr lang="en-US" smtClean="0"/>
              <a:pPr/>
              <a:t>75</a:t>
            </a:fld>
            <a:endParaRPr lang="en-US"/>
          </a:p>
        </p:txBody>
      </p:sp>
      <p:sp>
        <p:nvSpPr>
          <p:cNvPr id="6" name="Inhaltsplatzhalter 5">
            <a:extLst>
              <a:ext uri="{FF2B5EF4-FFF2-40B4-BE49-F238E27FC236}">
                <a16:creationId xmlns:a16="http://schemas.microsoft.com/office/drawing/2014/main" id="{6B10C636-B876-CA9B-CEDA-49DA0017F229}"/>
              </a:ext>
            </a:extLst>
          </p:cNvPr>
          <p:cNvSpPr>
            <a:spLocks noGrp="1"/>
          </p:cNvSpPr>
          <p:nvPr>
            <p:ph idx="11"/>
          </p:nvPr>
        </p:nvSpPr>
        <p:spPr/>
        <p:txBody>
          <a:bodyPr/>
          <a:lstStyle/>
          <a:p>
            <a:r>
              <a:rPr lang="en-US"/>
              <a:t>1) </a:t>
            </a:r>
            <a:r>
              <a:rPr lang="en-US">
                <a:hlinkClick r:id="rId7"/>
              </a:rPr>
              <a:t>London Gov</a:t>
            </a:r>
            <a:r>
              <a:rPr lang="en-US"/>
              <a:t>, Own Representation</a:t>
            </a:r>
          </a:p>
        </p:txBody>
      </p:sp>
      <p:sp>
        <p:nvSpPr>
          <p:cNvPr id="7" name="Inhaltsplatzhalter 6">
            <a:extLst>
              <a:ext uri="{FF2B5EF4-FFF2-40B4-BE49-F238E27FC236}">
                <a16:creationId xmlns:a16="http://schemas.microsoft.com/office/drawing/2014/main" id="{DC8224F6-F364-9541-1FBB-737C7C708238}"/>
              </a:ext>
            </a:extLst>
          </p:cNvPr>
          <p:cNvSpPr>
            <a:spLocks noGrp="1"/>
          </p:cNvSpPr>
          <p:nvPr>
            <p:ph idx="12"/>
          </p:nvPr>
        </p:nvSpPr>
        <p:spPr/>
        <p:txBody>
          <a:bodyPr/>
          <a:lstStyle/>
          <a:p>
            <a:r>
              <a:rPr lang="en-US"/>
              <a:t>ESG</a:t>
            </a:r>
          </a:p>
        </p:txBody>
      </p:sp>
      <p:sp>
        <p:nvSpPr>
          <p:cNvPr id="8" name="Textfeld 7">
            <a:extLst>
              <a:ext uri="{FF2B5EF4-FFF2-40B4-BE49-F238E27FC236}">
                <a16:creationId xmlns:a16="http://schemas.microsoft.com/office/drawing/2014/main" id="{EE4FF448-5EF8-341E-93E0-37586ADB7B62}"/>
              </a:ext>
            </a:extLst>
          </p:cNvPr>
          <p:cNvSpPr txBox="1"/>
          <p:nvPr/>
        </p:nvSpPr>
        <p:spPr>
          <a:xfrm>
            <a:off x="364715" y="1982652"/>
            <a:ext cx="8563379" cy="738664"/>
          </a:xfrm>
          <a:prstGeom prst="rect">
            <a:avLst/>
          </a:prstGeom>
          <a:noFill/>
        </p:spPr>
        <p:txBody>
          <a:bodyPr wrap="square">
            <a:spAutoFit/>
          </a:bodyPr>
          <a:lstStyle/>
          <a:p>
            <a:r>
              <a:rPr lang="en-US" sz="1400" b="1"/>
              <a:t>The demand for delivery services like UberEats is rising, leading to more vehicles on the streets, particularly in big cities such as London. This surge exacerbates the already declining average travel speeds in central areas and leads to more pollution and time spent in traffic for inhabitants.</a:t>
            </a:r>
          </a:p>
        </p:txBody>
      </p:sp>
      <p:cxnSp>
        <p:nvCxnSpPr>
          <p:cNvPr id="9" name="Straight Connector 4">
            <a:extLst>
              <a:ext uri="{FF2B5EF4-FFF2-40B4-BE49-F238E27FC236}">
                <a16:creationId xmlns:a16="http://schemas.microsoft.com/office/drawing/2014/main" id="{E2C91137-4D65-B248-E84A-C48B8C2BAAE4}"/>
              </a:ext>
            </a:extLst>
          </p:cNvPr>
          <p:cNvCxnSpPr>
            <a:cxnSpLocks/>
          </p:cNvCxnSpPr>
          <p:nvPr/>
        </p:nvCxnSpPr>
        <p:spPr>
          <a:xfrm>
            <a:off x="4561609" y="2788636"/>
            <a:ext cx="0" cy="3590747"/>
          </a:xfrm>
          <a:prstGeom prst="line">
            <a:avLst/>
          </a:prstGeom>
          <a:ln>
            <a:solidFill>
              <a:srgbClr val="BFBFB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000FB1DC-0FEC-C3F9-538E-DB1F7BB5873C}"/>
              </a:ext>
            </a:extLst>
          </p:cNvPr>
          <p:cNvSpPr txBox="1"/>
          <p:nvPr/>
        </p:nvSpPr>
        <p:spPr>
          <a:xfrm>
            <a:off x="359997" y="2876545"/>
            <a:ext cx="4092733" cy="276999"/>
          </a:xfrm>
          <a:prstGeom prst="rect">
            <a:avLst/>
          </a:prstGeom>
          <a:noFill/>
        </p:spPr>
        <p:txBody>
          <a:bodyPr wrap="square" rtlCol="0">
            <a:spAutoFit/>
          </a:bodyPr>
          <a:lstStyle/>
          <a:p>
            <a:r>
              <a:rPr lang="en-US" sz="1200" b="1"/>
              <a:t>Financial &amp; Environmental implications</a:t>
            </a:r>
          </a:p>
        </p:txBody>
      </p:sp>
      <p:grpSp>
        <p:nvGrpSpPr>
          <p:cNvPr id="12" name="Donation" descr="{&quot;Key&quot;:&quot;POWER_USER_SHAPE_ICON&quot;,&quot;Value&quot;:&quot;POWER_USER_SHAPE_ICON_STYLE_1&quot;}">
            <a:extLst>
              <a:ext uri="{FF2B5EF4-FFF2-40B4-BE49-F238E27FC236}">
                <a16:creationId xmlns:a16="http://schemas.microsoft.com/office/drawing/2014/main" id="{C3814E82-AAB5-4859-7B50-EC1AED238561}"/>
              </a:ext>
            </a:extLst>
          </p:cNvPr>
          <p:cNvGrpSpPr>
            <a:grpSpLocks noChangeAspect="1"/>
          </p:cNvGrpSpPr>
          <p:nvPr/>
        </p:nvGrpSpPr>
        <p:grpSpPr>
          <a:xfrm>
            <a:off x="3947385" y="2858846"/>
            <a:ext cx="505345" cy="413578"/>
            <a:chOff x="2319338" y="2673351"/>
            <a:chExt cx="638175" cy="522287"/>
          </a:xfrm>
          <a:solidFill>
            <a:schemeClr val="tx1"/>
          </a:solidFill>
        </p:grpSpPr>
        <p:sp>
          <p:nvSpPr>
            <p:cNvPr id="13" name="Freeform 62">
              <a:extLst>
                <a:ext uri="{FF2B5EF4-FFF2-40B4-BE49-F238E27FC236}">
                  <a16:creationId xmlns:a16="http://schemas.microsoft.com/office/drawing/2014/main" id="{7716EBC5-3607-B598-171A-1BD2B2743B4A}"/>
                </a:ext>
              </a:extLst>
            </p:cNvPr>
            <p:cNvSpPr>
              <a:spLocks noEditPoints="1"/>
            </p:cNvSpPr>
            <p:nvPr/>
          </p:nvSpPr>
          <p:spPr bwMode="auto">
            <a:xfrm>
              <a:off x="2319338" y="2932113"/>
              <a:ext cx="638175" cy="263525"/>
            </a:xfrm>
            <a:custGeom>
              <a:avLst/>
              <a:gdLst>
                <a:gd name="T0" fmla="*/ 876 w 1067"/>
                <a:gd name="T1" fmla="*/ 277 h 439"/>
                <a:gd name="T2" fmla="*/ 856 w 1067"/>
                <a:gd name="T3" fmla="*/ 292 h 439"/>
                <a:gd name="T4" fmla="*/ 670 w 1067"/>
                <a:gd name="T5" fmla="*/ 402 h 439"/>
                <a:gd name="T6" fmla="*/ 617 w 1067"/>
                <a:gd name="T7" fmla="*/ 402 h 439"/>
                <a:gd name="T8" fmla="*/ 239 w 1067"/>
                <a:gd name="T9" fmla="*/ 294 h 439"/>
                <a:gd name="T10" fmla="*/ 234 w 1067"/>
                <a:gd name="T11" fmla="*/ 294 h 439"/>
                <a:gd name="T12" fmla="*/ 163 w 1067"/>
                <a:gd name="T13" fmla="*/ 294 h 439"/>
                <a:gd name="T14" fmla="*/ 163 w 1067"/>
                <a:gd name="T15" fmla="*/ 94 h 439"/>
                <a:gd name="T16" fmla="*/ 245 w 1067"/>
                <a:gd name="T17" fmla="*/ 94 h 439"/>
                <a:gd name="T18" fmla="*/ 251 w 1067"/>
                <a:gd name="T19" fmla="*/ 93 h 439"/>
                <a:gd name="T20" fmla="*/ 578 w 1067"/>
                <a:gd name="T21" fmla="*/ 141 h 439"/>
                <a:gd name="T22" fmla="*/ 587 w 1067"/>
                <a:gd name="T23" fmla="*/ 144 h 439"/>
                <a:gd name="T24" fmla="*/ 771 w 1067"/>
                <a:gd name="T25" fmla="*/ 141 h 439"/>
                <a:gd name="T26" fmla="*/ 817 w 1067"/>
                <a:gd name="T27" fmla="*/ 170 h 439"/>
                <a:gd name="T28" fmla="*/ 809 w 1067"/>
                <a:gd name="T29" fmla="*/ 200 h 439"/>
                <a:gd name="T30" fmla="*/ 788 w 1067"/>
                <a:gd name="T31" fmla="*/ 212 h 439"/>
                <a:gd name="T32" fmla="*/ 649 w 1067"/>
                <a:gd name="T33" fmla="*/ 237 h 439"/>
                <a:gd name="T34" fmla="*/ 618 w 1067"/>
                <a:gd name="T35" fmla="*/ 237 h 439"/>
                <a:gd name="T36" fmla="*/ 527 w 1067"/>
                <a:gd name="T37" fmla="*/ 218 h 439"/>
                <a:gd name="T38" fmla="*/ 508 w 1067"/>
                <a:gd name="T39" fmla="*/ 231 h 439"/>
                <a:gd name="T40" fmla="*/ 521 w 1067"/>
                <a:gd name="T41" fmla="*/ 251 h 439"/>
                <a:gd name="T42" fmla="*/ 612 w 1067"/>
                <a:gd name="T43" fmla="*/ 270 h 439"/>
                <a:gd name="T44" fmla="*/ 635 w 1067"/>
                <a:gd name="T45" fmla="*/ 272 h 439"/>
                <a:gd name="T46" fmla="*/ 655 w 1067"/>
                <a:gd name="T47" fmla="*/ 270 h 439"/>
                <a:gd name="T48" fmla="*/ 794 w 1067"/>
                <a:gd name="T49" fmla="*/ 245 h 439"/>
                <a:gd name="T50" fmla="*/ 835 w 1067"/>
                <a:gd name="T51" fmla="*/ 221 h 439"/>
                <a:gd name="T52" fmla="*/ 849 w 1067"/>
                <a:gd name="T53" fmla="*/ 189 h 439"/>
                <a:gd name="T54" fmla="*/ 935 w 1067"/>
                <a:gd name="T55" fmla="*/ 118 h 439"/>
                <a:gd name="T56" fmla="*/ 1026 w 1067"/>
                <a:gd name="T57" fmla="*/ 111 h 439"/>
                <a:gd name="T58" fmla="*/ 876 w 1067"/>
                <a:gd name="T59" fmla="*/ 277 h 439"/>
                <a:gd name="T60" fmla="*/ 130 w 1067"/>
                <a:gd name="T61" fmla="*/ 349 h 439"/>
                <a:gd name="T62" fmla="*/ 34 w 1067"/>
                <a:gd name="T63" fmla="*/ 349 h 439"/>
                <a:gd name="T64" fmla="*/ 34 w 1067"/>
                <a:gd name="T65" fmla="*/ 44 h 439"/>
                <a:gd name="T66" fmla="*/ 130 w 1067"/>
                <a:gd name="T67" fmla="*/ 44 h 439"/>
                <a:gd name="T68" fmla="*/ 130 w 1067"/>
                <a:gd name="T69" fmla="*/ 349 h 439"/>
                <a:gd name="T70" fmla="*/ 1063 w 1067"/>
                <a:gd name="T71" fmla="*/ 98 h 439"/>
                <a:gd name="T72" fmla="*/ 1051 w 1067"/>
                <a:gd name="T73" fmla="*/ 88 h 439"/>
                <a:gd name="T74" fmla="*/ 914 w 1067"/>
                <a:gd name="T75" fmla="*/ 92 h 439"/>
                <a:gd name="T76" fmla="*/ 845 w 1067"/>
                <a:gd name="T77" fmla="*/ 149 h 439"/>
                <a:gd name="T78" fmla="*/ 771 w 1067"/>
                <a:gd name="T79" fmla="*/ 108 h 439"/>
                <a:gd name="T80" fmla="*/ 592 w 1067"/>
                <a:gd name="T81" fmla="*/ 111 h 439"/>
                <a:gd name="T82" fmla="*/ 242 w 1067"/>
                <a:gd name="T83" fmla="*/ 61 h 439"/>
                <a:gd name="T84" fmla="*/ 163 w 1067"/>
                <a:gd name="T85" fmla="*/ 61 h 439"/>
                <a:gd name="T86" fmla="*/ 163 w 1067"/>
                <a:gd name="T87" fmla="*/ 27 h 439"/>
                <a:gd name="T88" fmla="*/ 147 w 1067"/>
                <a:gd name="T89" fmla="*/ 11 h 439"/>
                <a:gd name="T90" fmla="*/ 17 w 1067"/>
                <a:gd name="T91" fmla="*/ 11 h 439"/>
                <a:gd name="T92" fmla="*/ 0 w 1067"/>
                <a:gd name="T93" fmla="*/ 27 h 439"/>
                <a:gd name="T94" fmla="*/ 0 w 1067"/>
                <a:gd name="T95" fmla="*/ 366 h 439"/>
                <a:gd name="T96" fmla="*/ 17 w 1067"/>
                <a:gd name="T97" fmla="*/ 383 h 439"/>
                <a:gd name="T98" fmla="*/ 147 w 1067"/>
                <a:gd name="T99" fmla="*/ 383 h 439"/>
                <a:gd name="T100" fmla="*/ 163 w 1067"/>
                <a:gd name="T101" fmla="*/ 366 h 439"/>
                <a:gd name="T102" fmla="*/ 163 w 1067"/>
                <a:gd name="T103" fmla="*/ 327 h 439"/>
                <a:gd name="T104" fmla="*/ 232 w 1067"/>
                <a:gd name="T105" fmla="*/ 327 h 439"/>
                <a:gd name="T106" fmla="*/ 608 w 1067"/>
                <a:gd name="T107" fmla="*/ 434 h 439"/>
                <a:gd name="T108" fmla="*/ 643 w 1067"/>
                <a:gd name="T109" fmla="*/ 439 h 439"/>
                <a:gd name="T110" fmla="*/ 682 w 1067"/>
                <a:gd name="T111" fmla="*/ 433 h 439"/>
                <a:gd name="T112" fmla="*/ 686 w 1067"/>
                <a:gd name="T113" fmla="*/ 431 h 439"/>
                <a:gd name="T114" fmla="*/ 873 w 1067"/>
                <a:gd name="T115" fmla="*/ 321 h 439"/>
                <a:gd name="T116" fmla="*/ 900 w 1067"/>
                <a:gd name="T117" fmla="*/ 299 h 439"/>
                <a:gd name="T118" fmla="*/ 1062 w 1067"/>
                <a:gd name="T119" fmla="*/ 121 h 439"/>
                <a:gd name="T120" fmla="*/ 1067 w 1067"/>
                <a:gd name="T121" fmla="*/ 110 h 439"/>
                <a:gd name="T122" fmla="*/ 1063 w 1067"/>
                <a:gd name="T123" fmla="*/ 98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7" h="439">
                  <a:moveTo>
                    <a:pt x="876" y="277"/>
                  </a:moveTo>
                  <a:cubicBezTo>
                    <a:pt x="870" y="283"/>
                    <a:pt x="863" y="288"/>
                    <a:pt x="856" y="292"/>
                  </a:cubicBezTo>
                  <a:cubicBezTo>
                    <a:pt x="775" y="339"/>
                    <a:pt x="684" y="394"/>
                    <a:pt x="670" y="402"/>
                  </a:cubicBezTo>
                  <a:cubicBezTo>
                    <a:pt x="653" y="407"/>
                    <a:pt x="635" y="407"/>
                    <a:pt x="617" y="402"/>
                  </a:cubicBezTo>
                  <a:lnTo>
                    <a:pt x="239" y="294"/>
                  </a:lnTo>
                  <a:cubicBezTo>
                    <a:pt x="237" y="294"/>
                    <a:pt x="236" y="294"/>
                    <a:pt x="234" y="294"/>
                  </a:cubicBezTo>
                  <a:lnTo>
                    <a:pt x="163" y="294"/>
                  </a:lnTo>
                  <a:lnTo>
                    <a:pt x="163" y="94"/>
                  </a:lnTo>
                  <a:lnTo>
                    <a:pt x="245" y="94"/>
                  </a:lnTo>
                  <a:cubicBezTo>
                    <a:pt x="247" y="94"/>
                    <a:pt x="249" y="94"/>
                    <a:pt x="251" y="93"/>
                  </a:cubicBezTo>
                  <a:cubicBezTo>
                    <a:pt x="252" y="92"/>
                    <a:pt x="419" y="30"/>
                    <a:pt x="578" y="141"/>
                  </a:cubicBezTo>
                  <a:cubicBezTo>
                    <a:pt x="581" y="143"/>
                    <a:pt x="584" y="144"/>
                    <a:pt x="587" y="144"/>
                  </a:cubicBezTo>
                  <a:lnTo>
                    <a:pt x="771" y="141"/>
                  </a:lnTo>
                  <a:cubicBezTo>
                    <a:pt x="790" y="142"/>
                    <a:pt x="813" y="147"/>
                    <a:pt x="817" y="170"/>
                  </a:cubicBezTo>
                  <a:cubicBezTo>
                    <a:pt x="819" y="181"/>
                    <a:pt x="816" y="191"/>
                    <a:pt x="809" y="200"/>
                  </a:cubicBezTo>
                  <a:cubicBezTo>
                    <a:pt x="804" y="206"/>
                    <a:pt x="796" y="210"/>
                    <a:pt x="788" y="212"/>
                  </a:cubicBezTo>
                  <a:lnTo>
                    <a:pt x="649" y="237"/>
                  </a:lnTo>
                  <a:cubicBezTo>
                    <a:pt x="639" y="239"/>
                    <a:pt x="628" y="239"/>
                    <a:pt x="618" y="237"/>
                  </a:cubicBezTo>
                  <a:lnTo>
                    <a:pt x="527" y="218"/>
                  </a:lnTo>
                  <a:cubicBezTo>
                    <a:pt x="518" y="216"/>
                    <a:pt x="510" y="222"/>
                    <a:pt x="508" y="231"/>
                  </a:cubicBezTo>
                  <a:cubicBezTo>
                    <a:pt x="506" y="240"/>
                    <a:pt x="512" y="249"/>
                    <a:pt x="521" y="251"/>
                  </a:cubicBezTo>
                  <a:lnTo>
                    <a:pt x="612" y="270"/>
                  </a:lnTo>
                  <a:cubicBezTo>
                    <a:pt x="619" y="271"/>
                    <a:pt x="627" y="272"/>
                    <a:pt x="635" y="272"/>
                  </a:cubicBezTo>
                  <a:cubicBezTo>
                    <a:pt x="641" y="272"/>
                    <a:pt x="648" y="271"/>
                    <a:pt x="655" y="270"/>
                  </a:cubicBezTo>
                  <a:lnTo>
                    <a:pt x="794" y="245"/>
                  </a:lnTo>
                  <a:cubicBezTo>
                    <a:pt x="810" y="242"/>
                    <a:pt x="825" y="233"/>
                    <a:pt x="835" y="221"/>
                  </a:cubicBezTo>
                  <a:cubicBezTo>
                    <a:pt x="842" y="211"/>
                    <a:pt x="847" y="200"/>
                    <a:pt x="849" y="189"/>
                  </a:cubicBezTo>
                  <a:lnTo>
                    <a:pt x="935" y="118"/>
                  </a:lnTo>
                  <a:cubicBezTo>
                    <a:pt x="961" y="96"/>
                    <a:pt x="999" y="94"/>
                    <a:pt x="1026" y="111"/>
                  </a:cubicBezTo>
                  <a:lnTo>
                    <a:pt x="876" y="277"/>
                  </a:lnTo>
                  <a:close/>
                  <a:moveTo>
                    <a:pt x="130" y="349"/>
                  </a:moveTo>
                  <a:lnTo>
                    <a:pt x="34" y="349"/>
                  </a:lnTo>
                  <a:lnTo>
                    <a:pt x="34" y="44"/>
                  </a:lnTo>
                  <a:lnTo>
                    <a:pt x="130" y="44"/>
                  </a:lnTo>
                  <a:lnTo>
                    <a:pt x="130" y="349"/>
                  </a:lnTo>
                  <a:close/>
                  <a:moveTo>
                    <a:pt x="1063" y="98"/>
                  </a:moveTo>
                  <a:cubicBezTo>
                    <a:pt x="1062" y="97"/>
                    <a:pt x="1058" y="93"/>
                    <a:pt x="1051" y="88"/>
                  </a:cubicBezTo>
                  <a:cubicBezTo>
                    <a:pt x="1011" y="57"/>
                    <a:pt x="954" y="59"/>
                    <a:pt x="914" y="92"/>
                  </a:cubicBezTo>
                  <a:lnTo>
                    <a:pt x="845" y="149"/>
                  </a:lnTo>
                  <a:cubicBezTo>
                    <a:pt x="834" y="124"/>
                    <a:pt x="808" y="109"/>
                    <a:pt x="771" y="108"/>
                  </a:cubicBezTo>
                  <a:lnTo>
                    <a:pt x="592" y="111"/>
                  </a:lnTo>
                  <a:cubicBezTo>
                    <a:pt x="430" y="0"/>
                    <a:pt x="267" y="52"/>
                    <a:pt x="242" y="61"/>
                  </a:cubicBezTo>
                  <a:lnTo>
                    <a:pt x="163" y="61"/>
                  </a:lnTo>
                  <a:lnTo>
                    <a:pt x="163" y="27"/>
                  </a:lnTo>
                  <a:cubicBezTo>
                    <a:pt x="163" y="18"/>
                    <a:pt x="156" y="11"/>
                    <a:pt x="147" y="11"/>
                  </a:cubicBezTo>
                  <a:lnTo>
                    <a:pt x="17" y="11"/>
                  </a:lnTo>
                  <a:cubicBezTo>
                    <a:pt x="8" y="11"/>
                    <a:pt x="0" y="18"/>
                    <a:pt x="0" y="27"/>
                  </a:cubicBezTo>
                  <a:lnTo>
                    <a:pt x="0" y="366"/>
                  </a:lnTo>
                  <a:cubicBezTo>
                    <a:pt x="0" y="375"/>
                    <a:pt x="8" y="383"/>
                    <a:pt x="17" y="383"/>
                  </a:cubicBezTo>
                  <a:lnTo>
                    <a:pt x="147" y="383"/>
                  </a:lnTo>
                  <a:cubicBezTo>
                    <a:pt x="156" y="383"/>
                    <a:pt x="163" y="375"/>
                    <a:pt x="163" y="366"/>
                  </a:cubicBezTo>
                  <a:lnTo>
                    <a:pt x="163" y="327"/>
                  </a:lnTo>
                  <a:lnTo>
                    <a:pt x="232" y="327"/>
                  </a:lnTo>
                  <a:lnTo>
                    <a:pt x="608" y="434"/>
                  </a:lnTo>
                  <a:cubicBezTo>
                    <a:pt x="620" y="437"/>
                    <a:pt x="632" y="439"/>
                    <a:pt x="643" y="439"/>
                  </a:cubicBezTo>
                  <a:cubicBezTo>
                    <a:pt x="656" y="439"/>
                    <a:pt x="670" y="437"/>
                    <a:pt x="682" y="433"/>
                  </a:cubicBezTo>
                  <a:cubicBezTo>
                    <a:pt x="684" y="432"/>
                    <a:pt x="685" y="432"/>
                    <a:pt x="686" y="431"/>
                  </a:cubicBezTo>
                  <a:cubicBezTo>
                    <a:pt x="687" y="431"/>
                    <a:pt x="785" y="372"/>
                    <a:pt x="873" y="321"/>
                  </a:cubicBezTo>
                  <a:cubicBezTo>
                    <a:pt x="883" y="315"/>
                    <a:pt x="892" y="308"/>
                    <a:pt x="900" y="299"/>
                  </a:cubicBezTo>
                  <a:lnTo>
                    <a:pt x="1062" y="121"/>
                  </a:lnTo>
                  <a:cubicBezTo>
                    <a:pt x="1065" y="118"/>
                    <a:pt x="1067" y="114"/>
                    <a:pt x="1067" y="110"/>
                  </a:cubicBezTo>
                  <a:cubicBezTo>
                    <a:pt x="1067" y="106"/>
                    <a:pt x="1066" y="101"/>
                    <a:pt x="1063" y="9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 name="Freeform 63">
              <a:extLst>
                <a:ext uri="{FF2B5EF4-FFF2-40B4-BE49-F238E27FC236}">
                  <a16:creationId xmlns:a16="http://schemas.microsoft.com/office/drawing/2014/main" id="{46313451-88AC-45D3-F1A3-5C2F6F71B031}"/>
                </a:ext>
              </a:extLst>
            </p:cNvPr>
            <p:cNvSpPr>
              <a:spLocks noEditPoints="1"/>
            </p:cNvSpPr>
            <p:nvPr/>
          </p:nvSpPr>
          <p:spPr bwMode="auto">
            <a:xfrm>
              <a:off x="2516188" y="2673351"/>
              <a:ext cx="414338" cy="246063"/>
            </a:xfrm>
            <a:custGeom>
              <a:avLst/>
              <a:gdLst>
                <a:gd name="T0" fmla="*/ 33 w 693"/>
                <a:gd name="T1" fmla="*/ 34 h 413"/>
                <a:gd name="T2" fmla="*/ 660 w 693"/>
                <a:gd name="T3" fmla="*/ 34 h 413"/>
                <a:gd name="T4" fmla="*/ 660 w 693"/>
                <a:gd name="T5" fmla="*/ 379 h 413"/>
                <a:gd name="T6" fmla="*/ 33 w 693"/>
                <a:gd name="T7" fmla="*/ 379 h 413"/>
                <a:gd name="T8" fmla="*/ 33 w 693"/>
                <a:gd name="T9" fmla="*/ 34 h 413"/>
                <a:gd name="T10" fmla="*/ 16 w 693"/>
                <a:gd name="T11" fmla="*/ 413 h 413"/>
                <a:gd name="T12" fmla="*/ 677 w 693"/>
                <a:gd name="T13" fmla="*/ 413 h 413"/>
                <a:gd name="T14" fmla="*/ 693 w 693"/>
                <a:gd name="T15" fmla="*/ 396 h 413"/>
                <a:gd name="T16" fmla="*/ 693 w 693"/>
                <a:gd name="T17" fmla="*/ 17 h 413"/>
                <a:gd name="T18" fmla="*/ 677 w 693"/>
                <a:gd name="T19" fmla="*/ 0 h 413"/>
                <a:gd name="T20" fmla="*/ 16 w 693"/>
                <a:gd name="T21" fmla="*/ 0 h 413"/>
                <a:gd name="T22" fmla="*/ 0 w 693"/>
                <a:gd name="T23" fmla="*/ 17 h 413"/>
                <a:gd name="T24" fmla="*/ 0 w 693"/>
                <a:gd name="T25" fmla="*/ 396 h 413"/>
                <a:gd name="T26" fmla="*/ 16 w 693"/>
                <a:gd name="T27"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3" h="413">
                  <a:moveTo>
                    <a:pt x="33" y="34"/>
                  </a:moveTo>
                  <a:lnTo>
                    <a:pt x="660" y="34"/>
                  </a:lnTo>
                  <a:lnTo>
                    <a:pt x="660" y="379"/>
                  </a:lnTo>
                  <a:lnTo>
                    <a:pt x="33" y="379"/>
                  </a:lnTo>
                  <a:lnTo>
                    <a:pt x="33" y="34"/>
                  </a:lnTo>
                  <a:close/>
                  <a:moveTo>
                    <a:pt x="16" y="413"/>
                  </a:moveTo>
                  <a:lnTo>
                    <a:pt x="677" y="413"/>
                  </a:lnTo>
                  <a:cubicBezTo>
                    <a:pt x="686" y="413"/>
                    <a:pt x="693" y="405"/>
                    <a:pt x="693" y="396"/>
                  </a:cubicBezTo>
                  <a:lnTo>
                    <a:pt x="693" y="17"/>
                  </a:lnTo>
                  <a:cubicBezTo>
                    <a:pt x="693" y="8"/>
                    <a:pt x="686" y="0"/>
                    <a:pt x="677" y="0"/>
                  </a:cubicBezTo>
                  <a:lnTo>
                    <a:pt x="16" y="0"/>
                  </a:lnTo>
                  <a:cubicBezTo>
                    <a:pt x="7" y="0"/>
                    <a:pt x="0" y="8"/>
                    <a:pt x="0" y="17"/>
                  </a:cubicBezTo>
                  <a:lnTo>
                    <a:pt x="0" y="396"/>
                  </a:lnTo>
                  <a:cubicBezTo>
                    <a:pt x="0" y="405"/>
                    <a:pt x="7" y="413"/>
                    <a:pt x="16" y="4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 name="Freeform 64">
              <a:extLst>
                <a:ext uri="{FF2B5EF4-FFF2-40B4-BE49-F238E27FC236}">
                  <a16:creationId xmlns:a16="http://schemas.microsoft.com/office/drawing/2014/main" id="{D93CEE40-4E35-AEB8-A041-84D2462AD507}"/>
                </a:ext>
              </a:extLst>
            </p:cNvPr>
            <p:cNvSpPr>
              <a:spLocks noEditPoints="1"/>
            </p:cNvSpPr>
            <p:nvPr/>
          </p:nvSpPr>
          <p:spPr bwMode="auto">
            <a:xfrm>
              <a:off x="2679700" y="2751138"/>
              <a:ext cx="88900" cy="88900"/>
            </a:xfrm>
            <a:custGeom>
              <a:avLst/>
              <a:gdLst>
                <a:gd name="T0" fmla="*/ 74 w 149"/>
                <a:gd name="T1" fmla="*/ 116 h 149"/>
                <a:gd name="T2" fmla="*/ 33 w 149"/>
                <a:gd name="T3" fmla="*/ 75 h 149"/>
                <a:gd name="T4" fmla="*/ 74 w 149"/>
                <a:gd name="T5" fmla="*/ 34 h 149"/>
                <a:gd name="T6" fmla="*/ 115 w 149"/>
                <a:gd name="T7" fmla="*/ 75 h 149"/>
                <a:gd name="T8" fmla="*/ 74 w 149"/>
                <a:gd name="T9" fmla="*/ 116 h 149"/>
                <a:gd name="T10" fmla="*/ 74 w 149"/>
                <a:gd name="T11" fmla="*/ 0 h 149"/>
                <a:gd name="T12" fmla="*/ 0 w 149"/>
                <a:gd name="T13" fmla="*/ 75 h 149"/>
                <a:gd name="T14" fmla="*/ 74 w 149"/>
                <a:gd name="T15" fmla="*/ 149 h 149"/>
                <a:gd name="T16" fmla="*/ 149 w 149"/>
                <a:gd name="T17" fmla="*/ 75 h 149"/>
                <a:gd name="T18" fmla="*/ 74 w 149"/>
                <a:gd name="T1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49">
                  <a:moveTo>
                    <a:pt x="74" y="116"/>
                  </a:moveTo>
                  <a:cubicBezTo>
                    <a:pt x="52" y="116"/>
                    <a:pt x="33" y="97"/>
                    <a:pt x="33" y="75"/>
                  </a:cubicBezTo>
                  <a:cubicBezTo>
                    <a:pt x="33" y="52"/>
                    <a:pt x="52" y="34"/>
                    <a:pt x="74" y="34"/>
                  </a:cubicBezTo>
                  <a:cubicBezTo>
                    <a:pt x="97" y="34"/>
                    <a:pt x="115" y="52"/>
                    <a:pt x="115" y="75"/>
                  </a:cubicBezTo>
                  <a:cubicBezTo>
                    <a:pt x="115" y="97"/>
                    <a:pt x="97" y="116"/>
                    <a:pt x="74" y="116"/>
                  </a:cubicBezTo>
                  <a:close/>
                  <a:moveTo>
                    <a:pt x="74" y="0"/>
                  </a:moveTo>
                  <a:cubicBezTo>
                    <a:pt x="33" y="0"/>
                    <a:pt x="0" y="34"/>
                    <a:pt x="0" y="75"/>
                  </a:cubicBezTo>
                  <a:cubicBezTo>
                    <a:pt x="0" y="116"/>
                    <a:pt x="33" y="149"/>
                    <a:pt x="74" y="149"/>
                  </a:cubicBezTo>
                  <a:cubicBezTo>
                    <a:pt x="115" y="149"/>
                    <a:pt x="149" y="116"/>
                    <a:pt x="149" y="75"/>
                  </a:cubicBezTo>
                  <a:cubicBezTo>
                    <a:pt x="149" y="34"/>
                    <a:pt x="115" y="0"/>
                    <a:pt x="7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 name="Freeform 65">
              <a:extLst>
                <a:ext uri="{FF2B5EF4-FFF2-40B4-BE49-F238E27FC236}">
                  <a16:creationId xmlns:a16="http://schemas.microsoft.com/office/drawing/2014/main" id="{0C1F5D15-3BA5-2129-B067-EC4F72437232}"/>
                </a:ext>
              </a:extLst>
            </p:cNvPr>
            <p:cNvSpPr>
              <a:spLocks noEditPoints="1"/>
            </p:cNvSpPr>
            <p:nvPr/>
          </p:nvSpPr>
          <p:spPr bwMode="auto">
            <a:xfrm>
              <a:off x="2555875" y="2714626"/>
              <a:ext cx="334963" cy="163513"/>
            </a:xfrm>
            <a:custGeom>
              <a:avLst/>
              <a:gdLst>
                <a:gd name="T0" fmla="*/ 454 w 561"/>
                <a:gd name="T1" fmla="*/ 242 h 275"/>
                <a:gd name="T2" fmla="*/ 106 w 561"/>
                <a:gd name="T3" fmla="*/ 242 h 275"/>
                <a:gd name="T4" fmla="*/ 33 w 561"/>
                <a:gd name="T5" fmla="*/ 169 h 275"/>
                <a:gd name="T6" fmla="*/ 33 w 561"/>
                <a:gd name="T7" fmla="*/ 106 h 275"/>
                <a:gd name="T8" fmla="*/ 106 w 561"/>
                <a:gd name="T9" fmla="*/ 33 h 275"/>
                <a:gd name="T10" fmla="*/ 454 w 561"/>
                <a:gd name="T11" fmla="*/ 33 h 275"/>
                <a:gd name="T12" fmla="*/ 528 w 561"/>
                <a:gd name="T13" fmla="*/ 106 h 275"/>
                <a:gd name="T14" fmla="*/ 528 w 561"/>
                <a:gd name="T15" fmla="*/ 169 h 275"/>
                <a:gd name="T16" fmla="*/ 454 w 561"/>
                <a:gd name="T17" fmla="*/ 242 h 275"/>
                <a:gd name="T18" fmla="*/ 544 w 561"/>
                <a:gd name="T19" fmla="*/ 75 h 275"/>
                <a:gd name="T20" fmla="*/ 486 w 561"/>
                <a:gd name="T21" fmla="*/ 16 h 275"/>
                <a:gd name="T22" fmla="*/ 469 w 561"/>
                <a:gd name="T23" fmla="*/ 0 h 275"/>
                <a:gd name="T24" fmla="*/ 91 w 561"/>
                <a:gd name="T25" fmla="*/ 0 h 275"/>
                <a:gd name="T26" fmla="*/ 75 w 561"/>
                <a:gd name="T27" fmla="*/ 16 h 275"/>
                <a:gd name="T28" fmla="*/ 16 w 561"/>
                <a:gd name="T29" fmla="*/ 75 h 275"/>
                <a:gd name="T30" fmla="*/ 0 w 561"/>
                <a:gd name="T31" fmla="*/ 91 h 275"/>
                <a:gd name="T32" fmla="*/ 0 w 561"/>
                <a:gd name="T33" fmla="*/ 184 h 275"/>
                <a:gd name="T34" fmla="*/ 16 w 561"/>
                <a:gd name="T35" fmla="*/ 201 h 275"/>
                <a:gd name="T36" fmla="*/ 75 w 561"/>
                <a:gd name="T37" fmla="*/ 259 h 275"/>
                <a:gd name="T38" fmla="*/ 91 w 561"/>
                <a:gd name="T39" fmla="*/ 275 h 275"/>
                <a:gd name="T40" fmla="*/ 469 w 561"/>
                <a:gd name="T41" fmla="*/ 275 h 275"/>
                <a:gd name="T42" fmla="*/ 486 w 561"/>
                <a:gd name="T43" fmla="*/ 259 h 275"/>
                <a:gd name="T44" fmla="*/ 544 w 561"/>
                <a:gd name="T45" fmla="*/ 201 h 275"/>
                <a:gd name="T46" fmla="*/ 561 w 561"/>
                <a:gd name="T47" fmla="*/ 184 h 275"/>
                <a:gd name="T48" fmla="*/ 561 w 561"/>
                <a:gd name="T49" fmla="*/ 91 h 275"/>
                <a:gd name="T50" fmla="*/ 544 w 561"/>
                <a:gd name="T51" fmla="*/ 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1" h="275">
                  <a:moveTo>
                    <a:pt x="454" y="242"/>
                  </a:moveTo>
                  <a:lnTo>
                    <a:pt x="106" y="242"/>
                  </a:lnTo>
                  <a:cubicBezTo>
                    <a:pt x="100" y="205"/>
                    <a:pt x="70" y="176"/>
                    <a:pt x="33" y="169"/>
                  </a:cubicBezTo>
                  <a:lnTo>
                    <a:pt x="33" y="106"/>
                  </a:lnTo>
                  <a:cubicBezTo>
                    <a:pt x="70" y="100"/>
                    <a:pt x="100" y="70"/>
                    <a:pt x="106" y="33"/>
                  </a:cubicBezTo>
                  <a:lnTo>
                    <a:pt x="454" y="33"/>
                  </a:lnTo>
                  <a:cubicBezTo>
                    <a:pt x="461" y="70"/>
                    <a:pt x="491" y="100"/>
                    <a:pt x="528" y="106"/>
                  </a:cubicBezTo>
                  <a:lnTo>
                    <a:pt x="528" y="169"/>
                  </a:lnTo>
                  <a:cubicBezTo>
                    <a:pt x="491" y="176"/>
                    <a:pt x="461" y="205"/>
                    <a:pt x="454" y="242"/>
                  </a:cubicBezTo>
                  <a:close/>
                  <a:moveTo>
                    <a:pt x="544" y="75"/>
                  </a:moveTo>
                  <a:cubicBezTo>
                    <a:pt x="512" y="75"/>
                    <a:pt x="486" y="48"/>
                    <a:pt x="486" y="16"/>
                  </a:cubicBezTo>
                  <a:cubicBezTo>
                    <a:pt x="486" y="7"/>
                    <a:pt x="479" y="0"/>
                    <a:pt x="469" y="0"/>
                  </a:cubicBezTo>
                  <a:lnTo>
                    <a:pt x="91" y="0"/>
                  </a:lnTo>
                  <a:cubicBezTo>
                    <a:pt x="82" y="0"/>
                    <a:pt x="75" y="7"/>
                    <a:pt x="75" y="16"/>
                  </a:cubicBezTo>
                  <a:cubicBezTo>
                    <a:pt x="75" y="48"/>
                    <a:pt x="48" y="75"/>
                    <a:pt x="16" y="75"/>
                  </a:cubicBezTo>
                  <a:cubicBezTo>
                    <a:pt x="7" y="75"/>
                    <a:pt x="0" y="82"/>
                    <a:pt x="0" y="91"/>
                  </a:cubicBezTo>
                  <a:lnTo>
                    <a:pt x="0" y="184"/>
                  </a:lnTo>
                  <a:cubicBezTo>
                    <a:pt x="0" y="193"/>
                    <a:pt x="7" y="201"/>
                    <a:pt x="16" y="201"/>
                  </a:cubicBezTo>
                  <a:cubicBezTo>
                    <a:pt x="48" y="201"/>
                    <a:pt x="75" y="227"/>
                    <a:pt x="75" y="259"/>
                  </a:cubicBezTo>
                  <a:cubicBezTo>
                    <a:pt x="75" y="268"/>
                    <a:pt x="82" y="275"/>
                    <a:pt x="91" y="275"/>
                  </a:cubicBezTo>
                  <a:lnTo>
                    <a:pt x="469" y="275"/>
                  </a:lnTo>
                  <a:cubicBezTo>
                    <a:pt x="479" y="275"/>
                    <a:pt x="486" y="268"/>
                    <a:pt x="486" y="259"/>
                  </a:cubicBezTo>
                  <a:cubicBezTo>
                    <a:pt x="486" y="227"/>
                    <a:pt x="512" y="201"/>
                    <a:pt x="544" y="201"/>
                  </a:cubicBezTo>
                  <a:cubicBezTo>
                    <a:pt x="554" y="201"/>
                    <a:pt x="561" y="193"/>
                    <a:pt x="561" y="184"/>
                  </a:cubicBezTo>
                  <a:lnTo>
                    <a:pt x="561" y="91"/>
                  </a:lnTo>
                  <a:cubicBezTo>
                    <a:pt x="561" y="82"/>
                    <a:pt x="554" y="75"/>
                    <a:pt x="544" y="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17" name="Textfeld 16">
            <a:extLst>
              <a:ext uri="{FF2B5EF4-FFF2-40B4-BE49-F238E27FC236}">
                <a16:creationId xmlns:a16="http://schemas.microsoft.com/office/drawing/2014/main" id="{C22CFC35-351A-1868-5CB6-20D9DA3B9902}"/>
              </a:ext>
            </a:extLst>
          </p:cNvPr>
          <p:cNvSpPr txBox="1"/>
          <p:nvPr/>
        </p:nvSpPr>
        <p:spPr>
          <a:xfrm>
            <a:off x="359997" y="3260698"/>
            <a:ext cx="4092733" cy="1200329"/>
          </a:xfrm>
          <a:prstGeom prst="rect">
            <a:avLst/>
          </a:prstGeom>
          <a:noFill/>
        </p:spPr>
        <p:txBody>
          <a:bodyPr wrap="square" rtlCol="0">
            <a:spAutoFit/>
          </a:bodyPr>
          <a:lstStyle/>
          <a:p>
            <a:pPr marL="171450" indent="-171450">
              <a:buFont typeface="Arial" panose="020B0604020202020204" pitchFamily="34" charset="0"/>
              <a:buChar char="•"/>
            </a:pPr>
            <a:r>
              <a:rPr lang="en-US" sz="1200"/>
              <a:t>Average Trip Length: </a:t>
            </a:r>
            <a:r>
              <a:rPr lang="en-US" sz="1200" b="1"/>
              <a:t>2.5 km</a:t>
            </a:r>
          </a:p>
          <a:p>
            <a:pPr marL="171450" indent="-171450">
              <a:buFont typeface="Arial" panose="020B0604020202020204" pitchFamily="34" charset="0"/>
              <a:buChar char="•"/>
            </a:pPr>
            <a:r>
              <a:rPr lang="en-US" sz="1200"/>
              <a:t>Average Travel time in a Shift (exc. Waiting at Restaurants, Going from the Street to the Customer): </a:t>
            </a:r>
            <a:r>
              <a:rPr lang="en-US" sz="1200" b="1"/>
              <a:t>40 % of Shift</a:t>
            </a:r>
          </a:p>
          <a:p>
            <a:pPr marL="171450" indent="-171450">
              <a:buFont typeface="Arial" panose="020B0604020202020204" pitchFamily="34" charset="0"/>
              <a:buChar char="•"/>
            </a:pPr>
            <a:r>
              <a:rPr lang="en-US" sz="1200"/>
              <a:t>Average Speed in central London for cars: </a:t>
            </a:r>
            <a:r>
              <a:rPr lang="en-US" sz="1200" b="1"/>
              <a:t>11.4 km/h</a:t>
            </a:r>
            <a:r>
              <a:rPr lang="en-US" sz="1200" b="1" baseline="30000"/>
              <a:t>1</a:t>
            </a:r>
            <a:endParaRPr lang="en-US" sz="1200" b="1"/>
          </a:p>
          <a:p>
            <a:pPr marL="171450" indent="-171450">
              <a:buFont typeface="Arial" panose="020B0604020202020204" pitchFamily="34" charset="0"/>
              <a:buChar char="•"/>
            </a:pPr>
            <a:r>
              <a:rPr lang="en-US" sz="1200"/>
              <a:t>Average Speed for bicycles in urban env.: </a:t>
            </a:r>
            <a:r>
              <a:rPr lang="en-US" sz="1200" b="1"/>
              <a:t>~ 21 km/h</a:t>
            </a:r>
          </a:p>
          <a:p>
            <a:pPr marL="171450" indent="-171450">
              <a:buFont typeface="Arial" panose="020B0604020202020204" pitchFamily="34" charset="0"/>
              <a:buChar char="•"/>
            </a:pPr>
            <a:endParaRPr lang="en-US" sz="1200"/>
          </a:p>
        </p:txBody>
      </p:sp>
      <p:sp>
        <p:nvSpPr>
          <p:cNvPr id="21" name="Inhaltsplatzhalter 20">
            <a:extLst>
              <a:ext uri="{FF2B5EF4-FFF2-40B4-BE49-F238E27FC236}">
                <a16:creationId xmlns:a16="http://schemas.microsoft.com/office/drawing/2014/main" id="{832FD35D-B91A-6AAD-C703-84CDF09CCC65}"/>
              </a:ext>
            </a:extLst>
          </p:cNvPr>
          <p:cNvSpPr>
            <a:spLocks noGrp="1"/>
          </p:cNvSpPr>
          <p:nvPr>
            <p:ph idx="10"/>
          </p:nvPr>
        </p:nvSpPr>
        <p:spPr/>
        <p:txBody>
          <a:bodyPr/>
          <a:lstStyle/>
          <a:p>
            <a:r>
              <a:rPr lang="en-US"/>
              <a:t>Saving Opportunities - Simulation</a:t>
            </a:r>
          </a:p>
        </p:txBody>
      </p:sp>
      <p:graphicFrame>
        <p:nvGraphicFramePr>
          <p:cNvPr id="22" name="Inhaltsplatzhalter 18">
            <a:extLst>
              <a:ext uri="{FF2B5EF4-FFF2-40B4-BE49-F238E27FC236}">
                <a16:creationId xmlns:a16="http://schemas.microsoft.com/office/drawing/2014/main" id="{6059CC08-B2D5-63C5-4D1D-CF13B6442DDE}"/>
              </a:ext>
            </a:extLst>
          </p:cNvPr>
          <p:cNvGraphicFramePr>
            <a:graphicFrameLocks/>
          </p:cNvGraphicFramePr>
          <p:nvPr>
            <p:extLst>
              <p:ext uri="{D42A27DB-BD31-4B8C-83A1-F6EECF244321}">
                <p14:modId xmlns:p14="http://schemas.microsoft.com/office/powerpoint/2010/main" val="957885236"/>
              </p:ext>
            </p:extLst>
          </p:nvPr>
        </p:nvGraphicFramePr>
        <p:xfrm>
          <a:off x="359997" y="4338702"/>
          <a:ext cx="4092732" cy="838733"/>
        </p:xfrm>
        <a:graphic>
          <a:graphicData uri="http://schemas.openxmlformats.org/drawingml/2006/table">
            <a:tbl>
              <a:tblPr firstRow="1" bandRow="1">
                <a:tableStyleId>{073A0DAA-6AF3-43AB-8588-CEC1D06C72B9}</a:tableStyleId>
              </a:tblPr>
              <a:tblGrid>
                <a:gridCol w="1364244">
                  <a:extLst>
                    <a:ext uri="{9D8B030D-6E8A-4147-A177-3AD203B41FA5}">
                      <a16:colId xmlns:a16="http://schemas.microsoft.com/office/drawing/2014/main" val="266454183"/>
                    </a:ext>
                  </a:extLst>
                </a:gridCol>
                <a:gridCol w="1364244">
                  <a:extLst>
                    <a:ext uri="{9D8B030D-6E8A-4147-A177-3AD203B41FA5}">
                      <a16:colId xmlns:a16="http://schemas.microsoft.com/office/drawing/2014/main" val="2601734568"/>
                    </a:ext>
                  </a:extLst>
                </a:gridCol>
                <a:gridCol w="1364244">
                  <a:extLst>
                    <a:ext uri="{9D8B030D-6E8A-4147-A177-3AD203B41FA5}">
                      <a16:colId xmlns:a16="http://schemas.microsoft.com/office/drawing/2014/main" val="2768687105"/>
                    </a:ext>
                  </a:extLst>
                </a:gridCol>
              </a:tblGrid>
              <a:tr h="290093">
                <a:tc>
                  <a:txBody>
                    <a:bodyPr/>
                    <a:lstStyle/>
                    <a:p>
                      <a:pPr algn="ctr"/>
                      <a:r>
                        <a:rPr lang="en-US" sz="1200" b="1"/>
                        <a:t>Shift</a:t>
                      </a:r>
                      <a:endParaRPr lang="en-US" sz="1200" b="1" i="0"/>
                    </a:p>
                  </a:txBody>
                  <a:tcPr anchor="ctr"/>
                </a:tc>
                <a:tc>
                  <a:txBody>
                    <a:bodyPr/>
                    <a:lstStyle/>
                    <a:p>
                      <a:pPr algn="ctr"/>
                      <a:r>
                        <a:rPr lang="en-US" sz="1200" b="1"/>
                        <a:t>Car Distance</a:t>
                      </a:r>
                      <a:endParaRPr lang="en-US" sz="1200" b="1" i="0"/>
                    </a:p>
                  </a:txBody>
                  <a:tcPr anchor="ctr"/>
                </a:tc>
                <a:tc>
                  <a:txBody>
                    <a:bodyPr/>
                    <a:lstStyle/>
                    <a:p>
                      <a:pPr algn="ctr"/>
                      <a:r>
                        <a:rPr lang="en-US" sz="1200" b="1"/>
                        <a:t>Bike Distance</a:t>
                      </a:r>
                      <a:endParaRPr lang="en-US" sz="1200" b="1" i="0"/>
                    </a:p>
                  </a:txBody>
                  <a:tcPr anchor="ctr"/>
                </a:tc>
                <a:extLst>
                  <a:ext uri="{0D108BD9-81ED-4DB2-BD59-A6C34878D82A}">
                    <a16:rowId xmlns:a16="http://schemas.microsoft.com/office/drawing/2014/main" val="1780770476"/>
                  </a:ext>
                </a:extLst>
              </a:tr>
              <a:tr h="261257">
                <a:tc>
                  <a:txBody>
                    <a:bodyPr/>
                    <a:lstStyle/>
                    <a:p>
                      <a:pPr algn="ctr"/>
                      <a:r>
                        <a:rPr lang="en-US" sz="1200" b="1"/>
                        <a:t>8 Hours</a:t>
                      </a:r>
                      <a:endParaRPr lang="en-US" sz="1200" b="1" i="0"/>
                    </a:p>
                  </a:txBody>
                  <a:tcPr anchor="ctr"/>
                </a:tc>
                <a:tc>
                  <a:txBody>
                    <a:bodyPr/>
                    <a:lstStyle/>
                    <a:p>
                      <a:pPr algn="ctr"/>
                      <a:r>
                        <a:rPr lang="en-US" sz="1200" b="0"/>
                        <a:t>54.72 km</a:t>
                      </a:r>
                      <a:endParaRPr lang="en-US" sz="1200" b="0" i="0"/>
                    </a:p>
                  </a:txBody>
                  <a:tcPr anchor="ctr"/>
                </a:tc>
                <a:tc>
                  <a:txBody>
                    <a:bodyPr/>
                    <a:lstStyle/>
                    <a:p>
                      <a:pPr algn="ctr"/>
                      <a:r>
                        <a:rPr lang="en-US" sz="1200" b="0"/>
                        <a:t>100.8km</a:t>
                      </a:r>
                      <a:endParaRPr lang="en-US" sz="1200" b="0" i="0"/>
                    </a:p>
                  </a:txBody>
                  <a:tcPr anchor="ctr"/>
                </a:tc>
                <a:extLst>
                  <a:ext uri="{0D108BD9-81ED-4DB2-BD59-A6C34878D82A}">
                    <a16:rowId xmlns:a16="http://schemas.microsoft.com/office/drawing/2014/main" val="810274094"/>
                  </a:ext>
                </a:extLst>
              </a:tr>
              <a:tr h="261257">
                <a:tc>
                  <a:txBody>
                    <a:bodyPr/>
                    <a:lstStyle/>
                    <a:p>
                      <a:pPr algn="ctr"/>
                      <a:r>
                        <a:rPr lang="en-US" sz="1200" b="1" i="0"/>
                        <a:t>Trips</a:t>
                      </a:r>
                    </a:p>
                  </a:txBody>
                  <a:tcPr anchor="ctr"/>
                </a:tc>
                <a:tc>
                  <a:txBody>
                    <a:bodyPr/>
                    <a:lstStyle/>
                    <a:p>
                      <a:pPr algn="ctr"/>
                      <a:r>
                        <a:rPr lang="en-US" sz="1200" b="0" i="0"/>
                        <a:t>21</a:t>
                      </a:r>
                    </a:p>
                  </a:txBody>
                  <a:tcPr anchor="ctr"/>
                </a:tc>
                <a:tc>
                  <a:txBody>
                    <a:bodyPr/>
                    <a:lstStyle/>
                    <a:p>
                      <a:pPr algn="ctr"/>
                      <a:r>
                        <a:rPr lang="en-US" sz="1200" b="0" i="0"/>
                        <a:t>40</a:t>
                      </a:r>
                    </a:p>
                  </a:txBody>
                  <a:tcPr anchor="ctr"/>
                </a:tc>
                <a:extLst>
                  <a:ext uri="{0D108BD9-81ED-4DB2-BD59-A6C34878D82A}">
                    <a16:rowId xmlns:a16="http://schemas.microsoft.com/office/drawing/2014/main" val="1362460514"/>
                  </a:ext>
                </a:extLst>
              </a:tr>
            </a:tbl>
          </a:graphicData>
        </a:graphic>
      </p:graphicFrame>
      <p:sp>
        <p:nvSpPr>
          <p:cNvPr id="23" name="Textfeld 22">
            <a:extLst>
              <a:ext uri="{FF2B5EF4-FFF2-40B4-BE49-F238E27FC236}">
                <a16:creationId xmlns:a16="http://schemas.microsoft.com/office/drawing/2014/main" id="{CBE54B35-D231-09CB-EE7E-6FDAD85DBBAD}"/>
              </a:ext>
            </a:extLst>
          </p:cNvPr>
          <p:cNvSpPr txBox="1"/>
          <p:nvPr/>
        </p:nvSpPr>
        <p:spPr>
          <a:xfrm>
            <a:off x="359997" y="5279115"/>
            <a:ext cx="4092733" cy="1015663"/>
          </a:xfrm>
          <a:prstGeom prst="rect">
            <a:avLst/>
          </a:prstGeom>
          <a:noFill/>
        </p:spPr>
        <p:txBody>
          <a:bodyPr wrap="square" rtlCol="0">
            <a:spAutoFit/>
          </a:bodyPr>
          <a:lstStyle/>
          <a:p>
            <a:pPr marL="171450" indent="-171450">
              <a:buFont typeface="Arial" panose="020B0604020202020204" pitchFamily="34" charset="0"/>
              <a:buChar char="•"/>
            </a:pPr>
            <a:r>
              <a:rPr lang="en-US" sz="1200"/>
              <a:t>Using bikes in a densely populated Area like central London can nearly double the number of orders that can be delivered in a single shift, aside from ecological and environmental positive impacts this can lead to cost savings for different parties in Uber’s value chain</a:t>
            </a:r>
          </a:p>
        </p:txBody>
      </p:sp>
      <p:graphicFrame>
        <p:nvGraphicFramePr>
          <p:cNvPr id="24" name="Inhaltsplatzhalter 18">
            <a:extLst>
              <a:ext uri="{FF2B5EF4-FFF2-40B4-BE49-F238E27FC236}">
                <a16:creationId xmlns:a16="http://schemas.microsoft.com/office/drawing/2014/main" id="{731194C2-04C3-355A-F412-A7BC3AB0EAC0}"/>
              </a:ext>
            </a:extLst>
          </p:cNvPr>
          <p:cNvGraphicFramePr>
            <a:graphicFrameLocks/>
          </p:cNvGraphicFramePr>
          <p:nvPr>
            <p:extLst>
              <p:ext uri="{D42A27DB-BD31-4B8C-83A1-F6EECF244321}">
                <p14:modId xmlns:p14="http://schemas.microsoft.com/office/powerpoint/2010/main" val="1605411768"/>
              </p:ext>
            </p:extLst>
          </p:nvPr>
        </p:nvGraphicFramePr>
        <p:xfrm>
          <a:off x="4789063" y="2877940"/>
          <a:ext cx="4092732" cy="838733"/>
        </p:xfrm>
        <a:graphic>
          <a:graphicData uri="http://schemas.openxmlformats.org/drawingml/2006/table">
            <a:tbl>
              <a:tblPr firstRow="1" bandRow="1">
                <a:tableStyleId>{073A0DAA-6AF3-43AB-8588-CEC1D06C72B9}</a:tableStyleId>
              </a:tblPr>
              <a:tblGrid>
                <a:gridCol w="1364244">
                  <a:extLst>
                    <a:ext uri="{9D8B030D-6E8A-4147-A177-3AD203B41FA5}">
                      <a16:colId xmlns:a16="http://schemas.microsoft.com/office/drawing/2014/main" val="266454183"/>
                    </a:ext>
                  </a:extLst>
                </a:gridCol>
                <a:gridCol w="1364244">
                  <a:extLst>
                    <a:ext uri="{9D8B030D-6E8A-4147-A177-3AD203B41FA5}">
                      <a16:colId xmlns:a16="http://schemas.microsoft.com/office/drawing/2014/main" val="2601734568"/>
                    </a:ext>
                  </a:extLst>
                </a:gridCol>
                <a:gridCol w="1364244">
                  <a:extLst>
                    <a:ext uri="{9D8B030D-6E8A-4147-A177-3AD203B41FA5}">
                      <a16:colId xmlns:a16="http://schemas.microsoft.com/office/drawing/2014/main" val="2768687105"/>
                    </a:ext>
                  </a:extLst>
                </a:gridCol>
              </a:tblGrid>
              <a:tr h="290093">
                <a:tc>
                  <a:txBody>
                    <a:bodyPr/>
                    <a:lstStyle/>
                    <a:p>
                      <a:pPr algn="ctr"/>
                      <a:endParaRPr lang="en-US" sz="1200" b="1" i="0"/>
                    </a:p>
                  </a:txBody>
                  <a:tcPr anchor="ctr"/>
                </a:tc>
                <a:tc>
                  <a:txBody>
                    <a:bodyPr/>
                    <a:lstStyle/>
                    <a:p>
                      <a:pPr algn="ctr"/>
                      <a:r>
                        <a:rPr lang="en-US" sz="1200" b="1"/>
                        <a:t>Car</a:t>
                      </a:r>
                      <a:endParaRPr lang="en-US" sz="1200" b="1" i="0"/>
                    </a:p>
                  </a:txBody>
                  <a:tcPr anchor="ctr"/>
                </a:tc>
                <a:tc>
                  <a:txBody>
                    <a:bodyPr/>
                    <a:lstStyle/>
                    <a:p>
                      <a:pPr algn="ctr"/>
                      <a:r>
                        <a:rPr lang="en-US" sz="1200" b="1"/>
                        <a:t>Bike</a:t>
                      </a:r>
                      <a:endParaRPr lang="en-US" sz="1200" b="1" i="0"/>
                    </a:p>
                  </a:txBody>
                  <a:tcPr anchor="ctr"/>
                </a:tc>
                <a:extLst>
                  <a:ext uri="{0D108BD9-81ED-4DB2-BD59-A6C34878D82A}">
                    <a16:rowId xmlns:a16="http://schemas.microsoft.com/office/drawing/2014/main" val="1780770476"/>
                  </a:ext>
                </a:extLst>
              </a:tr>
              <a:tr h="261257">
                <a:tc>
                  <a:txBody>
                    <a:bodyPr/>
                    <a:lstStyle/>
                    <a:p>
                      <a:pPr algn="ctr"/>
                      <a:r>
                        <a:rPr lang="en-US" sz="1200" b="1" i="0"/>
                        <a:t>Average Cost/Trip</a:t>
                      </a:r>
                    </a:p>
                  </a:txBody>
                  <a:tcPr anchor="ctr"/>
                </a:tc>
                <a:tc>
                  <a:txBody>
                    <a:bodyPr/>
                    <a:lstStyle/>
                    <a:p>
                      <a:pPr algn="ctr"/>
                      <a:r>
                        <a:rPr lang="en-US" sz="1200" b="0" i="0"/>
                        <a:t>0.75 €</a:t>
                      </a:r>
                    </a:p>
                  </a:txBody>
                  <a:tcPr anchor="ctr"/>
                </a:tc>
                <a:tc>
                  <a:txBody>
                    <a:bodyPr/>
                    <a:lstStyle/>
                    <a:p>
                      <a:pPr algn="ctr"/>
                      <a:r>
                        <a:rPr lang="en-US" sz="1200" b="0" i="0"/>
                        <a:t>0.25 €</a:t>
                      </a:r>
                    </a:p>
                  </a:txBody>
                  <a:tcPr anchor="ctr"/>
                </a:tc>
                <a:extLst>
                  <a:ext uri="{0D108BD9-81ED-4DB2-BD59-A6C34878D82A}">
                    <a16:rowId xmlns:a16="http://schemas.microsoft.com/office/drawing/2014/main" val="810274094"/>
                  </a:ext>
                </a:extLst>
              </a:tr>
              <a:tr h="261257">
                <a:tc>
                  <a:txBody>
                    <a:bodyPr/>
                    <a:lstStyle/>
                    <a:p>
                      <a:pPr algn="ctr"/>
                      <a:r>
                        <a:rPr lang="en-US" sz="1200" b="1" i="0"/>
                        <a:t>CO2 / Trip</a:t>
                      </a:r>
                    </a:p>
                  </a:txBody>
                  <a:tcPr anchor="ctr"/>
                </a:tc>
                <a:tc>
                  <a:txBody>
                    <a:bodyPr/>
                    <a:lstStyle/>
                    <a:p>
                      <a:pPr algn="ctr"/>
                      <a:r>
                        <a:rPr lang="en-US" sz="1200" b="0" i="0"/>
                        <a:t>295 g</a:t>
                      </a:r>
                    </a:p>
                  </a:txBody>
                  <a:tcPr anchor="ctr"/>
                </a:tc>
                <a:tc>
                  <a:txBody>
                    <a:bodyPr/>
                    <a:lstStyle/>
                    <a:p>
                      <a:pPr algn="ctr"/>
                      <a:r>
                        <a:rPr lang="en-US" sz="1200" b="0" i="0"/>
                        <a:t>15 g</a:t>
                      </a:r>
                    </a:p>
                  </a:txBody>
                  <a:tcPr anchor="ctr"/>
                </a:tc>
                <a:extLst>
                  <a:ext uri="{0D108BD9-81ED-4DB2-BD59-A6C34878D82A}">
                    <a16:rowId xmlns:a16="http://schemas.microsoft.com/office/drawing/2014/main" val="1362460514"/>
                  </a:ext>
                </a:extLst>
              </a:tr>
            </a:tbl>
          </a:graphicData>
        </a:graphic>
      </p:graphicFrame>
      <p:sp>
        <p:nvSpPr>
          <p:cNvPr id="25" name="Textfeld 24">
            <a:extLst>
              <a:ext uri="{FF2B5EF4-FFF2-40B4-BE49-F238E27FC236}">
                <a16:creationId xmlns:a16="http://schemas.microsoft.com/office/drawing/2014/main" id="{748C96A3-EDF1-EBDB-3DAB-888F39F7903F}"/>
              </a:ext>
            </a:extLst>
          </p:cNvPr>
          <p:cNvSpPr txBox="1"/>
          <p:nvPr/>
        </p:nvSpPr>
        <p:spPr>
          <a:xfrm>
            <a:off x="4789062" y="3860862"/>
            <a:ext cx="4092733" cy="2308324"/>
          </a:xfrm>
          <a:prstGeom prst="rect">
            <a:avLst/>
          </a:prstGeom>
          <a:noFill/>
        </p:spPr>
        <p:txBody>
          <a:bodyPr wrap="square" rtlCol="0">
            <a:spAutoFit/>
          </a:bodyPr>
          <a:lstStyle/>
          <a:p>
            <a:pPr marL="171450" indent="-171450">
              <a:buFont typeface="Arial" panose="020B0604020202020204" pitchFamily="34" charset="0"/>
              <a:buChar char="•"/>
            </a:pPr>
            <a:r>
              <a:rPr lang="en-US" sz="1200"/>
              <a:t>Using bikes for deliveries boosts the number of trips per shift and cuts trip costs by about 70%, increasing satisfaction for both drivers and customers</a:t>
            </a:r>
          </a:p>
          <a:p>
            <a:pPr marL="171450" indent="-171450">
              <a:buFont typeface="Arial" panose="020B0604020202020204" pitchFamily="34" charset="0"/>
              <a:buChar char="•"/>
            </a:pPr>
            <a:r>
              <a:rPr lang="en-US" sz="1200"/>
              <a:t>Uber can use the savings from bike deliveries to offer financial incentives to drivers, encouraging them to switch from cars to more sustainable transport options</a:t>
            </a:r>
          </a:p>
          <a:p>
            <a:pPr marL="171450" indent="-171450">
              <a:buFont typeface="Arial" panose="020B0604020202020204" pitchFamily="34" charset="0"/>
              <a:buChar char="•"/>
            </a:pPr>
            <a:r>
              <a:rPr lang="en-US" sz="1200"/>
              <a:t>Switching to bicycles for deliveries significantly lowers CO2 emissions, contributing to environmental sustainability</a:t>
            </a:r>
          </a:p>
          <a:p>
            <a:pPr marL="171450" indent="-171450">
              <a:buFont typeface="Arial" panose="020B0604020202020204" pitchFamily="34" charset="0"/>
              <a:buChar char="•"/>
            </a:pPr>
            <a:r>
              <a:rPr lang="en-US" sz="1200"/>
              <a:t>These strategies—increased bike use, support for greener transport, and reduced emissions—can positively impact Uber's Environmental, Social, and Governance (ESG) ratings, enhancing its corporate responsibility profile</a:t>
            </a:r>
          </a:p>
        </p:txBody>
      </p:sp>
    </p:spTree>
    <p:extLst>
      <p:ext uri="{BB962C8B-B14F-4D97-AF65-F5344CB8AC3E}">
        <p14:creationId xmlns:p14="http://schemas.microsoft.com/office/powerpoint/2010/main" val="3815919448"/>
      </p:ext>
    </p:extLst>
  </p:cSld>
  <p:clrMapOvr>
    <a:masterClrMapping/>
  </p:clrMapOvr>
  <p:extLst>
    <p:ext uri="{6950BFC3-D8DA-4A85-94F7-54DA5524770B}">
      <p188:commentRel xmlns:p188="http://schemas.microsoft.com/office/powerpoint/2018/8/main" r:id="rId4"/>
    </p:ext>
  </p:extLs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8237EBDA-7196-5A24-0E68-06D11575E950}"/>
              </a:ext>
            </a:extLst>
          </p:cNvPr>
          <p:cNvGraphicFramePr>
            <a:graphicFrameLocks noChangeAspect="1"/>
          </p:cNvGraphicFramePr>
          <p:nvPr>
            <p:custDataLst>
              <p:tags r:id="rId1"/>
            </p:custDataLst>
            <p:extLst>
              <p:ext uri="{D42A27DB-BD31-4B8C-83A1-F6EECF244321}">
                <p14:modId xmlns:p14="http://schemas.microsoft.com/office/powerpoint/2010/main" val="2805836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30" name="think-cell data - do not delete" hidden="1">
                        <a:extLst>
                          <a:ext uri="{FF2B5EF4-FFF2-40B4-BE49-F238E27FC236}">
                            <a16:creationId xmlns:a16="http://schemas.microsoft.com/office/drawing/2014/main" id="{8237EBDA-7196-5A24-0E68-06D11575E9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F1ABED6-1117-76D7-67AF-75B93A4D67FC}"/>
              </a:ext>
            </a:extLst>
          </p:cNvPr>
          <p:cNvSpPr>
            <a:spLocks noGrp="1"/>
          </p:cNvSpPr>
          <p:nvPr>
            <p:ph type="title"/>
          </p:nvPr>
        </p:nvSpPr>
        <p:spPr/>
        <p:txBody>
          <a:bodyPr vert="horz"/>
          <a:lstStyle/>
          <a:p>
            <a:r>
              <a:rPr lang="en-US"/>
              <a:t>MSCIs ESG Rating evaluates a company’s ESG-Performance to assess its sustainability and responsible business practices</a:t>
            </a:r>
          </a:p>
        </p:txBody>
      </p:sp>
      <p:sp>
        <p:nvSpPr>
          <p:cNvPr id="4" name="Foliennummernplatzhalter 3">
            <a:extLst>
              <a:ext uri="{FF2B5EF4-FFF2-40B4-BE49-F238E27FC236}">
                <a16:creationId xmlns:a16="http://schemas.microsoft.com/office/drawing/2014/main" id="{9033A810-9F16-D350-4913-22D6F2E511F4}"/>
              </a:ext>
            </a:extLst>
          </p:cNvPr>
          <p:cNvSpPr>
            <a:spLocks noGrp="1"/>
          </p:cNvSpPr>
          <p:nvPr>
            <p:ph type="sldNum" sz="quarter" idx="4"/>
          </p:nvPr>
        </p:nvSpPr>
        <p:spPr/>
        <p:txBody>
          <a:bodyPr/>
          <a:lstStyle/>
          <a:p>
            <a:fld id="{BAF04893-69FB-435D-AB2E-CA259D85B32F}" type="slidenum">
              <a:rPr lang="en-US" smtClean="0"/>
              <a:pPr/>
              <a:t>76</a:t>
            </a:fld>
            <a:endParaRPr lang="en-US"/>
          </a:p>
        </p:txBody>
      </p:sp>
      <p:sp>
        <p:nvSpPr>
          <p:cNvPr id="5" name="Inhaltsplatzhalter 4">
            <a:extLst>
              <a:ext uri="{FF2B5EF4-FFF2-40B4-BE49-F238E27FC236}">
                <a16:creationId xmlns:a16="http://schemas.microsoft.com/office/drawing/2014/main" id="{3E6A1DF6-BD2B-A948-0A94-A85F950052C3}"/>
              </a:ext>
            </a:extLst>
          </p:cNvPr>
          <p:cNvSpPr>
            <a:spLocks noGrp="1"/>
          </p:cNvSpPr>
          <p:nvPr>
            <p:ph idx="10"/>
          </p:nvPr>
        </p:nvSpPr>
        <p:spPr/>
        <p:txBody>
          <a:bodyPr/>
          <a:lstStyle/>
          <a:p>
            <a:r>
              <a:rPr lang="en-US"/>
              <a:t>MSCI - ESG Rating</a:t>
            </a:r>
          </a:p>
        </p:txBody>
      </p:sp>
      <p:sp>
        <p:nvSpPr>
          <p:cNvPr id="6" name="Inhaltsplatzhalter 5">
            <a:extLst>
              <a:ext uri="{FF2B5EF4-FFF2-40B4-BE49-F238E27FC236}">
                <a16:creationId xmlns:a16="http://schemas.microsoft.com/office/drawing/2014/main" id="{C97AD640-6E1C-3DFE-3AF2-2F416DAFE70B}"/>
              </a:ext>
            </a:extLst>
          </p:cNvPr>
          <p:cNvSpPr>
            <a:spLocks noGrp="1"/>
          </p:cNvSpPr>
          <p:nvPr>
            <p:ph idx="11"/>
          </p:nvPr>
        </p:nvSpPr>
        <p:spPr/>
        <p:txBody>
          <a:bodyPr/>
          <a:lstStyle/>
          <a:p>
            <a:r>
              <a:rPr lang="en-US">
                <a:hlinkClick r:id="rId6"/>
              </a:rPr>
              <a:t>MSCI ESG Rating</a:t>
            </a:r>
            <a:endParaRPr lang="en-US"/>
          </a:p>
        </p:txBody>
      </p:sp>
      <p:sp>
        <p:nvSpPr>
          <p:cNvPr id="7" name="Inhaltsplatzhalter 6">
            <a:extLst>
              <a:ext uri="{FF2B5EF4-FFF2-40B4-BE49-F238E27FC236}">
                <a16:creationId xmlns:a16="http://schemas.microsoft.com/office/drawing/2014/main" id="{0C4A471A-41C2-8D6F-F6D9-DFE61A9912DF}"/>
              </a:ext>
            </a:extLst>
          </p:cNvPr>
          <p:cNvSpPr>
            <a:spLocks noGrp="1"/>
          </p:cNvSpPr>
          <p:nvPr>
            <p:ph idx="12"/>
          </p:nvPr>
        </p:nvSpPr>
        <p:spPr/>
        <p:txBody>
          <a:bodyPr/>
          <a:lstStyle/>
          <a:p>
            <a:r>
              <a:rPr lang="en-US"/>
              <a:t>ESG</a:t>
            </a:r>
          </a:p>
        </p:txBody>
      </p:sp>
      <p:sp>
        <p:nvSpPr>
          <p:cNvPr id="9" name="Textfeld 8">
            <a:extLst>
              <a:ext uri="{FF2B5EF4-FFF2-40B4-BE49-F238E27FC236}">
                <a16:creationId xmlns:a16="http://schemas.microsoft.com/office/drawing/2014/main" id="{E744D276-7F9F-3F6E-EFDF-0B5252A61440}"/>
              </a:ext>
            </a:extLst>
          </p:cNvPr>
          <p:cNvSpPr txBox="1"/>
          <p:nvPr/>
        </p:nvSpPr>
        <p:spPr>
          <a:xfrm>
            <a:off x="364715" y="1982652"/>
            <a:ext cx="8563379" cy="523220"/>
          </a:xfrm>
          <a:prstGeom prst="rect">
            <a:avLst/>
          </a:prstGeom>
          <a:noFill/>
        </p:spPr>
        <p:txBody>
          <a:bodyPr wrap="square">
            <a:spAutoFit/>
          </a:bodyPr>
          <a:lstStyle/>
          <a:p>
            <a:r>
              <a:rPr lang="en-US" sz="1400" b="1"/>
              <a:t>The MSCI-ESG Rating measures a company’s resilience to financially relevant ESG risks and opportunities through a detailed breakdown of each company’s business activities.</a:t>
            </a:r>
          </a:p>
        </p:txBody>
      </p:sp>
      <p:sp>
        <p:nvSpPr>
          <p:cNvPr id="10" name="Rechteck 9">
            <a:extLst>
              <a:ext uri="{FF2B5EF4-FFF2-40B4-BE49-F238E27FC236}">
                <a16:creationId xmlns:a16="http://schemas.microsoft.com/office/drawing/2014/main" id="{E28EE32E-BE22-A23B-F956-BFDA5AF9F7A1}"/>
              </a:ext>
            </a:extLst>
          </p:cNvPr>
          <p:cNvSpPr/>
          <p:nvPr/>
        </p:nvSpPr>
        <p:spPr>
          <a:xfrm>
            <a:off x="1285756" y="2645490"/>
            <a:ext cx="920136" cy="341929"/>
          </a:xfrm>
          <a:prstGeom prst="rect">
            <a:avLst/>
          </a:prstGeom>
          <a:solidFill>
            <a:srgbClr val="FF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CCC</a:t>
            </a:r>
          </a:p>
        </p:txBody>
      </p:sp>
      <p:sp>
        <p:nvSpPr>
          <p:cNvPr id="11" name="Rechteck 10">
            <a:extLst>
              <a:ext uri="{FF2B5EF4-FFF2-40B4-BE49-F238E27FC236}">
                <a16:creationId xmlns:a16="http://schemas.microsoft.com/office/drawing/2014/main" id="{C329A689-3A1F-23B3-1AEE-99D3EFEB5715}"/>
              </a:ext>
            </a:extLst>
          </p:cNvPr>
          <p:cNvSpPr/>
          <p:nvPr/>
        </p:nvSpPr>
        <p:spPr>
          <a:xfrm>
            <a:off x="2256004" y="2645489"/>
            <a:ext cx="920136" cy="341929"/>
          </a:xfrm>
          <a:prstGeom prst="rect">
            <a:avLst/>
          </a:prstGeom>
          <a:solidFill>
            <a:srgbClr val="FF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B</a:t>
            </a:r>
          </a:p>
        </p:txBody>
      </p:sp>
      <p:sp>
        <p:nvSpPr>
          <p:cNvPr id="12" name="Rechteck 11">
            <a:extLst>
              <a:ext uri="{FF2B5EF4-FFF2-40B4-BE49-F238E27FC236}">
                <a16:creationId xmlns:a16="http://schemas.microsoft.com/office/drawing/2014/main" id="{5FFE2EEE-E224-2A87-8730-5DD08472E8C6}"/>
              </a:ext>
            </a:extLst>
          </p:cNvPr>
          <p:cNvSpPr/>
          <p:nvPr/>
        </p:nvSpPr>
        <p:spPr>
          <a:xfrm>
            <a:off x="3226252" y="2645488"/>
            <a:ext cx="920136" cy="341929"/>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BB</a:t>
            </a:r>
          </a:p>
        </p:txBody>
      </p:sp>
      <p:sp>
        <p:nvSpPr>
          <p:cNvPr id="13" name="Rechteck 12">
            <a:extLst>
              <a:ext uri="{FF2B5EF4-FFF2-40B4-BE49-F238E27FC236}">
                <a16:creationId xmlns:a16="http://schemas.microsoft.com/office/drawing/2014/main" id="{5B55F92D-6711-91FF-4115-1CA07A40985B}"/>
              </a:ext>
            </a:extLst>
          </p:cNvPr>
          <p:cNvSpPr/>
          <p:nvPr/>
        </p:nvSpPr>
        <p:spPr>
          <a:xfrm>
            <a:off x="4196500" y="2645487"/>
            <a:ext cx="920136" cy="341929"/>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BBB</a:t>
            </a:r>
          </a:p>
        </p:txBody>
      </p:sp>
      <p:sp>
        <p:nvSpPr>
          <p:cNvPr id="14" name="Rechteck 13">
            <a:extLst>
              <a:ext uri="{FF2B5EF4-FFF2-40B4-BE49-F238E27FC236}">
                <a16:creationId xmlns:a16="http://schemas.microsoft.com/office/drawing/2014/main" id="{14B4F76A-B5D9-3884-4EF4-AE683A1DA7CA}"/>
              </a:ext>
            </a:extLst>
          </p:cNvPr>
          <p:cNvSpPr/>
          <p:nvPr/>
        </p:nvSpPr>
        <p:spPr>
          <a:xfrm>
            <a:off x="5166748" y="2645486"/>
            <a:ext cx="920136" cy="341929"/>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A</a:t>
            </a:r>
          </a:p>
        </p:txBody>
      </p:sp>
      <p:sp>
        <p:nvSpPr>
          <p:cNvPr id="15" name="Rechteck 14">
            <a:extLst>
              <a:ext uri="{FF2B5EF4-FFF2-40B4-BE49-F238E27FC236}">
                <a16:creationId xmlns:a16="http://schemas.microsoft.com/office/drawing/2014/main" id="{AB93E1C0-A2F3-A3F1-1AB8-EE2279432B8D}"/>
              </a:ext>
            </a:extLst>
          </p:cNvPr>
          <p:cNvSpPr/>
          <p:nvPr/>
        </p:nvSpPr>
        <p:spPr>
          <a:xfrm>
            <a:off x="6136996" y="2645485"/>
            <a:ext cx="920136" cy="341929"/>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AA</a:t>
            </a:r>
          </a:p>
        </p:txBody>
      </p:sp>
      <p:sp>
        <p:nvSpPr>
          <p:cNvPr id="16" name="Rechteck 15">
            <a:extLst>
              <a:ext uri="{FF2B5EF4-FFF2-40B4-BE49-F238E27FC236}">
                <a16:creationId xmlns:a16="http://schemas.microsoft.com/office/drawing/2014/main" id="{089A5C9D-8D42-BF57-6923-658B75E3BD15}"/>
              </a:ext>
            </a:extLst>
          </p:cNvPr>
          <p:cNvSpPr/>
          <p:nvPr/>
        </p:nvSpPr>
        <p:spPr>
          <a:xfrm>
            <a:off x="7107244" y="2645484"/>
            <a:ext cx="920136" cy="341929"/>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AAA</a:t>
            </a:r>
          </a:p>
        </p:txBody>
      </p:sp>
      <p:sp>
        <p:nvSpPr>
          <p:cNvPr id="18" name="Geschweifte Klammer links 17">
            <a:extLst>
              <a:ext uri="{FF2B5EF4-FFF2-40B4-BE49-F238E27FC236}">
                <a16:creationId xmlns:a16="http://schemas.microsoft.com/office/drawing/2014/main" id="{3362622E-F116-21E9-E926-1021A045EECB}"/>
              </a:ext>
            </a:extLst>
          </p:cNvPr>
          <p:cNvSpPr/>
          <p:nvPr/>
        </p:nvSpPr>
        <p:spPr>
          <a:xfrm rot="16200000">
            <a:off x="2150376" y="2180486"/>
            <a:ext cx="154218" cy="1890384"/>
          </a:xfrm>
          <a:prstGeom prst="lef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sp>
        <p:nvSpPr>
          <p:cNvPr id="19" name="Geschweifte Klammer links 18">
            <a:extLst>
              <a:ext uri="{FF2B5EF4-FFF2-40B4-BE49-F238E27FC236}">
                <a16:creationId xmlns:a16="http://schemas.microsoft.com/office/drawing/2014/main" id="{B3122E67-575E-6BF0-8F57-F4CD103497D5}"/>
              </a:ext>
            </a:extLst>
          </p:cNvPr>
          <p:cNvSpPr/>
          <p:nvPr/>
        </p:nvSpPr>
        <p:spPr>
          <a:xfrm rot="16200000">
            <a:off x="4579459" y="1695362"/>
            <a:ext cx="154218" cy="286063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Geschweifte Klammer links 20">
            <a:extLst>
              <a:ext uri="{FF2B5EF4-FFF2-40B4-BE49-F238E27FC236}">
                <a16:creationId xmlns:a16="http://schemas.microsoft.com/office/drawing/2014/main" id="{B0B16128-37CD-D4F9-D3F1-515CF67639AA}"/>
              </a:ext>
            </a:extLst>
          </p:cNvPr>
          <p:cNvSpPr/>
          <p:nvPr/>
        </p:nvSpPr>
        <p:spPr>
          <a:xfrm rot="16200000">
            <a:off x="7005079" y="2180486"/>
            <a:ext cx="154218" cy="1890384"/>
          </a:xfrm>
          <a:prstGeom prst="lef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Textfeld 24">
            <a:extLst>
              <a:ext uri="{FF2B5EF4-FFF2-40B4-BE49-F238E27FC236}">
                <a16:creationId xmlns:a16="http://schemas.microsoft.com/office/drawing/2014/main" id="{A9FE833D-C6EF-96BA-4411-E10D3E7D5E52}"/>
              </a:ext>
            </a:extLst>
          </p:cNvPr>
          <p:cNvSpPr txBox="1"/>
          <p:nvPr/>
        </p:nvSpPr>
        <p:spPr>
          <a:xfrm>
            <a:off x="426086" y="3300744"/>
            <a:ext cx="6831964" cy="738664"/>
          </a:xfrm>
          <a:prstGeom prst="rect">
            <a:avLst/>
          </a:prstGeom>
          <a:noFill/>
        </p:spPr>
        <p:txBody>
          <a:bodyPr wrap="square" rtlCol="0">
            <a:spAutoFit/>
          </a:bodyPr>
          <a:lstStyle/>
          <a:p>
            <a:pPr marL="285750" indent="-285750">
              <a:buFont typeface="Arial" panose="020B0604020202020204" pitchFamily="34" charset="0"/>
              <a:buChar char="•"/>
            </a:pPr>
            <a:r>
              <a:rPr lang="en-US" sz="1400" b="1">
                <a:solidFill>
                  <a:srgbClr val="FF0000"/>
                </a:solidFill>
              </a:rPr>
              <a:t>Laggard (CCC, B): </a:t>
            </a:r>
            <a:r>
              <a:rPr lang="en-US" sz="1400"/>
              <a:t>Poor ESG management, limited resilience to risks</a:t>
            </a:r>
          </a:p>
          <a:p>
            <a:pPr marL="285750" indent="-285750">
              <a:buFont typeface="Arial" panose="020B0604020202020204" pitchFamily="34" charset="0"/>
              <a:buChar char="•"/>
            </a:pPr>
            <a:r>
              <a:rPr lang="en-US" sz="1400" b="1">
                <a:solidFill>
                  <a:schemeClr val="accent1"/>
                </a:solidFill>
              </a:rPr>
              <a:t>Average (BB, BBB, A): </a:t>
            </a:r>
            <a:r>
              <a:rPr lang="en-US" sz="1400"/>
              <a:t>Moderate ESG management, standard performance</a:t>
            </a:r>
          </a:p>
          <a:p>
            <a:pPr marL="285750" indent="-285750">
              <a:buFont typeface="Arial" panose="020B0604020202020204" pitchFamily="34" charset="0"/>
              <a:buChar char="•"/>
            </a:pPr>
            <a:r>
              <a:rPr lang="en-US" sz="1400" b="1">
                <a:solidFill>
                  <a:schemeClr val="accent6"/>
                </a:solidFill>
              </a:rPr>
              <a:t>Leader (AA, AAA): </a:t>
            </a:r>
            <a:r>
              <a:rPr lang="en-US" sz="1400"/>
              <a:t>Outstanding ESG management, sets industry benchmarks</a:t>
            </a:r>
          </a:p>
        </p:txBody>
      </p:sp>
      <p:sp>
        <p:nvSpPr>
          <p:cNvPr id="26" name="Textfeld 25">
            <a:extLst>
              <a:ext uri="{FF2B5EF4-FFF2-40B4-BE49-F238E27FC236}">
                <a16:creationId xmlns:a16="http://schemas.microsoft.com/office/drawing/2014/main" id="{9E699105-AD65-FA06-70B1-649C1DCA5FEE}"/>
              </a:ext>
            </a:extLst>
          </p:cNvPr>
          <p:cNvSpPr txBox="1"/>
          <p:nvPr/>
        </p:nvSpPr>
        <p:spPr>
          <a:xfrm>
            <a:off x="359997" y="4131641"/>
            <a:ext cx="8563379" cy="1815882"/>
          </a:xfrm>
          <a:prstGeom prst="rect">
            <a:avLst/>
          </a:prstGeom>
          <a:noFill/>
        </p:spPr>
        <p:txBody>
          <a:bodyPr wrap="square">
            <a:spAutoFit/>
          </a:bodyPr>
          <a:lstStyle/>
          <a:p>
            <a:r>
              <a:rPr lang="en-US" sz="1400"/>
              <a:t>Process and methodology:</a:t>
            </a:r>
          </a:p>
          <a:p>
            <a:pPr marL="285750" indent="-285750">
              <a:buFont typeface="Arial" panose="020B0604020202020204" pitchFamily="34" charset="0"/>
              <a:buChar char="•"/>
            </a:pPr>
            <a:r>
              <a:rPr lang="en-US" sz="1400"/>
              <a:t>Rating based on 1000+ data points (KPIs, policies, targets, etc.) and two metric categories</a:t>
            </a:r>
          </a:p>
          <a:p>
            <a:pPr marL="285750" indent="-285750">
              <a:buFont typeface="Arial" panose="020B0604020202020204" pitchFamily="34" charset="0"/>
              <a:buChar char="•"/>
            </a:pPr>
            <a:r>
              <a:rPr lang="en-US" sz="1400"/>
              <a:t>Exposure metrics: How exposed is the company to industry material issues i.e. ESG-Impacts or issues that influence the assessment and decision of stakeholders</a:t>
            </a:r>
          </a:p>
          <a:p>
            <a:pPr marL="285750" indent="-285750">
              <a:buFont typeface="Arial" panose="020B0604020202020204" pitchFamily="34" charset="0"/>
              <a:buChar char="•"/>
            </a:pPr>
            <a:r>
              <a:rPr lang="en-US" sz="1400"/>
              <a:t>Management metrics: How the company is managing each issue</a:t>
            </a:r>
          </a:p>
          <a:p>
            <a:pPr marL="285750" indent="-285750">
              <a:buFont typeface="Arial" panose="020B0604020202020204" pitchFamily="34" charset="0"/>
              <a:buChar char="•"/>
            </a:pPr>
            <a:r>
              <a:rPr lang="en-US" sz="1400"/>
              <a:t>Resulting in 35 industry-specific key issue scores based on impact and the time horizon of risk or opportunity allowing a direct comparison between companies in the same industry</a:t>
            </a:r>
          </a:p>
          <a:p>
            <a:endParaRPr lang="en-US" sz="1400"/>
          </a:p>
        </p:txBody>
      </p:sp>
      <p:sp>
        <p:nvSpPr>
          <p:cNvPr id="27" name="Rechteck 26">
            <a:extLst>
              <a:ext uri="{FF2B5EF4-FFF2-40B4-BE49-F238E27FC236}">
                <a16:creationId xmlns:a16="http://schemas.microsoft.com/office/drawing/2014/main" id="{27525F91-4262-DFC5-0058-2FCADEEB9959}"/>
              </a:ext>
            </a:extLst>
          </p:cNvPr>
          <p:cNvSpPr/>
          <p:nvPr/>
        </p:nvSpPr>
        <p:spPr>
          <a:xfrm>
            <a:off x="1285756" y="2645486"/>
            <a:ext cx="920136" cy="341929"/>
          </a:xfrm>
          <a:prstGeom prst="rect">
            <a:avLst/>
          </a:prstGeom>
          <a:solidFill>
            <a:srgbClr val="FF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CCC</a:t>
            </a:r>
          </a:p>
        </p:txBody>
      </p:sp>
      <p:sp>
        <p:nvSpPr>
          <p:cNvPr id="28" name="Rechteck 27">
            <a:extLst>
              <a:ext uri="{FF2B5EF4-FFF2-40B4-BE49-F238E27FC236}">
                <a16:creationId xmlns:a16="http://schemas.microsoft.com/office/drawing/2014/main" id="{2DC92D7E-37AC-B128-9521-CE85D18A1F96}"/>
              </a:ext>
            </a:extLst>
          </p:cNvPr>
          <p:cNvSpPr/>
          <p:nvPr/>
        </p:nvSpPr>
        <p:spPr>
          <a:xfrm>
            <a:off x="2256004" y="2645485"/>
            <a:ext cx="920136" cy="341929"/>
          </a:xfrm>
          <a:prstGeom prst="rect">
            <a:avLst/>
          </a:prstGeom>
          <a:solidFill>
            <a:srgbClr val="FF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B</a:t>
            </a:r>
          </a:p>
        </p:txBody>
      </p:sp>
      <p:sp>
        <p:nvSpPr>
          <p:cNvPr id="29" name="Rechteck 28">
            <a:extLst>
              <a:ext uri="{FF2B5EF4-FFF2-40B4-BE49-F238E27FC236}">
                <a16:creationId xmlns:a16="http://schemas.microsoft.com/office/drawing/2014/main" id="{BBED0EAD-FE3B-B679-DC17-78BDC7D0FD72}"/>
              </a:ext>
            </a:extLst>
          </p:cNvPr>
          <p:cNvSpPr/>
          <p:nvPr/>
        </p:nvSpPr>
        <p:spPr>
          <a:xfrm>
            <a:off x="3226252" y="2645484"/>
            <a:ext cx="920136" cy="341929"/>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BB</a:t>
            </a:r>
          </a:p>
        </p:txBody>
      </p:sp>
    </p:spTree>
    <p:extLst>
      <p:ext uri="{BB962C8B-B14F-4D97-AF65-F5344CB8AC3E}">
        <p14:creationId xmlns:p14="http://schemas.microsoft.com/office/powerpoint/2010/main" val="1998720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A063CEC7-C753-B4E9-CCA4-D83F49DF45A2}"/>
              </a:ext>
            </a:extLst>
          </p:cNvPr>
          <p:cNvGraphicFramePr>
            <a:graphicFrameLocks noChangeAspect="1"/>
          </p:cNvGraphicFramePr>
          <p:nvPr>
            <p:custDataLst>
              <p:tags r:id="rId1"/>
            </p:custDataLst>
            <p:extLst>
              <p:ext uri="{D42A27DB-BD31-4B8C-83A1-F6EECF244321}">
                <p14:modId xmlns:p14="http://schemas.microsoft.com/office/powerpoint/2010/main" val="398075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8" imgH="408" progId="TCLayout.ActiveDocument.1">
                  <p:embed/>
                </p:oleObj>
              </mc:Choice>
              <mc:Fallback>
                <p:oleObj name="think-cell Folie" r:id="rId7" imgW="408" imgH="408" progId="TCLayout.ActiveDocument.1">
                  <p:embed/>
                  <p:pic>
                    <p:nvPicPr>
                      <p:cNvPr id="56" name="think-cell data - do not delete" hidden="1">
                        <a:extLst>
                          <a:ext uri="{FF2B5EF4-FFF2-40B4-BE49-F238E27FC236}">
                            <a16:creationId xmlns:a16="http://schemas.microsoft.com/office/drawing/2014/main" id="{A063CEC7-C753-B4E9-CCA4-D83F49DF45A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1E94977-00A9-60D6-BE31-9961EE71C54E}"/>
              </a:ext>
            </a:extLst>
          </p:cNvPr>
          <p:cNvSpPr>
            <a:spLocks noGrp="1"/>
          </p:cNvSpPr>
          <p:nvPr>
            <p:ph type="title"/>
          </p:nvPr>
        </p:nvSpPr>
        <p:spPr/>
        <p:txBody>
          <a:bodyPr vert="horz"/>
          <a:lstStyle/>
          <a:p>
            <a:r>
              <a:rPr lang="en-US"/>
              <a:t>Uber is rated as average among other companies in the road &amp; rail transport industry</a:t>
            </a:r>
          </a:p>
        </p:txBody>
      </p:sp>
      <p:sp>
        <p:nvSpPr>
          <p:cNvPr id="4" name="Foliennummernplatzhalter 3">
            <a:extLst>
              <a:ext uri="{FF2B5EF4-FFF2-40B4-BE49-F238E27FC236}">
                <a16:creationId xmlns:a16="http://schemas.microsoft.com/office/drawing/2014/main" id="{33082B9C-2612-E99E-2F8E-262C199F7BC6}"/>
              </a:ext>
            </a:extLst>
          </p:cNvPr>
          <p:cNvSpPr>
            <a:spLocks noGrp="1"/>
          </p:cNvSpPr>
          <p:nvPr>
            <p:ph type="sldNum" sz="quarter" idx="4"/>
          </p:nvPr>
        </p:nvSpPr>
        <p:spPr/>
        <p:txBody>
          <a:bodyPr/>
          <a:lstStyle/>
          <a:p>
            <a:fld id="{BAF04893-69FB-435D-AB2E-CA259D85B32F}" type="slidenum">
              <a:rPr lang="en-US" smtClean="0"/>
              <a:pPr/>
              <a:t>77</a:t>
            </a:fld>
            <a:endParaRPr lang="en-US"/>
          </a:p>
        </p:txBody>
      </p:sp>
      <p:sp>
        <p:nvSpPr>
          <p:cNvPr id="5" name="Inhaltsplatzhalter 4">
            <a:extLst>
              <a:ext uri="{FF2B5EF4-FFF2-40B4-BE49-F238E27FC236}">
                <a16:creationId xmlns:a16="http://schemas.microsoft.com/office/drawing/2014/main" id="{848D07D1-9249-0877-B3C1-DFDD1518E002}"/>
              </a:ext>
            </a:extLst>
          </p:cNvPr>
          <p:cNvSpPr>
            <a:spLocks noGrp="1"/>
          </p:cNvSpPr>
          <p:nvPr>
            <p:ph idx="10"/>
          </p:nvPr>
        </p:nvSpPr>
        <p:spPr/>
        <p:txBody>
          <a:bodyPr/>
          <a:lstStyle/>
          <a:p>
            <a:r>
              <a:rPr lang="en-US"/>
              <a:t>ESG Rating UBER -MSCI</a:t>
            </a:r>
          </a:p>
        </p:txBody>
      </p:sp>
      <p:sp>
        <p:nvSpPr>
          <p:cNvPr id="6" name="Inhaltsplatzhalter 5">
            <a:extLst>
              <a:ext uri="{FF2B5EF4-FFF2-40B4-BE49-F238E27FC236}">
                <a16:creationId xmlns:a16="http://schemas.microsoft.com/office/drawing/2014/main" id="{E406F318-5734-C9F9-8A14-086343576680}"/>
              </a:ext>
            </a:extLst>
          </p:cNvPr>
          <p:cNvSpPr>
            <a:spLocks noGrp="1"/>
          </p:cNvSpPr>
          <p:nvPr>
            <p:ph idx="11"/>
          </p:nvPr>
        </p:nvSpPr>
        <p:spPr/>
        <p:txBody>
          <a:bodyPr/>
          <a:lstStyle/>
          <a:p>
            <a:r>
              <a:rPr lang="en-US">
                <a:hlinkClick r:id="rId9"/>
              </a:rPr>
              <a:t>MSCI ESG Rating</a:t>
            </a:r>
            <a:endParaRPr lang="en-US"/>
          </a:p>
        </p:txBody>
      </p:sp>
      <p:sp>
        <p:nvSpPr>
          <p:cNvPr id="7" name="Inhaltsplatzhalter 6">
            <a:extLst>
              <a:ext uri="{FF2B5EF4-FFF2-40B4-BE49-F238E27FC236}">
                <a16:creationId xmlns:a16="http://schemas.microsoft.com/office/drawing/2014/main" id="{E3208773-BF43-B1F2-4A0A-2275FA6497E6}"/>
              </a:ext>
            </a:extLst>
          </p:cNvPr>
          <p:cNvSpPr>
            <a:spLocks noGrp="1"/>
          </p:cNvSpPr>
          <p:nvPr>
            <p:ph idx="12"/>
          </p:nvPr>
        </p:nvSpPr>
        <p:spPr/>
        <p:txBody>
          <a:bodyPr/>
          <a:lstStyle/>
          <a:p>
            <a:r>
              <a:rPr lang="en-US"/>
              <a:t>ESG</a:t>
            </a:r>
          </a:p>
        </p:txBody>
      </p:sp>
      <p:sp>
        <p:nvSpPr>
          <p:cNvPr id="8" name="Rechteck 7">
            <a:extLst>
              <a:ext uri="{FF2B5EF4-FFF2-40B4-BE49-F238E27FC236}">
                <a16:creationId xmlns:a16="http://schemas.microsoft.com/office/drawing/2014/main" id="{726A4910-212D-86FF-9F41-A7C1BA342382}"/>
              </a:ext>
            </a:extLst>
          </p:cNvPr>
          <p:cNvSpPr/>
          <p:nvPr/>
        </p:nvSpPr>
        <p:spPr>
          <a:xfrm>
            <a:off x="1655997" y="2094575"/>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BB</a:t>
            </a:r>
          </a:p>
        </p:txBody>
      </p:sp>
      <p:sp>
        <p:nvSpPr>
          <p:cNvPr id="9" name="Rechteck 8">
            <a:extLst>
              <a:ext uri="{FF2B5EF4-FFF2-40B4-BE49-F238E27FC236}">
                <a16:creationId xmlns:a16="http://schemas.microsoft.com/office/drawing/2014/main" id="{7D512B15-5405-E90C-74B1-7B2F0D4CAECF}"/>
              </a:ext>
            </a:extLst>
          </p:cNvPr>
          <p:cNvSpPr/>
          <p:nvPr/>
        </p:nvSpPr>
        <p:spPr>
          <a:xfrm>
            <a:off x="2087997" y="2094575"/>
            <a:ext cx="432000" cy="21600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rPr>
              <a:t>A</a:t>
            </a:r>
          </a:p>
        </p:txBody>
      </p:sp>
      <p:sp>
        <p:nvSpPr>
          <p:cNvPr id="10" name="Rechteck 9">
            <a:extLst>
              <a:ext uri="{FF2B5EF4-FFF2-40B4-BE49-F238E27FC236}">
                <a16:creationId xmlns:a16="http://schemas.microsoft.com/office/drawing/2014/main" id="{5C94F397-6293-6BC1-E257-3FBD64E64BA3}"/>
              </a:ext>
            </a:extLst>
          </p:cNvPr>
          <p:cNvSpPr/>
          <p:nvPr/>
        </p:nvSpPr>
        <p:spPr>
          <a:xfrm>
            <a:off x="2519997" y="2094575"/>
            <a:ext cx="432000" cy="216000"/>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a:t>
            </a:r>
          </a:p>
        </p:txBody>
      </p:sp>
      <p:sp>
        <p:nvSpPr>
          <p:cNvPr id="11" name="Rechteck 10">
            <a:extLst>
              <a:ext uri="{FF2B5EF4-FFF2-40B4-BE49-F238E27FC236}">
                <a16:creationId xmlns:a16="http://schemas.microsoft.com/office/drawing/2014/main" id="{6DABD41D-159A-D5C4-29D6-63C30863FD5B}"/>
              </a:ext>
            </a:extLst>
          </p:cNvPr>
          <p:cNvSpPr/>
          <p:nvPr/>
        </p:nvSpPr>
        <p:spPr>
          <a:xfrm>
            <a:off x="2951997" y="2094575"/>
            <a:ext cx="432000" cy="216000"/>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A</a:t>
            </a:r>
          </a:p>
        </p:txBody>
      </p:sp>
      <p:sp>
        <p:nvSpPr>
          <p:cNvPr id="12" name="Rechteck 11">
            <a:extLst>
              <a:ext uri="{FF2B5EF4-FFF2-40B4-BE49-F238E27FC236}">
                <a16:creationId xmlns:a16="http://schemas.microsoft.com/office/drawing/2014/main" id="{5F9AB139-16E0-5F2C-E0EB-BD82BFADACBD}"/>
              </a:ext>
            </a:extLst>
          </p:cNvPr>
          <p:cNvSpPr/>
          <p:nvPr/>
        </p:nvSpPr>
        <p:spPr>
          <a:xfrm>
            <a:off x="359997" y="2094575"/>
            <a:ext cx="432000" cy="21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CCC</a:t>
            </a:r>
          </a:p>
        </p:txBody>
      </p:sp>
      <p:sp>
        <p:nvSpPr>
          <p:cNvPr id="13" name="Rechteck 12">
            <a:extLst>
              <a:ext uri="{FF2B5EF4-FFF2-40B4-BE49-F238E27FC236}">
                <a16:creationId xmlns:a16="http://schemas.microsoft.com/office/drawing/2014/main" id="{78ABBF4A-A66D-0421-9796-A8B671C6E6E5}"/>
              </a:ext>
            </a:extLst>
          </p:cNvPr>
          <p:cNvSpPr/>
          <p:nvPr/>
        </p:nvSpPr>
        <p:spPr>
          <a:xfrm>
            <a:off x="791997" y="2094575"/>
            <a:ext cx="432000" cy="21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a:t>
            </a:r>
          </a:p>
        </p:txBody>
      </p:sp>
      <p:sp>
        <p:nvSpPr>
          <p:cNvPr id="14" name="Rechteck 13">
            <a:extLst>
              <a:ext uri="{FF2B5EF4-FFF2-40B4-BE49-F238E27FC236}">
                <a16:creationId xmlns:a16="http://schemas.microsoft.com/office/drawing/2014/main" id="{389F81C5-A9C6-0945-933F-205058FD4587}"/>
              </a:ext>
            </a:extLst>
          </p:cNvPr>
          <p:cNvSpPr/>
          <p:nvPr/>
        </p:nvSpPr>
        <p:spPr>
          <a:xfrm>
            <a:off x="1223997" y="2094575"/>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B</a:t>
            </a:r>
          </a:p>
        </p:txBody>
      </p:sp>
      <p:grpSp>
        <p:nvGrpSpPr>
          <p:cNvPr id="15" name="Group 1">
            <a:extLst>
              <a:ext uri="{FF2B5EF4-FFF2-40B4-BE49-F238E27FC236}">
                <a16:creationId xmlns:a16="http://schemas.microsoft.com/office/drawing/2014/main" id="{C7363174-92D8-2EEC-574E-DE0360785FC2}"/>
              </a:ext>
            </a:extLst>
          </p:cNvPr>
          <p:cNvGrpSpPr/>
          <p:nvPr/>
        </p:nvGrpSpPr>
        <p:grpSpPr>
          <a:xfrm>
            <a:off x="628650" y="2535665"/>
            <a:ext cx="6783102" cy="638736"/>
            <a:chOff x="623392" y="1452097"/>
            <a:chExt cx="11045694" cy="1786305"/>
          </a:xfrm>
        </p:grpSpPr>
        <p:sp>
          <p:nvSpPr>
            <p:cNvPr id="16" name="Rectangle 17">
              <a:extLst>
                <a:ext uri="{FF2B5EF4-FFF2-40B4-BE49-F238E27FC236}">
                  <a16:creationId xmlns:a16="http://schemas.microsoft.com/office/drawing/2014/main" id="{F190A49C-5A98-AB63-6CF7-984B16610A5D}"/>
                </a:ext>
              </a:extLst>
            </p:cNvPr>
            <p:cNvSpPr/>
            <p:nvPr/>
          </p:nvSpPr>
          <p:spPr>
            <a:xfrm>
              <a:off x="623392" y="1610856"/>
              <a:ext cx="11045694" cy="1627546"/>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Carbon Emissions: </a:t>
              </a:r>
              <a:r>
                <a:rPr lang="en-US" sz="1200" kern="0">
                  <a:solidFill>
                    <a:schemeClr val="tx1"/>
                  </a:solidFill>
                </a:rPr>
                <a:t>Ubers actions to reduce ist carbon emissions through the implementation of electric-vehicles in ist fleet, positioned it in a leading position in the aspect of carbon emission produced</a:t>
              </a:r>
              <a:endParaRPr lang="en-US" sz="1200" b="1" kern="0">
                <a:solidFill>
                  <a:schemeClr val="tx1"/>
                </a:solidFill>
              </a:endParaRPr>
            </a:p>
          </p:txBody>
        </p:sp>
        <p:sp>
          <p:nvSpPr>
            <p:cNvPr id="17" name="Rectangle 18">
              <a:extLst>
                <a:ext uri="{FF2B5EF4-FFF2-40B4-BE49-F238E27FC236}">
                  <a16:creationId xmlns:a16="http://schemas.microsoft.com/office/drawing/2014/main" id="{551C1967-2199-1A64-EED7-621D20F4F13B}"/>
                </a:ext>
              </a:extLst>
            </p:cNvPr>
            <p:cNvSpPr/>
            <p:nvPr/>
          </p:nvSpPr>
          <p:spPr>
            <a:xfrm>
              <a:off x="986497" y="1452097"/>
              <a:ext cx="1500712"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accent6"/>
                  </a:solidFill>
                </a:rPr>
                <a:t>ESG Leader</a:t>
              </a:r>
            </a:p>
          </p:txBody>
        </p:sp>
      </p:grpSp>
      <p:grpSp>
        <p:nvGrpSpPr>
          <p:cNvPr id="18" name="Group 1">
            <a:extLst>
              <a:ext uri="{FF2B5EF4-FFF2-40B4-BE49-F238E27FC236}">
                <a16:creationId xmlns:a16="http://schemas.microsoft.com/office/drawing/2014/main" id="{6D4225A6-473D-06EC-AACE-41B19B2D0D92}"/>
              </a:ext>
            </a:extLst>
          </p:cNvPr>
          <p:cNvGrpSpPr/>
          <p:nvPr/>
        </p:nvGrpSpPr>
        <p:grpSpPr>
          <a:xfrm>
            <a:off x="628650" y="3174401"/>
            <a:ext cx="6783102" cy="1880352"/>
            <a:chOff x="623392" y="1472067"/>
            <a:chExt cx="11045694" cy="1447594"/>
          </a:xfrm>
        </p:grpSpPr>
        <p:sp>
          <p:nvSpPr>
            <p:cNvPr id="19" name="Rectangle 17">
              <a:extLst>
                <a:ext uri="{FF2B5EF4-FFF2-40B4-BE49-F238E27FC236}">
                  <a16:creationId xmlns:a16="http://schemas.microsoft.com/office/drawing/2014/main" id="{F88D7084-E08E-22F4-5A7B-ABA246F2D66D}"/>
                </a:ext>
              </a:extLst>
            </p:cNvPr>
            <p:cNvSpPr/>
            <p:nvPr/>
          </p:nvSpPr>
          <p:spPr>
            <a:xfrm>
              <a:off x="623392" y="1610857"/>
              <a:ext cx="11045694" cy="1308804"/>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Corporate Governance: </a:t>
              </a:r>
              <a:r>
                <a:rPr lang="en-US" sz="1200" kern="0">
                  <a:solidFill>
                    <a:schemeClr val="tx1"/>
                  </a:solidFill>
                </a:rPr>
                <a:t>Ubers corporate governance structure and ethical business practices it started to develop after changing the CEO demonstrate its increasing alignment with industry norms and expectations</a:t>
              </a:r>
            </a:p>
            <a:p>
              <a:pPr marL="214313" indent="-214313" defTabSz="685800">
                <a:buFont typeface="Arial" panose="020B0604020202020204" pitchFamily="34" charset="0"/>
                <a:buChar char="•"/>
                <a:defRPr/>
              </a:pPr>
              <a:r>
                <a:rPr lang="en-US" sz="1200" b="1" kern="0">
                  <a:solidFill>
                    <a:schemeClr val="tx1"/>
                  </a:solidFill>
                </a:rPr>
                <a:t>Corporate Behavior</a:t>
              </a:r>
              <a:r>
                <a:rPr lang="en-US" sz="1200" kern="0">
                  <a:solidFill>
                    <a:schemeClr val="tx1"/>
                  </a:solidFill>
                </a:rPr>
                <a:t>: Ubers ethical conduct and corporate social responsibility initiatives like the high-focus on diversity in all business areas show its adherence to industry-average expectations</a:t>
              </a:r>
            </a:p>
            <a:p>
              <a:pPr marL="214313" indent="-214313" defTabSz="685800">
                <a:buFont typeface="Arial" panose="020B0604020202020204" pitchFamily="34" charset="0"/>
                <a:buChar char="•"/>
                <a:defRPr/>
              </a:pPr>
              <a:r>
                <a:rPr lang="en-US" sz="1200" b="1" kern="0">
                  <a:solidFill>
                    <a:schemeClr val="tx1"/>
                  </a:solidFill>
                </a:rPr>
                <a:t>Health &amp; Safety: </a:t>
              </a:r>
              <a:r>
                <a:rPr lang="en-US" sz="1200" kern="0">
                  <a:solidFill>
                    <a:schemeClr val="tx1"/>
                  </a:solidFill>
                </a:rPr>
                <a:t>Ubers focus on health and safety measures for both its employees and customers as seen in their reports and new initiatives in the company signifies its attention to well-being, aligning with industry benchmarks</a:t>
              </a:r>
            </a:p>
          </p:txBody>
        </p:sp>
        <p:sp>
          <p:nvSpPr>
            <p:cNvPr id="20" name="Rectangle 18">
              <a:extLst>
                <a:ext uri="{FF2B5EF4-FFF2-40B4-BE49-F238E27FC236}">
                  <a16:creationId xmlns:a16="http://schemas.microsoft.com/office/drawing/2014/main" id="{8E61A389-443C-969E-1DFB-A24D60A5C0BF}"/>
                </a:ext>
              </a:extLst>
            </p:cNvPr>
            <p:cNvSpPr/>
            <p:nvPr/>
          </p:nvSpPr>
          <p:spPr>
            <a:xfrm>
              <a:off x="986499" y="1472067"/>
              <a:ext cx="1500711"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accent1"/>
                  </a:solidFill>
                </a:rPr>
                <a:t>Average</a:t>
              </a:r>
            </a:p>
          </p:txBody>
        </p:sp>
      </p:grpSp>
      <p:grpSp>
        <p:nvGrpSpPr>
          <p:cNvPr id="21" name="Group 1">
            <a:extLst>
              <a:ext uri="{FF2B5EF4-FFF2-40B4-BE49-F238E27FC236}">
                <a16:creationId xmlns:a16="http://schemas.microsoft.com/office/drawing/2014/main" id="{5154EE61-E4A5-B7B6-A9FF-45FCC38A2A26}"/>
              </a:ext>
            </a:extLst>
          </p:cNvPr>
          <p:cNvGrpSpPr/>
          <p:nvPr/>
        </p:nvGrpSpPr>
        <p:grpSpPr>
          <a:xfrm>
            <a:off x="643177" y="4997948"/>
            <a:ext cx="6768575" cy="1414209"/>
            <a:chOff x="623392" y="1472067"/>
            <a:chExt cx="11045694" cy="1447592"/>
          </a:xfrm>
        </p:grpSpPr>
        <p:sp>
          <p:nvSpPr>
            <p:cNvPr id="22" name="Rectangle 17">
              <a:extLst>
                <a:ext uri="{FF2B5EF4-FFF2-40B4-BE49-F238E27FC236}">
                  <a16:creationId xmlns:a16="http://schemas.microsoft.com/office/drawing/2014/main" id="{6200AA13-3366-2302-8A92-3A6C3352D42B}"/>
                </a:ext>
              </a:extLst>
            </p:cNvPr>
            <p:cNvSpPr/>
            <p:nvPr/>
          </p:nvSpPr>
          <p:spPr>
            <a:xfrm>
              <a:off x="623392" y="1714748"/>
              <a:ext cx="11045694" cy="1204911"/>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Labor Management: </a:t>
              </a:r>
              <a:r>
                <a:rPr lang="en-US" sz="1200" kern="0">
                  <a:solidFill>
                    <a:schemeClr val="tx1"/>
                  </a:solidFill>
                </a:rPr>
                <a:t>Uber is lagging behind industry peers in labor management, with a poor record of fair work practices, this shows for example in different controversies that Uber does not provide a reliable and steady income for many of its drivers</a:t>
              </a:r>
            </a:p>
            <a:p>
              <a:pPr marL="214313" indent="-214313" defTabSz="685800">
                <a:buFont typeface="Arial" panose="020B0604020202020204" pitchFamily="34" charset="0"/>
                <a:buChar char="•"/>
                <a:defRPr/>
              </a:pPr>
              <a:r>
                <a:rPr lang="en-US" sz="1200" b="1" kern="0">
                  <a:solidFill>
                    <a:schemeClr val="tx1"/>
                  </a:solidFill>
                </a:rPr>
                <a:t>Privacy and Data Security: </a:t>
              </a:r>
              <a:r>
                <a:rPr lang="en-US" sz="1200" kern="0">
                  <a:solidFill>
                    <a:schemeClr val="tx1"/>
                  </a:solidFill>
                </a:rPr>
                <a:t>Ubers performance in upholding privacy and data security falls below industry standards shown in several data leaks , indicating a need for improvement to meet evolving expeactations</a:t>
              </a:r>
            </a:p>
            <a:p>
              <a:pPr marL="214313" indent="-214313" defTabSz="685800">
                <a:buFont typeface="Arial" panose="020B0604020202020204" pitchFamily="34" charset="0"/>
                <a:buChar char="•"/>
                <a:defRPr/>
              </a:pPr>
              <a:endParaRPr lang="en-US" sz="1200" b="1" kern="0">
                <a:solidFill>
                  <a:schemeClr val="tx1"/>
                </a:solidFill>
              </a:endParaRPr>
            </a:p>
          </p:txBody>
        </p:sp>
        <p:sp>
          <p:nvSpPr>
            <p:cNvPr id="23" name="Rectangle 18">
              <a:extLst>
                <a:ext uri="{FF2B5EF4-FFF2-40B4-BE49-F238E27FC236}">
                  <a16:creationId xmlns:a16="http://schemas.microsoft.com/office/drawing/2014/main" id="{B2B5B0CD-921E-5C78-611F-0DEFE5BB73CE}"/>
                </a:ext>
              </a:extLst>
            </p:cNvPr>
            <p:cNvSpPr/>
            <p:nvPr/>
          </p:nvSpPr>
          <p:spPr>
            <a:xfrm>
              <a:off x="986499" y="1472067"/>
              <a:ext cx="1500711"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rgbClr val="FF0000"/>
                  </a:solidFill>
                </a:rPr>
                <a:t>ESG Laggard</a:t>
              </a:r>
            </a:p>
          </p:txBody>
        </p:sp>
      </p:grpSp>
      <p:sp>
        <p:nvSpPr>
          <p:cNvPr id="25" name="Textfeld 24">
            <a:extLst>
              <a:ext uri="{FF2B5EF4-FFF2-40B4-BE49-F238E27FC236}">
                <a16:creationId xmlns:a16="http://schemas.microsoft.com/office/drawing/2014/main" id="{9FB3AC8E-33CA-7E8E-3A45-351129E509FD}"/>
              </a:ext>
            </a:extLst>
          </p:cNvPr>
          <p:cNvSpPr txBox="1"/>
          <p:nvPr/>
        </p:nvSpPr>
        <p:spPr>
          <a:xfrm>
            <a:off x="3502833" y="2043129"/>
            <a:ext cx="1256590" cy="307777"/>
          </a:xfrm>
          <a:prstGeom prst="rect">
            <a:avLst/>
          </a:prstGeom>
          <a:noFill/>
        </p:spPr>
        <p:txBody>
          <a:bodyPr wrap="square">
            <a:spAutoFit/>
          </a:bodyPr>
          <a:lstStyle/>
          <a:p>
            <a:r>
              <a:rPr lang="en-US" sz="1400" b="1"/>
              <a:t>Rating: UBER</a:t>
            </a:r>
          </a:p>
        </p:txBody>
      </p:sp>
      <p:grpSp>
        <p:nvGrpSpPr>
          <p:cNvPr id="26" name="Carbon_footprint" descr="{&quot;Key&quot;:&quot;POWER_USER_SHAPE_ICON&quot;,&quot;Value&quot;:&quot;POWER_USER_SHAPE_ICON_STYLE_1&quot;}">
            <a:extLst>
              <a:ext uri="{FF2B5EF4-FFF2-40B4-BE49-F238E27FC236}">
                <a16:creationId xmlns:a16="http://schemas.microsoft.com/office/drawing/2014/main" id="{9D5E02C8-B2BB-8FD3-E302-C10BF37F2D6D}"/>
              </a:ext>
            </a:extLst>
          </p:cNvPr>
          <p:cNvGrpSpPr>
            <a:grpSpLocks noChangeAspect="1"/>
          </p:cNvGrpSpPr>
          <p:nvPr>
            <p:custDataLst>
              <p:tags r:id="rId2"/>
            </p:custDataLst>
          </p:nvPr>
        </p:nvGrpSpPr>
        <p:grpSpPr>
          <a:xfrm>
            <a:off x="8006766" y="2729121"/>
            <a:ext cx="586653" cy="338940"/>
            <a:chOff x="1192247" y="2204563"/>
            <a:chExt cx="772930" cy="446562"/>
          </a:xfrm>
          <a:solidFill>
            <a:schemeClr val="tx1"/>
          </a:solidFill>
        </p:grpSpPr>
        <p:grpSp>
          <p:nvGrpSpPr>
            <p:cNvPr id="27" name="Steps">
              <a:extLst>
                <a:ext uri="{FF2B5EF4-FFF2-40B4-BE49-F238E27FC236}">
                  <a16:creationId xmlns:a16="http://schemas.microsoft.com/office/drawing/2014/main" id="{9C823CA8-7CB6-6B0B-53FD-641C8BDBCFB8}"/>
                </a:ext>
              </a:extLst>
            </p:cNvPr>
            <p:cNvGrpSpPr>
              <a:grpSpLocks noChangeAspect="1"/>
            </p:cNvGrpSpPr>
            <p:nvPr>
              <p:custDataLst>
                <p:tags r:id="rId4"/>
              </p:custDataLst>
            </p:nvPr>
          </p:nvGrpSpPr>
          <p:grpSpPr bwMode="auto">
            <a:xfrm>
              <a:off x="1192247" y="2204563"/>
              <a:ext cx="198873" cy="446562"/>
              <a:chOff x="2585" y="1309"/>
              <a:chExt cx="1100" cy="2470"/>
            </a:xfrm>
            <a:grpFill/>
          </p:grpSpPr>
          <p:sp>
            <p:nvSpPr>
              <p:cNvPr id="29" name="Freeform 52">
                <a:extLst>
                  <a:ext uri="{FF2B5EF4-FFF2-40B4-BE49-F238E27FC236}">
                    <a16:creationId xmlns:a16="http://schemas.microsoft.com/office/drawing/2014/main" id="{FD48086F-6E4F-F8CF-87B2-32E928303AD6}"/>
                  </a:ext>
                </a:extLst>
              </p:cNvPr>
              <p:cNvSpPr>
                <a:spLocks/>
              </p:cNvSpPr>
              <p:nvPr/>
            </p:nvSpPr>
            <p:spPr bwMode="auto">
              <a:xfrm>
                <a:off x="2883" y="2987"/>
                <a:ext cx="802" cy="792"/>
              </a:xfrm>
              <a:custGeom>
                <a:avLst/>
                <a:gdLst>
                  <a:gd name="T0" fmla="*/ 136 w 202"/>
                  <a:gd name="T1" fmla="*/ 0 h 199"/>
                  <a:gd name="T2" fmla="*/ 0 w 202"/>
                  <a:gd name="T3" fmla="*/ 39 h 199"/>
                  <a:gd name="T4" fmla="*/ 125 w 202"/>
                  <a:gd name="T5" fmla="*/ 179 h 199"/>
                  <a:gd name="T6" fmla="*/ 136 w 202"/>
                  <a:gd name="T7" fmla="*/ 1 h 199"/>
                  <a:gd name="T8" fmla="*/ 136 w 202"/>
                  <a:gd name="T9" fmla="*/ 0 h 199"/>
                </a:gdLst>
                <a:ahLst/>
                <a:cxnLst>
                  <a:cxn ang="0">
                    <a:pos x="T0" y="T1"/>
                  </a:cxn>
                  <a:cxn ang="0">
                    <a:pos x="T2" y="T3"/>
                  </a:cxn>
                  <a:cxn ang="0">
                    <a:pos x="T4" y="T5"/>
                  </a:cxn>
                  <a:cxn ang="0">
                    <a:pos x="T6" y="T7"/>
                  </a:cxn>
                  <a:cxn ang="0">
                    <a:pos x="T8" y="T9"/>
                  </a:cxn>
                </a:cxnLst>
                <a:rect l="0" t="0" r="r" b="b"/>
                <a:pathLst>
                  <a:path w="202" h="199">
                    <a:moveTo>
                      <a:pt x="136" y="0"/>
                    </a:moveTo>
                    <a:lnTo>
                      <a:pt x="0" y="39"/>
                    </a:lnTo>
                    <a:cubicBezTo>
                      <a:pt x="7" y="128"/>
                      <a:pt x="51" y="199"/>
                      <a:pt x="125" y="179"/>
                    </a:cubicBezTo>
                    <a:cubicBezTo>
                      <a:pt x="202" y="158"/>
                      <a:pt x="166" y="53"/>
                      <a:pt x="136" y="1"/>
                    </a:cubicBezTo>
                    <a:cubicBezTo>
                      <a:pt x="136" y="1"/>
                      <a:pt x="136" y="1"/>
                      <a:pt x="136" y="0"/>
                    </a:cubicBezTo>
                    <a:close/>
                  </a:path>
                </a:pathLst>
              </a:custGeom>
              <a:grp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54">
                <a:extLst>
                  <a:ext uri="{FF2B5EF4-FFF2-40B4-BE49-F238E27FC236}">
                    <a16:creationId xmlns:a16="http://schemas.microsoft.com/office/drawing/2014/main" id="{BE377453-6456-574A-2F6B-91C6073922B4}"/>
                  </a:ext>
                </a:extLst>
              </p:cNvPr>
              <p:cNvSpPr>
                <a:spLocks/>
              </p:cNvSpPr>
              <p:nvPr/>
            </p:nvSpPr>
            <p:spPr bwMode="auto">
              <a:xfrm>
                <a:off x="2585" y="1309"/>
                <a:ext cx="933" cy="1634"/>
              </a:xfrm>
              <a:custGeom>
                <a:avLst/>
                <a:gdLst>
                  <a:gd name="T0" fmla="*/ 208 w 235"/>
                  <a:gd name="T1" fmla="*/ 283 h 411"/>
                  <a:gd name="T2" fmla="*/ 210 w 235"/>
                  <a:gd name="T3" fmla="*/ 125 h 411"/>
                  <a:gd name="T4" fmla="*/ 99 w 235"/>
                  <a:gd name="T5" fmla="*/ 5 h 411"/>
                  <a:gd name="T6" fmla="*/ 7 w 235"/>
                  <a:gd name="T7" fmla="*/ 136 h 411"/>
                  <a:gd name="T8" fmla="*/ 70 w 235"/>
                  <a:gd name="T9" fmla="*/ 411 h 411"/>
                  <a:gd name="T10" fmla="*/ 195 w 235"/>
                  <a:gd name="T11" fmla="*/ 375 h 411"/>
                  <a:gd name="T12" fmla="*/ 208 w 235"/>
                  <a:gd name="T13" fmla="*/ 283 h 411"/>
                </a:gdLst>
                <a:ahLst/>
                <a:cxnLst>
                  <a:cxn ang="0">
                    <a:pos x="T0" y="T1"/>
                  </a:cxn>
                  <a:cxn ang="0">
                    <a:pos x="T2" y="T3"/>
                  </a:cxn>
                  <a:cxn ang="0">
                    <a:pos x="T4" y="T5"/>
                  </a:cxn>
                  <a:cxn ang="0">
                    <a:pos x="T6" y="T7"/>
                  </a:cxn>
                  <a:cxn ang="0">
                    <a:pos x="T8" y="T9"/>
                  </a:cxn>
                  <a:cxn ang="0">
                    <a:pos x="T10" y="T11"/>
                  </a:cxn>
                  <a:cxn ang="0">
                    <a:pos x="T12" y="T13"/>
                  </a:cxn>
                </a:cxnLst>
                <a:rect l="0" t="0" r="r" b="b"/>
                <a:pathLst>
                  <a:path w="235" h="411">
                    <a:moveTo>
                      <a:pt x="208" y="283"/>
                    </a:moveTo>
                    <a:cubicBezTo>
                      <a:pt x="217" y="256"/>
                      <a:pt x="235" y="211"/>
                      <a:pt x="210" y="125"/>
                    </a:cubicBezTo>
                    <a:cubicBezTo>
                      <a:pt x="185" y="38"/>
                      <a:pt x="149" y="5"/>
                      <a:pt x="99" y="5"/>
                    </a:cubicBezTo>
                    <a:cubicBezTo>
                      <a:pt x="99" y="5"/>
                      <a:pt x="13" y="0"/>
                      <a:pt x="7" y="136"/>
                    </a:cubicBezTo>
                    <a:cubicBezTo>
                      <a:pt x="0" y="287"/>
                      <a:pt x="53" y="324"/>
                      <a:pt x="70" y="411"/>
                    </a:cubicBezTo>
                    <a:lnTo>
                      <a:pt x="195" y="375"/>
                    </a:lnTo>
                    <a:cubicBezTo>
                      <a:pt x="191" y="337"/>
                      <a:pt x="201" y="302"/>
                      <a:pt x="208" y="283"/>
                    </a:cubicBezTo>
                  </a:path>
                </a:pathLst>
              </a:custGeom>
              <a:grp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Freeform 8">
              <a:extLst>
                <a:ext uri="{FF2B5EF4-FFF2-40B4-BE49-F238E27FC236}">
                  <a16:creationId xmlns:a16="http://schemas.microsoft.com/office/drawing/2014/main" id="{67DDA284-0FBD-52B4-72D1-9FA2A1072999}"/>
                </a:ext>
              </a:extLst>
            </p:cNvPr>
            <p:cNvSpPr>
              <a:spLocks noChangeAspect="1" noEditPoints="1"/>
            </p:cNvSpPr>
            <p:nvPr/>
          </p:nvSpPr>
          <p:spPr bwMode="auto">
            <a:xfrm>
              <a:off x="1491879" y="2355825"/>
              <a:ext cx="473298" cy="189858"/>
            </a:xfrm>
            <a:custGeom>
              <a:avLst/>
              <a:gdLst>
                <a:gd name="T0" fmla="*/ 618 w 1405"/>
                <a:gd name="T1" fmla="*/ 123 h 564"/>
                <a:gd name="T2" fmla="*/ 568 w 1405"/>
                <a:gd name="T3" fmla="*/ 280 h 564"/>
                <a:gd name="T4" fmla="*/ 616 w 1405"/>
                <a:gd name="T5" fmla="*/ 443 h 564"/>
                <a:gd name="T6" fmla="*/ 778 w 1405"/>
                <a:gd name="T7" fmla="*/ 457 h 564"/>
                <a:gd name="T8" fmla="*/ 851 w 1405"/>
                <a:gd name="T9" fmla="*/ 319 h 564"/>
                <a:gd name="T10" fmla="*/ 824 w 1405"/>
                <a:gd name="T11" fmla="*/ 142 h 564"/>
                <a:gd name="T12" fmla="*/ 712 w 1405"/>
                <a:gd name="T13" fmla="*/ 90 h 564"/>
                <a:gd name="T14" fmla="*/ 353 w 1405"/>
                <a:gd name="T15" fmla="*/ 21 h 564"/>
                <a:gd name="T16" fmla="*/ 397 w 1405"/>
                <a:gd name="T17" fmla="*/ 52 h 564"/>
                <a:gd name="T18" fmla="*/ 403 w 1405"/>
                <a:gd name="T19" fmla="*/ 106 h 564"/>
                <a:gd name="T20" fmla="*/ 380 w 1405"/>
                <a:gd name="T21" fmla="*/ 138 h 564"/>
                <a:gd name="T22" fmla="*/ 309 w 1405"/>
                <a:gd name="T23" fmla="*/ 100 h 564"/>
                <a:gd name="T24" fmla="*/ 177 w 1405"/>
                <a:gd name="T25" fmla="*/ 123 h 564"/>
                <a:gd name="T26" fmla="*/ 121 w 1405"/>
                <a:gd name="T27" fmla="*/ 282 h 564"/>
                <a:gd name="T28" fmla="*/ 179 w 1405"/>
                <a:gd name="T29" fmla="*/ 443 h 564"/>
                <a:gd name="T30" fmla="*/ 313 w 1405"/>
                <a:gd name="T31" fmla="*/ 463 h 564"/>
                <a:gd name="T32" fmla="*/ 384 w 1405"/>
                <a:gd name="T33" fmla="*/ 426 h 564"/>
                <a:gd name="T34" fmla="*/ 403 w 1405"/>
                <a:gd name="T35" fmla="*/ 440 h 564"/>
                <a:gd name="T36" fmla="*/ 401 w 1405"/>
                <a:gd name="T37" fmla="*/ 503 h 564"/>
                <a:gd name="T38" fmla="*/ 359 w 1405"/>
                <a:gd name="T39" fmla="*/ 539 h 564"/>
                <a:gd name="T40" fmla="*/ 244 w 1405"/>
                <a:gd name="T41" fmla="*/ 564 h 564"/>
                <a:gd name="T42" fmla="*/ 121 w 1405"/>
                <a:gd name="T43" fmla="*/ 535 h 564"/>
                <a:gd name="T44" fmla="*/ 38 w 1405"/>
                <a:gd name="T45" fmla="*/ 455 h 564"/>
                <a:gd name="T46" fmla="*/ 2 w 1405"/>
                <a:gd name="T47" fmla="*/ 322 h 564"/>
                <a:gd name="T48" fmla="*/ 19 w 1405"/>
                <a:gd name="T49" fmla="*/ 165 h 564"/>
                <a:gd name="T50" fmla="*/ 88 w 1405"/>
                <a:gd name="T51" fmla="*/ 58 h 564"/>
                <a:gd name="T52" fmla="*/ 200 w 1405"/>
                <a:gd name="T53" fmla="*/ 4 h 564"/>
                <a:gd name="T54" fmla="*/ 1254 w 1405"/>
                <a:gd name="T55" fmla="*/ 2 h 564"/>
                <a:gd name="T56" fmla="*/ 1373 w 1405"/>
                <a:gd name="T57" fmla="*/ 84 h 564"/>
                <a:gd name="T58" fmla="*/ 1371 w 1405"/>
                <a:gd name="T59" fmla="*/ 221 h 564"/>
                <a:gd name="T60" fmla="*/ 1279 w 1405"/>
                <a:gd name="T61" fmla="*/ 355 h 564"/>
                <a:gd name="T62" fmla="*/ 1394 w 1405"/>
                <a:gd name="T63" fmla="*/ 466 h 564"/>
                <a:gd name="T64" fmla="*/ 1402 w 1405"/>
                <a:gd name="T65" fmla="*/ 545 h 564"/>
                <a:gd name="T66" fmla="*/ 1048 w 1405"/>
                <a:gd name="T67" fmla="*/ 547 h 564"/>
                <a:gd name="T68" fmla="*/ 1041 w 1405"/>
                <a:gd name="T69" fmla="*/ 495 h 564"/>
                <a:gd name="T70" fmla="*/ 1162 w 1405"/>
                <a:gd name="T71" fmla="*/ 334 h 564"/>
                <a:gd name="T72" fmla="*/ 1242 w 1405"/>
                <a:gd name="T73" fmla="*/ 217 h 564"/>
                <a:gd name="T74" fmla="*/ 1242 w 1405"/>
                <a:gd name="T75" fmla="*/ 129 h 564"/>
                <a:gd name="T76" fmla="*/ 1181 w 1405"/>
                <a:gd name="T77" fmla="*/ 100 h 564"/>
                <a:gd name="T78" fmla="*/ 1091 w 1405"/>
                <a:gd name="T79" fmla="*/ 127 h 564"/>
                <a:gd name="T80" fmla="*/ 1054 w 1405"/>
                <a:gd name="T81" fmla="*/ 129 h 564"/>
                <a:gd name="T82" fmla="*/ 1050 w 1405"/>
                <a:gd name="T83" fmla="*/ 73 h 564"/>
                <a:gd name="T84" fmla="*/ 1083 w 1405"/>
                <a:gd name="T85" fmla="*/ 33 h 564"/>
                <a:gd name="T86" fmla="*/ 1189 w 1405"/>
                <a:gd name="T87" fmla="*/ 0 h 564"/>
                <a:gd name="T88" fmla="*/ 774 w 1405"/>
                <a:gd name="T89" fmla="*/ 4 h 564"/>
                <a:gd name="T90" fmla="*/ 887 w 1405"/>
                <a:gd name="T91" fmla="*/ 50 h 564"/>
                <a:gd name="T92" fmla="*/ 952 w 1405"/>
                <a:gd name="T93" fmla="*/ 152 h 564"/>
                <a:gd name="T94" fmla="*/ 968 w 1405"/>
                <a:gd name="T95" fmla="*/ 309 h 564"/>
                <a:gd name="T96" fmla="*/ 931 w 1405"/>
                <a:gd name="T97" fmla="*/ 447 h 564"/>
                <a:gd name="T98" fmla="*/ 843 w 1405"/>
                <a:gd name="T99" fmla="*/ 534 h 564"/>
                <a:gd name="T100" fmla="*/ 707 w 1405"/>
                <a:gd name="T101" fmla="*/ 564 h 564"/>
                <a:gd name="T102" fmla="*/ 572 w 1405"/>
                <a:gd name="T103" fmla="*/ 537 h 564"/>
                <a:gd name="T104" fmla="*/ 488 w 1405"/>
                <a:gd name="T105" fmla="*/ 459 h 564"/>
                <a:gd name="T106" fmla="*/ 453 w 1405"/>
                <a:gd name="T107" fmla="*/ 321 h 564"/>
                <a:gd name="T108" fmla="*/ 469 w 1405"/>
                <a:gd name="T109" fmla="*/ 165 h 564"/>
                <a:gd name="T110" fmla="*/ 538 w 1405"/>
                <a:gd name="T111" fmla="*/ 58 h 564"/>
                <a:gd name="T112" fmla="*/ 655 w 1405"/>
                <a:gd name="T113" fmla="*/ 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5" h="564">
                  <a:moveTo>
                    <a:pt x="712" y="90"/>
                  </a:moveTo>
                  <a:lnTo>
                    <a:pt x="693" y="92"/>
                  </a:lnTo>
                  <a:lnTo>
                    <a:pt x="674" y="94"/>
                  </a:lnTo>
                  <a:lnTo>
                    <a:pt x="643" y="106"/>
                  </a:lnTo>
                  <a:lnTo>
                    <a:pt x="618" y="123"/>
                  </a:lnTo>
                  <a:lnTo>
                    <a:pt x="599" y="146"/>
                  </a:lnTo>
                  <a:lnTo>
                    <a:pt x="586" y="175"/>
                  </a:lnTo>
                  <a:lnTo>
                    <a:pt x="576" y="207"/>
                  </a:lnTo>
                  <a:lnTo>
                    <a:pt x="570" y="242"/>
                  </a:lnTo>
                  <a:lnTo>
                    <a:pt x="568" y="280"/>
                  </a:lnTo>
                  <a:lnTo>
                    <a:pt x="570" y="322"/>
                  </a:lnTo>
                  <a:lnTo>
                    <a:pt x="576" y="361"/>
                  </a:lnTo>
                  <a:lnTo>
                    <a:pt x="586" y="393"/>
                  </a:lnTo>
                  <a:lnTo>
                    <a:pt x="599" y="420"/>
                  </a:lnTo>
                  <a:lnTo>
                    <a:pt x="616" y="443"/>
                  </a:lnTo>
                  <a:lnTo>
                    <a:pt x="641" y="459"/>
                  </a:lnTo>
                  <a:lnTo>
                    <a:pt x="672" y="470"/>
                  </a:lnTo>
                  <a:lnTo>
                    <a:pt x="709" y="472"/>
                  </a:lnTo>
                  <a:lnTo>
                    <a:pt x="747" y="468"/>
                  </a:lnTo>
                  <a:lnTo>
                    <a:pt x="778" y="457"/>
                  </a:lnTo>
                  <a:lnTo>
                    <a:pt x="803" y="440"/>
                  </a:lnTo>
                  <a:lnTo>
                    <a:pt x="822" y="416"/>
                  </a:lnTo>
                  <a:lnTo>
                    <a:pt x="837" y="388"/>
                  </a:lnTo>
                  <a:lnTo>
                    <a:pt x="847" y="355"/>
                  </a:lnTo>
                  <a:lnTo>
                    <a:pt x="851" y="319"/>
                  </a:lnTo>
                  <a:lnTo>
                    <a:pt x="853" y="282"/>
                  </a:lnTo>
                  <a:lnTo>
                    <a:pt x="851" y="240"/>
                  </a:lnTo>
                  <a:lnTo>
                    <a:pt x="847" y="203"/>
                  </a:lnTo>
                  <a:lnTo>
                    <a:pt x="837" y="171"/>
                  </a:lnTo>
                  <a:lnTo>
                    <a:pt x="824" y="142"/>
                  </a:lnTo>
                  <a:lnTo>
                    <a:pt x="805" y="121"/>
                  </a:lnTo>
                  <a:lnTo>
                    <a:pt x="780" y="104"/>
                  </a:lnTo>
                  <a:lnTo>
                    <a:pt x="749" y="94"/>
                  </a:lnTo>
                  <a:lnTo>
                    <a:pt x="712" y="90"/>
                  </a:lnTo>
                  <a:lnTo>
                    <a:pt x="712" y="90"/>
                  </a:lnTo>
                  <a:close/>
                  <a:moveTo>
                    <a:pt x="253" y="0"/>
                  </a:moveTo>
                  <a:lnTo>
                    <a:pt x="277" y="0"/>
                  </a:lnTo>
                  <a:lnTo>
                    <a:pt x="298" y="4"/>
                  </a:lnTo>
                  <a:lnTo>
                    <a:pt x="336" y="13"/>
                  </a:lnTo>
                  <a:lnTo>
                    <a:pt x="353" y="21"/>
                  </a:lnTo>
                  <a:lnTo>
                    <a:pt x="369" y="27"/>
                  </a:lnTo>
                  <a:lnTo>
                    <a:pt x="382" y="35"/>
                  </a:lnTo>
                  <a:lnTo>
                    <a:pt x="390" y="42"/>
                  </a:lnTo>
                  <a:lnTo>
                    <a:pt x="394" y="46"/>
                  </a:lnTo>
                  <a:lnTo>
                    <a:pt x="397" y="52"/>
                  </a:lnTo>
                  <a:lnTo>
                    <a:pt x="399" y="61"/>
                  </a:lnTo>
                  <a:lnTo>
                    <a:pt x="401" y="75"/>
                  </a:lnTo>
                  <a:lnTo>
                    <a:pt x="403" y="84"/>
                  </a:lnTo>
                  <a:lnTo>
                    <a:pt x="403" y="94"/>
                  </a:lnTo>
                  <a:lnTo>
                    <a:pt x="403" y="106"/>
                  </a:lnTo>
                  <a:lnTo>
                    <a:pt x="401" y="115"/>
                  </a:lnTo>
                  <a:lnTo>
                    <a:pt x="399" y="131"/>
                  </a:lnTo>
                  <a:lnTo>
                    <a:pt x="394" y="138"/>
                  </a:lnTo>
                  <a:lnTo>
                    <a:pt x="388" y="140"/>
                  </a:lnTo>
                  <a:lnTo>
                    <a:pt x="380" y="138"/>
                  </a:lnTo>
                  <a:lnTo>
                    <a:pt x="371" y="134"/>
                  </a:lnTo>
                  <a:lnTo>
                    <a:pt x="361" y="125"/>
                  </a:lnTo>
                  <a:lnTo>
                    <a:pt x="346" y="117"/>
                  </a:lnTo>
                  <a:lnTo>
                    <a:pt x="328" y="108"/>
                  </a:lnTo>
                  <a:lnTo>
                    <a:pt x="309" y="100"/>
                  </a:lnTo>
                  <a:lnTo>
                    <a:pt x="286" y="96"/>
                  </a:lnTo>
                  <a:lnTo>
                    <a:pt x="259" y="94"/>
                  </a:lnTo>
                  <a:lnTo>
                    <a:pt x="229" y="96"/>
                  </a:lnTo>
                  <a:lnTo>
                    <a:pt x="200" y="106"/>
                  </a:lnTo>
                  <a:lnTo>
                    <a:pt x="177" y="123"/>
                  </a:lnTo>
                  <a:lnTo>
                    <a:pt x="157" y="144"/>
                  </a:lnTo>
                  <a:lnTo>
                    <a:pt x="142" y="171"/>
                  </a:lnTo>
                  <a:lnTo>
                    <a:pt x="131" y="203"/>
                  </a:lnTo>
                  <a:lnTo>
                    <a:pt x="123" y="242"/>
                  </a:lnTo>
                  <a:lnTo>
                    <a:pt x="121" y="282"/>
                  </a:lnTo>
                  <a:lnTo>
                    <a:pt x="123" y="328"/>
                  </a:lnTo>
                  <a:lnTo>
                    <a:pt x="131" y="367"/>
                  </a:lnTo>
                  <a:lnTo>
                    <a:pt x="142" y="399"/>
                  </a:lnTo>
                  <a:lnTo>
                    <a:pt x="159" y="424"/>
                  </a:lnTo>
                  <a:lnTo>
                    <a:pt x="179" y="443"/>
                  </a:lnTo>
                  <a:lnTo>
                    <a:pt x="204" y="459"/>
                  </a:lnTo>
                  <a:lnTo>
                    <a:pt x="230" y="466"/>
                  </a:lnTo>
                  <a:lnTo>
                    <a:pt x="261" y="470"/>
                  </a:lnTo>
                  <a:lnTo>
                    <a:pt x="290" y="468"/>
                  </a:lnTo>
                  <a:lnTo>
                    <a:pt x="313" y="463"/>
                  </a:lnTo>
                  <a:lnTo>
                    <a:pt x="332" y="455"/>
                  </a:lnTo>
                  <a:lnTo>
                    <a:pt x="349" y="447"/>
                  </a:lnTo>
                  <a:lnTo>
                    <a:pt x="363" y="440"/>
                  </a:lnTo>
                  <a:lnTo>
                    <a:pt x="374" y="432"/>
                  </a:lnTo>
                  <a:lnTo>
                    <a:pt x="384" y="426"/>
                  </a:lnTo>
                  <a:lnTo>
                    <a:pt x="390" y="424"/>
                  </a:lnTo>
                  <a:lnTo>
                    <a:pt x="397" y="426"/>
                  </a:lnTo>
                  <a:lnTo>
                    <a:pt x="399" y="430"/>
                  </a:lnTo>
                  <a:lnTo>
                    <a:pt x="401" y="434"/>
                  </a:lnTo>
                  <a:lnTo>
                    <a:pt x="403" y="440"/>
                  </a:lnTo>
                  <a:lnTo>
                    <a:pt x="403" y="447"/>
                  </a:lnTo>
                  <a:lnTo>
                    <a:pt x="405" y="459"/>
                  </a:lnTo>
                  <a:lnTo>
                    <a:pt x="405" y="472"/>
                  </a:lnTo>
                  <a:lnTo>
                    <a:pt x="403" y="489"/>
                  </a:lnTo>
                  <a:lnTo>
                    <a:pt x="401" y="503"/>
                  </a:lnTo>
                  <a:lnTo>
                    <a:pt x="399" y="512"/>
                  </a:lnTo>
                  <a:lnTo>
                    <a:pt x="392" y="520"/>
                  </a:lnTo>
                  <a:lnTo>
                    <a:pt x="386" y="526"/>
                  </a:lnTo>
                  <a:lnTo>
                    <a:pt x="374" y="534"/>
                  </a:lnTo>
                  <a:lnTo>
                    <a:pt x="359" y="539"/>
                  </a:lnTo>
                  <a:lnTo>
                    <a:pt x="342" y="547"/>
                  </a:lnTo>
                  <a:lnTo>
                    <a:pt x="321" y="553"/>
                  </a:lnTo>
                  <a:lnTo>
                    <a:pt x="298" y="558"/>
                  </a:lnTo>
                  <a:lnTo>
                    <a:pt x="273" y="562"/>
                  </a:lnTo>
                  <a:lnTo>
                    <a:pt x="244" y="564"/>
                  </a:lnTo>
                  <a:lnTo>
                    <a:pt x="217" y="562"/>
                  </a:lnTo>
                  <a:lnTo>
                    <a:pt x="190" y="558"/>
                  </a:lnTo>
                  <a:lnTo>
                    <a:pt x="167" y="553"/>
                  </a:lnTo>
                  <a:lnTo>
                    <a:pt x="142" y="547"/>
                  </a:lnTo>
                  <a:lnTo>
                    <a:pt x="121" y="535"/>
                  </a:lnTo>
                  <a:lnTo>
                    <a:pt x="102" y="524"/>
                  </a:lnTo>
                  <a:lnTo>
                    <a:pt x="83" y="511"/>
                  </a:lnTo>
                  <a:lnTo>
                    <a:pt x="65" y="495"/>
                  </a:lnTo>
                  <a:lnTo>
                    <a:pt x="52" y="476"/>
                  </a:lnTo>
                  <a:lnTo>
                    <a:pt x="38" y="455"/>
                  </a:lnTo>
                  <a:lnTo>
                    <a:pt x="27" y="434"/>
                  </a:lnTo>
                  <a:lnTo>
                    <a:pt x="17" y="409"/>
                  </a:lnTo>
                  <a:lnTo>
                    <a:pt x="10" y="382"/>
                  </a:lnTo>
                  <a:lnTo>
                    <a:pt x="6" y="353"/>
                  </a:lnTo>
                  <a:lnTo>
                    <a:pt x="2" y="322"/>
                  </a:lnTo>
                  <a:lnTo>
                    <a:pt x="0" y="290"/>
                  </a:lnTo>
                  <a:lnTo>
                    <a:pt x="2" y="255"/>
                  </a:lnTo>
                  <a:lnTo>
                    <a:pt x="6" y="223"/>
                  </a:lnTo>
                  <a:lnTo>
                    <a:pt x="12" y="194"/>
                  </a:lnTo>
                  <a:lnTo>
                    <a:pt x="19" y="165"/>
                  </a:lnTo>
                  <a:lnTo>
                    <a:pt x="29" y="140"/>
                  </a:lnTo>
                  <a:lnTo>
                    <a:pt x="42" y="115"/>
                  </a:lnTo>
                  <a:lnTo>
                    <a:pt x="56" y="94"/>
                  </a:lnTo>
                  <a:lnTo>
                    <a:pt x="71" y="75"/>
                  </a:lnTo>
                  <a:lnTo>
                    <a:pt x="88" y="58"/>
                  </a:lnTo>
                  <a:lnTo>
                    <a:pt x="108" y="42"/>
                  </a:lnTo>
                  <a:lnTo>
                    <a:pt x="129" y="29"/>
                  </a:lnTo>
                  <a:lnTo>
                    <a:pt x="152" y="19"/>
                  </a:lnTo>
                  <a:lnTo>
                    <a:pt x="175" y="12"/>
                  </a:lnTo>
                  <a:lnTo>
                    <a:pt x="200" y="4"/>
                  </a:lnTo>
                  <a:lnTo>
                    <a:pt x="227" y="2"/>
                  </a:lnTo>
                  <a:lnTo>
                    <a:pt x="253" y="0"/>
                  </a:lnTo>
                  <a:lnTo>
                    <a:pt x="253" y="0"/>
                  </a:lnTo>
                  <a:close/>
                  <a:moveTo>
                    <a:pt x="1215" y="0"/>
                  </a:moveTo>
                  <a:lnTo>
                    <a:pt x="1254" y="2"/>
                  </a:lnTo>
                  <a:lnTo>
                    <a:pt x="1288" y="10"/>
                  </a:lnTo>
                  <a:lnTo>
                    <a:pt x="1319" y="23"/>
                  </a:lnTo>
                  <a:lnTo>
                    <a:pt x="1342" y="40"/>
                  </a:lnTo>
                  <a:lnTo>
                    <a:pt x="1361" y="61"/>
                  </a:lnTo>
                  <a:lnTo>
                    <a:pt x="1373" y="84"/>
                  </a:lnTo>
                  <a:lnTo>
                    <a:pt x="1380" y="113"/>
                  </a:lnTo>
                  <a:lnTo>
                    <a:pt x="1384" y="142"/>
                  </a:lnTo>
                  <a:lnTo>
                    <a:pt x="1382" y="169"/>
                  </a:lnTo>
                  <a:lnTo>
                    <a:pt x="1379" y="194"/>
                  </a:lnTo>
                  <a:lnTo>
                    <a:pt x="1371" y="221"/>
                  </a:lnTo>
                  <a:lnTo>
                    <a:pt x="1357" y="250"/>
                  </a:lnTo>
                  <a:lnTo>
                    <a:pt x="1338" y="280"/>
                  </a:lnTo>
                  <a:lnTo>
                    <a:pt x="1313" y="315"/>
                  </a:lnTo>
                  <a:lnTo>
                    <a:pt x="1296" y="334"/>
                  </a:lnTo>
                  <a:lnTo>
                    <a:pt x="1279" y="355"/>
                  </a:lnTo>
                  <a:lnTo>
                    <a:pt x="1258" y="376"/>
                  </a:lnTo>
                  <a:lnTo>
                    <a:pt x="1235" y="399"/>
                  </a:lnTo>
                  <a:lnTo>
                    <a:pt x="1171" y="464"/>
                  </a:lnTo>
                  <a:lnTo>
                    <a:pt x="1386" y="464"/>
                  </a:lnTo>
                  <a:lnTo>
                    <a:pt x="1394" y="466"/>
                  </a:lnTo>
                  <a:lnTo>
                    <a:pt x="1400" y="476"/>
                  </a:lnTo>
                  <a:lnTo>
                    <a:pt x="1404" y="489"/>
                  </a:lnTo>
                  <a:lnTo>
                    <a:pt x="1405" y="509"/>
                  </a:lnTo>
                  <a:lnTo>
                    <a:pt x="1405" y="530"/>
                  </a:lnTo>
                  <a:lnTo>
                    <a:pt x="1402" y="545"/>
                  </a:lnTo>
                  <a:lnTo>
                    <a:pt x="1396" y="553"/>
                  </a:lnTo>
                  <a:lnTo>
                    <a:pt x="1388" y="555"/>
                  </a:lnTo>
                  <a:lnTo>
                    <a:pt x="1075" y="555"/>
                  </a:lnTo>
                  <a:lnTo>
                    <a:pt x="1058" y="553"/>
                  </a:lnTo>
                  <a:lnTo>
                    <a:pt x="1048" y="547"/>
                  </a:lnTo>
                  <a:lnTo>
                    <a:pt x="1045" y="541"/>
                  </a:lnTo>
                  <a:lnTo>
                    <a:pt x="1041" y="532"/>
                  </a:lnTo>
                  <a:lnTo>
                    <a:pt x="1041" y="522"/>
                  </a:lnTo>
                  <a:lnTo>
                    <a:pt x="1039" y="509"/>
                  </a:lnTo>
                  <a:lnTo>
                    <a:pt x="1041" y="495"/>
                  </a:lnTo>
                  <a:lnTo>
                    <a:pt x="1041" y="484"/>
                  </a:lnTo>
                  <a:lnTo>
                    <a:pt x="1045" y="466"/>
                  </a:lnTo>
                  <a:lnTo>
                    <a:pt x="1054" y="451"/>
                  </a:lnTo>
                  <a:lnTo>
                    <a:pt x="1068" y="436"/>
                  </a:lnTo>
                  <a:lnTo>
                    <a:pt x="1162" y="334"/>
                  </a:lnTo>
                  <a:lnTo>
                    <a:pt x="1189" y="305"/>
                  </a:lnTo>
                  <a:lnTo>
                    <a:pt x="1208" y="280"/>
                  </a:lnTo>
                  <a:lnTo>
                    <a:pt x="1223" y="257"/>
                  </a:lnTo>
                  <a:lnTo>
                    <a:pt x="1235" y="236"/>
                  </a:lnTo>
                  <a:lnTo>
                    <a:pt x="1242" y="217"/>
                  </a:lnTo>
                  <a:lnTo>
                    <a:pt x="1248" y="200"/>
                  </a:lnTo>
                  <a:lnTo>
                    <a:pt x="1252" y="167"/>
                  </a:lnTo>
                  <a:lnTo>
                    <a:pt x="1250" y="154"/>
                  </a:lnTo>
                  <a:lnTo>
                    <a:pt x="1248" y="140"/>
                  </a:lnTo>
                  <a:lnTo>
                    <a:pt x="1242" y="129"/>
                  </a:lnTo>
                  <a:lnTo>
                    <a:pt x="1235" y="119"/>
                  </a:lnTo>
                  <a:lnTo>
                    <a:pt x="1225" y="111"/>
                  </a:lnTo>
                  <a:lnTo>
                    <a:pt x="1212" y="104"/>
                  </a:lnTo>
                  <a:lnTo>
                    <a:pt x="1198" y="100"/>
                  </a:lnTo>
                  <a:lnTo>
                    <a:pt x="1181" y="100"/>
                  </a:lnTo>
                  <a:lnTo>
                    <a:pt x="1158" y="100"/>
                  </a:lnTo>
                  <a:lnTo>
                    <a:pt x="1137" y="106"/>
                  </a:lnTo>
                  <a:lnTo>
                    <a:pt x="1119" y="111"/>
                  </a:lnTo>
                  <a:lnTo>
                    <a:pt x="1104" y="119"/>
                  </a:lnTo>
                  <a:lnTo>
                    <a:pt x="1091" y="127"/>
                  </a:lnTo>
                  <a:lnTo>
                    <a:pt x="1079" y="134"/>
                  </a:lnTo>
                  <a:lnTo>
                    <a:pt x="1071" y="138"/>
                  </a:lnTo>
                  <a:lnTo>
                    <a:pt x="1064" y="140"/>
                  </a:lnTo>
                  <a:lnTo>
                    <a:pt x="1058" y="138"/>
                  </a:lnTo>
                  <a:lnTo>
                    <a:pt x="1054" y="129"/>
                  </a:lnTo>
                  <a:lnTo>
                    <a:pt x="1052" y="123"/>
                  </a:lnTo>
                  <a:lnTo>
                    <a:pt x="1050" y="113"/>
                  </a:lnTo>
                  <a:lnTo>
                    <a:pt x="1050" y="102"/>
                  </a:lnTo>
                  <a:lnTo>
                    <a:pt x="1050" y="90"/>
                  </a:lnTo>
                  <a:lnTo>
                    <a:pt x="1050" y="73"/>
                  </a:lnTo>
                  <a:lnTo>
                    <a:pt x="1052" y="61"/>
                  </a:lnTo>
                  <a:lnTo>
                    <a:pt x="1056" y="54"/>
                  </a:lnTo>
                  <a:lnTo>
                    <a:pt x="1064" y="44"/>
                  </a:lnTo>
                  <a:lnTo>
                    <a:pt x="1069" y="38"/>
                  </a:lnTo>
                  <a:lnTo>
                    <a:pt x="1083" y="33"/>
                  </a:lnTo>
                  <a:lnTo>
                    <a:pt x="1098" y="25"/>
                  </a:lnTo>
                  <a:lnTo>
                    <a:pt x="1117" y="17"/>
                  </a:lnTo>
                  <a:lnTo>
                    <a:pt x="1139" y="10"/>
                  </a:lnTo>
                  <a:lnTo>
                    <a:pt x="1164" y="4"/>
                  </a:lnTo>
                  <a:lnTo>
                    <a:pt x="1189" y="0"/>
                  </a:lnTo>
                  <a:lnTo>
                    <a:pt x="1215" y="0"/>
                  </a:lnTo>
                  <a:lnTo>
                    <a:pt x="1215" y="0"/>
                  </a:lnTo>
                  <a:close/>
                  <a:moveTo>
                    <a:pt x="716" y="0"/>
                  </a:moveTo>
                  <a:lnTo>
                    <a:pt x="747" y="0"/>
                  </a:lnTo>
                  <a:lnTo>
                    <a:pt x="774" y="4"/>
                  </a:lnTo>
                  <a:lnTo>
                    <a:pt x="801" y="8"/>
                  </a:lnTo>
                  <a:lnTo>
                    <a:pt x="826" y="15"/>
                  </a:lnTo>
                  <a:lnTo>
                    <a:pt x="849" y="25"/>
                  </a:lnTo>
                  <a:lnTo>
                    <a:pt x="870" y="37"/>
                  </a:lnTo>
                  <a:lnTo>
                    <a:pt x="887" y="50"/>
                  </a:lnTo>
                  <a:lnTo>
                    <a:pt x="904" y="65"/>
                  </a:lnTo>
                  <a:lnTo>
                    <a:pt x="920" y="84"/>
                  </a:lnTo>
                  <a:lnTo>
                    <a:pt x="933" y="106"/>
                  </a:lnTo>
                  <a:lnTo>
                    <a:pt x="945" y="127"/>
                  </a:lnTo>
                  <a:lnTo>
                    <a:pt x="952" y="152"/>
                  </a:lnTo>
                  <a:lnTo>
                    <a:pt x="960" y="180"/>
                  </a:lnTo>
                  <a:lnTo>
                    <a:pt x="966" y="209"/>
                  </a:lnTo>
                  <a:lnTo>
                    <a:pt x="968" y="242"/>
                  </a:lnTo>
                  <a:lnTo>
                    <a:pt x="970" y="274"/>
                  </a:lnTo>
                  <a:lnTo>
                    <a:pt x="968" y="309"/>
                  </a:lnTo>
                  <a:lnTo>
                    <a:pt x="966" y="340"/>
                  </a:lnTo>
                  <a:lnTo>
                    <a:pt x="960" y="368"/>
                  </a:lnTo>
                  <a:lnTo>
                    <a:pt x="952" y="397"/>
                  </a:lnTo>
                  <a:lnTo>
                    <a:pt x="943" y="422"/>
                  </a:lnTo>
                  <a:lnTo>
                    <a:pt x="931" y="447"/>
                  </a:lnTo>
                  <a:lnTo>
                    <a:pt x="918" y="468"/>
                  </a:lnTo>
                  <a:lnTo>
                    <a:pt x="902" y="487"/>
                  </a:lnTo>
                  <a:lnTo>
                    <a:pt x="885" y="505"/>
                  </a:lnTo>
                  <a:lnTo>
                    <a:pt x="864" y="520"/>
                  </a:lnTo>
                  <a:lnTo>
                    <a:pt x="843" y="534"/>
                  </a:lnTo>
                  <a:lnTo>
                    <a:pt x="820" y="545"/>
                  </a:lnTo>
                  <a:lnTo>
                    <a:pt x="795" y="553"/>
                  </a:lnTo>
                  <a:lnTo>
                    <a:pt x="766" y="558"/>
                  </a:lnTo>
                  <a:lnTo>
                    <a:pt x="737" y="562"/>
                  </a:lnTo>
                  <a:lnTo>
                    <a:pt x="707" y="564"/>
                  </a:lnTo>
                  <a:lnTo>
                    <a:pt x="676" y="562"/>
                  </a:lnTo>
                  <a:lnTo>
                    <a:pt x="647" y="560"/>
                  </a:lnTo>
                  <a:lnTo>
                    <a:pt x="620" y="555"/>
                  </a:lnTo>
                  <a:lnTo>
                    <a:pt x="595" y="547"/>
                  </a:lnTo>
                  <a:lnTo>
                    <a:pt x="572" y="537"/>
                  </a:lnTo>
                  <a:lnTo>
                    <a:pt x="551" y="526"/>
                  </a:lnTo>
                  <a:lnTo>
                    <a:pt x="532" y="512"/>
                  </a:lnTo>
                  <a:lnTo>
                    <a:pt x="517" y="497"/>
                  </a:lnTo>
                  <a:lnTo>
                    <a:pt x="501" y="478"/>
                  </a:lnTo>
                  <a:lnTo>
                    <a:pt x="488" y="459"/>
                  </a:lnTo>
                  <a:lnTo>
                    <a:pt x="476" y="436"/>
                  </a:lnTo>
                  <a:lnTo>
                    <a:pt x="469" y="411"/>
                  </a:lnTo>
                  <a:lnTo>
                    <a:pt x="461" y="382"/>
                  </a:lnTo>
                  <a:lnTo>
                    <a:pt x="457" y="353"/>
                  </a:lnTo>
                  <a:lnTo>
                    <a:pt x="453" y="321"/>
                  </a:lnTo>
                  <a:lnTo>
                    <a:pt x="453" y="286"/>
                  </a:lnTo>
                  <a:lnTo>
                    <a:pt x="453" y="253"/>
                  </a:lnTo>
                  <a:lnTo>
                    <a:pt x="457" y="223"/>
                  </a:lnTo>
                  <a:lnTo>
                    <a:pt x="463" y="194"/>
                  </a:lnTo>
                  <a:lnTo>
                    <a:pt x="469" y="165"/>
                  </a:lnTo>
                  <a:lnTo>
                    <a:pt x="478" y="140"/>
                  </a:lnTo>
                  <a:lnTo>
                    <a:pt x="490" y="117"/>
                  </a:lnTo>
                  <a:lnTo>
                    <a:pt x="503" y="96"/>
                  </a:lnTo>
                  <a:lnTo>
                    <a:pt x="520" y="77"/>
                  </a:lnTo>
                  <a:lnTo>
                    <a:pt x="538" y="58"/>
                  </a:lnTo>
                  <a:lnTo>
                    <a:pt x="557" y="42"/>
                  </a:lnTo>
                  <a:lnTo>
                    <a:pt x="578" y="31"/>
                  </a:lnTo>
                  <a:lnTo>
                    <a:pt x="603" y="19"/>
                  </a:lnTo>
                  <a:lnTo>
                    <a:pt x="628" y="10"/>
                  </a:lnTo>
                  <a:lnTo>
                    <a:pt x="655" y="4"/>
                  </a:lnTo>
                  <a:lnTo>
                    <a:pt x="685" y="0"/>
                  </a:lnTo>
                  <a:lnTo>
                    <a:pt x="716" y="0"/>
                  </a:lnTo>
                  <a:lnTo>
                    <a:pt x="716" y="0"/>
                  </a:lnTo>
                  <a:close/>
                </a:path>
              </a:pathLst>
            </a:custGeom>
            <a:grp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1" name="Thermometer" descr="{&quot;Key&quot;:&quot;POWER_USER_SHAPE_ICON&quot;,&quot;Value&quot;:&quot;POWER_USER_SHAPE_ICON_STYLE_1&quot;}">
            <a:extLst>
              <a:ext uri="{FF2B5EF4-FFF2-40B4-BE49-F238E27FC236}">
                <a16:creationId xmlns:a16="http://schemas.microsoft.com/office/drawing/2014/main" id="{7D3CEFF5-65E5-994E-0F4D-4F076D1F6E9B}"/>
              </a:ext>
            </a:extLst>
          </p:cNvPr>
          <p:cNvGrpSpPr>
            <a:grpSpLocks noChangeAspect="1"/>
          </p:cNvGrpSpPr>
          <p:nvPr>
            <p:custDataLst>
              <p:tags r:id="rId3"/>
            </p:custDataLst>
          </p:nvPr>
        </p:nvGrpSpPr>
        <p:grpSpPr>
          <a:xfrm>
            <a:off x="8045400" y="3892756"/>
            <a:ext cx="574725" cy="581040"/>
            <a:chOff x="5741988" y="4067176"/>
            <a:chExt cx="288925" cy="292100"/>
          </a:xfrm>
          <a:solidFill>
            <a:schemeClr val="tx1"/>
          </a:solidFill>
        </p:grpSpPr>
        <p:sp>
          <p:nvSpPr>
            <p:cNvPr id="32" name="Freeform 459">
              <a:extLst>
                <a:ext uri="{FF2B5EF4-FFF2-40B4-BE49-F238E27FC236}">
                  <a16:creationId xmlns:a16="http://schemas.microsoft.com/office/drawing/2014/main" id="{D4E52AE1-8728-4C36-8BD0-20B687A16565}"/>
                </a:ext>
              </a:extLst>
            </p:cNvPr>
            <p:cNvSpPr>
              <a:spLocks/>
            </p:cNvSpPr>
            <p:nvPr/>
          </p:nvSpPr>
          <p:spPr bwMode="auto">
            <a:xfrm>
              <a:off x="5741988" y="4071939"/>
              <a:ext cx="60325" cy="60325"/>
            </a:xfrm>
            <a:custGeom>
              <a:avLst/>
              <a:gdLst>
                <a:gd name="T0" fmla="*/ 5 w 79"/>
                <a:gd name="T1" fmla="*/ 80 h 80"/>
                <a:gd name="T2" fmla="*/ 10 w 79"/>
                <a:gd name="T3" fmla="*/ 75 h 80"/>
                <a:gd name="T4" fmla="*/ 10 w 79"/>
                <a:gd name="T5" fmla="*/ 10 h 80"/>
                <a:gd name="T6" fmla="*/ 74 w 79"/>
                <a:gd name="T7" fmla="*/ 10 h 80"/>
                <a:gd name="T8" fmla="*/ 79 w 79"/>
                <a:gd name="T9" fmla="*/ 5 h 80"/>
                <a:gd name="T10" fmla="*/ 74 w 79"/>
                <a:gd name="T11" fmla="*/ 0 h 80"/>
                <a:gd name="T12" fmla="*/ 5 w 79"/>
                <a:gd name="T13" fmla="*/ 0 h 80"/>
                <a:gd name="T14" fmla="*/ 0 w 79"/>
                <a:gd name="T15" fmla="*/ 5 h 80"/>
                <a:gd name="T16" fmla="*/ 0 w 79"/>
                <a:gd name="T17" fmla="*/ 75 h 80"/>
                <a:gd name="T18" fmla="*/ 5 w 79"/>
                <a:gd name="T1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0">
                  <a:moveTo>
                    <a:pt x="5" y="80"/>
                  </a:moveTo>
                  <a:cubicBezTo>
                    <a:pt x="7" y="80"/>
                    <a:pt x="10" y="77"/>
                    <a:pt x="10" y="75"/>
                  </a:cubicBezTo>
                  <a:lnTo>
                    <a:pt x="10" y="10"/>
                  </a:lnTo>
                  <a:lnTo>
                    <a:pt x="74" y="10"/>
                  </a:lnTo>
                  <a:cubicBezTo>
                    <a:pt x="77" y="10"/>
                    <a:pt x="79" y="8"/>
                    <a:pt x="79" y="5"/>
                  </a:cubicBezTo>
                  <a:cubicBezTo>
                    <a:pt x="79" y="3"/>
                    <a:pt x="77" y="0"/>
                    <a:pt x="74" y="0"/>
                  </a:cubicBezTo>
                  <a:lnTo>
                    <a:pt x="5" y="0"/>
                  </a:lnTo>
                  <a:cubicBezTo>
                    <a:pt x="2" y="0"/>
                    <a:pt x="0" y="3"/>
                    <a:pt x="0" y="5"/>
                  </a:cubicBezTo>
                  <a:lnTo>
                    <a:pt x="0" y="75"/>
                  </a:lnTo>
                  <a:cubicBezTo>
                    <a:pt x="0" y="77"/>
                    <a:pt x="2" y="80"/>
                    <a:pt x="5" y="80"/>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chemeClr val="bg1"/>
                  </a:solidFill>
                </a:ln>
                <a:solidFill>
                  <a:schemeClr val="bg1"/>
                </a:solidFill>
                <a:effectLst/>
                <a:uLnTx/>
                <a:uFillTx/>
                <a:latin typeface="Calibri" panose="020F0502020204030204"/>
                <a:ea typeface="+mn-ea"/>
                <a:cs typeface="+mn-cs"/>
              </a:endParaRPr>
            </a:p>
          </p:txBody>
        </p:sp>
        <p:sp>
          <p:nvSpPr>
            <p:cNvPr id="33" name="Freeform 460">
              <a:extLst>
                <a:ext uri="{FF2B5EF4-FFF2-40B4-BE49-F238E27FC236}">
                  <a16:creationId xmlns:a16="http://schemas.microsoft.com/office/drawing/2014/main" id="{AC20A429-007F-88C6-C2E8-319B79EB8E65}"/>
                </a:ext>
              </a:extLst>
            </p:cNvPr>
            <p:cNvSpPr>
              <a:spLocks/>
            </p:cNvSpPr>
            <p:nvPr/>
          </p:nvSpPr>
          <p:spPr bwMode="auto">
            <a:xfrm>
              <a:off x="5969001" y="4298951"/>
              <a:ext cx="60325" cy="60325"/>
            </a:xfrm>
            <a:custGeom>
              <a:avLst/>
              <a:gdLst>
                <a:gd name="T0" fmla="*/ 74 w 79"/>
                <a:gd name="T1" fmla="*/ 0 h 79"/>
                <a:gd name="T2" fmla="*/ 69 w 79"/>
                <a:gd name="T3" fmla="*/ 5 h 79"/>
                <a:gd name="T4" fmla="*/ 69 w 79"/>
                <a:gd name="T5" fmla="*/ 70 h 79"/>
                <a:gd name="T6" fmla="*/ 4 w 79"/>
                <a:gd name="T7" fmla="*/ 70 h 79"/>
                <a:gd name="T8" fmla="*/ 0 w 79"/>
                <a:gd name="T9" fmla="*/ 74 h 79"/>
                <a:gd name="T10" fmla="*/ 4 w 79"/>
                <a:gd name="T11" fmla="*/ 79 h 79"/>
                <a:gd name="T12" fmla="*/ 74 w 79"/>
                <a:gd name="T13" fmla="*/ 79 h 79"/>
                <a:gd name="T14" fmla="*/ 79 w 79"/>
                <a:gd name="T15" fmla="*/ 74 h 79"/>
                <a:gd name="T16" fmla="*/ 79 w 79"/>
                <a:gd name="T17" fmla="*/ 5 h 79"/>
                <a:gd name="T18" fmla="*/ 74 w 79"/>
                <a:gd name="T19"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74" y="0"/>
                  </a:moveTo>
                  <a:cubicBezTo>
                    <a:pt x="71" y="0"/>
                    <a:pt x="69" y="2"/>
                    <a:pt x="69" y="5"/>
                  </a:cubicBezTo>
                  <a:lnTo>
                    <a:pt x="69" y="70"/>
                  </a:lnTo>
                  <a:lnTo>
                    <a:pt x="4" y="70"/>
                  </a:lnTo>
                  <a:cubicBezTo>
                    <a:pt x="2" y="70"/>
                    <a:pt x="0" y="72"/>
                    <a:pt x="0" y="74"/>
                  </a:cubicBezTo>
                  <a:cubicBezTo>
                    <a:pt x="0" y="77"/>
                    <a:pt x="2" y="79"/>
                    <a:pt x="4" y="79"/>
                  </a:cubicBezTo>
                  <a:lnTo>
                    <a:pt x="74" y="79"/>
                  </a:lnTo>
                  <a:cubicBezTo>
                    <a:pt x="77" y="79"/>
                    <a:pt x="79" y="77"/>
                    <a:pt x="79" y="74"/>
                  </a:cubicBezTo>
                  <a:lnTo>
                    <a:pt x="79" y="5"/>
                  </a:lnTo>
                  <a:cubicBezTo>
                    <a:pt x="79" y="2"/>
                    <a:pt x="77" y="0"/>
                    <a:pt x="74" y="0"/>
                  </a:cubicBez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chemeClr val="bg1"/>
                  </a:solidFill>
                </a:ln>
                <a:solidFill>
                  <a:schemeClr val="bg1"/>
                </a:solidFill>
                <a:effectLst/>
                <a:uLnTx/>
                <a:uFillTx/>
                <a:latin typeface="Calibri" panose="020F0502020204030204"/>
                <a:ea typeface="+mn-ea"/>
                <a:cs typeface="+mn-cs"/>
              </a:endParaRPr>
            </a:p>
          </p:txBody>
        </p:sp>
        <p:sp>
          <p:nvSpPr>
            <p:cNvPr id="34" name="Freeform 461">
              <a:extLst>
                <a:ext uri="{FF2B5EF4-FFF2-40B4-BE49-F238E27FC236}">
                  <a16:creationId xmlns:a16="http://schemas.microsoft.com/office/drawing/2014/main" id="{660092BF-9571-DDCE-0126-03C99E93424F}"/>
                </a:ext>
              </a:extLst>
            </p:cNvPr>
            <p:cNvSpPr>
              <a:spLocks noEditPoints="1"/>
            </p:cNvSpPr>
            <p:nvPr/>
          </p:nvSpPr>
          <p:spPr bwMode="auto">
            <a:xfrm>
              <a:off x="5741988" y="4067176"/>
              <a:ext cx="288925" cy="292100"/>
            </a:xfrm>
            <a:custGeom>
              <a:avLst/>
              <a:gdLst>
                <a:gd name="T0" fmla="*/ 120 w 378"/>
                <a:gd name="T1" fmla="*/ 293 h 384"/>
                <a:gd name="T2" fmla="*/ 66 w 378"/>
                <a:gd name="T3" fmla="*/ 342 h 384"/>
                <a:gd name="T4" fmla="*/ 55 w 378"/>
                <a:gd name="T5" fmla="*/ 336 h 384"/>
                <a:gd name="T6" fmla="*/ 153 w 378"/>
                <a:gd name="T7" fmla="*/ 280 h 384"/>
                <a:gd name="T8" fmla="*/ 160 w 378"/>
                <a:gd name="T9" fmla="*/ 280 h 384"/>
                <a:gd name="T10" fmla="*/ 139 w 378"/>
                <a:gd name="T11" fmla="*/ 252 h 384"/>
                <a:gd name="T12" fmla="*/ 165 w 378"/>
                <a:gd name="T13" fmla="*/ 255 h 384"/>
                <a:gd name="T14" fmla="*/ 172 w 378"/>
                <a:gd name="T15" fmla="*/ 255 h 384"/>
                <a:gd name="T16" fmla="*/ 157 w 378"/>
                <a:gd name="T17" fmla="*/ 233 h 384"/>
                <a:gd name="T18" fmla="*/ 184 w 378"/>
                <a:gd name="T19" fmla="*/ 236 h 384"/>
                <a:gd name="T20" fmla="*/ 190 w 378"/>
                <a:gd name="T21" fmla="*/ 236 h 384"/>
                <a:gd name="T22" fmla="*/ 176 w 378"/>
                <a:gd name="T23" fmla="*/ 215 h 384"/>
                <a:gd name="T24" fmla="*/ 202 w 378"/>
                <a:gd name="T25" fmla="*/ 218 h 384"/>
                <a:gd name="T26" fmla="*/ 209 w 378"/>
                <a:gd name="T27" fmla="*/ 218 h 384"/>
                <a:gd name="T28" fmla="*/ 194 w 378"/>
                <a:gd name="T29" fmla="*/ 197 h 384"/>
                <a:gd name="T30" fmla="*/ 220 w 378"/>
                <a:gd name="T31" fmla="*/ 200 h 384"/>
                <a:gd name="T32" fmla="*/ 227 w 378"/>
                <a:gd name="T33" fmla="*/ 200 h 384"/>
                <a:gd name="T34" fmla="*/ 212 w 378"/>
                <a:gd name="T35" fmla="*/ 178 h 384"/>
                <a:gd name="T36" fmla="*/ 218 w 378"/>
                <a:gd name="T37" fmla="*/ 166 h 384"/>
                <a:gd name="T38" fmla="*/ 206 w 378"/>
                <a:gd name="T39" fmla="*/ 172 h 384"/>
                <a:gd name="T40" fmla="*/ 184 w 378"/>
                <a:gd name="T41" fmla="*/ 157 h 384"/>
                <a:gd name="T42" fmla="*/ 199 w 378"/>
                <a:gd name="T43" fmla="*/ 178 h 384"/>
                <a:gd name="T44" fmla="*/ 173 w 378"/>
                <a:gd name="T45" fmla="*/ 175 h 384"/>
                <a:gd name="T46" fmla="*/ 166 w 378"/>
                <a:gd name="T47" fmla="*/ 182 h 384"/>
                <a:gd name="T48" fmla="*/ 169 w 378"/>
                <a:gd name="T49" fmla="*/ 208 h 384"/>
                <a:gd name="T50" fmla="*/ 148 w 378"/>
                <a:gd name="T51" fmla="*/ 194 h 384"/>
                <a:gd name="T52" fmla="*/ 162 w 378"/>
                <a:gd name="T53" fmla="*/ 215 h 384"/>
                <a:gd name="T54" fmla="*/ 136 w 378"/>
                <a:gd name="T55" fmla="*/ 212 h 384"/>
                <a:gd name="T56" fmla="*/ 129 w 378"/>
                <a:gd name="T57" fmla="*/ 219 h 384"/>
                <a:gd name="T58" fmla="*/ 132 w 378"/>
                <a:gd name="T59" fmla="*/ 245 h 384"/>
                <a:gd name="T60" fmla="*/ 104 w 378"/>
                <a:gd name="T61" fmla="*/ 224 h 384"/>
                <a:gd name="T62" fmla="*/ 126 w 378"/>
                <a:gd name="T63" fmla="*/ 252 h 384"/>
                <a:gd name="T64" fmla="*/ 42 w 378"/>
                <a:gd name="T65" fmla="*/ 318 h 384"/>
                <a:gd name="T66" fmla="*/ 91 w 378"/>
                <a:gd name="T67" fmla="*/ 270 h 384"/>
                <a:gd name="T68" fmla="*/ 92 w 378"/>
                <a:gd name="T69" fmla="*/ 219 h 384"/>
                <a:gd name="T70" fmla="*/ 307 w 378"/>
                <a:gd name="T71" fmla="*/ 17 h 384"/>
                <a:gd name="T72" fmla="*/ 367 w 378"/>
                <a:gd name="T73" fmla="*/ 70 h 384"/>
                <a:gd name="T74" fmla="*/ 165 w 378"/>
                <a:gd name="T75" fmla="*/ 292 h 384"/>
                <a:gd name="T76" fmla="*/ 56 w 378"/>
                <a:gd name="T77" fmla="*/ 348 h 384"/>
                <a:gd name="T78" fmla="*/ 26 w 378"/>
                <a:gd name="T79" fmla="*/ 373 h 384"/>
                <a:gd name="T80" fmla="*/ 16 w 378"/>
                <a:gd name="T81" fmla="*/ 368 h 384"/>
                <a:gd name="T82" fmla="*/ 12 w 378"/>
                <a:gd name="T83" fmla="*/ 358 h 384"/>
                <a:gd name="T84" fmla="*/ 36 w 378"/>
                <a:gd name="T85" fmla="*/ 328 h 384"/>
                <a:gd name="T86" fmla="*/ 376 w 378"/>
                <a:gd name="T87" fmla="*/ 69 h 384"/>
                <a:gd name="T88" fmla="*/ 279 w 378"/>
                <a:gd name="T89" fmla="*/ 18 h 384"/>
                <a:gd name="T90" fmla="*/ 82 w 378"/>
                <a:gd name="T91" fmla="*/ 265 h 384"/>
                <a:gd name="T92" fmla="*/ 0 w 378"/>
                <a:gd name="T93" fmla="*/ 356 h 384"/>
                <a:gd name="T94" fmla="*/ 9 w 378"/>
                <a:gd name="T95" fmla="*/ 375 h 384"/>
                <a:gd name="T96" fmla="*/ 28 w 378"/>
                <a:gd name="T97" fmla="*/ 384 h 384"/>
                <a:gd name="T98" fmla="*/ 44 w 378"/>
                <a:gd name="T99" fmla="*/ 377 h 384"/>
                <a:gd name="T100" fmla="*/ 172 w 378"/>
                <a:gd name="T101" fmla="*/ 299 h 384"/>
                <a:gd name="T102" fmla="*/ 376 w 378"/>
                <a:gd name="T103" fmla="*/ 6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8" h="384">
                  <a:moveTo>
                    <a:pt x="165" y="292"/>
                  </a:moveTo>
                  <a:cubicBezTo>
                    <a:pt x="155" y="302"/>
                    <a:pt x="135" y="300"/>
                    <a:pt x="120" y="293"/>
                  </a:cubicBezTo>
                  <a:cubicBezTo>
                    <a:pt x="118" y="292"/>
                    <a:pt x="116" y="292"/>
                    <a:pt x="114" y="293"/>
                  </a:cubicBezTo>
                  <a:lnTo>
                    <a:pt x="66" y="342"/>
                  </a:lnTo>
                  <a:cubicBezTo>
                    <a:pt x="66" y="342"/>
                    <a:pt x="66" y="342"/>
                    <a:pt x="66" y="342"/>
                  </a:cubicBezTo>
                  <a:cubicBezTo>
                    <a:pt x="62" y="340"/>
                    <a:pt x="59" y="338"/>
                    <a:pt x="55" y="336"/>
                  </a:cubicBezTo>
                  <a:lnTo>
                    <a:pt x="132" y="258"/>
                  </a:lnTo>
                  <a:lnTo>
                    <a:pt x="153" y="280"/>
                  </a:lnTo>
                  <a:cubicBezTo>
                    <a:pt x="154" y="281"/>
                    <a:pt x="156" y="281"/>
                    <a:pt x="157" y="281"/>
                  </a:cubicBezTo>
                  <a:cubicBezTo>
                    <a:pt x="158" y="281"/>
                    <a:pt x="159" y="281"/>
                    <a:pt x="160" y="280"/>
                  </a:cubicBezTo>
                  <a:cubicBezTo>
                    <a:pt x="162" y="278"/>
                    <a:pt x="162" y="275"/>
                    <a:pt x="160" y="273"/>
                  </a:cubicBezTo>
                  <a:lnTo>
                    <a:pt x="139" y="252"/>
                  </a:lnTo>
                  <a:lnTo>
                    <a:pt x="151" y="240"/>
                  </a:lnTo>
                  <a:lnTo>
                    <a:pt x="165" y="255"/>
                  </a:lnTo>
                  <a:cubicBezTo>
                    <a:pt x="166" y="256"/>
                    <a:pt x="167" y="256"/>
                    <a:pt x="169" y="256"/>
                  </a:cubicBezTo>
                  <a:cubicBezTo>
                    <a:pt x="170" y="256"/>
                    <a:pt x="171" y="256"/>
                    <a:pt x="172" y="255"/>
                  </a:cubicBezTo>
                  <a:cubicBezTo>
                    <a:pt x="174" y="253"/>
                    <a:pt x="174" y="250"/>
                    <a:pt x="172" y="248"/>
                  </a:cubicBezTo>
                  <a:lnTo>
                    <a:pt x="157" y="233"/>
                  </a:lnTo>
                  <a:lnTo>
                    <a:pt x="169" y="222"/>
                  </a:lnTo>
                  <a:lnTo>
                    <a:pt x="184" y="236"/>
                  </a:lnTo>
                  <a:cubicBezTo>
                    <a:pt x="185" y="237"/>
                    <a:pt x="186" y="238"/>
                    <a:pt x="187" y="238"/>
                  </a:cubicBezTo>
                  <a:cubicBezTo>
                    <a:pt x="188" y="238"/>
                    <a:pt x="189" y="237"/>
                    <a:pt x="190" y="236"/>
                  </a:cubicBezTo>
                  <a:cubicBezTo>
                    <a:pt x="192" y="235"/>
                    <a:pt x="192" y="232"/>
                    <a:pt x="190" y="230"/>
                  </a:cubicBezTo>
                  <a:lnTo>
                    <a:pt x="176" y="215"/>
                  </a:lnTo>
                  <a:lnTo>
                    <a:pt x="187" y="203"/>
                  </a:lnTo>
                  <a:lnTo>
                    <a:pt x="202" y="218"/>
                  </a:lnTo>
                  <a:cubicBezTo>
                    <a:pt x="203" y="219"/>
                    <a:pt x="204" y="220"/>
                    <a:pt x="205" y="220"/>
                  </a:cubicBezTo>
                  <a:cubicBezTo>
                    <a:pt x="207" y="220"/>
                    <a:pt x="208" y="219"/>
                    <a:pt x="209" y="218"/>
                  </a:cubicBezTo>
                  <a:cubicBezTo>
                    <a:pt x="211" y="216"/>
                    <a:pt x="211" y="213"/>
                    <a:pt x="209" y="211"/>
                  </a:cubicBezTo>
                  <a:lnTo>
                    <a:pt x="194" y="197"/>
                  </a:lnTo>
                  <a:lnTo>
                    <a:pt x="206" y="185"/>
                  </a:lnTo>
                  <a:lnTo>
                    <a:pt x="220" y="200"/>
                  </a:lnTo>
                  <a:cubicBezTo>
                    <a:pt x="221" y="201"/>
                    <a:pt x="223" y="201"/>
                    <a:pt x="224" y="201"/>
                  </a:cubicBezTo>
                  <a:cubicBezTo>
                    <a:pt x="225" y="201"/>
                    <a:pt x="226" y="201"/>
                    <a:pt x="227" y="200"/>
                  </a:cubicBezTo>
                  <a:cubicBezTo>
                    <a:pt x="229" y="198"/>
                    <a:pt x="229" y="195"/>
                    <a:pt x="227" y="193"/>
                  </a:cubicBezTo>
                  <a:lnTo>
                    <a:pt x="212" y="178"/>
                  </a:lnTo>
                  <a:lnTo>
                    <a:pt x="218" y="173"/>
                  </a:lnTo>
                  <a:cubicBezTo>
                    <a:pt x="220" y="171"/>
                    <a:pt x="220" y="168"/>
                    <a:pt x="218" y="166"/>
                  </a:cubicBezTo>
                  <a:cubicBezTo>
                    <a:pt x="216" y="165"/>
                    <a:pt x="213" y="165"/>
                    <a:pt x="211" y="166"/>
                  </a:cubicBezTo>
                  <a:lnTo>
                    <a:pt x="206" y="172"/>
                  </a:lnTo>
                  <a:lnTo>
                    <a:pt x="191" y="157"/>
                  </a:lnTo>
                  <a:cubicBezTo>
                    <a:pt x="189" y="155"/>
                    <a:pt x="186" y="155"/>
                    <a:pt x="184" y="157"/>
                  </a:cubicBezTo>
                  <a:cubicBezTo>
                    <a:pt x="182" y="159"/>
                    <a:pt x="182" y="162"/>
                    <a:pt x="184" y="164"/>
                  </a:cubicBezTo>
                  <a:lnTo>
                    <a:pt x="199" y="178"/>
                  </a:lnTo>
                  <a:lnTo>
                    <a:pt x="187" y="190"/>
                  </a:lnTo>
                  <a:lnTo>
                    <a:pt x="173" y="175"/>
                  </a:lnTo>
                  <a:cubicBezTo>
                    <a:pt x="171" y="174"/>
                    <a:pt x="168" y="174"/>
                    <a:pt x="166" y="175"/>
                  </a:cubicBezTo>
                  <a:cubicBezTo>
                    <a:pt x="164" y="177"/>
                    <a:pt x="164" y="180"/>
                    <a:pt x="166" y="182"/>
                  </a:cubicBezTo>
                  <a:lnTo>
                    <a:pt x="181" y="197"/>
                  </a:lnTo>
                  <a:lnTo>
                    <a:pt x="169" y="208"/>
                  </a:lnTo>
                  <a:lnTo>
                    <a:pt x="154" y="194"/>
                  </a:lnTo>
                  <a:cubicBezTo>
                    <a:pt x="152" y="192"/>
                    <a:pt x="149" y="192"/>
                    <a:pt x="148" y="194"/>
                  </a:cubicBezTo>
                  <a:cubicBezTo>
                    <a:pt x="146" y="196"/>
                    <a:pt x="146" y="199"/>
                    <a:pt x="148" y="200"/>
                  </a:cubicBezTo>
                  <a:lnTo>
                    <a:pt x="162" y="215"/>
                  </a:lnTo>
                  <a:lnTo>
                    <a:pt x="151" y="227"/>
                  </a:lnTo>
                  <a:lnTo>
                    <a:pt x="136" y="212"/>
                  </a:lnTo>
                  <a:cubicBezTo>
                    <a:pt x="134" y="210"/>
                    <a:pt x="131" y="210"/>
                    <a:pt x="129" y="212"/>
                  </a:cubicBezTo>
                  <a:cubicBezTo>
                    <a:pt x="127" y="214"/>
                    <a:pt x="127" y="217"/>
                    <a:pt x="129" y="219"/>
                  </a:cubicBezTo>
                  <a:lnTo>
                    <a:pt x="144" y="233"/>
                  </a:lnTo>
                  <a:lnTo>
                    <a:pt x="132" y="245"/>
                  </a:lnTo>
                  <a:lnTo>
                    <a:pt x="111" y="224"/>
                  </a:lnTo>
                  <a:cubicBezTo>
                    <a:pt x="109" y="222"/>
                    <a:pt x="106" y="222"/>
                    <a:pt x="104" y="224"/>
                  </a:cubicBezTo>
                  <a:cubicBezTo>
                    <a:pt x="103" y="226"/>
                    <a:pt x="103" y="229"/>
                    <a:pt x="104" y="231"/>
                  </a:cubicBezTo>
                  <a:lnTo>
                    <a:pt x="126" y="252"/>
                  </a:lnTo>
                  <a:lnTo>
                    <a:pt x="49" y="329"/>
                  </a:lnTo>
                  <a:cubicBezTo>
                    <a:pt x="46" y="325"/>
                    <a:pt x="44" y="322"/>
                    <a:pt x="42" y="318"/>
                  </a:cubicBezTo>
                  <a:cubicBezTo>
                    <a:pt x="42" y="318"/>
                    <a:pt x="42" y="318"/>
                    <a:pt x="42" y="318"/>
                  </a:cubicBezTo>
                  <a:lnTo>
                    <a:pt x="91" y="270"/>
                  </a:lnTo>
                  <a:cubicBezTo>
                    <a:pt x="92" y="268"/>
                    <a:pt x="92" y="266"/>
                    <a:pt x="92" y="264"/>
                  </a:cubicBezTo>
                  <a:cubicBezTo>
                    <a:pt x="84" y="249"/>
                    <a:pt x="82" y="229"/>
                    <a:pt x="92" y="219"/>
                  </a:cubicBezTo>
                  <a:lnTo>
                    <a:pt x="286" y="25"/>
                  </a:lnTo>
                  <a:cubicBezTo>
                    <a:pt x="291" y="19"/>
                    <a:pt x="299" y="17"/>
                    <a:pt x="307" y="17"/>
                  </a:cubicBezTo>
                  <a:cubicBezTo>
                    <a:pt x="320" y="17"/>
                    <a:pt x="336" y="23"/>
                    <a:pt x="348" y="36"/>
                  </a:cubicBezTo>
                  <a:cubicBezTo>
                    <a:pt x="358" y="46"/>
                    <a:pt x="365" y="58"/>
                    <a:pt x="367" y="70"/>
                  </a:cubicBezTo>
                  <a:cubicBezTo>
                    <a:pt x="369" y="82"/>
                    <a:pt x="366" y="92"/>
                    <a:pt x="359" y="99"/>
                  </a:cubicBezTo>
                  <a:lnTo>
                    <a:pt x="165" y="292"/>
                  </a:lnTo>
                  <a:close/>
                  <a:moveTo>
                    <a:pt x="45" y="339"/>
                  </a:moveTo>
                  <a:cubicBezTo>
                    <a:pt x="49" y="343"/>
                    <a:pt x="52" y="345"/>
                    <a:pt x="56" y="348"/>
                  </a:cubicBezTo>
                  <a:lnTo>
                    <a:pt x="36" y="368"/>
                  </a:lnTo>
                  <a:cubicBezTo>
                    <a:pt x="33" y="371"/>
                    <a:pt x="29" y="373"/>
                    <a:pt x="26" y="373"/>
                  </a:cubicBezTo>
                  <a:cubicBezTo>
                    <a:pt x="22" y="373"/>
                    <a:pt x="19" y="371"/>
                    <a:pt x="16" y="369"/>
                  </a:cubicBezTo>
                  <a:cubicBezTo>
                    <a:pt x="16" y="369"/>
                    <a:pt x="16" y="368"/>
                    <a:pt x="16" y="368"/>
                  </a:cubicBezTo>
                  <a:cubicBezTo>
                    <a:pt x="16" y="368"/>
                    <a:pt x="16" y="368"/>
                    <a:pt x="16" y="368"/>
                  </a:cubicBezTo>
                  <a:cubicBezTo>
                    <a:pt x="13" y="366"/>
                    <a:pt x="12" y="362"/>
                    <a:pt x="12" y="358"/>
                  </a:cubicBezTo>
                  <a:cubicBezTo>
                    <a:pt x="12" y="355"/>
                    <a:pt x="13" y="351"/>
                    <a:pt x="16" y="349"/>
                  </a:cubicBezTo>
                  <a:lnTo>
                    <a:pt x="36" y="328"/>
                  </a:lnTo>
                  <a:cubicBezTo>
                    <a:pt x="39" y="332"/>
                    <a:pt x="42" y="336"/>
                    <a:pt x="45" y="339"/>
                  </a:cubicBezTo>
                  <a:close/>
                  <a:moveTo>
                    <a:pt x="376" y="69"/>
                  </a:moveTo>
                  <a:cubicBezTo>
                    <a:pt x="374" y="55"/>
                    <a:pt x="366" y="41"/>
                    <a:pt x="355" y="29"/>
                  </a:cubicBezTo>
                  <a:cubicBezTo>
                    <a:pt x="331" y="5"/>
                    <a:pt x="297" y="0"/>
                    <a:pt x="279" y="18"/>
                  </a:cubicBezTo>
                  <a:lnTo>
                    <a:pt x="85" y="212"/>
                  </a:lnTo>
                  <a:cubicBezTo>
                    <a:pt x="72" y="225"/>
                    <a:pt x="75" y="248"/>
                    <a:pt x="82" y="265"/>
                  </a:cubicBezTo>
                  <a:lnTo>
                    <a:pt x="7" y="340"/>
                  </a:lnTo>
                  <a:cubicBezTo>
                    <a:pt x="3" y="344"/>
                    <a:pt x="0" y="350"/>
                    <a:pt x="0" y="356"/>
                  </a:cubicBezTo>
                  <a:cubicBezTo>
                    <a:pt x="0" y="363"/>
                    <a:pt x="3" y="369"/>
                    <a:pt x="9" y="375"/>
                  </a:cubicBezTo>
                  <a:cubicBezTo>
                    <a:pt x="9" y="375"/>
                    <a:pt x="9" y="375"/>
                    <a:pt x="9" y="375"/>
                  </a:cubicBezTo>
                  <a:cubicBezTo>
                    <a:pt x="9" y="375"/>
                    <a:pt x="9" y="375"/>
                    <a:pt x="9" y="375"/>
                  </a:cubicBezTo>
                  <a:cubicBezTo>
                    <a:pt x="15" y="381"/>
                    <a:pt x="22" y="384"/>
                    <a:pt x="28" y="384"/>
                  </a:cubicBezTo>
                  <a:lnTo>
                    <a:pt x="28" y="384"/>
                  </a:lnTo>
                  <a:cubicBezTo>
                    <a:pt x="34" y="384"/>
                    <a:pt x="40" y="382"/>
                    <a:pt x="44" y="377"/>
                  </a:cubicBezTo>
                  <a:lnTo>
                    <a:pt x="119" y="302"/>
                  </a:lnTo>
                  <a:cubicBezTo>
                    <a:pt x="136" y="309"/>
                    <a:pt x="159" y="312"/>
                    <a:pt x="172" y="299"/>
                  </a:cubicBezTo>
                  <a:lnTo>
                    <a:pt x="366" y="105"/>
                  </a:lnTo>
                  <a:cubicBezTo>
                    <a:pt x="375" y="96"/>
                    <a:pt x="378" y="83"/>
                    <a:pt x="376" y="69"/>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chemeClr val="bg1"/>
                  </a:solidFill>
                </a:ln>
                <a:solidFill>
                  <a:schemeClr val="bg1"/>
                </a:solidFill>
                <a:effectLst/>
                <a:uLnTx/>
                <a:uFillTx/>
                <a:latin typeface="Calibri" panose="020F0502020204030204"/>
                <a:ea typeface="+mn-ea"/>
                <a:cs typeface="+mn-cs"/>
              </a:endParaRPr>
            </a:p>
          </p:txBody>
        </p:sp>
        <p:sp>
          <p:nvSpPr>
            <p:cNvPr id="35" name="Freeform 464">
              <a:extLst>
                <a:ext uri="{FF2B5EF4-FFF2-40B4-BE49-F238E27FC236}">
                  <a16:creationId xmlns:a16="http://schemas.microsoft.com/office/drawing/2014/main" id="{F6232496-20F5-3957-2435-6A9F93932F38}"/>
                </a:ext>
              </a:extLst>
            </p:cNvPr>
            <p:cNvSpPr>
              <a:spLocks/>
            </p:cNvSpPr>
            <p:nvPr/>
          </p:nvSpPr>
          <p:spPr bwMode="auto">
            <a:xfrm>
              <a:off x="5908676" y="4156076"/>
              <a:ext cx="36513" cy="34925"/>
            </a:xfrm>
            <a:custGeom>
              <a:avLst/>
              <a:gdLst>
                <a:gd name="T0" fmla="*/ 9 w 47"/>
                <a:gd name="T1" fmla="*/ 2 h 46"/>
                <a:gd name="T2" fmla="*/ 2 w 47"/>
                <a:gd name="T3" fmla="*/ 2 h 46"/>
                <a:gd name="T4" fmla="*/ 2 w 47"/>
                <a:gd name="T5" fmla="*/ 9 h 46"/>
                <a:gd name="T6" fmla="*/ 38 w 47"/>
                <a:gd name="T7" fmla="*/ 45 h 46"/>
                <a:gd name="T8" fmla="*/ 41 w 47"/>
                <a:gd name="T9" fmla="*/ 46 h 46"/>
                <a:gd name="T10" fmla="*/ 45 w 47"/>
                <a:gd name="T11" fmla="*/ 45 h 46"/>
                <a:gd name="T12" fmla="*/ 45 w 47"/>
                <a:gd name="T13" fmla="*/ 38 h 46"/>
                <a:gd name="T14" fmla="*/ 9 w 47"/>
                <a:gd name="T15" fmla="*/ 2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6">
                  <a:moveTo>
                    <a:pt x="9" y="2"/>
                  </a:moveTo>
                  <a:cubicBezTo>
                    <a:pt x="7" y="0"/>
                    <a:pt x="4" y="0"/>
                    <a:pt x="2" y="2"/>
                  </a:cubicBezTo>
                  <a:cubicBezTo>
                    <a:pt x="0" y="4"/>
                    <a:pt x="0" y="7"/>
                    <a:pt x="2" y="9"/>
                  </a:cubicBezTo>
                  <a:lnTo>
                    <a:pt x="38" y="45"/>
                  </a:lnTo>
                  <a:cubicBezTo>
                    <a:pt x="39" y="46"/>
                    <a:pt x="40" y="46"/>
                    <a:pt x="41" y="46"/>
                  </a:cubicBezTo>
                  <a:cubicBezTo>
                    <a:pt x="43" y="46"/>
                    <a:pt x="44" y="46"/>
                    <a:pt x="45" y="45"/>
                  </a:cubicBezTo>
                  <a:cubicBezTo>
                    <a:pt x="47" y="43"/>
                    <a:pt x="47" y="40"/>
                    <a:pt x="45" y="38"/>
                  </a:cubicBezTo>
                  <a:lnTo>
                    <a:pt x="9" y="2"/>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chemeClr val="bg1"/>
                  </a:solidFill>
                </a:ln>
                <a:solidFill>
                  <a:schemeClr val="bg1"/>
                </a:solidFill>
                <a:effectLst/>
                <a:uLnTx/>
                <a:uFillTx/>
                <a:latin typeface="Calibri" panose="020F0502020204030204"/>
                <a:ea typeface="+mn-ea"/>
                <a:cs typeface="+mn-cs"/>
              </a:endParaRPr>
            </a:p>
          </p:txBody>
        </p:sp>
        <p:sp>
          <p:nvSpPr>
            <p:cNvPr id="36" name="Freeform 465">
              <a:extLst>
                <a:ext uri="{FF2B5EF4-FFF2-40B4-BE49-F238E27FC236}">
                  <a16:creationId xmlns:a16="http://schemas.microsoft.com/office/drawing/2014/main" id="{122AB99F-19AC-B551-D130-1A6CAD1DDA77}"/>
                </a:ext>
              </a:extLst>
            </p:cNvPr>
            <p:cNvSpPr>
              <a:spLocks/>
            </p:cNvSpPr>
            <p:nvPr/>
          </p:nvSpPr>
          <p:spPr bwMode="auto">
            <a:xfrm>
              <a:off x="5924551" y="4143376"/>
              <a:ext cx="34925" cy="34925"/>
            </a:xfrm>
            <a:custGeom>
              <a:avLst/>
              <a:gdLst>
                <a:gd name="T0" fmla="*/ 8 w 46"/>
                <a:gd name="T1" fmla="*/ 2 h 46"/>
                <a:gd name="T2" fmla="*/ 1 w 46"/>
                <a:gd name="T3" fmla="*/ 2 h 46"/>
                <a:gd name="T4" fmla="*/ 1 w 46"/>
                <a:gd name="T5" fmla="*/ 9 h 46"/>
                <a:gd name="T6" fmla="*/ 38 w 46"/>
                <a:gd name="T7" fmla="*/ 45 h 46"/>
                <a:gd name="T8" fmla="*/ 41 w 46"/>
                <a:gd name="T9" fmla="*/ 46 h 46"/>
                <a:gd name="T10" fmla="*/ 44 w 46"/>
                <a:gd name="T11" fmla="*/ 45 h 46"/>
                <a:gd name="T12" fmla="*/ 44 w 46"/>
                <a:gd name="T13" fmla="*/ 38 h 46"/>
                <a:gd name="T14" fmla="*/ 8 w 46"/>
                <a:gd name="T15" fmla="*/ 2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6">
                  <a:moveTo>
                    <a:pt x="8" y="2"/>
                  </a:moveTo>
                  <a:cubicBezTo>
                    <a:pt x="6" y="0"/>
                    <a:pt x="3" y="0"/>
                    <a:pt x="1" y="2"/>
                  </a:cubicBezTo>
                  <a:cubicBezTo>
                    <a:pt x="0" y="4"/>
                    <a:pt x="0" y="7"/>
                    <a:pt x="1" y="9"/>
                  </a:cubicBezTo>
                  <a:lnTo>
                    <a:pt x="38" y="45"/>
                  </a:lnTo>
                  <a:cubicBezTo>
                    <a:pt x="38" y="46"/>
                    <a:pt x="40" y="46"/>
                    <a:pt x="41" y="46"/>
                  </a:cubicBezTo>
                  <a:cubicBezTo>
                    <a:pt x="42" y="46"/>
                    <a:pt x="43" y="46"/>
                    <a:pt x="44" y="45"/>
                  </a:cubicBezTo>
                  <a:cubicBezTo>
                    <a:pt x="46" y="43"/>
                    <a:pt x="46" y="40"/>
                    <a:pt x="44" y="38"/>
                  </a:cubicBezTo>
                  <a:lnTo>
                    <a:pt x="8" y="2"/>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chemeClr val="bg1"/>
                  </a:solidFill>
                </a:ln>
                <a:solidFill>
                  <a:schemeClr val="bg1"/>
                </a:solidFill>
                <a:effectLst/>
                <a:uLnTx/>
                <a:uFillTx/>
                <a:latin typeface="Calibri" panose="020F0502020204030204"/>
                <a:ea typeface="+mn-ea"/>
                <a:cs typeface="+mn-cs"/>
              </a:endParaRPr>
            </a:p>
          </p:txBody>
        </p:sp>
        <p:sp>
          <p:nvSpPr>
            <p:cNvPr id="37" name="Freeform 466">
              <a:extLst>
                <a:ext uri="{FF2B5EF4-FFF2-40B4-BE49-F238E27FC236}">
                  <a16:creationId xmlns:a16="http://schemas.microsoft.com/office/drawing/2014/main" id="{A7309421-0EC4-1407-1BA7-34F40BD689A9}"/>
                </a:ext>
              </a:extLst>
            </p:cNvPr>
            <p:cNvSpPr>
              <a:spLocks/>
            </p:cNvSpPr>
            <p:nvPr/>
          </p:nvSpPr>
          <p:spPr bwMode="auto">
            <a:xfrm>
              <a:off x="5937251" y="4129089"/>
              <a:ext cx="34925" cy="34925"/>
            </a:xfrm>
            <a:custGeom>
              <a:avLst/>
              <a:gdLst>
                <a:gd name="T0" fmla="*/ 8 w 46"/>
                <a:gd name="T1" fmla="*/ 2 h 46"/>
                <a:gd name="T2" fmla="*/ 2 w 46"/>
                <a:gd name="T3" fmla="*/ 2 h 46"/>
                <a:gd name="T4" fmla="*/ 2 w 46"/>
                <a:gd name="T5" fmla="*/ 8 h 46"/>
                <a:gd name="T6" fmla="*/ 38 w 46"/>
                <a:gd name="T7" fmla="*/ 44 h 46"/>
                <a:gd name="T8" fmla="*/ 41 w 46"/>
                <a:gd name="T9" fmla="*/ 46 h 46"/>
                <a:gd name="T10" fmla="*/ 45 w 46"/>
                <a:gd name="T11" fmla="*/ 44 h 46"/>
                <a:gd name="T12" fmla="*/ 45 w 46"/>
                <a:gd name="T13" fmla="*/ 38 h 46"/>
                <a:gd name="T14" fmla="*/ 8 w 46"/>
                <a:gd name="T15" fmla="*/ 2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6">
                  <a:moveTo>
                    <a:pt x="8" y="2"/>
                  </a:moveTo>
                  <a:cubicBezTo>
                    <a:pt x="7" y="0"/>
                    <a:pt x="4" y="0"/>
                    <a:pt x="2" y="2"/>
                  </a:cubicBezTo>
                  <a:cubicBezTo>
                    <a:pt x="0" y="3"/>
                    <a:pt x="0" y="6"/>
                    <a:pt x="2" y="8"/>
                  </a:cubicBezTo>
                  <a:lnTo>
                    <a:pt x="38" y="44"/>
                  </a:lnTo>
                  <a:cubicBezTo>
                    <a:pt x="39" y="45"/>
                    <a:pt x="40" y="46"/>
                    <a:pt x="41" y="46"/>
                  </a:cubicBezTo>
                  <a:cubicBezTo>
                    <a:pt x="42" y="46"/>
                    <a:pt x="44" y="45"/>
                    <a:pt x="45" y="44"/>
                  </a:cubicBezTo>
                  <a:cubicBezTo>
                    <a:pt x="46" y="42"/>
                    <a:pt x="46" y="40"/>
                    <a:pt x="45" y="38"/>
                  </a:cubicBezTo>
                  <a:lnTo>
                    <a:pt x="8" y="2"/>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chemeClr val="bg1"/>
                  </a:solidFill>
                </a:ln>
                <a:solidFill>
                  <a:schemeClr val="bg1"/>
                </a:solidFill>
                <a:effectLst/>
                <a:uLnTx/>
                <a:uFillTx/>
                <a:latin typeface="Calibri" panose="020F0502020204030204"/>
                <a:ea typeface="+mn-ea"/>
                <a:cs typeface="+mn-cs"/>
              </a:endParaRPr>
            </a:p>
          </p:txBody>
        </p:sp>
        <p:sp>
          <p:nvSpPr>
            <p:cNvPr id="38" name="Freeform 467">
              <a:extLst>
                <a:ext uri="{FF2B5EF4-FFF2-40B4-BE49-F238E27FC236}">
                  <a16:creationId xmlns:a16="http://schemas.microsoft.com/office/drawing/2014/main" id="{FF76B284-ECFF-8746-F01F-9C35E1022406}"/>
                </a:ext>
              </a:extLst>
            </p:cNvPr>
            <p:cNvSpPr>
              <a:spLocks/>
            </p:cNvSpPr>
            <p:nvPr/>
          </p:nvSpPr>
          <p:spPr bwMode="auto">
            <a:xfrm>
              <a:off x="5951538" y="4114801"/>
              <a:ext cx="34925" cy="34925"/>
            </a:xfrm>
            <a:custGeom>
              <a:avLst/>
              <a:gdLst>
                <a:gd name="T0" fmla="*/ 9 w 47"/>
                <a:gd name="T1" fmla="*/ 2 h 46"/>
                <a:gd name="T2" fmla="*/ 2 w 47"/>
                <a:gd name="T3" fmla="*/ 2 h 46"/>
                <a:gd name="T4" fmla="*/ 2 w 47"/>
                <a:gd name="T5" fmla="*/ 9 h 46"/>
                <a:gd name="T6" fmla="*/ 38 w 47"/>
                <a:gd name="T7" fmla="*/ 45 h 46"/>
                <a:gd name="T8" fmla="*/ 42 w 47"/>
                <a:gd name="T9" fmla="*/ 46 h 46"/>
                <a:gd name="T10" fmla="*/ 45 w 47"/>
                <a:gd name="T11" fmla="*/ 45 h 46"/>
                <a:gd name="T12" fmla="*/ 45 w 47"/>
                <a:gd name="T13" fmla="*/ 38 h 46"/>
                <a:gd name="T14" fmla="*/ 9 w 47"/>
                <a:gd name="T15" fmla="*/ 2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6">
                  <a:moveTo>
                    <a:pt x="9" y="2"/>
                  </a:moveTo>
                  <a:cubicBezTo>
                    <a:pt x="7" y="0"/>
                    <a:pt x="4" y="0"/>
                    <a:pt x="2" y="2"/>
                  </a:cubicBezTo>
                  <a:cubicBezTo>
                    <a:pt x="0" y="4"/>
                    <a:pt x="0" y="7"/>
                    <a:pt x="2" y="9"/>
                  </a:cubicBezTo>
                  <a:lnTo>
                    <a:pt x="38" y="45"/>
                  </a:lnTo>
                  <a:cubicBezTo>
                    <a:pt x="39" y="46"/>
                    <a:pt x="40" y="46"/>
                    <a:pt x="42" y="46"/>
                  </a:cubicBezTo>
                  <a:cubicBezTo>
                    <a:pt x="43" y="46"/>
                    <a:pt x="44" y="46"/>
                    <a:pt x="45" y="45"/>
                  </a:cubicBezTo>
                  <a:cubicBezTo>
                    <a:pt x="47" y="43"/>
                    <a:pt x="47" y="40"/>
                    <a:pt x="45" y="38"/>
                  </a:cubicBezTo>
                  <a:lnTo>
                    <a:pt x="9" y="2"/>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chemeClr val="bg1"/>
                  </a:solidFill>
                </a:ln>
                <a:solidFill>
                  <a:schemeClr val="bg1"/>
                </a:solidFill>
                <a:effectLst/>
                <a:uLnTx/>
                <a:uFillTx/>
                <a:latin typeface="Calibri" panose="020F0502020204030204"/>
                <a:ea typeface="+mn-ea"/>
                <a:cs typeface="+mn-cs"/>
              </a:endParaRPr>
            </a:p>
          </p:txBody>
        </p:sp>
        <p:sp>
          <p:nvSpPr>
            <p:cNvPr id="39" name="Freeform 468">
              <a:extLst>
                <a:ext uri="{FF2B5EF4-FFF2-40B4-BE49-F238E27FC236}">
                  <a16:creationId xmlns:a16="http://schemas.microsoft.com/office/drawing/2014/main" id="{B8E2AC88-BAA2-FEE4-14DD-47C951D41DFF}"/>
                </a:ext>
              </a:extLst>
            </p:cNvPr>
            <p:cNvSpPr>
              <a:spLocks/>
            </p:cNvSpPr>
            <p:nvPr/>
          </p:nvSpPr>
          <p:spPr bwMode="auto">
            <a:xfrm>
              <a:off x="5889626" y="4165601"/>
              <a:ext cx="46038" cy="44450"/>
            </a:xfrm>
            <a:custGeom>
              <a:avLst/>
              <a:gdLst>
                <a:gd name="T0" fmla="*/ 9 w 60"/>
                <a:gd name="T1" fmla="*/ 2 h 59"/>
                <a:gd name="T2" fmla="*/ 2 w 60"/>
                <a:gd name="T3" fmla="*/ 2 h 59"/>
                <a:gd name="T4" fmla="*/ 2 w 60"/>
                <a:gd name="T5" fmla="*/ 9 h 59"/>
                <a:gd name="T6" fmla="*/ 51 w 60"/>
                <a:gd name="T7" fmla="*/ 58 h 59"/>
                <a:gd name="T8" fmla="*/ 55 w 60"/>
                <a:gd name="T9" fmla="*/ 59 h 59"/>
                <a:gd name="T10" fmla="*/ 58 w 60"/>
                <a:gd name="T11" fmla="*/ 58 h 59"/>
                <a:gd name="T12" fmla="*/ 58 w 60"/>
                <a:gd name="T13" fmla="*/ 51 h 59"/>
                <a:gd name="T14" fmla="*/ 9 w 60"/>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9" y="2"/>
                  </a:moveTo>
                  <a:cubicBezTo>
                    <a:pt x="7" y="0"/>
                    <a:pt x="4" y="0"/>
                    <a:pt x="2" y="2"/>
                  </a:cubicBezTo>
                  <a:cubicBezTo>
                    <a:pt x="0" y="4"/>
                    <a:pt x="0" y="7"/>
                    <a:pt x="2" y="9"/>
                  </a:cubicBezTo>
                  <a:lnTo>
                    <a:pt x="51" y="58"/>
                  </a:lnTo>
                  <a:cubicBezTo>
                    <a:pt x="52" y="59"/>
                    <a:pt x="53" y="59"/>
                    <a:pt x="55" y="59"/>
                  </a:cubicBezTo>
                  <a:cubicBezTo>
                    <a:pt x="56" y="59"/>
                    <a:pt x="57" y="59"/>
                    <a:pt x="58" y="58"/>
                  </a:cubicBezTo>
                  <a:cubicBezTo>
                    <a:pt x="60" y="56"/>
                    <a:pt x="60" y="53"/>
                    <a:pt x="58" y="51"/>
                  </a:cubicBezTo>
                  <a:lnTo>
                    <a:pt x="9" y="2"/>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chemeClr val="bg1"/>
                  </a:solidFill>
                </a:ln>
                <a:solidFill>
                  <a:schemeClr val="bg1"/>
                </a:solidFill>
                <a:effectLst/>
                <a:uLnTx/>
                <a:uFillTx/>
                <a:latin typeface="Calibri" panose="020F0502020204030204"/>
                <a:ea typeface="+mn-ea"/>
                <a:cs typeface="+mn-cs"/>
              </a:endParaRPr>
            </a:p>
          </p:txBody>
        </p:sp>
        <p:sp>
          <p:nvSpPr>
            <p:cNvPr id="40" name="Freeform 469">
              <a:extLst>
                <a:ext uri="{FF2B5EF4-FFF2-40B4-BE49-F238E27FC236}">
                  <a16:creationId xmlns:a16="http://schemas.microsoft.com/office/drawing/2014/main" id="{A0E65CB5-C344-9AD9-B45D-BDC4D3097552}"/>
                </a:ext>
              </a:extLst>
            </p:cNvPr>
            <p:cNvSpPr>
              <a:spLocks/>
            </p:cNvSpPr>
            <p:nvPr/>
          </p:nvSpPr>
          <p:spPr bwMode="auto">
            <a:xfrm>
              <a:off x="5961063" y="4095751"/>
              <a:ext cx="44450" cy="44450"/>
            </a:xfrm>
            <a:custGeom>
              <a:avLst/>
              <a:gdLst>
                <a:gd name="T0" fmla="*/ 9 w 60"/>
                <a:gd name="T1" fmla="*/ 1 h 58"/>
                <a:gd name="T2" fmla="*/ 2 w 60"/>
                <a:gd name="T3" fmla="*/ 1 h 58"/>
                <a:gd name="T4" fmla="*/ 2 w 60"/>
                <a:gd name="T5" fmla="*/ 8 h 58"/>
                <a:gd name="T6" fmla="*/ 51 w 60"/>
                <a:gd name="T7" fmla="*/ 57 h 58"/>
                <a:gd name="T8" fmla="*/ 54 w 60"/>
                <a:gd name="T9" fmla="*/ 58 h 58"/>
                <a:gd name="T10" fmla="*/ 58 w 60"/>
                <a:gd name="T11" fmla="*/ 57 h 58"/>
                <a:gd name="T12" fmla="*/ 58 w 60"/>
                <a:gd name="T13" fmla="*/ 50 h 58"/>
                <a:gd name="T14" fmla="*/ 9 w 60"/>
                <a:gd name="T15" fmla="*/ 1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8">
                  <a:moveTo>
                    <a:pt x="9" y="1"/>
                  </a:moveTo>
                  <a:cubicBezTo>
                    <a:pt x="7" y="0"/>
                    <a:pt x="4" y="0"/>
                    <a:pt x="2" y="1"/>
                  </a:cubicBezTo>
                  <a:cubicBezTo>
                    <a:pt x="0" y="3"/>
                    <a:pt x="0" y="6"/>
                    <a:pt x="2" y="8"/>
                  </a:cubicBezTo>
                  <a:lnTo>
                    <a:pt x="51" y="57"/>
                  </a:lnTo>
                  <a:cubicBezTo>
                    <a:pt x="52" y="58"/>
                    <a:pt x="53" y="58"/>
                    <a:pt x="54" y="58"/>
                  </a:cubicBezTo>
                  <a:cubicBezTo>
                    <a:pt x="56" y="58"/>
                    <a:pt x="57" y="58"/>
                    <a:pt x="58" y="57"/>
                  </a:cubicBezTo>
                  <a:cubicBezTo>
                    <a:pt x="60" y="55"/>
                    <a:pt x="60" y="52"/>
                    <a:pt x="58" y="50"/>
                  </a:cubicBezTo>
                  <a:lnTo>
                    <a:pt x="9" y="1"/>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chemeClr val="bg1"/>
                  </a:solidFill>
                </a:ln>
                <a:solidFill>
                  <a:schemeClr val="bg1"/>
                </a:solidFill>
                <a:effectLst/>
                <a:uLnTx/>
                <a:uFillTx/>
                <a:latin typeface="Calibri" panose="020F0502020204030204"/>
                <a:ea typeface="+mn-ea"/>
                <a:cs typeface="+mn-cs"/>
              </a:endParaRPr>
            </a:p>
          </p:txBody>
        </p:sp>
      </p:grpSp>
      <p:grpSp>
        <p:nvGrpSpPr>
          <p:cNvPr id="41" name="Bar_chart22" descr="{&quot;Key&quot;:&quot;POWER_USER_SHAPE_ICON&quot;,&quot;Value&quot;:&quot;POWER_USER_SHAPE_ICON_STYLE_1&quot;}">
            <a:extLst>
              <a:ext uri="{FF2B5EF4-FFF2-40B4-BE49-F238E27FC236}">
                <a16:creationId xmlns:a16="http://schemas.microsoft.com/office/drawing/2014/main" id="{E19C7E25-69E1-82A2-F7DC-EB413F0D5D66}"/>
              </a:ext>
            </a:extLst>
          </p:cNvPr>
          <p:cNvGrpSpPr>
            <a:grpSpLocks noChangeAspect="1"/>
          </p:cNvGrpSpPr>
          <p:nvPr/>
        </p:nvGrpSpPr>
        <p:grpSpPr>
          <a:xfrm>
            <a:off x="8033737" y="5403389"/>
            <a:ext cx="583232" cy="542304"/>
            <a:chOff x="8351839" y="5835650"/>
            <a:chExt cx="271463" cy="252413"/>
          </a:xfrm>
          <a:solidFill>
            <a:schemeClr val="tx1"/>
          </a:solidFill>
        </p:grpSpPr>
        <p:sp>
          <p:nvSpPr>
            <p:cNvPr id="42" name="Freeform 190">
              <a:extLst>
                <a:ext uri="{FF2B5EF4-FFF2-40B4-BE49-F238E27FC236}">
                  <a16:creationId xmlns:a16="http://schemas.microsoft.com/office/drawing/2014/main" id="{15718550-BCD3-0EE3-AE2F-72150DE9798F}"/>
                </a:ext>
              </a:extLst>
            </p:cNvPr>
            <p:cNvSpPr>
              <a:spLocks/>
            </p:cNvSpPr>
            <p:nvPr/>
          </p:nvSpPr>
          <p:spPr bwMode="auto">
            <a:xfrm>
              <a:off x="8455026" y="6080125"/>
              <a:ext cx="87313" cy="7938"/>
            </a:xfrm>
            <a:custGeom>
              <a:avLst/>
              <a:gdLst>
                <a:gd name="T0" fmla="*/ 425 w 425"/>
                <a:gd name="T1" fmla="*/ 0 h 33"/>
                <a:gd name="T2" fmla="*/ 0 w 425"/>
                <a:gd name="T3" fmla="*/ 0 h 33"/>
                <a:gd name="T4" fmla="*/ 0 w 425"/>
                <a:gd name="T5" fmla="*/ 33 h 33"/>
                <a:gd name="T6" fmla="*/ 425 w 425"/>
                <a:gd name="T7" fmla="*/ 33 h 33"/>
              </a:gdLst>
              <a:ahLst/>
              <a:cxnLst>
                <a:cxn ang="0">
                  <a:pos x="T0" y="T1"/>
                </a:cxn>
                <a:cxn ang="0">
                  <a:pos x="T2" y="T3"/>
                </a:cxn>
                <a:cxn ang="0">
                  <a:pos x="T4" y="T5"/>
                </a:cxn>
                <a:cxn ang="0">
                  <a:pos x="T6" y="T7"/>
                </a:cxn>
              </a:cxnLst>
              <a:rect l="0" t="0" r="r" b="b"/>
              <a:pathLst>
                <a:path w="425" h="33">
                  <a:moveTo>
                    <a:pt x="425" y="0"/>
                  </a:moveTo>
                  <a:lnTo>
                    <a:pt x="0" y="0"/>
                  </a:lnTo>
                  <a:lnTo>
                    <a:pt x="0" y="33"/>
                  </a:lnTo>
                  <a:lnTo>
                    <a:pt x="425" y="33"/>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91">
              <a:extLst>
                <a:ext uri="{FF2B5EF4-FFF2-40B4-BE49-F238E27FC236}">
                  <a16:creationId xmlns:a16="http://schemas.microsoft.com/office/drawing/2014/main" id="{79BCC855-A304-0EBF-85C9-F069DB8D7D35}"/>
                </a:ext>
              </a:extLst>
            </p:cNvPr>
            <p:cNvSpPr>
              <a:spLocks/>
            </p:cNvSpPr>
            <p:nvPr/>
          </p:nvSpPr>
          <p:spPr bwMode="auto">
            <a:xfrm>
              <a:off x="8548689" y="5897563"/>
              <a:ext cx="63500" cy="190500"/>
            </a:xfrm>
            <a:custGeom>
              <a:avLst/>
              <a:gdLst>
                <a:gd name="T0" fmla="*/ 3 w 40"/>
                <a:gd name="T1" fmla="*/ 117 h 120"/>
                <a:gd name="T2" fmla="*/ 3 w 40"/>
                <a:gd name="T3" fmla="*/ 120 h 120"/>
                <a:gd name="T4" fmla="*/ 40 w 40"/>
                <a:gd name="T5" fmla="*/ 120 h 120"/>
                <a:gd name="T6" fmla="*/ 40 w 40"/>
                <a:gd name="T7" fmla="*/ 0 h 120"/>
                <a:gd name="T8" fmla="*/ 0 w 40"/>
                <a:gd name="T9" fmla="*/ 0 h 120"/>
                <a:gd name="T10" fmla="*/ 0 w 40"/>
                <a:gd name="T11" fmla="*/ 120 h 120"/>
                <a:gd name="T12" fmla="*/ 3 w 40"/>
                <a:gd name="T13" fmla="*/ 120 h 120"/>
                <a:gd name="T14" fmla="*/ 3 w 40"/>
                <a:gd name="T15" fmla="*/ 117 h 120"/>
                <a:gd name="T16" fmla="*/ 5 w 40"/>
                <a:gd name="T17" fmla="*/ 117 h 120"/>
                <a:gd name="T18" fmla="*/ 5 w 40"/>
                <a:gd name="T19" fmla="*/ 4 h 120"/>
                <a:gd name="T20" fmla="*/ 35 w 40"/>
                <a:gd name="T21" fmla="*/ 4 h 120"/>
                <a:gd name="T22" fmla="*/ 35 w 40"/>
                <a:gd name="T23" fmla="*/ 115 h 120"/>
                <a:gd name="T24" fmla="*/ 3 w 40"/>
                <a:gd name="T25" fmla="*/ 115 h 120"/>
                <a:gd name="T26" fmla="*/ 3 w 40"/>
                <a:gd name="T27" fmla="*/ 117 h 120"/>
                <a:gd name="T28" fmla="*/ 5 w 40"/>
                <a:gd name="T29" fmla="*/ 117 h 120"/>
                <a:gd name="T30" fmla="*/ 3 w 40"/>
                <a:gd name="T31" fmla="*/ 11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120">
                  <a:moveTo>
                    <a:pt x="3" y="117"/>
                  </a:moveTo>
                  <a:lnTo>
                    <a:pt x="3" y="120"/>
                  </a:lnTo>
                  <a:lnTo>
                    <a:pt x="40" y="120"/>
                  </a:lnTo>
                  <a:lnTo>
                    <a:pt x="40" y="0"/>
                  </a:lnTo>
                  <a:lnTo>
                    <a:pt x="0" y="0"/>
                  </a:lnTo>
                  <a:lnTo>
                    <a:pt x="0" y="120"/>
                  </a:lnTo>
                  <a:lnTo>
                    <a:pt x="3" y="120"/>
                  </a:lnTo>
                  <a:lnTo>
                    <a:pt x="3" y="117"/>
                  </a:lnTo>
                  <a:lnTo>
                    <a:pt x="5" y="117"/>
                  </a:lnTo>
                  <a:lnTo>
                    <a:pt x="5" y="4"/>
                  </a:lnTo>
                  <a:lnTo>
                    <a:pt x="35" y="4"/>
                  </a:lnTo>
                  <a:lnTo>
                    <a:pt x="35" y="115"/>
                  </a:lnTo>
                  <a:lnTo>
                    <a:pt x="3" y="115"/>
                  </a:lnTo>
                  <a:lnTo>
                    <a:pt x="3" y="117"/>
                  </a:lnTo>
                  <a:lnTo>
                    <a:pt x="5" y="117"/>
                  </a:lnTo>
                  <a:lnTo>
                    <a:pt x="3" y="117"/>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92">
              <a:extLst>
                <a:ext uri="{FF2B5EF4-FFF2-40B4-BE49-F238E27FC236}">
                  <a16:creationId xmlns:a16="http://schemas.microsoft.com/office/drawing/2014/main" id="{6FA84715-9378-F3CE-B4FC-3DA6A208E12D}"/>
                </a:ext>
              </a:extLst>
            </p:cNvPr>
            <p:cNvSpPr>
              <a:spLocks/>
            </p:cNvSpPr>
            <p:nvPr/>
          </p:nvSpPr>
          <p:spPr bwMode="auto">
            <a:xfrm>
              <a:off x="8493126" y="5937250"/>
              <a:ext cx="63500" cy="150813"/>
            </a:xfrm>
            <a:custGeom>
              <a:avLst/>
              <a:gdLst>
                <a:gd name="T0" fmla="*/ 2 w 40"/>
                <a:gd name="T1" fmla="*/ 92 h 95"/>
                <a:gd name="T2" fmla="*/ 2 w 40"/>
                <a:gd name="T3" fmla="*/ 95 h 95"/>
                <a:gd name="T4" fmla="*/ 40 w 40"/>
                <a:gd name="T5" fmla="*/ 95 h 95"/>
                <a:gd name="T6" fmla="*/ 40 w 40"/>
                <a:gd name="T7" fmla="*/ 0 h 95"/>
                <a:gd name="T8" fmla="*/ 0 w 40"/>
                <a:gd name="T9" fmla="*/ 0 h 95"/>
                <a:gd name="T10" fmla="*/ 0 w 40"/>
                <a:gd name="T11" fmla="*/ 95 h 95"/>
                <a:gd name="T12" fmla="*/ 2 w 40"/>
                <a:gd name="T13" fmla="*/ 95 h 95"/>
                <a:gd name="T14" fmla="*/ 2 w 40"/>
                <a:gd name="T15" fmla="*/ 92 h 95"/>
                <a:gd name="T16" fmla="*/ 5 w 40"/>
                <a:gd name="T17" fmla="*/ 92 h 95"/>
                <a:gd name="T18" fmla="*/ 5 w 40"/>
                <a:gd name="T19" fmla="*/ 4 h 95"/>
                <a:gd name="T20" fmla="*/ 35 w 40"/>
                <a:gd name="T21" fmla="*/ 4 h 95"/>
                <a:gd name="T22" fmla="*/ 35 w 40"/>
                <a:gd name="T23" fmla="*/ 90 h 95"/>
                <a:gd name="T24" fmla="*/ 2 w 40"/>
                <a:gd name="T25" fmla="*/ 90 h 95"/>
                <a:gd name="T26" fmla="*/ 2 w 40"/>
                <a:gd name="T27" fmla="*/ 92 h 95"/>
                <a:gd name="T28" fmla="*/ 5 w 40"/>
                <a:gd name="T29" fmla="*/ 92 h 95"/>
                <a:gd name="T30" fmla="*/ 2 w 40"/>
                <a:gd name="T31" fmla="*/ 9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95">
                  <a:moveTo>
                    <a:pt x="2" y="92"/>
                  </a:moveTo>
                  <a:lnTo>
                    <a:pt x="2" y="95"/>
                  </a:lnTo>
                  <a:lnTo>
                    <a:pt x="40" y="95"/>
                  </a:lnTo>
                  <a:lnTo>
                    <a:pt x="40" y="0"/>
                  </a:lnTo>
                  <a:lnTo>
                    <a:pt x="0" y="0"/>
                  </a:lnTo>
                  <a:lnTo>
                    <a:pt x="0" y="95"/>
                  </a:lnTo>
                  <a:lnTo>
                    <a:pt x="2" y="95"/>
                  </a:lnTo>
                  <a:lnTo>
                    <a:pt x="2" y="92"/>
                  </a:lnTo>
                  <a:lnTo>
                    <a:pt x="5" y="92"/>
                  </a:lnTo>
                  <a:lnTo>
                    <a:pt x="5" y="4"/>
                  </a:lnTo>
                  <a:lnTo>
                    <a:pt x="35" y="4"/>
                  </a:lnTo>
                  <a:lnTo>
                    <a:pt x="35" y="90"/>
                  </a:lnTo>
                  <a:lnTo>
                    <a:pt x="2" y="90"/>
                  </a:lnTo>
                  <a:lnTo>
                    <a:pt x="2" y="92"/>
                  </a:lnTo>
                  <a:lnTo>
                    <a:pt x="5" y="92"/>
                  </a:lnTo>
                  <a:lnTo>
                    <a:pt x="2" y="9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93">
              <a:extLst>
                <a:ext uri="{FF2B5EF4-FFF2-40B4-BE49-F238E27FC236}">
                  <a16:creationId xmlns:a16="http://schemas.microsoft.com/office/drawing/2014/main" id="{D74A4146-978F-2353-3142-9AAF590AF359}"/>
                </a:ext>
              </a:extLst>
            </p:cNvPr>
            <p:cNvSpPr>
              <a:spLocks/>
            </p:cNvSpPr>
            <p:nvPr/>
          </p:nvSpPr>
          <p:spPr bwMode="auto">
            <a:xfrm>
              <a:off x="8437564" y="5994400"/>
              <a:ext cx="63500" cy="93663"/>
            </a:xfrm>
            <a:custGeom>
              <a:avLst/>
              <a:gdLst>
                <a:gd name="T0" fmla="*/ 2 w 40"/>
                <a:gd name="T1" fmla="*/ 56 h 59"/>
                <a:gd name="T2" fmla="*/ 2 w 40"/>
                <a:gd name="T3" fmla="*/ 59 h 59"/>
                <a:gd name="T4" fmla="*/ 40 w 40"/>
                <a:gd name="T5" fmla="*/ 59 h 59"/>
                <a:gd name="T6" fmla="*/ 40 w 40"/>
                <a:gd name="T7" fmla="*/ 0 h 59"/>
                <a:gd name="T8" fmla="*/ 0 w 40"/>
                <a:gd name="T9" fmla="*/ 0 h 59"/>
                <a:gd name="T10" fmla="*/ 0 w 40"/>
                <a:gd name="T11" fmla="*/ 59 h 59"/>
                <a:gd name="T12" fmla="*/ 2 w 40"/>
                <a:gd name="T13" fmla="*/ 59 h 59"/>
                <a:gd name="T14" fmla="*/ 2 w 40"/>
                <a:gd name="T15" fmla="*/ 56 h 59"/>
                <a:gd name="T16" fmla="*/ 5 w 40"/>
                <a:gd name="T17" fmla="*/ 56 h 59"/>
                <a:gd name="T18" fmla="*/ 5 w 40"/>
                <a:gd name="T19" fmla="*/ 5 h 59"/>
                <a:gd name="T20" fmla="*/ 35 w 40"/>
                <a:gd name="T21" fmla="*/ 5 h 59"/>
                <a:gd name="T22" fmla="*/ 35 w 40"/>
                <a:gd name="T23" fmla="*/ 54 h 59"/>
                <a:gd name="T24" fmla="*/ 2 w 40"/>
                <a:gd name="T25" fmla="*/ 54 h 59"/>
                <a:gd name="T26" fmla="*/ 2 w 40"/>
                <a:gd name="T27" fmla="*/ 56 h 59"/>
                <a:gd name="T28" fmla="*/ 5 w 40"/>
                <a:gd name="T29" fmla="*/ 56 h 59"/>
                <a:gd name="T30" fmla="*/ 2 w 40"/>
                <a:gd name="T31" fmla="*/ 5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9">
                  <a:moveTo>
                    <a:pt x="2" y="56"/>
                  </a:moveTo>
                  <a:lnTo>
                    <a:pt x="2" y="59"/>
                  </a:lnTo>
                  <a:lnTo>
                    <a:pt x="40" y="59"/>
                  </a:lnTo>
                  <a:lnTo>
                    <a:pt x="40" y="0"/>
                  </a:lnTo>
                  <a:lnTo>
                    <a:pt x="0" y="0"/>
                  </a:lnTo>
                  <a:lnTo>
                    <a:pt x="0" y="59"/>
                  </a:lnTo>
                  <a:lnTo>
                    <a:pt x="2" y="59"/>
                  </a:lnTo>
                  <a:lnTo>
                    <a:pt x="2" y="56"/>
                  </a:lnTo>
                  <a:lnTo>
                    <a:pt x="5" y="56"/>
                  </a:lnTo>
                  <a:lnTo>
                    <a:pt x="5" y="5"/>
                  </a:lnTo>
                  <a:lnTo>
                    <a:pt x="35" y="5"/>
                  </a:lnTo>
                  <a:lnTo>
                    <a:pt x="35" y="54"/>
                  </a:lnTo>
                  <a:lnTo>
                    <a:pt x="2" y="54"/>
                  </a:lnTo>
                  <a:lnTo>
                    <a:pt x="2" y="56"/>
                  </a:lnTo>
                  <a:lnTo>
                    <a:pt x="5" y="56"/>
                  </a:lnTo>
                  <a:lnTo>
                    <a:pt x="2" y="5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194">
              <a:extLst>
                <a:ext uri="{FF2B5EF4-FFF2-40B4-BE49-F238E27FC236}">
                  <a16:creationId xmlns:a16="http://schemas.microsoft.com/office/drawing/2014/main" id="{6F24FA16-0B06-FC65-5CB3-015874C722C0}"/>
                </a:ext>
              </a:extLst>
            </p:cNvPr>
            <p:cNvSpPr>
              <a:spLocks/>
            </p:cNvSpPr>
            <p:nvPr/>
          </p:nvSpPr>
          <p:spPr bwMode="auto">
            <a:xfrm>
              <a:off x="8382001" y="6015038"/>
              <a:ext cx="63500" cy="73025"/>
            </a:xfrm>
            <a:custGeom>
              <a:avLst/>
              <a:gdLst>
                <a:gd name="T0" fmla="*/ 2 w 40"/>
                <a:gd name="T1" fmla="*/ 43 h 46"/>
                <a:gd name="T2" fmla="*/ 2 w 40"/>
                <a:gd name="T3" fmla="*/ 46 h 46"/>
                <a:gd name="T4" fmla="*/ 40 w 40"/>
                <a:gd name="T5" fmla="*/ 46 h 46"/>
                <a:gd name="T6" fmla="*/ 40 w 40"/>
                <a:gd name="T7" fmla="*/ 0 h 46"/>
                <a:gd name="T8" fmla="*/ 0 w 40"/>
                <a:gd name="T9" fmla="*/ 0 h 46"/>
                <a:gd name="T10" fmla="*/ 0 w 40"/>
                <a:gd name="T11" fmla="*/ 46 h 46"/>
                <a:gd name="T12" fmla="*/ 2 w 40"/>
                <a:gd name="T13" fmla="*/ 46 h 46"/>
                <a:gd name="T14" fmla="*/ 2 w 40"/>
                <a:gd name="T15" fmla="*/ 43 h 46"/>
                <a:gd name="T16" fmla="*/ 4 w 40"/>
                <a:gd name="T17" fmla="*/ 43 h 46"/>
                <a:gd name="T18" fmla="*/ 4 w 40"/>
                <a:gd name="T19" fmla="*/ 4 h 46"/>
                <a:gd name="T20" fmla="*/ 35 w 40"/>
                <a:gd name="T21" fmla="*/ 4 h 46"/>
                <a:gd name="T22" fmla="*/ 35 w 40"/>
                <a:gd name="T23" fmla="*/ 41 h 46"/>
                <a:gd name="T24" fmla="*/ 2 w 40"/>
                <a:gd name="T25" fmla="*/ 41 h 46"/>
                <a:gd name="T26" fmla="*/ 2 w 40"/>
                <a:gd name="T27" fmla="*/ 43 h 46"/>
                <a:gd name="T28" fmla="*/ 4 w 40"/>
                <a:gd name="T29" fmla="*/ 43 h 46"/>
                <a:gd name="T30" fmla="*/ 2 w 40"/>
                <a:gd name="T31" fmla="*/ 4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6">
                  <a:moveTo>
                    <a:pt x="2" y="43"/>
                  </a:moveTo>
                  <a:lnTo>
                    <a:pt x="2" y="46"/>
                  </a:lnTo>
                  <a:lnTo>
                    <a:pt x="40" y="46"/>
                  </a:lnTo>
                  <a:lnTo>
                    <a:pt x="40" y="0"/>
                  </a:lnTo>
                  <a:lnTo>
                    <a:pt x="0" y="0"/>
                  </a:lnTo>
                  <a:lnTo>
                    <a:pt x="0" y="46"/>
                  </a:lnTo>
                  <a:lnTo>
                    <a:pt x="2" y="46"/>
                  </a:lnTo>
                  <a:lnTo>
                    <a:pt x="2" y="43"/>
                  </a:lnTo>
                  <a:lnTo>
                    <a:pt x="4" y="43"/>
                  </a:lnTo>
                  <a:lnTo>
                    <a:pt x="4" y="4"/>
                  </a:lnTo>
                  <a:lnTo>
                    <a:pt x="35" y="4"/>
                  </a:lnTo>
                  <a:lnTo>
                    <a:pt x="35" y="41"/>
                  </a:lnTo>
                  <a:lnTo>
                    <a:pt x="2" y="41"/>
                  </a:lnTo>
                  <a:lnTo>
                    <a:pt x="2" y="43"/>
                  </a:lnTo>
                  <a:lnTo>
                    <a:pt x="4" y="43"/>
                  </a:lnTo>
                  <a:lnTo>
                    <a:pt x="2" y="43"/>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95">
              <a:extLst>
                <a:ext uri="{FF2B5EF4-FFF2-40B4-BE49-F238E27FC236}">
                  <a16:creationId xmlns:a16="http://schemas.microsoft.com/office/drawing/2014/main" id="{903A4F55-8E3F-97A0-0636-11048E9C3666}"/>
                </a:ext>
              </a:extLst>
            </p:cNvPr>
            <p:cNvSpPr>
              <a:spLocks/>
            </p:cNvSpPr>
            <p:nvPr/>
          </p:nvSpPr>
          <p:spPr bwMode="auto">
            <a:xfrm>
              <a:off x="8351839" y="6080125"/>
              <a:ext cx="271463" cy="7938"/>
            </a:xfrm>
            <a:custGeom>
              <a:avLst/>
              <a:gdLst>
                <a:gd name="T0" fmla="*/ 1328 w 1328"/>
                <a:gd name="T1" fmla="*/ 0 h 34"/>
                <a:gd name="T2" fmla="*/ 0 w 1328"/>
                <a:gd name="T3" fmla="*/ 0 h 34"/>
                <a:gd name="T4" fmla="*/ 0 w 1328"/>
                <a:gd name="T5" fmla="*/ 34 h 34"/>
                <a:gd name="T6" fmla="*/ 1328 w 1328"/>
                <a:gd name="T7" fmla="*/ 34 h 34"/>
              </a:gdLst>
              <a:ahLst/>
              <a:cxnLst>
                <a:cxn ang="0">
                  <a:pos x="T0" y="T1"/>
                </a:cxn>
                <a:cxn ang="0">
                  <a:pos x="T2" y="T3"/>
                </a:cxn>
                <a:cxn ang="0">
                  <a:pos x="T4" y="T5"/>
                </a:cxn>
                <a:cxn ang="0">
                  <a:pos x="T6" y="T7"/>
                </a:cxn>
              </a:cxnLst>
              <a:rect l="0" t="0" r="r" b="b"/>
              <a:pathLst>
                <a:path w="1328" h="34">
                  <a:moveTo>
                    <a:pt x="1328" y="0"/>
                  </a:moveTo>
                  <a:lnTo>
                    <a:pt x="0" y="0"/>
                  </a:lnTo>
                  <a:lnTo>
                    <a:pt x="0" y="34"/>
                  </a:lnTo>
                  <a:lnTo>
                    <a:pt x="1328" y="34"/>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96">
              <a:extLst>
                <a:ext uri="{FF2B5EF4-FFF2-40B4-BE49-F238E27FC236}">
                  <a16:creationId xmlns:a16="http://schemas.microsoft.com/office/drawing/2014/main" id="{699E0D1C-1CC6-510C-03CC-A2075BCDADD8}"/>
                </a:ext>
              </a:extLst>
            </p:cNvPr>
            <p:cNvSpPr>
              <a:spLocks/>
            </p:cNvSpPr>
            <p:nvPr/>
          </p:nvSpPr>
          <p:spPr bwMode="auto">
            <a:xfrm>
              <a:off x="8540751" y="5835650"/>
              <a:ext cx="50800" cy="52388"/>
            </a:xfrm>
            <a:custGeom>
              <a:avLst/>
              <a:gdLst>
                <a:gd name="T0" fmla="*/ 0 w 32"/>
                <a:gd name="T1" fmla="*/ 5 h 33"/>
                <a:gd name="T2" fmla="*/ 26 w 32"/>
                <a:gd name="T3" fmla="*/ 6 h 33"/>
                <a:gd name="T4" fmla="*/ 20 w 32"/>
                <a:gd name="T5" fmla="*/ 32 h 33"/>
                <a:gd name="T6" fmla="*/ 24 w 32"/>
                <a:gd name="T7" fmla="*/ 33 h 33"/>
                <a:gd name="T8" fmla="*/ 32 w 32"/>
                <a:gd name="T9" fmla="*/ 2 h 33"/>
                <a:gd name="T10" fmla="*/ 0 w 32"/>
                <a:gd name="T11" fmla="*/ 0 h 33"/>
                <a:gd name="T12" fmla="*/ 0 w 32"/>
                <a:gd name="T13" fmla="*/ 5 h 33"/>
              </a:gdLst>
              <a:ahLst/>
              <a:cxnLst>
                <a:cxn ang="0">
                  <a:pos x="T0" y="T1"/>
                </a:cxn>
                <a:cxn ang="0">
                  <a:pos x="T2" y="T3"/>
                </a:cxn>
                <a:cxn ang="0">
                  <a:pos x="T4" y="T5"/>
                </a:cxn>
                <a:cxn ang="0">
                  <a:pos x="T6" y="T7"/>
                </a:cxn>
                <a:cxn ang="0">
                  <a:pos x="T8" y="T9"/>
                </a:cxn>
                <a:cxn ang="0">
                  <a:pos x="T10" y="T11"/>
                </a:cxn>
                <a:cxn ang="0">
                  <a:pos x="T12" y="T13"/>
                </a:cxn>
              </a:cxnLst>
              <a:rect l="0" t="0" r="r" b="b"/>
              <a:pathLst>
                <a:path w="32" h="33">
                  <a:moveTo>
                    <a:pt x="0" y="5"/>
                  </a:moveTo>
                  <a:lnTo>
                    <a:pt x="26" y="6"/>
                  </a:lnTo>
                  <a:lnTo>
                    <a:pt x="20" y="32"/>
                  </a:lnTo>
                  <a:lnTo>
                    <a:pt x="24" y="33"/>
                  </a:lnTo>
                  <a:lnTo>
                    <a:pt x="32" y="2"/>
                  </a:lnTo>
                  <a:lnTo>
                    <a:pt x="0" y="0"/>
                  </a:lnTo>
                  <a:lnTo>
                    <a:pt x="0" y="5"/>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97">
              <a:extLst>
                <a:ext uri="{FF2B5EF4-FFF2-40B4-BE49-F238E27FC236}">
                  <a16:creationId xmlns:a16="http://schemas.microsoft.com/office/drawing/2014/main" id="{D6A819D8-68B2-662C-DCD8-231A8E863C1F}"/>
                </a:ext>
              </a:extLst>
            </p:cNvPr>
            <p:cNvSpPr>
              <a:spLocks/>
            </p:cNvSpPr>
            <p:nvPr/>
          </p:nvSpPr>
          <p:spPr bwMode="auto">
            <a:xfrm>
              <a:off x="8369301" y="5838825"/>
              <a:ext cx="219075" cy="177800"/>
            </a:xfrm>
            <a:custGeom>
              <a:avLst/>
              <a:gdLst>
                <a:gd name="T0" fmla="*/ 136 w 138"/>
                <a:gd name="T1" fmla="*/ 0 h 112"/>
                <a:gd name="T2" fmla="*/ 78 w 138"/>
                <a:gd name="T3" fmla="*/ 37 h 112"/>
                <a:gd name="T4" fmla="*/ 77 w 138"/>
                <a:gd name="T5" fmla="*/ 51 h 112"/>
                <a:gd name="T6" fmla="*/ 30 w 138"/>
                <a:gd name="T7" fmla="*/ 79 h 112"/>
                <a:gd name="T8" fmla="*/ 30 w 138"/>
                <a:gd name="T9" fmla="*/ 95 h 112"/>
                <a:gd name="T10" fmla="*/ 0 w 138"/>
                <a:gd name="T11" fmla="*/ 108 h 112"/>
                <a:gd name="T12" fmla="*/ 2 w 138"/>
                <a:gd name="T13" fmla="*/ 112 h 112"/>
                <a:gd name="T14" fmla="*/ 35 w 138"/>
                <a:gd name="T15" fmla="*/ 98 h 112"/>
                <a:gd name="T16" fmla="*/ 35 w 138"/>
                <a:gd name="T17" fmla="*/ 82 h 112"/>
                <a:gd name="T18" fmla="*/ 82 w 138"/>
                <a:gd name="T19" fmla="*/ 54 h 112"/>
                <a:gd name="T20" fmla="*/ 83 w 138"/>
                <a:gd name="T21" fmla="*/ 39 h 112"/>
                <a:gd name="T22" fmla="*/ 138 w 138"/>
                <a:gd name="T23" fmla="*/ 4 h 112"/>
                <a:gd name="T24" fmla="*/ 136 w 138"/>
                <a:gd name="T2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 h="112">
                  <a:moveTo>
                    <a:pt x="136" y="0"/>
                  </a:moveTo>
                  <a:lnTo>
                    <a:pt x="78" y="37"/>
                  </a:lnTo>
                  <a:lnTo>
                    <a:pt x="77" y="51"/>
                  </a:lnTo>
                  <a:lnTo>
                    <a:pt x="30" y="79"/>
                  </a:lnTo>
                  <a:lnTo>
                    <a:pt x="30" y="95"/>
                  </a:lnTo>
                  <a:lnTo>
                    <a:pt x="0" y="108"/>
                  </a:lnTo>
                  <a:lnTo>
                    <a:pt x="2" y="112"/>
                  </a:lnTo>
                  <a:lnTo>
                    <a:pt x="35" y="98"/>
                  </a:lnTo>
                  <a:lnTo>
                    <a:pt x="35" y="82"/>
                  </a:lnTo>
                  <a:lnTo>
                    <a:pt x="82" y="54"/>
                  </a:lnTo>
                  <a:lnTo>
                    <a:pt x="83" y="39"/>
                  </a:lnTo>
                  <a:lnTo>
                    <a:pt x="138" y="4"/>
                  </a:lnTo>
                  <a:lnTo>
                    <a:pt x="136"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0" name="Textfeld 49">
            <a:extLst>
              <a:ext uri="{FF2B5EF4-FFF2-40B4-BE49-F238E27FC236}">
                <a16:creationId xmlns:a16="http://schemas.microsoft.com/office/drawing/2014/main" id="{1660D524-2764-A5B9-7083-886242414650}"/>
              </a:ext>
            </a:extLst>
          </p:cNvPr>
          <p:cNvSpPr txBox="1"/>
          <p:nvPr/>
        </p:nvSpPr>
        <p:spPr>
          <a:xfrm>
            <a:off x="7731178" y="2252045"/>
            <a:ext cx="1188350" cy="415498"/>
          </a:xfrm>
          <a:prstGeom prst="rect">
            <a:avLst/>
          </a:prstGeom>
          <a:noFill/>
        </p:spPr>
        <p:txBody>
          <a:bodyPr wrap="square">
            <a:spAutoFit/>
          </a:bodyPr>
          <a:lstStyle/>
          <a:p>
            <a:pPr algn="ctr"/>
            <a:r>
              <a:rPr lang="en-US" sz="1050"/>
              <a:t>Decarbonization Target</a:t>
            </a:r>
          </a:p>
        </p:txBody>
      </p:sp>
      <p:sp>
        <p:nvSpPr>
          <p:cNvPr id="51" name="Textfeld 50">
            <a:extLst>
              <a:ext uri="{FF2B5EF4-FFF2-40B4-BE49-F238E27FC236}">
                <a16:creationId xmlns:a16="http://schemas.microsoft.com/office/drawing/2014/main" id="{4629D47B-E629-AFFC-7A53-60E1E9B4DBE1}"/>
              </a:ext>
            </a:extLst>
          </p:cNvPr>
          <p:cNvSpPr txBox="1"/>
          <p:nvPr/>
        </p:nvSpPr>
        <p:spPr>
          <a:xfrm>
            <a:off x="7755052" y="3107204"/>
            <a:ext cx="1188350" cy="253916"/>
          </a:xfrm>
          <a:prstGeom prst="rect">
            <a:avLst/>
          </a:prstGeom>
          <a:noFill/>
        </p:spPr>
        <p:txBody>
          <a:bodyPr wrap="square">
            <a:spAutoFit/>
          </a:bodyPr>
          <a:lstStyle/>
          <a:p>
            <a:pPr algn="ctr"/>
            <a:r>
              <a:rPr lang="en-US" sz="1050" b="1"/>
              <a:t>2040</a:t>
            </a:r>
          </a:p>
        </p:txBody>
      </p:sp>
      <p:sp>
        <p:nvSpPr>
          <p:cNvPr id="52" name="Textfeld 51">
            <a:extLst>
              <a:ext uri="{FF2B5EF4-FFF2-40B4-BE49-F238E27FC236}">
                <a16:creationId xmlns:a16="http://schemas.microsoft.com/office/drawing/2014/main" id="{D1CB0A0F-FD7B-4A17-85B3-3A8039858DE1}"/>
              </a:ext>
            </a:extLst>
          </p:cNvPr>
          <p:cNvSpPr txBox="1"/>
          <p:nvPr/>
        </p:nvSpPr>
        <p:spPr>
          <a:xfrm>
            <a:off x="7782798" y="3439274"/>
            <a:ext cx="1188350" cy="415498"/>
          </a:xfrm>
          <a:prstGeom prst="rect">
            <a:avLst/>
          </a:prstGeom>
          <a:noFill/>
        </p:spPr>
        <p:txBody>
          <a:bodyPr wrap="square">
            <a:spAutoFit/>
          </a:bodyPr>
          <a:lstStyle/>
          <a:p>
            <a:pPr algn="ctr"/>
            <a:r>
              <a:rPr lang="en-US" sz="1050"/>
              <a:t>Global warming below 1.5°C?</a:t>
            </a:r>
          </a:p>
        </p:txBody>
      </p:sp>
      <p:sp>
        <p:nvSpPr>
          <p:cNvPr id="53" name="Textfeld 52">
            <a:extLst>
              <a:ext uri="{FF2B5EF4-FFF2-40B4-BE49-F238E27FC236}">
                <a16:creationId xmlns:a16="http://schemas.microsoft.com/office/drawing/2014/main" id="{840939EE-EE13-4F80-0EE0-5E002941DF87}"/>
              </a:ext>
            </a:extLst>
          </p:cNvPr>
          <p:cNvSpPr txBox="1"/>
          <p:nvPr/>
        </p:nvSpPr>
        <p:spPr>
          <a:xfrm>
            <a:off x="7731178" y="4522903"/>
            <a:ext cx="1188350" cy="253916"/>
          </a:xfrm>
          <a:prstGeom prst="rect">
            <a:avLst/>
          </a:prstGeom>
          <a:noFill/>
        </p:spPr>
        <p:txBody>
          <a:bodyPr wrap="square">
            <a:spAutoFit/>
          </a:bodyPr>
          <a:lstStyle/>
          <a:p>
            <a:pPr algn="ctr"/>
            <a:r>
              <a:rPr lang="en-US" sz="1050" b="1"/>
              <a:t>Yes – 1.3°C</a:t>
            </a:r>
          </a:p>
        </p:txBody>
      </p:sp>
      <p:sp>
        <p:nvSpPr>
          <p:cNvPr id="54" name="Textfeld 53">
            <a:extLst>
              <a:ext uri="{FF2B5EF4-FFF2-40B4-BE49-F238E27FC236}">
                <a16:creationId xmlns:a16="http://schemas.microsoft.com/office/drawing/2014/main" id="{2FD5DBA2-51D4-048B-9F7F-14E265521E30}"/>
              </a:ext>
            </a:extLst>
          </p:cNvPr>
          <p:cNvSpPr txBox="1"/>
          <p:nvPr/>
        </p:nvSpPr>
        <p:spPr>
          <a:xfrm>
            <a:off x="7790693" y="5073675"/>
            <a:ext cx="1188350" cy="253916"/>
          </a:xfrm>
          <a:prstGeom prst="rect">
            <a:avLst/>
          </a:prstGeom>
          <a:noFill/>
        </p:spPr>
        <p:txBody>
          <a:bodyPr wrap="square">
            <a:spAutoFit/>
          </a:bodyPr>
          <a:lstStyle/>
          <a:p>
            <a:pPr algn="ctr"/>
            <a:r>
              <a:rPr lang="en-US" sz="1050"/>
              <a:t>ESG-Rating history</a:t>
            </a:r>
          </a:p>
        </p:txBody>
      </p:sp>
      <p:sp>
        <p:nvSpPr>
          <p:cNvPr id="55" name="Textfeld 54">
            <a:extLst>
              <a:ext uri="{FF2B5EF4-FFF2-40B4-BE49-F238E27FC236}">
                <a16:creationId xmlns:a16="http://schemas.microsoft.com/office/drawing/2014/main" id="{C73F0652-8A10-90AA-FD44-227D2EB78763}"/>
              </a:ext>
            </a:extLst>
          </p:cNvPr>
          <p:cNvSpPr txBox="1"/>
          <p:nvPr/>
        </p:nvSpPr>
        <p:spPr>
          <a:xfrm>
            <a:off x="7793613" y="5999502"/>
            <a:ext cx="1188350" cy="415498"/>
          </a:xfrm>
          <a:prstGeom prst="rect">
            <a:avLst/>
          </a:prstGeom>
          <a:noFill/>
        </p:spPr>
        <p:txBody>
          <a:bodyPr wrap="square">
            <a:spAutoFit/>
          </a:bodyPr>
          <a:lstStyle/>
          <a:p>
            <a:pPr algn="ctr"/>
            <a:r>
              <a:rPr lang="en-US" sz="1050" b="1"/>
              <a:t>Positive</a:t>
            </a:r>
            <a:br>
              <a:rPr lang="en-US" sz="1050" b="1"/>
            </a:br>
            <a:r>
              <a:rPr lang="en-US" sz="1050" b="1"/>
              <a:t>BBB -&gt; A</a:t>
            </a:r>
          </a:p>
        </p:txBody>
      </p:sp>
    </p:spTree>
    <p:extLst>
      <p:ext uri="{BB962C8B-B14F-4D97-AF65-F5344CB8AC3E}">
        <p14:creationId xmlns:p14="http://schemas.microsoft.com/office/powerpoint/2010/main" val="268072217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4E5EE5E-1C9A-5C1D-71EC-43E399F08A31}"/>
              </a:ext>
            </a:extLst>
          </p:cNvPr>
          <p:cNvGraphicFramePr>
            <a:graphicFrameLocks noChangeAspect="1"/>
          </p:cNvGraphicFramePr>
          <p:nvPr>
            <p:custDataLst>
              <p:tags r:id="rId1"/>
            </p:custDataLst>
            <p:extLst>
              <p:ext uri="{D42A27DB-BD31-4B8C-83A1-F6EECF244321}">
                <p14:modId xmlns:p14="http://schemas.microsoft.com/office/powerpoint/2010/main" val="76542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3" name="think-cell data - do not delete" hidden="1">
                        <a:extLst>
                          <a:ext uri="{FF2B5EF4-FFF2-40B4-BE49-F238E27FC236}">
                            <a16:creationId xmlns:a16="http://schemas.microsoft.com/office/drawing/2014/main" id="{E4E5EE5E-1C9A-5C1D-71EC-43E399F08A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57BB44-42BA-65B7-9F1C-04A75F5334C2}"/>
              </a:ext>
            </a:extLst>
          </p:cNvPr>
          <p:cNvSpPr>
            <a:spLocks noGrp="1"/>
          </p:cNvSpPr>
          <p:nvPr>
            <p:ph type="title"/>
          </p:nvPr>
        </p:nvSpPr>
        <p:spPr/>
        <p:txBody>
          <a:bodyPr vert="horz"/>
          <a:lstStyle/>
          <a:p>
            <a:r>
              <a:rPr lang="en-US"/>
              <a:t>Use of the MSCI ESG-Rating provides opportunities of change, to make Uber more attractive for investors</a:t>
            </a:r>
          </a:p>
        </p:txBody>
      </p:sp>
      <p:sp>
        <p:nvSpPr>
          <p:cNvPr id="4" name="Foliennummernplatzhalter 3">
            <a:extLst>
              <a:ext uri="{FF2B5EF4-FFF2-40B4-BE49-F238E27FC236}">
                <a16:creationId xmlns:a16="http://schemas.microsoft.com/office/drawing/2014/main" id="{16543DAD-7A6A-8B9A-C192-0A008013B439}"/>
              </a:ext>
            </a:extLst>
          </p:cNvPr>
          <p:cNvSpPr>
            <a:spLocks noGrp="1"/>
          </p:cNvSpPr>
          <p:nvPr>
            <p:ph type="sldNum" sz="quarter" idx="4"/>
          </p:nvPr>
        </p:nvSpPr>
        <p:spPr/>
        <p:txBody>
          <a:bodyPr/>
          <a:lstStyle/>
          <a:p>
            <a:fld id="{BAF04893-69FB-435D-AB2E-CA259D85B32F}" type="slidenum">
              <a:rPr lang="en-US" smtClean="0"/>
              <a:pPr/>
              <a:t>78</a:t>
            </a:fld>
            <a:endParaRPr lang="en-US"/>
          </a:p>
        </p:txBody>
      </p:sp>
      <p:sp>
        <p:nvSpPr>
          <p:cNvPr id="5" name="Inhaltsplatzhalter 4">
            <a:extLst>
              <a:ext uri="{FF2B5EF4-FFF2-40B4-BE49-F238E27FC236}">
                <a16:creationId xmlns:a16="http://schemas.microsoft.com/office/drawing/2014/main" id="{1C87BA35-50C3-B17A-BE08-1F474F1CA151}"/>
              </a:ext>
            </a:extLst>
          </p:cNvPr>
          <p:cNvSpPr>
            <a:spLocks noGrp="1"/>
          </p:cNvSpPr>
          <p:nvPr>
            <p:ph idx="10"/>
          </p:nvPr>
        </p:nvSpPr>
        <p:spPr/>
        <p:txBody>
          <a:bodyPr/>
          <a:lstStyle/>
          <a:p>
            <a:r>
              <a:rPr lang="en-US"/>
              <a:t>ESG Rating - Comparison</a:t>
            </a:r>
          </a:p>
        </p:txBody>
      </p:sp>
      <p:sp>
        <p:nvSpPr>
          <p:cNvPr id="6" name="Inhaltsplatzhalter 5">
            <a:extLst>
              <a:ext uri="{FF2B5EF4-FFF2-40B4-BE49-F238E27FC236}">
                <a16:creationId xmlns:a16="http://schemas.microsoft.com/office/drawing/2014/main" id="{C650D120-ED0B-8883-A27E-9430697F2F5D}"/>
              </a:ext>
            </a:extLst>
          </p:cNvPr>
          <p:cNvSpPr>
            <a:spLocks noGrp="1"/>
          </p:cNvSpPr>
          <p:nvPr>
            <p:ph idx="11"/>
          </p:nvPr>
        </p:nvSpPr>
        <p:spPr/>
        <p:txBody>
          <a:bodyPr/>
          <a:lstStyle/>
          <a:p>
            <a:r>
              <a:rPr lang="en-US">
                <a:hlinkClick r:id="rId6"/>
              </a:rPr>
              <a:t>MSCI – Grab</a:t>
            </a:r>
            <a:r>
              <a:rPr lang="en-US"/>
              <a:t>, </a:t>
            </a:r>
            <a:r>
              <a:rPr lang="en-US">
                <a:hlinkClick r:id="rId7"/>
              </a:rPr>
              <a:t>MSCI - DoorDash</a:t>
            </a:r>
            <a:endParaRPr lang="en-US"/>
          </a:p>
          <a:p>
            <a:endParaRPr lang="en-US"/>
          </a:p>
        </p:txBody>
      </p:sp>
      <p:sp>
        <p:nvSpPr>
          <p:cNvPr id="7" name="Inhaltsplatzhalter 6">
            <a:extLst>
              <a:ext uri="{FF2B5EF4-FFF2-40B4-BE49-F238E27FC236}">
                <a16:creationId xmlns:a16="http://schemas.microsoft.com/office/drawing/2014/main" id="{CEB1C3C6-227D-26A1-E3FC-2A9543EC69A7}"/>
              </a:ext>
            </a:extLst>
          </p:cNvPr>
          <p:cNvSpPr>
            <a:spLocks noGrp="1"/>
          </p:cNvSpPr>
          <p:nvPr>
            <p:ph idx="12"/>
          </p:nvPr>
        </p:nvSpPr>
        <p:spPr/>
        <p:txBody>
          <a:bodyPr/>
          <a:lstStyle/>
          <a:p>
            <a:r>
              <a:rPr lang="en-US"/>
              <a:t>ESG</a:t>
            </a:r>
          </a:p>
        </p:txBody>
      </p:sp>
      <p:sp>
        <p:nvSpPr>
          <p:cNvPr id="8" name="Rechteck 7">
            <a:extLst>
              <a:ext uri="{FF2B5EF4-FFF2-40B4-BE49-F238E27FC236}">
                <a16:creationId xmlns:a16="http://schemas.microsoft.com/office/drawing/2014/main" id="{976822C4-CA1C-F601-486F-C5F17861E51C}"/>
              </a:ext>
            </a:extLst>
          </p:cNvPr>
          <p:cNvSpPr/>
          <p:nvPr/>
        </p:nvSpPr>
        <p:spPr>
          <a:xfrm>
            <a:off x="2083832" y="2485494"/>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BB</a:t>
            </a:r>
          </a:p>
        </p:txBody>
      </p:sp>
      <p:sp>
        <p:nvSpPr>
          <p:cNvPr id="9" name="Rechteck 8">
            <a:extLst>
              <a:ext uri="{FF2B5EF4-FFF2-40B4-BE49-F238E27FC236}">
                <a16:creationId xmlns:a16="http://schemas.microsoft.com/office/drawing/2014/main" id="{27BDB7F8-CE80-59A0-1AD5-176EDFCE8240}"/>
              </a:ext>
            </a:extLst>
          </p:cNvPr>
          <p:cNvSpPr/>
          <p:nvPr/>
        </p:nvSpPr>
        <p:spPr>
          <a:xfrm>
            <a:off x="2515832" y="2485494"/>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t>
            </a:r>
          </a:p>
        </p:txBody>
      </p:sp>
      <p:sp>
        <p:nvSpPr>
          <p:cNvPr id="10" name="Rechteck 9">
            <a:extLst>
              <a:ext uri="{FF2B5EF4-FFF2-40B4-BE49-F238E27FC236}">
                <a16:creationId xmlns:a16="http://schemas.microsoft.com/office/drawing/2014/main" id="{33A97743-5AD7-62DC-4CC9-5F376F5D5FD9}"/>
              </a:ext>
            </a:extLst>
          </p:cNvPr>
          <p:cNvSpPr/>
          <p:nvPr/>
        </p:nvSpPr>
        <p:spPr>
          <a:xfrm>
            <a:off x="2947832" y="2485494"/>
            <a:ext cx="432000" cy="216000"/>
          </a:xfrm>
          <a:prstGeom prst="rect">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rPr>
              <a:t>AA</a:t>
            </a:r>
          </a:p>
        </p:txBody>
      </p:sp>
      <p:sp>
        <p:nvSpPr>
          <p:cNvPr id="11" name="Rechteck 10">
            <a:extLst>
              <a:ext uri="{FF2B5EF4-FFF2-40B4-BE49-F238E27FC236}">
                <a16:creationId xmlns:a16="http://schemas.microsoft.com/office/drawing/2014/main" id="{73601E09-3BAE-7B84-D019-4C66116A5A98}"/>
              </a:ext>
            </a:extLst>
          </p:cNvPr>
          <p:cNvSpPr/>
          <p:nvPr/>
        </p:nvSpPr>
        <p:spPr>
          <a:xfrm>
            <a:off x="3379832" y="2485494"/>
            <a:ext cx="432000" cy="216000"/>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A</a:t>
            </a:r>
          </a:p>
        </p:txBody>
      </p:sp>
      <p:sp>
        <p:nvSpPr>
          <p:cNvPr id="12" name="Rechteck 11">
            <a:extLst>
              <a:ext uri="{FF2B5EF4-FFF2-40B4-BE49-F238E27FC236}">
                <a16:creationId xmlns:a16="http://schemas.microsoft.com/office/drawing/2014/main" id="{635F297D-42FC-0F4F-4D40-05C19DDB3A55}"/>
              </a:ext>
            </a:extLst>
          </p:cNvPr>
          <p:cNvSpPr/>
          <p:nvPr/>
        </p:nvSpPr>
        <p:spPr>
          <a:xfrm>
            <a:off x="787832" y="2485494"/>
            <a:ext cx="432000" cy="21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CCC</a:t>
            </a:r>
          </a:p>
        </p:txBody>
      </p:sp>
      <p:sp>
        <p:nvSpPr>
          <p:cNvPr id="13" name="Rechteck 12">
            <a:extLst>
              <a:ext uri="{FF2B5EF4-FFF2-40B4-BE49-F238E27FC236}">
                <a16:creationId xmlns:a16="http://schemas.microsoft.com/office/drawing/2014/main" id="{92AAF68F-2069-599E-1B84-4FF7F0195F48}"/>
              </a:ext>
            </a:extLst>
          </p:cNvPr>
          <p:cNvSpPr/>
          <p:nvPr/>
        </p:nvSpPr>
        <p:spPr>
          <a:xfrm>
            <a:off x="1219832" y="2485494"/>
            <a:ext cx="432000" cy="21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a:t>
            </a:r>
          </a:p>
        </p:txBody>
      </p:sp>
      <p:sp>
        <p:nvSpPr>
          <p:cNvPr id="14" name="Rechteck 13">
            <a:extLst>
              <a:ext uri="{FF2B5EF4-FFF2-40B4-BE49-F238E27FC236}">
                <a16:creationId xmlns:a16="http://schemas.microsoft.com/office/drawing/2014/main" id="{05C318ED-70F9-24AE-E683-1ABFC72FBECD}"/>
              </a:ext>
            </a:extLst>
          </p:cNvPr>
          <p:cNvSpPr/>
          <p:nvPr/>
        </p:nvSpPr>
        <p:spPr>
          <a:xfrm>
            <a:off x="1651832" y="2485494"/>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B</a:t>
            </a:r>
          </a:p>
        </p:txBody>
      </p:sp>
      <p:sp>
        <p:nvSpPr>
          <p:cNvPr id="15" name="Textfeld 14">
            <a:extLst>
              <a:ext uri="{FF2B5EF4-FFF2-40B4-BE49-F238E27FC236}">
                <a16:creationId xmlns:a16="http://schemas.microsoft.com/office/drawing/2014/main" id="{E1783D70-7EA0-73B5-0153-FF0BCB76DDD8}"/>
              </a:ext>
            </a:extLst>
          </p:cNvPr>
          <p:cNvSpPr txBox="1"/>
          <p:nvPr/>
        </p:nvSpPr>
        <p:spPr>
          <a:xfrm>
            <a:off x="787832" y="2072476"/>
            <a:ext cx="1256590" cy="307777"/>
          </a:xfrm>
          <a:prstGeom prst="rect">
            <a:avLst/>
          </a:prstGeom>
          <a:noFill/>
        </p:spPr>
        <p:txBody>
          <a:bodyPr wrap="square">
            <a:spAutoFit/>
          </a:bodyPr>
          <a:lstStyle/>
          <a:p>
            <a:r>
              <a:rPr lang="en-US" sz="1400" b="1"/>
              <a:t>Rating: GRAB</a:t>
            </a:r>
          </a:p>
        </p:txBody>
      </p:sp>
      <p:sp>
        <p:nvSpPr>
          <p:cNvPr id="16" name="Textfeld 15">
            <a:extLst>
              <a:ext uri="{FF2B5EF4-FFF2-40B4-BE49-F238E27FC236}">
                <a16:creationId xmlns:a16="http://schemas.microsoft.com/office/drawing/2014/main" id="{479CD04B-0A30-7DE1-3D68-E0BBA9F79F2C}"/>
              </a:ext>
            </a:extLst>
          </p:cNvPr>
          <p:cNvSpPr txBox="1"/>
          <p:nvPr/>
        </p:nvSpPr>
        <p:spPr>
          <a:xfrm>
            <a:off x="1971664" y="2087864"/>
            <a:ext cx="1952336" cy="276999"/>
          </a:xfrm>
          <a:prstGeom prst="rect">
            <a:avLst/>
          </a:prstGeom>
          <a:noFill/>
        </p:spPr>
        <p:txBody>
          <a:bodyPr wrap="square">
            <a:spAutoFit/>
          </a:bodyPr>
          <a:lstStyle/>
          <a:p>
            <a:r>
              <a:rPr lang="en-US" sz="1200"/>
              <a:t>Global Warming: No - 2.3°C</a:t>
            </a:r>
          </a:p>
        </p:txBody>
      </p:sp>
      <p:sp>
        <p:nvSpPr>
          <p:cNvPr id="17" name="Rechteck 16">
            <a:extLst>
              <a:ext uri="{FF2B5EF4-FFF2-40B4-BE49-F238E27FC236}">
                <a16:creationId xmlns:a16="http://schemas.microsoft.com/office/drawing/2014/main" id="{BDD2FFAE-9C51-C0A8-0DF5-F468EB1D1275}"/>
              </a:ext>
            </a:extLst>
          </p:cNvPr>
          <p:cNvSpPr/>
          <p:nvPr/>
        </p:nvSpPr>
        <p:spPr>
          <a:xfrm>
            <a:off x="6628169" y="2485494"/>
            <a:ext cx="432000" cy="21600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rPr>
              <a:t>BBB</a:t>
            </a:r>
          </a:p>
        </p:txBody>
      </p:sp>
      <p:sp>
        <p:nvSpPr>
          <p:cNvPr id="18" name="Rechteck 17">
            <a:extLst>
              <a:ext uri="{FF2B5EF4-FFF2-40B4-BE49-F238E27FC236}">
                <a16:creationId xmlns:a16="http://schemas.microsoft.com/office/drawing/2014/main" id="{5561B419-7154-F97E-3FE5-0315F92278D6}"/>
              </a:ext>
            </a:extLst>
          </p:cNvPr>
          <p:cNvSpPr/>
          <p:nvPr/>
        </p:nvSpPr>
        <p:spPr>
          <a:xfrm>
            <a:off x="7060169" y="2485494"/>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t>
            </a:r>
          </a:p>
        </p:txBody>
      </p:sp>
      <p:sp>
        <p:nvSpPr>
          <p:cNvPr id="19" name="Rechteck 18">
            <a:extLst>
              <a:ext uri="{FF2B5EF4-FFF2-40B4-BE49-F238E27FC236}">
                <a16:creationId xmlns:a16="http://schemas.microsoft.com/office/drawing/2014/main" id="{12FC33DE-BD14-AE82-E59F-F4EBBA52D294}"/>
              </a:ext>
            </a:extLst>
          </p:cNvPr>
          <p:cNvSpPr/>
          <p:nvPr/>
        </p:nvSpPr>
        <p:spPr>
          <a:xfrm>
            <a:off x="7492169" y="2485494"/>
            <a:ext cx="432000" cy="216000"/>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a:t>
            </a:r>
          </a:p>
        </p:txBody>
      </p:sp>
      <p:sp>
        <p:nvSpPr>
          <p:cNvPr id="20" name="Rechteck 19">
            <a:extLst>
              <a:ext uri="{FF2B5EF4-FFF2-40B4-BE49-F238E27FC236}">
                <a16:creationId xmlns:a16="http://schemas.microsoft.com/office/drawing/2014/main" id="{B7C53C7E-4AF1-20F4-BEBA-367AF053BB08}"/>
              </a:ext>
            </a:extLst>
          </p:cNvPr>
          <p:cNvSpPr/>
          <p:nvPr/>
        </p:nvSpPr>
        <p:spPr>
          <a:xfrm>
            <a:off x="7924169" y="2485494"/>
            <a:ext cx="432000" cy="216000"/>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AAA</a:t>
            </a:r>
          </a:p>
        </p:txBody>
      </p:sp>
      <p:sp>
        <p:nvSpPr>
          <p:cNvPr id="21" name="Rechteck 20">
            <a:extLst>
              <a:ext uri="{FF2B5EF4-FFF2-40B4-BE49-F238E27FC236}">
                <a16:creationId xmlns:a16="http://schemas.microsoft.com/office/drawing/2014/main" id="{87C3DA76-AEE9-1F47-FE82-AA8C5F0B8B2C}"/>
              </a:ext>
            </a:extLst>
          </p:cNvPr>
          <p:cNvSpPr/>
          <p:nvPr/>
        </p:nvSpPr>
        <p:spPr>
          <a:xfrm>
            <a:off x="5332169" y="2485494"/>
            <a:ext cx="432000" cy="21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CCC</a:t>
            </a:r>
          </a:p>
        </p:txBody>
      </p:sp>
      <p:sp>
        <p:nvSpPr>
          <p:cNvPr id="22" name="Rechteck 21">
            <a:extLst>
              <a:ext uri="{FF2B5EF4-FFF2-40B4-BE49-F238E27FC236}">
                <a16:creationId xmlns:a16="http://schemas.microsoft.com/office/drawing/2014/main" id="{6B42A675-DF12-6CA6-1FDA-4E0E9FF59B69}"/>
              </a:ext>
            </a:extLst>
          </p:cNvPr>
          <p:cNvSpPr/>
          <p:nvPr/>
        </p:nvSpPr>
        <p:spPr>
          <a:xfrm>
            <a:off x="5764169" y="2485494"/>
            <a:ext cx="432000" cy="21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a:t>
            </a:r>
          </a:p>
        </p:txBody>
      </p:sp>
      <p:sp>
        <p:nvSpPr>
          <p:cNvPr id="23" name="Rechteck 22">
            <a:extLst>
              <a:ext uri="{FF2B5EF4-FFF2-40B4-BE49-F238E27FC236}">
                <a16:creationId xmlns:a16="http://schemas.microsoft.com/office/drawing/2014/main" id="{FF6E8C34-14C4-BD02-8F29-AB6E24B6EAA7}"/>
              </a:ext>
            </a:extLst>
          </p:cNvPr>
          <p:cNvSpPr/>
          <p:nvPr/>
        </p:nvSpPr>
        <p:spPr>
          <a:xfrm>
            <a:off x="6196169" y="2485494"/>
            <a:ext cx="432000" cy="216000"/>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BB</a:t>
            </a:r>
          </a:p>
        </p:txBody>
      </p:sp>
      <p:sp>
        <p:nvSpPr>
          <p:cNvPr id="24" name="Textfeld 23">
            <a:extLst>
              <a:ext uri="{FF2B5EF4-FFF2-40B4-BE49-F238E27FC236}">
                <a16:creationId xmlns:a16="http://schemas.microsoft.com/office/drawing/2014/main" id="{A5288757-E13F-7F7B-C1C1-6C9F96AAA3B7}"/>
              </a:ext>
            </a:extLst>
          </p:cNvPr>
          <p:cNvSpPr txBox="1"/>
          <p:nvPr/>
        </p:nvSpPr>
        <p:spPr>
          <a:xfrm>
            <a:off x="5259815" y="2072474"/>
            <a:ext cx="1631439" cy="307777"/>
          </a:xfrm>
          <a:prstGeom prst="rect">
            <a:avLst/>
          </a:prstGeom>
          <a:noFill/>
        </p:spPr>
        <p:txBody>
          <a:bodyPr wrap="square">
            <a:spAutoFit/>
          </a:bodyPr>
          <a:lstStyle/>
          <a:p>
            <a:r>
              <a:rPr lang="en-US" sz="1400" b="1"/>
              <a:t>Rating: DoorDash</a:t>
            </a:r>
          </a:p>
        </p:txBody>
      </p:sp>
      <p:sp>
        <p:nvSpPr>
          <p:cNvPr id="25" name="Textfeld 24">
            <a:extLst>
              <a:ext uri="{FF2B5EF4-FFF2-40B4-BE49-F238E27FC236}">
                <a16:creationId xmlns:a16="http://schemas.microsoft.com/office/drawing/2014/main" id="{1FAF18A9-0734-0FF3-F900-D45D9003E6D7}"/>
              </a:ext>
            </a:extLst>
          </p:cNvPr>
          <p:cNvSpPr txBox="1"/>
          <p:nvPr/>
        </p:nvSpPr>
        <p:spPr>
          <a:xfrm>
            <a:off x="6654179" y="2087862"/>
            <a:ext cx="1952336" cy="276999"/>
          </a:xfrm>
          <a:prstGeom prst="rect">
            <a:avLst/>
          </a:prstGeom>
          <a:noFill/>
        </p:spPr>
        <p:txBody>
          <a:bodyPr wrap="square">
            <a:spAutoFit/>
          </a:bodyPr>
          <a:lstStyle/>
          <a:p>
            <a:r>
              <a:rPr lang="en-US" sz="1200"/>
              <a:t>Global Warming: No – 1.9°C</a:t>
            </a:r>
          </a:p>
        </p:txBody>
      </p:sp>
      <p:cxnSp>
        <p:nvCxnSpPr>
          <p:cNvPr id="27" name="Gerader Verbinder 26">
            <a:extLst>
              <a:ext uri="{FF2B5EF4-FFF2-40B4-BE49-F238E27FC236}">
                <a16:creationId xmlns:a16="http://schemas.microsoft.com/office/drawing/2014/main" id="{29A60709-8079-D0D9-1110-19C25A8F17B3}"/>
              </a:ext>
            </a:extLst>
          </p:cNvPr>
          <p:cNvCxnSpPr>
            <a:cxnSpLocks/>
          </p:cNvCxnSpPr>
          <p:nvPr/>
        </p:nvCxnSpPr>
        <p:spPr>
          <a:xfrm>
            <a:off x="4572000" y="2226365"/>
            <a:ext cx="0" cy="2555777"/>
          </a:xfrm>
          <a:prstGeom prst="line">
            <a:avLst/>
          </a:prstGeom>
        </p:spPr>
        <p:style>
          <a:lnRef idx="1">
            <a:schemeClr val="accent2"/>
          </a:lnRef>
          <a:fillRef idx="0">
            <a:schemeClr val="accent2"/>
          </a:fillRef>
          <a:effectRef idx="0">
            <a:schemeClr val="accent2"/>
          </a:effectRef>
          <a:fontRef idx="minor">
            <a:schemeClr val="tx1"/>
          </a:fontRef>
        </p:style>
      </p:cxnSp>
      <p:grpSp>
        <p:nvGrpSpPr>
          <p:cNvPr id="31" name="Group 1">
            <a:extLst>
              <a:ext uri="{FF2B5EF4-FFF2-40B4-BE49-F238E27FC236}">
                <a16:creationId xmlns:a16="http://schemas.microsoft.com/office/drawing/2014/main" id="{D2420843-FAFE-D618-823C-3A87EC6575DF}"/>
              </a:ext>
            </a:extLst>
          </p:cNvPr>
          <p:cNvGrpSpPr/>
          <p:nvPr/>
        </p:nvGrpSpPr>
        <p:grpSpPr>
          <a:xfrm>
            <a:off x="359997" y="2822124"/>
            <a:ext cx="4084998" cy="968825"/>
            <a:chOff x="623392" y="1452097"/>
            <a:chExt cx="11045694" cy="1786305"/>
          </a:xfrm>
        </p:grpSpPr>
        <p:sp>
          <p:nvSpPr>
            <p:cNvPr id="32" name="Rectangle 17">
              <a:extLst>
                <a:ext uri="{FF2B5EF4-FFF2-40B4-BE49-F238E27FC236}">
                  <a16:creationId xmlns:a16="http://schemas.microsoft.com/office/drawing/2014/main" id="{38EAA9BA-4151-3D8D-0123-B1C1B66144AB}"/>
                </a:ext>
              </a:extLst>
            </p:cNvPr>
            <p:cNvSpPr/>
            <p:nvPr/>
          </p:nvSpPr>
          <p:spPr>
            <a:xfrm>
              <a:off x="623392" y="1610856"/>
              <a:ext cx="11045694" cy="1627546"/>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Labor Management: </a:t>
              </a:r>
              <a:r>
                <a:rPr lang="en-US" sz="1200" kern="0">
                  <a:solidFill>
                    <a:schemeClr val="tx1"/>
                  </a:solidFill>
                </a:rPr>
                <a:t>Leader in employee welfare, offering better working conditions, fair wages, and benefits</a:t>
              </a:r>
            </a:p>
            <a:p>
              <a:pPr marL="214313" indent="-214313" defTabSz="685800">
                <a:buFont typeface="Arial" panose="020B0604020202020204" pitchFamily="34" charset="0"/>
                <a:buChar char="•"/>
                <a:defRPr/>
              </a:pPr>
              <a:r>
                <a:rPr lang="en-US" sz="1200" b="1" kern="0">
                  <a:solidFill>
                    <a:schemeClr val="tx1"/>
                  </a:solidFill>
                </a:rPr>
                <a:t>Carbon Emissions</a:t>
              </a:r>
              <a:r>
                <a:rPr lang="en-US" sz="1200" kern="0">
                  <a:solidFill>
                    <a:schemeClr val="tx1"/>
                  </a:solidFill>
                </a:rPr>
                <a:t>: Similar to Uber, excels in implementing strategies to reduce environmental impact</a:t>
              </a:r>
            </a:p>
          </p:txBody>
        </p:sp>
        <p:sp>
          <p:nvSpPr>
            <p:cNvPr id="33" name="Rectangle 18">
              <a:extLst>
                <a:ext uri="{FF2B5EF4-FFF2-40B4-BE49-F238E27FC236}">
                  <a16:creationId xmlns:a16="http://schemas.microsoft.com/office/drawing/2014/main" id="{8ADB542F-8859-0992-8919-A93F2D24431D}"/>
                </a:ext>
              </a:extLst>
            </p:cNvPr>
            <p:cNvSpPr/>
            <p:nvPr/>
          </p:nvSpPr>
          <p:spPr>
            <a:xfrm>
              <a:off x="986497" y="1452097"/>
              <a:ext cx="1500712"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accent6"/>
                  </a:solidFill>
                </a:rPr>
                <a:t>ESG Leader</a:t>
              </a:r>
            </a:p>
          </p:txBody>
        </p:sp>
      </p:grpSp>
      <p:grpSp>
        <p:nvGrpSpPr>
          <p:cNvPr id="34" name="Group 1">
            <a:extLst>
              <a:ext uri="{FF2B5EF4-FFF2-40B4-BE49-F238E27FC236}">
                <a16:creationId xmlns:a16="http://schemas.microsoft.com/office/drawing/2014/main" id="{1D2E64B3-EB9A-01E3-A9B7-AA6AFBFD306E}"/>
              </a:ext>
            </a:extLst>
          </p:cNvPr>
          <p:cNvGrpSpPr/>
          <p:nvPr/>
        </p:nvGrpSpPr>
        <p:grpSpPr>
          <a:xfrm>
            <a:off x="359997" y="3901659"/>
            <a:ext cx="4084998" cy="740052"/>
            <a:chOff x="623392" y="1452097"/>
            <a:chExt cx="11045694" cy="1786305"/>
          </a:xfrm>
        </p:grpSpPr>
        <p:sp>
          <p:nvSpPr>
            <p:cNvPr id="35" name="Rectangle 17">
              <a:extLst>
                <a:ext uri="{FF2B5EF4-FFF2-40B4-BE49-F238E27FC236}">
                  <a16:creationId xmlns:a16="http://schemas.microsoft.com/office/drawing/2014/main" id="{D6B02D2C-725A-5698-A094-CD30B6C6FDAE}"/>
                </a:ext>
              </a:extLst>
            </p:cNvPr>
            <p:cNvSpPr/>
            <p:nvPr/>
          </p:nvSpPr>
          <p:spPr>
            <a:xfrm>
              <a:off x="623392" y="1610856"/>
              <a:ext cx="11045694" cy="1627546"/>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Corporate Governance: </a:t>
              </a:r>
              <a:r>
                <a:rPr lang="en-US" sz="1200" kern="0">
                  <a:solidFill>
                    <a:schemeClr val="tx1"/>
                  </a:solidFill>
                </a:rPr>
                <a:t>Lags in areas like ethical business practices, transparency, and accountability</a:t>
              </a:r>
            </a:p>
          </p:txBody>
        </p:sp>
        <p:sp>
          <p:nvSpPr>
            <p:cNvPr id="36" name="Rectangle 18">
              <a:extLst>
                <a:ext uri="{FF2B5EF4-FFF2-40B4-BE49-F238E27FC236}">
                  <a16:creationId xmlns:a16="http://schemas.microsoft.com/office/drawing/2014/main" id="{DB842FDE-5507-FC01-B407-9DBD76F071F5}"/>
                </a:ext>
              </a:extLst>
            </p:cNvPr>
            <p:cNvSpPr/>
            <p:nvPr/>
          </p:nvSpPr>
          <p:spPr>
            <a:xfrm>
              <a:off x="986494" y="1452097"/>
              <a:ext cx="2458075" cy="277578"/>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accent1"/>
                  </a:solidFill>
                </a:rPr>
                <a:t>ESG Laggard</a:t>
              </a:r>
            </a:p>
          </p:txBody>
        </p:sp>
      </p:grpSp>
      <p:grpSp>
        <p:nvGrpSpPr>
          <p:cNvPr id="37" name="Group 1">
            <a:extLst>
              <a:ext uri="{FF2B5EF4-FFF2-40B4-BE49-F238E27FC236}">
                <a16:creationId xmlns:a16="http://schemas.microsoft.com/office/drawing/2014/main" id="{37C43426-D210-F7F3-1A70-376A80D10931}"/>
              </a:ext>
            </a:extLst>
          </p:cNvPr>
          <p:cNvGrpSpPr/>
          <p:nvPr/>
        </p:nvGrpSpPr>
        <p:grpSpPr>
          <a:xfrm>
            <a:off x="4700590" y="2822124"/>
            <a:ext cx="4084998" cy="968825"/>
            <a:chOff x="623392" y="1452097"/>
            <a:chExt cx="11045694" cy="1786305"/>
          </a:xfrm>
        </p:grpSpPr>
        <p:sp>
          <p:nvSpPr>
            <p:cNvPr id="38" name="Rectangle 17">
              <a:extLst>
                <a:ext uri="{FF2B5EF4-FFF2-40B4-BE49-F238E27FC236}">
                  <a16:creationId xmlns:a16="http://schemas.microsoft.com/office/drawing/2014/main" id="{1A26EA5A-1B74-5E1C-EF03-4E71266074DD}"/>
                </a:ext>
              </a:extLst>
            </p:cNvPr>
            <p:cNvSpPr/>
            <p:nvPr/>
          </p:nvSpPr>
          <p:spPr>
            <a:xfrm>
              <a:off x="623392" y="1610856"/>
              <a:ext cx="11045694" cy="1627546"/>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Corporate Behaviour: </a:t>
              </a:r>
              <a:r>
                <a:rPr lang="en-US" sz="1200" kern="0">
                  <a:solidFill>
                    <a:schemeClr val="tx1"/>
                  </a:solidFill>
                </a:rPr>
                <a:t>Exemplary in ethical business practices, transparency, and accountability</a:t>
              </a:r>
            </a:p>
            <a:p>
              <a:pPr marL="214313" indent="-214313" defTabSz="685800">
                <a:buFont typeface="Arial" panose="020B0604020202020204" pitchFamily="34" charset="0"/>
                <a:buChar char="•"/>
                <a:defRPr/>
              </a:pPr>
              <a:r>
                <a:rPr lang="en-US" sz="1200" b="1" kern="0">
                  <a:solidFill>
                    <a:schemeClr val="tx1"/>
                  </a:solidFill>
                </a:rPr>
                <a:t>Product Safety &amp; Quality: </a:t>
              </a:r>
              <a:r>
                <a:rPr lang="en-US" sz="1200" kern="0">
                  <a:solidFill>
                    <a:schemeClr val="tx1"/>
                  </a:solidFill>
                </a:rPr>
                <a:t>Outperforms in ensuring the safety and quality of its services</a:t>
              </a:r>
            </a:p>
          </p:txBody>
        </p:sp>
        <p:sp>
          <p:nvSpPr>
            <p:cNvPr id="39" name="Rectangle 18">
              <a:extLst>
                <a:ext uri="{FF2B5EF4-FFF2-40B4-BE49-F238E27FC236}">
                  <a16:creationId xmlns:a16="http://schemas.microsoft.com/office/drawing/2014/main" id="{E936879B-B133-FB83-4DAE-517D05BE004A}"/>
                </a:ext>
              </a:extLst>
            </p:cNvPr>
            <p:cNvSpPr/>
            <p:nvPr/>
          </p:nvSpPr>
          <p:spPr>
            <a:xfrm>
              <a:off x="986497" y="1452097"/>
              <a:ext cx="1500712" cy="277579"/>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accent6"/>
                  </a:solidFill>
                </a:rPr>
                <a:t>ESG Leader</a:t>
              </a:r>
            </a:p>
          </p:txBody>
        </p:sp>
      </p:grpSp>
      <p:grpSp>
        <p:nvGrpSpPr>
          <p:cNvPr id="40" name="Group 1">
            <a:extLst>
              <a:ext uri="{FF2B5EF4-FFF2-40B4-BE49-F238E27FC236}">
                <a16:creationId xmlns:a16="http://schemas.microsoft.com/office/drawing/2014/main" id="{5B726B73-FC5D-02B8-424B-A9C2185A8A11}"/>
              </a:ext>
            </a:extLst>
          </p:cNvPr>
          <p:cNvGrpSpPr/>
          <p:nvPr/>
        </p:nvGrpSpPr>
        <p:grpSpPr>
          <a:xfrm>
            <a:off x="4700590" y="3901659"/>
            <a:ext cx="4084998" cy="740052"/>
            <a:chOff x="623392" y="1452097"/>
            <a:chExt cx="11045694" cy="1786305"/>
          </a:xfrm>
        </p:grpSpPr>
        <p:sp>
          <p:nvSpPr>
            <p:cNvPr id="41" name="Rectangle 17">
              <a:extLst>
                <a:ext uri="{FF2B5EF4-FFF2-40B4-BE49-F238E27FC236}">
                  <a16:creationId xmlns:a16="http://schemas.microsoft.com/office/drawing/2014/main" id="{B312685F-61A1-745E-2EE5-8E9D94049326}"/>
                </a:ext>
              </a:extLst>
            </p:cNvPr>
            <p:cNvSpPr/>
            <p:nvPr/>
          </p:nvSpPr>
          <p:spPr>
            <a:xfrm>
              <a:off x="623392" y="1610856"/>
              <a:ext cx="11045694" cy="1627546"/>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Human Capital Development: </a:t>
              </a:r>
              <a:r>
                <a:rPr lang="en-US" sz="1200" kern="0">
                  <a:solidFill>
                    <a:schemeClr val="tx1"/>
                  </a:solidFill>
                </a:rPr>
                <a:t>Falls short in investing in employee growth, training, and development</a:t>
              </a:r>
            </a:p>
          </p:txBody>
        </p:sp>
        <p:sp>
          <p:nvSpPr>
            <p:cNvPr id="42" name="Rectangle 18">
              <a:extLst>
                <a:ext uri="{FF2B5EF4-FFF2-40B4-BE49-F238E27FC236}">
                  <a16:creationId xmlns:a16="http://schemas.microsoft.com/office/drawing/2014/main" id="{4A5CA450-6F8B-6C48-35AD-AA52519BF48F}"/>
                </a:ext>
              </a:extLst>
            </p:cNvPr>
            <p:cNvSpPr/>
            <p:nvPr/>
          </p:nvSpPr>
          <p:spPr>
            <a:xfrm>
              <a:off x="986494" y="1452097"/>
              <a:ext cx="2458075" cy="277578"/>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accent1"/>
                  </a:solidFill>
                </a:rPr>
                <a:t>ESG Laggard</a:t>
              </a:r>
            </a:p>
          </p:txBody>
        </p:sp>
      </p:grpSp>
      <p:grpSp>
        <p:nvGrpSpPr>
          <p:cNvPr id="44" name="Group 1">
            <a:extLst>
              <a:ext uri="{FF2B5EF4-FFF2-40B4-BE49-F238E27FC236}">
                <a16:creationId xmlns:a16="http://schemas.microsoft.com/office/drawing/2014/main" id="{0F22E7C9-35F8-BB92-B196-BA83B3B77C97}"/>
              </a:ext>
            </a:extLst>
          </p:cNvPr>
          <p:cNvGrpSpPr/>
          <p:nvPr/>
        </p:nvGrpSpPr>
        <p:grpSpPr>
          <a:xfrm>
            <a:off x="358412" y="4782141"/>
            <a:ext cx="8427173" cy="1607299"/>
            <a:chOff x="623392" y="1452097"/>
            <a:chExt cx="11045694" cy="1786305"/>
          </a:xfrm>
        </p:grpSpPr>
        <p:sp>
          <p:nvSpPr>
            <p:cNvPr id="45" name="Rectangle 17">
              <a:extLst>
                <a:ext uri="{FF2B5EF4-FFF2-40B4-BE49-F238E27FC236}">
                  <a16:creationId xmlns:a16="http://schemas.microsoft.com/office/drawing/2014/main" id="{6982E732-206F-37BA-A2A9-9C0A2E6505D3}"/>
                </a:ext>
              </a:extLst>
            </p:cNvPr>
            <p:cNvSpPr/>
            <p:nvPr/>
          </p:nvSpPr>
          <p:spPr>
            <a:xfrm>
              <a:off x="623392" y="1610856"/>
              <a:ext cx="11045694" cy="162754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Enhanced Corporate Governance (from Grab): </a:t>
              </a:r>
              <a:r>
                <a:rPr lang="en-US" sz="1200" kern="0">
                  <a:solidFill>
                    <a:schemeClr val="tx1"/>
                  </a:solidFill>
                </a:rPr>
                <a:t>Uber should focus on improving transparency, ethical business practices, and accountability. This includes clearer reporting, better stakeholder engagement, and stronger governance structures</a:t>
              </a:r>
            </a:p>
            <a:p>
              <a:pPr marL="214313" indent="-214313" defTabSz="685800">
                <a:buFont typeface="Arial" panose="020B0604020202020204" pitchFamily="34" charset="0"/>
                <a:buChar char="•"/>
                <a:defRPr/>
              </a:pPr>
              <a:r>
                <a:rPr lang="en-US" sz="1200" b="1" kern="0">
                  <a:solidFill>
                    <a:schemeClr val="tx1"/>
                  </a:solidFill>
                </a:rPr>
                <a:t>Strengthening Labor Management (from Grab):</a:t>
              </a:r>
              <a:r>
                <a:rPr lang="en-US" sz="1200" kern="0">
                  <a:solidFill>
                    <a:schemeClr val="tx1"/>
                  </a:solidFill>
                </a:rPr>
                <a:t> By prioritizing employee welfare, fair wages, and better working conditions, Uber can enhance its labor management practices, like Grab</a:t>
              </a:r>
            </a:p>
            <a:p>
              <a:pPr marL="214313" indent="-214313" defTabSz="685800">
                <a:buFont typeface="Arial" panose="020B0604020202020204" pitchFamily="34" charset="0"/>
                <a:buChar char="•"/>
                <a:defRPr/>
              </a:pPr>
              <a:r>
                <a:rPr lang="en-US" sz="1200" b="1" kern="0">
                  <a:solidFill>
                    <a:schemeClr val="tx1"/>
                  </a:solidFill>
                </a:rPr>
                <a:t>Investment in Human Capital Development (from DoorDash)</a:t>
              </a:r>
              <a:r>
                <a:rPr lang="en-US" sz="1200" kern="0">
                  <a:solidFill>
                    <a:schemeClr val="tx1"/>
                  </a:solidFill>
                </a:rPr>
                <a:t>: Uber should focus on offering better training and development opportunities for its workforce, addressing gaps in skills and career progression</a:t>
              </a:r>
            </a:p>
          </p:txBody>
        </p:sp>
        <p:sp>
          <p:nvSpPr>
            <p:cNvPr id="46" name="Rectangle 18">
              <a:extLst>
                <a:ext uri="{FF2B5EF4-FFF2-40B4-BE49-F238E27FC236}">
                  <a16:creationId xmlns:a16="http://schemas.microsoft.com/office/drawing/2014/main" id="{BB515DF4-A5F9-2D06-AD2E-0CA13957343F}"/>
                </a:ext>
              </a:extLst>
            </p:cNvPr>
            <p:cNvSpPr/>
            <p:nvPr/>
          </p:nvSpPr>
          <p:spPr>
            <a:xfrm>
              <a:off x="986495" y="1452097"/>
              <a:ext cx="1385504" cy="277578"/>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tx1"/>
                  </a:solidFill>
                </a:rPr>
                <a:t>Improvements</a:t>
              </a:r>
            </a:p>
          </p:txBody>
        </p:sp>
      </p:grpSp>
    </p:spTree>
    <p:extLst>
      <p:ext uri="{BB962C8B-B14F-4D97-AF65-F5344CB8AC3E}">
        <p14:creationId xmlns:p14="http://schemas.microsoft.com/office/powerpoint/2010/main" val="385223898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0A7B6B-A21C-4445-B5CA-A4FAD4DE4F28}"/>
              </a:ext>
            </a:extLst>
          </p:cNvPr>
          <p:cNvGraphicFramePr>
            <a:graphicFrameLocks noChangeAspect="1"/>
          </p:cNvGraphicFramePr>
          <p:nvPr>
            <p:custDataLst>
              <p:tags r:id="rId1"/>
            </p:custDataLst>
            <p:extLst>
              <p:ext uri="{D42A27DB-BD31-4B8C-83A1-F6EECF244321}">
                <p14:modId xmlns:p14="http://schemas.microsoft.com/office/powerpoint/2010/main" val="2666944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5" name="think-cell data - do not delete" hidden="1">
                        <a:extLst>
                          <a:ext uri="{FF2B5EF4-FFF2-40B4-BE49-F238E27FC236}">
                            <a16:creationId xmlns:a16="http://schemas.microsoft.com/office/drawing/2014/main" id="{C70A7B6B-A21C-4445-B5CA-A4FAD4DE4F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15D6731-E862-B1CB-28C8-9A2CECDAB2BE}"/>
              </a:ext>
            </a:extLst>
          </p:cNvPr>
          <p:cNvSpPr>
            <a:spLocks noGrp="1"/>
          </p:cNvSpPr>
          <p:nvPr>
            <p:ph type="title"/>
          </p:nvPr>
        </p:nvSpPr>
        <p:spPr>
          <a:xfrm>
            <a:off x="360000" y="1980000"/>
            <a:ext cx="8550000" cy="1384995"/>
          </a:xfrm>
        </p:spPr>
        <p:txBody>
          <a:bodyPr vert="horz"/>
          <a:lstStyle/>
          <a:p>
            <a:r>
              <a:rPr lang="en-US"/>
              <a:t>Frage 5: Innovation Strategy – Main Folien: 2</a:t>
            </a:r>
          </a:p>
        </p:txBody>
      </p:sp>
      <p:sp>
        <p:nvSpPr>
          <p:cNvPr id="3" name="Textplatzhalter 2">
            <a:extLst>
              <a:ext uri="{FF2B5EF4-FFF2-40B4-BE49-F238E27FC236}">
                <a16:creationId xmlns:a16="http://schemas.microsoft.com/office/drawing/2014/main" id="{CE1BCEA1-241B-1A76-6434-3FD16E5F7900}"/>
              </a:ext>
            </a:extLst>
          </p:cNvPr>
          <p:cNvSpPr>
            <a:spLocks noGrp="1"/>
          </p:cNvSpPr>
          <p:nvPr>
            <p:ph type="body" idx="1"/>
          </p:nvPr>
        </p:nvSpPr>
        <p:spPr/>
        <p:txBody>
          <a:bodyPr/>
          <a:lstStyle/>
          <a:p>
            <a:r>
              <a:rPr lang="en-US"/>
              <a:t>Hauke Siemsen</a:t>
            </a:r>
          </a:p>
        </p:txBody>
      </p:sp>
    </p:spTree>
    <p:extLst>
      <p:ext uri="{BB962C8B-B14F-4D97-AF65-F5344CB8AC3E}">
        <p14:creationId xmlns:p14="http://schemas.microsoft.com/office/powerpoint/2010/main" val="13196028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A273166-947C-158B-472E-9AF7EA0133FA}"/>
              </a:ext>
            </a:extLst>
          </p:cNvPr>
          <p:cNvGraphicFramePr>
            <a:graphicFrameLocks noChangeAspect="1"/>
          </p:cNvGraphicFramePr>
          <p:nvPr>
            <p:custDataLst>
              <p:tags r:id="rId1"/>
            </p:custDataLst>
            <p:extLst>
              <p:ext uri="{D42A27DB-BD31-4B8C-83A1-F6EECF244321}">
                <p14:modId xmlns:p14="http://schemas.microsoft.com/office/powerpoint/2010/main" val="11323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10" name="think-cell data - do not delete" hidden="1">
                        <a:extLst>
                          <a:ext uri="{FF2B5EF4-FFF2-40B4-BE49-F238E27FC236}">
                            <a16:creationId xmlns:a16="http://schemas.microsoft.com/office/drawing/2014/main" id="{EA273166-947C-158B-472E-9AF7EA013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7">
            <a:extLst>
              <a:ext uri="{FF2B5EF4-FFF2-40B4-BE49-F238E27FC236}">
                <a16:creationId xmlns:a16="http://schemas.microsoft.com/office/drawing/2014/main" id="{3B79D692-1ED8-EB97-806C-F7A5C666CDF9}"/>
              </a:ext>
            </a:extLst>
          </p:cNvPr>
          <p:cNvSpPr>
            <a:spLocks noGrp="1"/>
          </p:cNvSpPr>
          <p:nvPr>
            <p:ph type="title"/>
          </p:nvPr>
        </p:nvSpPr>
        <p:spPr/>
        <p:txBody>
          <a:bodyPr vert="horz"/>
          <a:lstStyle/>
          <a:p>
            <a:r>
              <a:rPr lang="en-US"/>
              <a:t>Frage 1: Strategic Direction </a:t>
            </a:r>
            <a:r>
              <a:rPr lang="en-US" err="1"/>
              <a:t>Anhang</a:t>
            </a:r>
            <a:endParaRPr lang="en-US"/>
          </a:p>
        </p:txBody>
      </p:sp>
      <p:sp>
        <p:nvSpPr>
          <p:cNvPr id="9" name="Textplatzhalter 8">
            <a:extLst>
              <a:ext uri="{FF2B5EF4-FFF2-40B4-BE49-F238E27FC236}">
                <a16:creationId xmlns:a16="http://schemas.microsoft.com/office/drawing/2014/main" id="{DAD97A3F-E9CC-4A10-B8B1-003B8B5571D0}"/>
              </a:ext>
            </a:extLst>
          </p:cNvPr>
          <p:cNvSpPr>
            <a:spLocks noGrp="1"/>
          </p:cNvSpPr>
          <p:nvPr>
            <p:ph type="body" idx="1"/>
          </p:nvPr>
        </p:nvSpPr>
        <p:spPr/>
        <p:txBody>
          <a:bodyPr/>
          <a:lstStyle/>
          <a:p>
            <a:r>
              <a:rPr lang="en-US"/>
              <a:t>Klara Schröder</a:t>
            </a:r>
          </a:p>
        </p:txBody>
      </p:sp>
      <p:sp>
        <p:nvSpPr>
          <p:cNvPr id="4" name="Foliennummernplatzhalter 3">
            <a:extLst>
              <a:ext uri="{FF2B5EF4-FFF2-40B4-BE49-F238E27FC236}">
                <a16:creationId xmlns:a16="http://schemas.microsoft.com/office/drawing/2014/main" id="{DF7BAD4A-B0D6-91C2-FFA1-0E3A0E7B34DA}"/>
              </a:ext>
            </a:extLst>
          </p:cNvPr>
          <p:cNvSpPr>
            <a:spLocks noGrp="1"/>
          </p:cNvSpPr>
          <p:nvPr>
            <p:ph type="sldNum" sz="quarter" idx="4294967295"/>
          </p:nvPr>
        </p:nvSpPr>
        <p:spPr>
          <a:xfrm>
            <a:off x="8836025" y="6518275"/>
            <a:ext cx="307975" cy="179388"/>
          </a:xfrm>
        </p:spPr>
        <p:txBody>
          <a:bodyPr/>
          <a:lstStyle/>
          <a:p>
            <a:fld id="{BAF04893-69FB-435D-AB2E-CA259D85B32F}" type="slidenum">
              <a:rPr lang="de-DE" smtClean="0"/>
              <a:pPr/>
              <a:t>8</a:t>
            </a:fld>
            <a:endParaRPr lang="de-DE"/>
          </a:p>
        </p:txBody>
      </p:sp>
    </p:spTree>
    <p:extLst>
      <p:ext uri="{BB962C8B-B14F-4D97-AF65-F5344CB8AC3E}">
        <p14:creationId xmlns:p14="http://schemas.microsoft.com/office/powerpoint/2010/main" val="130662680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feil: nach rechts 7">
            <a:extLst>
              <a:ext uri="{FF2B5EF4-FFF2-40B4-BE49-F238E27FC236}">
                <a16:creationId xmlns:a16="http://schemas.microsoft.com/office/drawing/2014/main" id="{6D6D110A-645F-4F39-F720-6FA092AE23B2}"/>
              </a:ext>
            </a:extLst>
          </p:cNvPr>
          <p:cNvSpPr/>
          <p:nvPr/>
        </p:nvSpPr>
        <p:spPr>
          <a:xfrm>
            <a:off x="518056" y="2256151"/>
            <a:ext cx="8568096" cy="701783"/>
          </a:xfrm>
          <a:prstGeom prst="rightArrow">
            <a:avLst/>
          </a:prstGeom>
          <a:solidFill>
            <a:schemeClr val="bg1"/>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8F165729-E43D-4A32-49F0-1A6388CDBE16}"/>
              </a:ext>
            </a:extLst>
          </p:cNvPr>
          <p:cNvSpPr>
            <a:spLocks noGrp="1"/>
          </p:cNvSpPr>
          <p:nvPr>
            <p:ph type="title"/>
          </p:nvPr>
        </p:nvSpPr>
        <p:spPr/>
        <p:txBody>
          <a:bodyPr/>
          <a:lstStyle/>
          <a:p>
            <a:r>
              <a:rPr lang="en-US"/>
              <a:t>UBER hat sich über die Jahre immer weiter diversifiziert und weitere Geschäftsfelder durch neue Technologien revolutioniert</a:t>
            </a:r>
          </a:p>
        </p:txBody>
      </p:sp>
      <p:sp>
        <p:nvSpPr>
          <p:cNvPr id="4" name="Foliennummernplatzhalter 3">
            <a:extLst>
              <a:ext uri="{FF2B5EF4-FFF2-40B4-BE49-F238E27FC236}">
                <a16:creationId xmlns:a16="http://schemas.microsoft.com/office/drawing/2014/main" id="{C14DAEE7-5727-71D5-2955-ABA2978C9394}"/>
              </a:ext>
            </a:extLst>
          </p:cNvPr>
          <p:cNvSpPr>
            <a:spLocks noGrp="1"/>
          </p:cNvSpPr>
          <p:nvPr>
            <p:ph type="sldNum" sz="quarter" idx="4"/>
          </p:nvPr>
        </p:nvSpPr>
        <p:spPr/>
        <p:txBody>
          <a:bodyPr/>
          <a:lstStyle/>
          <a:p>
            <a:fld id="{BAF04893-69FB-435D-AB2E-CA259D85B32F}" type="slidenum">
              <a:rPr lang="en-US" smtClean="0"/>
              <a:pPr/>
              <a:t>80</a:t>
            </a:fld>
            <a:endParaRPr lang="en-US"/>
          </a:p>
        </p:txBody>
      </p:sp>
      <p:sp>
        <p:nvSpPr>
          <p:cNvPr id="5" name="Inhaltsplatzhalter 4">
            <a:extLst>
              <a:ext uri="{FF2B5EF4-FFF2-40B4-BE49-F238E27FC236}">
                <a16:creationId xmlns:a16="http://schemas.microsoft.com/office/drawing/2014/main" id="{0AE040AF-3030-42B0-304D-60F16882F598}"/>
              </a:ext>
            </a:extLst>
          </p:cNvPr>
          <p:cNvSpPr>
            <a:spLocks noGrp="1"/>
          </p:cNvSpPr>
          <p:nvPr>
            <p:ph idx="10"/>
          </p:nvPr>
        </p:nvSpPr>
        <p:spPr/>
        <p:txBody>
          <a:bodyPr/>
          <a:lstStyle/>
          <a:p>
            <a:r>
              <a:rPr lang="en-US"/>
              <a:t>Innovation bei UBER</a:t>
            </a:r>
          </a:p>
        </p:txBody>
      </p:sp>
      <p:sp>
        <p:nvSpPr>
          <p:cNvPr id="6" name="Inhaltsplatzhalter 5">
            <a:extLst>
              <a:ext uri="{FF2B5EF4-FFF2-40B4-BE49-F238E27FC236}">
                <a16:creationId xmlns:a16="http://schemas.microsoft.com/office/drawing/2014/main" id="{1CFAA2CF-7A1E-03AA-AB60-66E8B11E432D}"/>
              </a:ext>
            </a:extLst>
          </p:cNvPr>
          <p:cNvSpPr>
            <a:spLocks noGrp="1"/>
          </p:cNvSpPr>
          <p:nvPr>
            <p:ph idx="11"/>
          </p:nvPr>
        </p:nvSpPr>
        <p:spPr/>
        <p:txBody>
          <a:bodyPr/>
          <a:lstStyle/>
          <a:p>
            <a:r>
              <a:rPr lang="en-US">
                <a:hlinkClick r:id="rId3"/>
              </a:rPr>
              <a:t>https://www.uber.com/en-AE/newsroom/innovation-6/</a:t>
            </a:r>
            <a:r>
              <a:rPr lang="en-US"/>
              <a:t>; ://www.jobyaviation.com/news/joby-aviation-welcomes-new-75m-investment-from-uber-as-it-acquires-uber-elevate-and-expands-partnership/?uclick_id=63b00112-04b1-49ee-b5eb-b0e973bfb3ff; </a:t>
            </a:r>
            <a:r>
              <a:rPr lang="en-US">
                <a:hlinkClick r:id="rId4"/>
              </a:rPr>
              <a:t>Uber Air | Uber Elevate</a:t>
            </a:r>
            <a:endParaRPr lang="en-US"/>
          </a:p>
        </p:txBody>
      </p:sp>
      <p:cxnSp>
        <p:nvCxnSpPr>
          <p:cNvPr id="18" name="Gerader Verbinder 17">
            <a:extLst>
              <a:ext uri="{FF2B5EF4-FFF2-40B4-BE49-F238E27FC236}">
                <a16:creationId xmlns:a16="http://schemas.microsoft.com/office/drawing/2014/main" id="{2BF9D56E-927F-9E43-D65E-6630794A906A}"/>
              </a:ext>
            </a:extLst>
          </p:cNvPr>
          <p:cNvCxnSpPr>
            <a:cxnSpLocks/>
          </p:cNvCxnSpPr>
          <p:nvPr/>
        </p:nvCxnSpPr>
        <p:spPr>
          <a:xfrm flipV="1">
            <a:off x="215900" y="2239861"/>
            <a:ext cx="0" cy="1731378"/>
          </a:xfrm>
          <a:prstGeom prst="line">
            <a:avLst/>
          </a:prstGeom>
        </p:spPr>
        <p:style>
          <a:lnRef idx="1">
            <a:schemeClr val="accent5"/>
          </a:lnRef>
          <a:fillRef idx="0">
            <a:schemeClr val="accent5"/>
          </a:fillRef>
          <a:effectRef idx="0">
            <a:schemeClr val="accent5"/>
          </a:effectRef>
          <a:fontRef idx="minor">
            <a:schemeClr val="tx1"/>
          </a:fontRef>
        </p:style>
      </p:cxnSp>
      <p:cxnSp>
        <p:nvCxnSpPr>
          <p:cNvPr id="22" name="Gerader Verbinder 21">
            <a:extLst>
              <a:ext uri="{FF2B5EF4-FFF2-40B4-BE49-F238E27FC236}">
                <a16:creationId xmlns:a16="http://schemas.microsoft.com/office/drawing/2014/main" id="{0A18B185-3502-D6BC-C2DB-F24D6B0A5629}"/>
              </a:ext>
            </a:extLst>
          </p:cNvPr>
          <p:cNvCxnSpPr>
            <a:cxnSpLocks/>
          </p:cNvCxnSpPr>
          <p:nvPr/>
        </p:nvCxnSpPr>
        <p:spPr>
          <a:xfrm flipV="1">
            <a:off x="2523416" y="2190744"/>
            <a:ext cx="0" cy="1731376"/>
          </a:xfrm>
          <a:prstGeom prst="line">
            <a:avLst/>
          </a:prstGeom>
        </p:spPr>
        <p:style>
          <a:lnRef idx="1">
            <a:schemeClr val="accent5"/>
          </a:lnRef>
          <a:fillRef idx="0">
            <a:schemeClr val="accent5"/>
          </a:fillRef>
          <a:effectRef idx="0">
            <a:schemeClr val="accent5"/>
          </a:effectRef>
          <a:fontRef idx="minor">
            <a:schemeClr val="tx1"/>
          </a:fontRef>
        </p:style>
      </p:cxnSp>
      <p:cxnSp>
        <p:nvCxnSpPr>
          <p:cNvPr id="24" name="Gerader Verbinder 23">
            <a:extLst>
              <a:ext uri="{FF2B5EF4-FFF2-40B4-BE49-F238E27FC236}">
                <a16:creationId xmlns:a16="http://schemas.microsoft.com/office/drawing/2014/main" id="{FADA5529-E89D-1DA5-FEB8-8C3230E7068D}"/>
              </a:ext>
            </a:extLst>
          </p:cNvPr>
          <p:cNvCxnSpPr>
            <a:cxnSpLocks/>
          </p:cNvCxnSpPr>
          <p:nvPr/>
        </p:nvCxnSpPr>
        <p:spPr>
          <a:xfrm flipV="1">
            <a:off x="4526546" y="2190744"/>
            <a:ext cx="0" cy="1731376"/>
          </a:xfrm>
          <a:prstGeom prst="line">
            <a:avLst/>
          </a:prstGeom>
        </p:spPr>
        <p:style>
          <a:lnRef idx="1">
            <a:schemeClr val="accent5"/>
          </a:lnRef>
          <a:fillRef idx="0">
            <a:schemeClr val="accent5"/>
          </a:fillRef>
          <a:effectRef idx="0">
            <a:schemeClr val="accent5"/>
          </a:effectRef>
          <a:fontRef idx="minor">
            <a:schemeClr val="tx1"/>
          </a:fontRef>
        </p:style>
      </p:cxnSp>
      <p:cxnSp>
        <p:nvCxnSpPr>
          <p:cNvPr id="25" name="Gerader Verbinder 24">
            <a:extLst>
              <a:ext uri="{FF2B5EF4-FFF2-40B4-BE49-F238E27FC236}">
                <a16:creationId xmlns:a16="http://schemas.microsoft.com/office/drawing/2014/main" id="{FAC544C2-2BDA-EDEE-3FC0-26088BFF69DE}"/>
              </a:ext>
            </a:extLst>
          </p:cNvPr>
          <p:cNvCxnSpPr>
            <a:cxnSpLocks/>
          </p:cNvCxnSpPr>
          <p:nvPr/>
        </p:nvCxnSpPr>
        <p:spPr>
          <a:xfrm flipV="1">
            <a:off x="3182729" y="4139895"/>
            <a:ext cx="0" cy="1731376"/>
          </a:xfrm>
          <a:prstGeom prst="line">
            <a:avLst/>
          </a:prstGeom>
        </p:spPr>
        <p:style>
          <a:lnRef idx="1">
            <a:schemeClr val="accent5"/>
          </a:lnRef>
          <a:fillRef idx="0">
            <a:schemeClr val="accent5"/>
          </a:fillRef>
          <a:effectRef idx="0">
            <a:schemeClr val="accent5"/>
          </a:effectRef>
          <a:fontRef idx="minor">
            <a:schemeClr val="tx1"/>
          </a:fontRef>
        </p:style>
      </p:cxnSp>
      <p:cxnSp>
        <p:nvCxnSpPr>
          <p:cNvPr id="26" name="Gerader Verbinder 25">
            <a:extLst>
              <a:ext uri="{FF2B5EF4-FFF2-40B4-BE49-F238E27FC236}">
                <a16:creationId xmlns:a16="http://schemas.microsoft.com/office/drawing/2014/main" id="{CCD433B5-8366-7C60-DF98-C407B9E8D419}"/>
              </a:ext>
            </a:extLst>
          </p:cNvPr>
          <p:cNvCxnSpPr>
            <a:cxnSpLocks/>
          </p:cNvCxnSpPr>
          <p:nvPr/>
        </p:nvCxnSpPr>
        <p:spPr>
          <a:xfrm flipV="1">
            <a:off x="6874200" y="2190744"/>
            <a:ext cx="0" cy="1731376"/>
          </a:xfrm>
          <a:prstGeom prst="line">
            <a:avLst/>
          </a:prstGeom>
        </p:spPr>
        <p:style>
          <a:lnRef idx="1">
            <a:schemeClr val="accent5"/>
          </a:lnRef>
          <a:fillRef idx="0">
            <a:schemeClr val="accent5"/>
          </a:fillRef>
          <a:effectRef idx="0">
            <a:schemeClr val="accent5"/>
          </a:effectRef>
          <a:fontRef idx="minor">
            <a:schemeClr val="tx1"/>
          </a:fontRef>
        </p:style>
      </p:cxnSp>
      <p:sp>
        <p:nvSpPr>
          <p:cNvPr id="28" name="Textfeld 27">
            <a:extLst>
              <a:ext uri="{FF2B5EF4-FFF2-40B4-BE49-F238E27FC236}">
                <a16:creationId xmlns:a16="http://schemas.microsoft.com/office/drawing/2014/main" id="{0DE03E7D-79DD-1D19-0DB1-4FBDED8A9934}"/>
              </a:ext>
            </a:extLst>
          </p:cNvPr>
          <p:cNvSpPr txBox="1"/>
          <p:nvPr/>
        </p:nvSpPr>
        <p:spPr>
          <a:xfrm>
            <a:off x="215900" y="2190745"/>
            <a:ext cx="1845932" cy="738664"/>
          </a:xfrm>
          <a:prstGeom prst="rect">
            <a:avLst/>
          </a:prstGeom>
          <a:noFill/>
        </p:spPr>
        <p:txBody>
          <a:bodyPr wrap="square" rtlCol="0">
            <a:spAutoFit/>
          </a:bodyPr>
          <a:lstStyle/>
          <a:p>
            <a:r>
              <a:rPr lang="en-US" sz="1400" b="1"/>
              <a:t>2009</a:t>
            </a:r>
          </a:p>
          <a:p>
            <a:r>
              <a:rPr lang="en-US" sz="1400"/>
              <a:t>Einführung von UberCab</a:t>
            </a:r>
          </a:p>
        </p:txBody>
      </p:sp>
      <p:sp>
        <p:nvSpPr>
          <p:cNvPr id="19" name="Textfeld 18">
            <a:extLst>
              <a:ext uri="{FF2B5EF4-FFF2-40B4-BE49-F238E27FC236}">
                <a16:creationId xmlns:a16="http://schemas.microsoft.com/office/drawing/2014/main" id="{AB361B7B-FC9B-CC36-C059-1B809871715B}"/>
              </a:ext>
            </a:extLst>
          </p:cNvPr>
          <p:cNvSpPr txBox="1"/>
          <p:nvPr/>
        </p:nvSpPr>
        <p:spPr>
          <a:xfrm>
            <a:off x="2495966" y="2190745"/>
            <a:ext cx="1845932" cy="738664"/>
          </a:xfrm>
          <a:prstGeom prst="rect">
            <a:avLst/>
          </a:prstGeom>
          <a:noFill/>
        </p:spPr>
        <p:txBody>
          <a:bodyPr wrap="square" rtlCol="0">
            <a:spAutoFit/>
          </a:bodyPr>
          <a:lstStyle/>
          <a:p>
            <a:r>
              <a:rPr lang="en-US" sz="1400" b="1"/>
              <a:t>2012</a:t>
            </a:r>
          </a:p>
          <a:p>
            <a:r>
              <a:rPr lang="en-US" sz="1400"/>
              <a:t>Erweiterung durch UberX</a:t>
            </a:r>
          </a:p>
        </p:txBody>
      </p:sp>
      <p:sp>
        <p:nvSpPr>
          <p:cNvPr id="29" name="Textfeld 28">
            <a:extLst>
              <a:ext uri="{FF2B5EF4-FFF2-40B4-BE49-F238E27FC236}">
                <a16:creationId xmlns:a16="http://schemas.microsoft.com/office/drawing/2014/main" id="{BE0ED9D2-384F-AA22-9747-AAF49E1A2917}"/>
              </a:ext>
            </a:extLst>
          </p:cNvPr>
          <p:cNvSpPr txBox="1"/>
          <p:nvPr/>
        </p:nvSpPr>
        <p:spPr>
          <a:xfrm>
            <a:off x="4492598" y="2169631"/>
            <a:ext cx="1845932" cy="738664"/>
          </a:xfrm>
          <a:prstGeom prst="rect">
            <a:avLst/>
          </a:prstGeom>
          <a:noFill/>
        </p:spPr>
        <p:txBody>
          <a:bodyPr wrap="square" rtlCol="0">
            <a:spAutoFit/>
          </a:bodyPr>
          <a:lstStyle/>
          <a:p>
            <a:r>
              <a:rPr lang="en-US" sz="1400" b="1"/>
              <a:t>2015</a:t>
            </a:r>
          </a:p>
          <a:p>
            <a:r>
              <a:rPr lang="en-US" sz="1400"/>
              <a:t>Einführung UberCARGO</a:t>
            </a:r>
          </a:p>
        </p:txBody>
      </p:sp>
      <p:sp>
        <p:nvSpPr>
          <p:cNvPr id="31" name="Textfeld 30">
            <a:extLst>
              <a:ext uri="{FF2B5EF4-FFF2-40B4-BE49-F238E27FC236}">
                <a16:creationId xmlns:a16="http://schemas.microsoft.com/office/drawing/2014/main" id="{19B4C18F-B06E-0C97-8835-83426176DC73}"/>
              </a:ext>
            </a:extLst>
          </p:cNvPr>
          <p:cNvSpPr txBox="1"/>
          <p:nvPr/>
        </p:nvSpPr>
        <p:spPr>
          <a:xfrm>
            <a:off x="6852066" y="2192704"/>
            <a:ext cx="1845932" cy="523220"/>
          </a:xfrm>
          <a:prstGeom prst="rect">
            <a:avLst/>
          </a:prstGeom>
          <a:noFill/>
        </p:spPr>
        <p:txBody>
          <a:bodyPr wrap="square" rtlCol="0">
            <a:spAutoFit/>
          </a:bodyPr>
          <a:lstStyle/>
          <a:p>
            <a:r>
              <a:rPr lang="en-US" sz="1400" b="1"/>
              <a:t>2018</a:t>
            </a:r>
          </a:p>
          <a:p>
            <a:r>
              <a:rPr lang="en-US" sz="1400"/>
              <a:t>Einführung Uber Bikes</a:t>
            </a:r>
          </a:p>
        </p:txBody>
      </p:sp>
      <p:sp>
        <p:nvSpPr>
          <p:cNvPr id="49" name="Ellipse 48">
            <a:extLst>
              <a:ext uri="{FF2B5EF4-FFF2-40B4-BE49-F238E27FC236}">
                <a16:creationId xmlns:a16="http://schemas.microsoft.com/office/drawing/2014/main" id="{9D21F484-C72C-3257-8568-A4369910EF53}"/>
              </a:ext>
            </a:extLst>
          </p:cNvPr>
          <p:cNvSpPr/>
          <p:nvPr/>
        </p:nvSpPr>
        <p:spPr>
          <a:xfrm>
            <a:off x="1432507" y="3727853"/>
            <a:ext cx="383095" cy="34340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0" name="Ellipse 49">
            <a:extLst>
              <a:ext uri="{FF2B5EF4-FFF2-40B4-BE49-F238E27FC236}">
                <a16:creationId xmlns:a16="http://schemas.microsoft.com/office/drawing/2014/main" id="{68996FD2-BD09-D43C-F4A6-88971283125B}"/>
              </a:ext>
            </a:extLst>
          </p:cNvPr>
          <p:cNvSpPr/>
          <p:nvPr/>
        </p:nvSpPr>
        <p:spPr>
          <a:xfrm>
            <a:off x="171428" y="3719464"/>
            <a:ext cx="383095" cy="34340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7" name="Inhaltsplatzhalter 6">
            <a:extLst>
              <a:ext uri="{FF2B5EF4-FFF2-40B4-BE49-F238E27FC236}">
                <a16:creationId xmlns:a16="http://schemas.microsoft.com/office/drawing/2014/main" id="{218A4AD7-BBDF-E0A4-E4A8-B4995B8671A7}"/>
              </a:ext>
            </a:extLst>
          </p:cNvPr>
          <p:cNvSpPr>
            <a:spLocks noGrp="1"/>
          </p:cNvSpPr>
          <p:nvPr>
            <p:ph idx="12"/>
          </p:nvPr>
        </p:nvSpPr>
        <p:spPr/>
        <p:txBody>
          <a:bodyPr/>
          <a:lstStyle/>
          <a:p>
            <a:endParaRPr lang="en-US"/>
          </a:p>
        </p:txBody>
      </p:sp>
      <p:cxnSp>
        <p:nvCxnSpPr>
          <p:cNvPr id="9" name="Gerader Verbinder 8">
            <a:extLst>
              <a:ext uri="{FF2B5EF4-FFF2-40B4-BE49-F238E27FC236}">
                <a16:creationId xmlns:a16="http://schemas.microsoft.com/office/drawing/2014/main" id="{E17C0EFF-FFD0-DF8A-AC0C-C0904CA1F940}"/>
              </a:ext>
            </a:extLst>
          </p:cNvPr>
          <p:cNvCxnSpPr>
            <a:cxnSpLocks/>
          </p:cNvCxnSpPr>
          <p:nvPr/>
        </p:nvCxnSpPr>
        <p:spPr>
          <a:xfrm flipV="1">
            <a:off x="5995779" y="4071261"/>
            <a:ext cx="0" cy="1731376"/>
          </a:xfrm>
          <a:prstGeom prst="line">
            <a:avLst/>
          </a:prstGeom>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09265457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feil: nach rechts 7">
            <a:extLst>
              <a:ext uri="{FF2B5EF4-FFF2-40B4-BE49-F238E27FC236}">
                <a16:creationId xmlns:a16="http://schemas.microsoft.com/office/drawing/2014/main" id="{6D6D110A-645F-4F39-F720-6FA092AE23B2}"/>
              </a:ext>
            </a:extLst>
          </p:cNvPr>
          <p:cNvSpPr/>
          <p:nvPr/>
        </p:nvSpPr>
        <p:spPr>
          <a:xfrm>
            <a:off x="415013" y="3538881"/>
            <a:ext cx="8568096" cy="701783"/>
          </a:xfrm>
          <a:prstGeom prst="rightArrow">
            <a:avLst/>
          </a:prstGeom>
          <a:solidFill>
            <a:schemeClr val="bg1"/>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6" name="Ellipse 15">
            <a:extLst>
              <a:ext uri="{FF2B5EF4-FFF2-40B4-BE49-F238E27FC236}">
                <a16:creationId xmlns:a16="http://schemas.microsoft.com/office/drawing/2014/main" id="{41F89FD0-0EEB-0ACA-13B1-BB8E7936ECF0}"/>
              </a:ext>
            </a:extLst>
          </p:cNvPr>
          <p:cNvSpPr/>
          <p:nvPr/>
        </p:nvSpPr>
        <p:spPr>
          <a:xfrm>
            <a:off x="8188142" y="3720827"/>
            <a:ext cx="383095" cy="34340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4" name="Ellipse 43">
            <a:extLst>
              <a:ext uri="{FF2B5EF4-FFF2-40B4-BE49-F238E27FC236}">
                <a16:creationId xmlns:a16="http://schemas.microsoft.com/office/drawing/2014/main" id="{20657DC4-4634-A286-177B-987465D1C832}"/>
              </a:ext>
            </a:extLst>
          </p:cNvPr>
          <p:cNvSpPr/>
          <p:nvPr/>
        </p:nvSpPr>
        <p:spPr>
          <a:xfrm>
            <a:off x="6874201" y="3714224"/>
            <a:ext cx="379344" cy="355641"/>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8F165729-E43D-4A32-49F0-1A6388CDBE16}"/>
              </a:ext>
            </a:extLst>
          </p:cNvPr>
          <p:cNvSpPr>
            <a:spLocks noGrp="1"/>
          </p:cNvSpPr>
          <p:nvPr>
            <p:ph type="title"/>
          </p:nvPr>
        </p:nvSpPr>
        <p:spPr/>
        <p:txBody>
          <a:bodyPr/>
          <a:lstStyle/>
          <a:p>
            <a:r>
              <a:rPr lang="en-US"/>
              <a:t>UBER hat sich über die Jahre immer weiter diversifiziert und weitere Geschäftsfelder durch neue Technologien revolutioniert</a:t>
            </a:r>
          </a:p>
        </p:txBody>
      </p:sp>
      <p:sp>
        <p:nvSpPr>
          <p:cNvPr id="4" name="Foliennummernplatzhalter 3">
            <a:extLst>
              <a:ext uri="{FF2B5EF4-FFF2-40B4-BE49-F238E27FC236}">
                <a16:creationId xmlns:a16="http://schemas.microsoft.com/office/drawing/2014/main" id="{C14DAEE7-5727-71D5-2955-ABA2978C9394}"/>
              </a:ext>
            </a:extLst>
          </p:cNvPr>
          <p:cNvSpPr>
            <a:spLocks noGrp="1"/>
          </p:cNvSpPr>
          <p:nvPr>
            <p:ph type="sldNum" sz="quarter" idx="4"/>
          </p:nvPr>
        </p:nvSpPr>
        <p:spPr/>
        <p:txBody>
          <a:bodyPr/>
          <a:lstStyle/>
          <a:p>
            <a:fld id="{BAF04893-69FB-435D-AB2E-CA259D85B32F}" type="slidenum">
              <a:rPr lang="en-US" smtClean="0"/>
              <a:pPr/>
              <a:t>81</a:t>
            </a:fld>
            <a:endParaRPr lang="en-US"/>
          </a:p>
        </p:txBody>
      </p:sp>
      <p:sp>
        <p:nvSpPr>
          <p:cNvPr id="5" name="Inhaltsplatzhalter 4">
            <a:extLst>
              <a:ext uri="{FF2B5EF4-FFF2-40B4-BE49-F238E27FC236}">
                <a16:creationId xmlns:a16="http://schemas.microsoft.com/office/drawing/2014/main" id="{0AE040AF-3030-42B0-304D-60F16882F598}"/>
              </a:ext>
            </a:extLst>
          </p:cNvPr>
          <p:cNvSpPr>
            <a:spLocks noGrp="1"/>
          </p:cNvSpPr>
          <p:nvPr>
            <p:ph idx="10"/>
          </p:nvPr>
        </p:nvSpPr>
        <p:spPr/>
        <p:txBody>
          <a:bodyPr/>
          <a:lstStyle/>
          <a:p>
            <a:r>
              <a:rPr lang="en-US"/>
              <a:t>Innovation bei UBER</a:t>
            </a:r>
          </a:p>
        </p:txBody>
      </p:sp>
      <p:sp>
        <p:nvSpPr>
          <p:cNvPr id="6" name="Inhaltsplatzhalter 5">
            <a:extLst>
              <a:ext uri="{FF2B5EF4-FFF2-40B4-BE49-F238E27FC236}">
                <a16:creationId xmlns:a16="http://schemas.microsoft.com/office/drawing/2014/main" id="{1CFAA2CF-7A1E-03AA-AB60-66E8B11E432D}"/>
              </a:ext>
            </a:extLst>
          </p:cNvPr>
          <p:cNvSpPr>
            <a:spLocks noGrp="1"/>
          </p:cNvSpPr>
          <p:nvPr>
            <p:ph idx="11"/>
          </p:nvPr>
        </p:nvSpPr>
        <p:spPr/>
        <p:txBody>
          <a:bodyPr/>
          <a:lstStyle/>
          <a:p>
            <a:r>
              <a:rPr lang="en-US">
                <a:hlinkClick r:id="rId3"/>
              </a:rPr>
              <a:t>https://www.uber.com/en-AE/newsroom/innovation-6/</a:t>
            </a:r>
            <a:r>
              <a:rPr lang="en-US"/>
              <a:t>; ://www.jobyaviation.com/news/joby-aviation-welcomes-new-75m-investment-from-uber-as-it-acquires-uber-elevate-and-expands-partnership/?uclick_id=63b00112-04b1-49ee-b5eb-b0e973bfb3ff; </a:t>
            </a:r>
            <a:r>
              <a:rPr lang="en-US">
                <a:hlinkClick r:id="rId4"/>
              </a:rPr>
              <a:t>Uber Air | Uber Elevate</a:t>
            </a:r>
            <a:endParaRPr lang="en-US"/>
          </a:p>
        </p:txBody>
      </p:sp>
      <p:cxnSp>
        <p:nvCxnSpPr>
          <p:cNvPr id="18" name="Gerader Verbinder 17">
            <a:extLst>
              <a:ext uri="{FF2B5EF4-FFF2-40B4-BE49-F238E27FC236}">
                <a16:creationId xmlns:a16="http://schemas.microsoft.com/office/drawing/2014/main" id="{2BF9D56E-927F-9E43-D65E-6630794A906A}"/>
              </a:ext>
            </a:extLst>
          </p:cNvPr>
          <p:cNvCxnSpPr>
            <a:cxnSpLocks/>
          </p:cNvCxnSpPr>
          <p:nvPr/>
        </p:nvCxnSpPr>
        <p:spPr>
          <a:xfrm flipV="1">
            <a:off x="215900" y="2239861"/>
            <a:ext cx="0" cy="1731378"/>
          </a:xfrm>
          <a:prstGeom prst="line">
            <a:avLst/>
          </a:prstGeom>
        </p:spPr>
        <p:style>
          <a:lnRef idx="1">
            <a:schemeClr val="accent5"/>
          </a:lnRef>
          <a:fillRef idx="0">
            <a:schemeClr val="accent5"/>
          </a:fillRef>
          <a:effectRef idx="0">
            <a:schemeClr val="accent5"/>
          </a:effectRef>
          <a:fontRef idx="minor">
            <a:schemeClr val="tx1"/>
          </a:fontRef>
        </p:style>
      </p:cxnSp>
      <p:cxnSp>
        <p:nvCxnSpPr>
          <p:cNvPr id="20" name="Gerader Verbinder 19">
            <a:extLst>
              <a:ext uri="{FF2B5EF4-FFF2-40B4-BE49-F238E27FC236}">
                <a16:creationId xmlns:a16="http://schemas.microsoft.com/office/drawing/2014/main" id="{04E09AE1-49AA-EB33-D7F0-133B99F17260}"/>
              </a:ext>
            </a:extLst>
          </p:cNvPr>
          <p:cNvCxnSpPr>
            <a:cxnSpLocks/>
          </p:cNvCxnSpPr>
          <p:nvPr/>
        </p:nvCxnSpPr>
        <p:spPr>
          <a:xfrm flipV="1">
            <a:off x="1432650" y="3944837"/>
            <a:ext cx="0" cy="1731376"/>
          </a:xfrm>
          <a:prstGeom prst="line">
            <a:avLst/>
          </a:prstGeom>
        </p:spPr>
        <p:style>
          <a:lnRef idx="1">
            <a:schemeClr val="accent5"/>
          </a:lnRef>
          <a:fillRef idx="0">
            <a:schemeClr val="accent5"/>
          </a:fillRef>
          <a:effectRef idx="0">
            <a:schemeClr val="accent5"/>
          </a:effectRef>
          <a:fontRef idx="minor">
            <a:schemeClr val="tx1"/>
          </a:fontRef>
        </p:style>
      </p:cxnSp>
      <p:cxnSp>
        <p:nvCxnSpPr>
          <p:cNvPr id="22" name="Gerader Verbinder 21">
            <a:extLst>
              <a:ext uri="{FF2B5EF4-FFF2-40B4-BE49-F238E27FC236}">
                <a16:creationId xmlns:a16="http://schemas.microsoft.com/office/drawing/2014/main" id="{0A18B185-3502-D6BC-C2DB-F24D6B0A5629}"/>
              </a:ext>
            </a:extLst>
          </p:cNvPr>
          <p:cNvCxnSpPr>
            <a:cxnSpLocks/>
          </p:cNvCxnSpPr>
          <p:nvPr/>
        </p:nvCxnSpPr>
        <p:spPr>
          <a:xfrm flipV="1">
            <a:off x="2523416" y="2190744"/>
            <a:ext cx="0" cy="1731376"/>
          </a:xfrm>
          <a:prstGeom prst="line">
            <a:avLst/>
          </a:prstGeom>
        </p:spPr>
        <p:style>
          <a:lnRef idx="1">
            <a:schemeClr val="accent5"/>
          </a:lnRef>
          <a:fillRef idx="0">
            <a:schemeClr val="accent5"/>
          </a:fillRef>
          <a:effectRef idx="0">
            <a:schemeClr val="accent5"/>
          </a:effectRef>
          <a:fontRef idx="minor">
            <a:schemeClr val="tx1"/>
          </a:fontRef>
        </p:style>
      </p:cxnSp>
      <p:cxnSp>
        <p:nvCxnSpPr>
          <p:cNvPr id="23" name="Gerader Verbinder 22">
            <a:extLst>
              <a:ext uri="{FF2B5EF4-FFF2-40B4-BE49-F238E27FC236}">
                <a16:creationId xmlns:a16="http://schemas.microsoft.com/office/drawing/2014/main" id="{8C9D88F4-7B7F-3AA6-92BE-5B229C54F728}"/>
              </a:ext>
            </a:extLst>
          </p:cNvPr>
          <p:cNvCxnSpPr>
            <a:cxnSpLocks/>
          </p:cNvCxnSpPr>
          <p:nvPr/>
        </p:nvCxnSpPr>
        <p:spPr>
          <a:xfrm flipV="1">
            <a:off x="3720804" y="3953715"/>
            <a:ext cx="0" cy="1731376"/>
          </a:xfrm>
          <a:prstGeom prst="line">
            <a:avLst/>
          </a:prstGeom>
        </p:spPr>
        <p:style>
          <a:lnRef idx="1">
            <a:schemeClr val="accent5"/>
          </a:lnRef>
          <a:fillRef idx="0">
            <a:schemeClr val="accent5"/>
          </a:fillRef>
          <a:effectRef idx="0">
            <a:schemeClr val="accent5"/>
          </a:effectRef>
          <a:fontRef idx="minor">
            <a:schemeClr val="tx1"/>
          </a:fontRef>
        </p:style>
      </p:cxnSp>
      <p:cxnSp>
        <p:nvCxnSpPr>
          <p:cNvPr id="24" name="Gerader Verbinder 23">
            <a:extLst>
              <a:ext uri="{FF2B5EF4-FFF2-40B4-BE49-F238E27FC236}">
                <a16:creationId xmlns:a16="http://schemas.microsoft.com/office/drawing/2014/main" id="{FADA5529-E89D-1DA5-FEB8-8C3230E7068D}"/>
              </a:ext>
            </a:extLst>
          </p:cNvPr>
          <p:cNvCxnSpPr>
            <a:cxnSpLocks/>
          </p:cNvCxnSpPr>
          <p:nvPr/>
        </p:nvCxnSpPr>
        <p:spPr>
          <a:xfrm flipV="1">
            <a:off x="4526546" y="2190744"/>
            <a:ext cx="0" cy="1731376"/>
          </a:xfrm>
          <a:prstGeom prst="line">
            <a:avLst/>
          </a:prstGeom>
        </p:spPr>
        <p:style>
          <a:lnRef idx="1">
            <a:schemeClr val="accent5"/>
          </a:lnRef>
          <a:fillRef idx="0">
            <a:schemeClr val="accent5"/>
          </a:fillRef>
          <a:effectRef idx="0">
            <a:schemeClr val="accent5"/>
          </a:effectRef>
          <a:fontRef idx="minor">
            <a:schemeClr val="tx1"/>
          </a:fontRef>
        </p:style>
      </p:cxnSp>
      <p:cxnSp>
        <p:nvCxnSpPr>
          <p:cNvPr id="25" name="Gerader Verbinder 24">
            <a:extLst>
              <a:ext uri="{FF2B5EF4-FFF2-40B4-BE49-F238E27FC236}">
                <a16:creationId xmlns:a16="http://schemas.microsoft.com/office/drawing/2014/main" id="{FAC544C2-2BDA-EDEE-3FC0-26088BFF69DE}"/>
              </a:ext>
            </a:extLst>
          </p:cNvPr>
          <p:cNvCxnSpPr>
            <a:cxnSpLocks/>
          </p:cNvCxnSpPr>
          <p:nvPr/>
        </p:nvCxnSpPr>
        <p:spPr>
          <a:xfrm flipV="1">
            <a:off x="5760829" y="3976226"/>
            <a:ext cx="0" cy="1731376"/>
          </a:xfrm>
          <a:prstGeom prst="line">
            <a:avLst/>
          </a:prstGeom>
        </p:spPr>
        <p:style>
          <a:lnRef idx="1">
            <a:schemeClr val="accent5"/>
          </a:lnRef>
          <a:fillRef idx="0">
            <a:schemeClr val="accent5"/>
          </a:fillRef>
          <a:effectRef idx="0">
            <a:schemeClr val="accent5"/>
          </a:effectRef>
          <a:fontRef idx="minor">
            <a:schemeClr val="tx1"/>
          </a:fontRef>
        </p:style>
      </p:cxnSp>
      <p:cxnSp>
        <p:nvCxnSpPr>
          <p:cNvPr id="26" name="Gerader Verbinder 25">
            <a:extLst>
              <a:ext uri="{FF2B5EF4-FFF2-40B4-BE49-F238E27FC236}">
                <a16:creationId xmlns:a16="http://schemas.microsoft.com/office/drawing/2014/main" id="{CCD433B5-8366-7C60-DF98-C407B9E8D419}"/>
              </a:ext>
            </a:extLst>
          </p:cNvPr>
          <p:cNvCxnSpPr>
            <a:cxnSpLocks/>
          </p:cNvCxnSpPr>
          <p:nvPr/>
        </p:nvCxnSpPr>
        <p:spPr>
          <a:xfrm flipV="1">
            <a:off x="6874200" y="2190744"/>
            <a:ext cx="0" cy="1731376"/>
          </a:xfrm>
          <a:prstGeom prst="line">
            <a:avLst/>
          </a:prstGeom>
        </p:spPr>
        <p:style>
          <a:lnRef idx="1">
            <a:schemeClr val="accent5"/>
          </a:lnRef>
          <a:fillRef idx="0">
            <a:schemeClr val="accent5"/>
          </a:fillRef>
          <a:effectRef idx="0">
            <a:schemeClr val="accent5"/>
          </a:effectRef>
          <a:fontRef idx="minor">
            <a:schemeClr val="tx1"/>
          </a:fontRef>
        </p:style>
      </p:cxnSp>
      <p:cxnSp>
        <p:nvCxnSpPr>
          <p:cNvPr id="27" name="Gerader Verbinder 26">
            <a:extLst>
              <a:ext uri="{FF2B5EF4-FFF2-40B4-BE49-F238E27FC236}">
                <a16:creationId xmlns:a16="http://schemas.microsoft.com/office/drawing/2014/main" id="{2200A48E-8240-63A8-FA39-727E00673BCC}"/>
              </a:ext>
            </a:extLst>
          </p:cNvPr>
          <p:cNvCxnSpPr>
            <a:cxnSpLocks/>
          </p:cNvCxnSpPr>
          <p:nvPr/>
        </p:nvCxnSpPr>
        <p:spPr>
          <a:xfrm flipV="1">
            <a:off x="8547029" y="3953715"/>
            <a:ext cx="0" cy="1731376"/>
          </a:xfrm>
          <a:prstGeom prst="line">
            <a:avLst/>
          </a:prstGeom>
        </p:spPr>
        <p:style>
          <a:lnRef idx="1">
            <a:schemeClr val="accent5"/>
          </a:lnRef>
          <a:fillRef idx="0">
            <a:schemeClr val="accent5"/>
          </a:fillRef>
          <a:effectRef idx="0">
            <a:schemeClr val="accent5"/>
          </a:effectRef>
          <a:fontRef idx="minor">
            <a:schemeClr val="tx1"/>
          </a:fontRef>
        </p:style>
      </p:cxnSp>
      <p:sp>
        <p:nvSpPr>
          <p:cNvPr id="28" name="Textfeld 27">
            <a:extLst>
              <a:ext uri="{FF2B5EF4-FFF2-40B4-BE49-F238E27FC236}">
                <a16:creationId xmlns:a16="http://schemas.microsoft.com/office/drawing/2014/main" id="{0DE03E7D-79DD-1D19-0DB1-4FBDED8A9934}"/>
              </a:ext>
            </a:extLst>
          </p:cNvPr>
          <p:cNvSpPr txBox="1"/>
          <p:nvPr/>
        </p:nvSpPr>
        <p:spPr>
          <a:xfrm>
            <a:off x="215900" y="2190745"/>
            <a:ext cx="1845932" cy="738664"/>
          </a:xfrm>
          <a:prstGeom prst="rect">
            <a:avLst/>
          </a:prstGeom>
          <a:noFill/>
        </p:spPr>
        <p:txBody>
          <a:bodyPr wrap="square" rtlCol="0">
            <a:spAutoFit/>
          </a:bodyPr>
          <a:lstStyle/>
          <a:p>
            <a:r>
              <a:rPr lang="en-US" sz="1400" b="1"/>
              <a:t>2009</a:t>
            </a:r>
          </a:p>
          <a:p>
            <a:r>
              <a:rPr lang="en-US" sz="1400"/>
              <a:t>Einführung von UberCab</a:t>
            </a:r>
          </a:p>
        </p:txBody>
      </p:sp>
      <p:sp>
        <p:nvSpPr>
          <p:cNvPr id="17" name="Textfeld 16">
            <a:extLst>
              <a:ext uri="{FF2B5EF4-FFF2-40B4-BE49-F238E27FC236}">
                <a16:creationId xmlns:a16="http://schemas.microsoft.com/office/drawing/2014/main" id="{AD88234A-D941-726C-82CE-020882965F2B}"/>
              </a:ext>
            </a:extLst>
          </p:cNvPr>
          <p:cNvSpPr txBox="1"/>
          <p:nvPr/>
        </p:nvSpPr>
        <p:spPr>
          <a:xfrm>
            <a:off x="1434835" y="5040266"/>
            <a:ext cx="1845932" cy="738664"/>
          </a:xfrm>
          <a:prstGeom prst="rect">
            <a:avLst/>
          </a:prstGeom>
          <a:noFill/>
        </p:spPr>
        <p:txBody>
          <a:bodyPr wrap="square" rtlCol="0">
            <a:spAutoFit/>
          </a:bodyPr>
          <a:lstStyle/>
          <a:p>
            <a:r>
              <a:rPr lang="en-US" sz="1400" b="1"/>
              <a:t>2010</a:t>
            </a:r>
          </a:p>
          <a:p>
            <a:r>
              <a:rPr lang="en-US" sz="1400"/>
              <a:t>Umbenennung in Uber Technologies Inc.</a:t>
            </a:r>
          </a:p>
        </p:txBody>
      </p:sp>
      <p:sp>
        <p:nvSpPr>
          <p:cNvPr id="19" name="Textfeld 18">
            <a:extLst>
              <a:ext uri="{FF2B5EF4-FFF2-40B4-BE49-F238E27FC236}">
                <a16:creationId xmlns:a16="http://schemas.microsoft.com/office/drawing/2014/main" id="{AB361B7B-FC9B-CC36-C059-1B809871715B}"/>
              </a:ext>
            </a:extLst>
          </p:cNvPr>
          <p:cNvSpPr txBox="1"/>
          <p:nvPr/>
        </p:nvSpPr>
        <p:spPr>
          <a:xfrm>
            <a:off x="2495966" y="2190745"/>
            <a:ext cx="1845932" cy="738664"/>
          </a:xfrm>
          <a:prstGeom prst="rect">
            <a:avLst/>
          </a:prstGeom>
          <a:noFill/>
        </p:spPr>
        <p:txBody>
          <a:bodyPr wrap="square" rtlCol="0">
            <a:spAutoFit/>
          </a:bodyPr>
          <a:lstStyle/>
          <a:p>
            <a:r>
              <a:rPr lang="en-US" sz="1400" b="1"/>
              <a:t>2012</a:t>
            </a:r>
          </a:p>
          <a:p>
            <a:r>
              <a:rPr lang="en-US" sz="1400"/>
              <a:t>Erweiterung durch UberX</a:t>
            </a:r>
          </a:p>
        </p:txBody>
      </p:sp>
      <p:sp>
        <p:nvSpPr>
          <p:cNvPr id="21" name="Textfeld 20">
            <a:extLst>
              <a:ext uri="{FF2B5EF4-FFF2-40B4-BE49-F238E27FC236}">
                <a16:creationId xmlns:a16="http://schemas.microsoft.com/office/drawing/2014/main" id="{31176791-E245-AA11-F8CA-6AC5BB8FAF94}"/>
              </a:ext>
            </a:extLst>
          </p:cNvPr>
          <p:cNvSpPr txBox="1"/>
          <p:nvPr/>
        </p:nvSpPr>
        <p:spPr>
          <a:xfrm>
            <a:off x="3698904" y="5044894"/>
            <a:ext cx="1845932" cy="738664"/>
          </a:xfrm>
          <a:prstGeom prst="rect">
            <a:avLst/>
          </a:prstGeom>
          <a:noFill/>
        </p:spPr>
        <p:txBody>
          <a:bodyPr wrap="square" rtlCol="0">
            <a:spAutoFit/>
          </a:bodyPr>
          <a:lstStyle/>
          <a:p>
            <a:r>
              <a:rPr lang="en-US" sz="1400" b="1"/>
              <a:t>2014</a:t>
            </a:r>
          </a:p>
          <a:p>
            <a:r>
              <a:rPr lang="en-US" sz="1400"/>
              <a:t>Einführung von UberEats</a:t>
            </a:r>
          </a:p>
        </p:txBody>
      </p:sp>
      <p:sp>
        <p:nvSpPr>
          <p:cNvPr id="29" name="Textfeld 28">
            <a:extLst>
              <a:ext uri="{FF2B5EF4-FFF2-40B4-BE49-F238E27FC236}">
                <a16:creationId xmlns:a16="http://schemas.microsoft.com/office/drawing/2014/main" id="{BE0ED9D2-384F-AA22-9747-AAF49E1A2917}"/>
              </a:ext>
            </a:extLst>
          </p:cNvPr>
          <p:cNvSpPr txBox="1"/>
          <p:nvPr/>
        </p:nvSpPr>
        <p:spPr>
          <a:xfrm>
            <a:off x="4492598" y="2169631"/>
            <a:ext cx="1845932" cy="738664"/>
          </a:xfrm>
          <a:prstGeom prst="rect">
            <a:avLst/>
          </a:prstGeom>
          <a:noFill/>
        </p:spPr>
        <p:txBody>
          <a:bodyPr wrap="square" rtlCol="0">
            <a:spAutoFit/>
          </a:bodyPr>
          <a:lstStyle/>
          <a:p>
            <a:r>
              <a:rPr lang="en-US" sz="1400" b="1"/>
              <a:t>2015</a:t>
            </a:r>
          </a:p>
          <a:p>
            <a:r>
              <a:rPr lang="en-US" sz="1400"/>
              <a:t>Einführung UberCARGO</a:t>
            </a:r>
          </a:p>
        </p:txBody>
      </p:sp>
      <p:sp>
        <p:nvSpPr>
          <p:cNvPr id="30" name="Textfeld 29">
            <a:extLst>
              <a:ext uri="{FF2B5EF4-FFF2-40B4-BE49-F238E27FC236}">
                <a16:creationId xmlns:a16="http://schemas.microsoft.com/office/drawing/2014/main" id="{06A41644-541E-BD53-BE86-1E876A59CC90}"/>
              </a:ext>
            </a:extLst>
          </p:cNvPr>
          <p:cNvSpPr txBox="1"/>
          <p:nvPr/>
        </p:nvSpPr>
        <p:spPr>
          <a:xfrm>
            <a:off x="5735241" y="5081210"/>
            <a:ext cx="1845932" cy="738664"/>
          </a:xfrm>
          <a:prstGeom prst="rect">
            <a:avLst/>
          </a:prstGeom>
          <a:noFill/>
        </p:spPr>
        <p:txBody>
          <a:bodyPr wrap="square" rtlCol="0">
            <a:spAutoFit/>
          </a:bodyPr>
          <a:lstStyle/>
          <a:p>
            <a:r>
              <a:rPr lang="en-US" sz="1400" b="1"/>
              <a:t>2016</a:t>
            </a:r>
          </a:p>
          <a:p>
            <a:r>
              <a:rPr lang="en-US" sz="1400"/>
              <a:t>Einführung UberPool &amp; Lime</a:t>
            </a:r>
          </a:p>
        </p:txBody>
      </p:sp>
      <p:sp>
        <p:nvSpPr>
          <p:cNvPr id="31" name="Textfeld 30">
            <a:extLst>
              <a:ext uri="{FF2B5EF4-FFF2-40B4-BE49-F238E27FC236}">
                <a16:creationId xmlns:a16="http://schemas.microsoft.com/office/drawing/2014/main" id="{19B4C18F-B06E-0C97-8835-83426176DC73}"/>
              </a:ext>
            </a:extLst>
          </p:cNvPr>
          <p:cNvSpPr txBox="1"/>
          <p:nvPr/>
        </p:nvSpPr>
        <p:spPr>
          <a:xfrm>
            <a:off x="6852066" y="2192704"/>
            <a:ext cx="1845932" cy="523220"/>
          </a:xfrm>
          <a:prstGeom prst="rect">
            <a:avLst/>
          </a:prstGeom>
          <a:noFill/>
        </p:spPr>
        <p:txBody>
          <a:bodyPr wrap="square" rtlCol="0">
            <a:spAutoFit/>
          </a:bodyPr>
          <a:lstStyle/>
          <a:p>
            <a:r>
              <a:rPr lang="en-US" sz="1400" b="1"/>
              <a:t>2018</a:t>
            </a:r>
          </a:p>
          <a:p>
            <a:r>
              <a:rPr lang="en-US" sz="1400"/>
              <a:t>Einführung Uber Bikes</a:t>
            </a:r>
          </a:p>
        </p:txBody>
      </p:sp>
      <p:sp>
        <p:nvSpPr>
          <p:cNvPr id="32" name="Textfeld 31">
            <a:extLst>
              <a:ext uri="{FF2B5EF4-FFF2-40B4-BE49-F238E27FC236}">
                <a16:creationId xmlns:a16="http://schemas.microsoft.com/office/drawing/2014/main" id="{4B6C4874-BB42-40C3-DB41-A0367491E14A}"/>
              </a:ext>
            </a:extLst>
          </p:cNvPr>
          <p:cNvSpPr txBox="1"/>
          <p:nvPr/>
        </p:nvSpPr>
        <p:spPr>
          <a:xfrm>
            <a:off x="6701097" y="5414226"/>
            <a:ext cx="1845932" cy="738664"/>
          </a:xfrm>
          <a:prstGeom prst="rect">
            <a:avLst/>
          </a:prstGeom>
          <a:noFill/>
        </p:spPr>
        <p:txBody>
          <a:bodyPr wrap="square" rtlCol="0">
            <a:spAutoFit/>
          </a:bodyPr>
          <a:lstStyle/>
          <a:p>
            <a:pPr algn="r"/>
            <a:r>
              <a:rPr lang="en-US" sz="1400" b="1"/>
              <a:t>2020</a:t>
            </a:r>
          </a:p>
          <a:p>
            <a:pPr algn="r"/>
            <a:r>
              <a:rPr lang="en-US" sz="1400"/>
              <a:t>Investment in Joby Aviation</a:t>
            </a:r>
          </a:p>
        </p:txBody>
      </p:sp>
      <p:sp>
        <p:nvSpPr>
          <p:cNvPr id="45" name="Ellipse 44">
            <a:extLst>
              <a:ext uri="{FF2B5EF4-FFF2-40B4-BE49-F238E27FC236}">
                <a16:creationId xmlns:a16="http://schemas.microsoft.com/office/drawing/2014/main" id="{5A10CAF8-A401-2B01-3999-E02172B71DB3}"/>
              </a:ext>
            </a:extLst>
          </p:cNvPr>
          <p:cNvSpPr/>
          <p:nvPr/>
        </p:nvSpPr>
        <p:spPr>
          <a:xfrm>
            <a:off x="5401347" y="3719464"/>
            <a:ext cx="383095" cy="34340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6" name="Ellipse 45">
            <a:extLst>
              <a:ext uri="{FF2B5EF4-FFF2-40B4-BE49-F238E27FC236}">
                <a16:creationId xmlns:a16="http://schemas.microsoft.com/office/drawing/2014/main" id="{7DD16662-31DA-1821-5991-71E43007101C}"/>
              </a:ext>
            </a:extLst>
          </p:cNvPr>
          <p:cNvSpPr/>
          <p:nvPr/>
        </p:nvSpPr>
        <p:spPr>
          <a:xfrm>
            <a:off x="4526546" y="3725602"/>
            <a:ext cx="383095" cy="34340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7" name="Ellipse 46">
            <a:extLst>
              <a:ext uri="{FF2B5EF4-FFF2-40B4-BE49-F238E27FC236}">
                <a16:creationId xmlns:a16="http://schemas.microsoft.com/office/drawing/2014/main" id="{3AC9323F-ADF6-F038-8256-0AC27DCFA0D6}"/>
              </a:ext>
            </a:extLst>
          </p:cNvPr>
          <p:cNvSpPr/>
          <p:nvPr/>
        </p:nvSpPr>
        <p:spPr>
          <a:xfrm>
            <a:off x="3359764" y="3718068"/>
            <a:ext cx="383095" cy="34340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8" name="Ellipse 47">
            <a:extLst>
              <a:ext uri="{FF2B5EF4-FFF2-40B4-BE49-F238E27FC236}">
                <a16:creationId xmlns:a16="http://schemas.microsoft.com/office/drawing/2014/main" id="{C055B805-BCBD-7067-8B8E-B70F6DB45E3C}"/>
              </a:ext>
            </a:extLst>
          </p:cNvPr>
          <p:cNvSpPr/>
          <p:nvPr/>
        </p:nvSpPr>
        <p:spPr>
          <a:xfrm>
            <a:off x="2523416" y="3725602"/>
            <a:ext cx="383095" cy="34340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9" name="Ellipse 48">
            <a:extLst>
              <a:ext uri="{FF2B5EF4-FFF2-40B4-BE49-F238E27FC236}">
                <a16:creationId xmlns:a16="http://schemas.microsoft.com/office/drawing/2014/main" id="{9D21F484-C72C-3257-8568-A4369910EF53}"/>
              </a:ext>
            </a:extLst>
          </p:cNvPr>
          <p:cNvSpPr/>
          <p:nvPr/>
        </p:nvSpPr>
        <p:spPr>
          <a:xfrm>
            <a:off x="1432507" y="3727853"/>
            <a:ext cx="383095" cy="34340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0" name="Ellipse 49">
            <a:extLst>
              <a:ext uri="{FF2B5EF4-FFF2-40B4-BE49-F238E27FC236}">
                <a16:creationId xmlns:a16="http://schemas.microsoft.com/office/drawing/2014/main" id="{68996FD2-BD09-D43C-F4A6-88971283125B}"/>
              </a:ext>
            </a:extLst>
          </p:cNvPr>
          <p:cNvSpPr/>
          <p:nvPr/>
        </p:nvSpPr>
        <p:spPr>
          <a:xfrm>
            <a:off x="171428" y="3719464"/>
            <a:ext cx="383095" cy="34340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34" name="Inhaltsplatzhalter 33" descr="Taxi Silhouette">
            <a:extLst>
              <a:ext uri="{FF2B5EF4-FFF2-40B4-BE49-F238E27FC236}">
                <a16:creationId xmlns:a16="http://schemas.microsoft.com/office/drawing/2014/main" id="{E7B8ECFA-4B8F-4DD4-0EEF-B6F9D4E45BAE}"/>
              </a:ext>
            </a:extLst>
          </p:cNvPr>
          <p:cNvPicPr>
            <a:picLocks noGrp="1" noChangeAspect="1"/>
          </p:cNvPicPr>
          <p:nvPr>
            <p:ph idx="12"/>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9603" y="3663491"/>
            <a:ext cx="422835" cy="422835"/>
          </a:xfrm>
        </p:spPr>
      </p:pic>
      <p:pic>
        <p:nvPicPr>
          <p:cNvPr id="36" name="Grafik 35" descr="Prozessor Silhouette">
            <a:extLst>
              <a:ext uri="{FF2B5EF4-FFF2-40B4-BE49-F238E27FC236}">
                <a16:creationId xmlns:a16="http://schemas.microsoft.com/office/drawing/2014/main" id="{C5C3F7D7-A9EF-13CC-63F7-1CAED59311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30674" y="3719686"/>
            <a:ext cx="368814" cy="368814"/>
          </a:xfrm>
          <a:prstGeom prst="rect">
            <a:avLst/>
          </a:prstGeom>
        </p:spPr>
      </p:pic>
      <p:sp>
        <p:nvSpPr>
          <p:cNvPr id="37" name="Textfeld 36">
            <a:extLst>
              <a:ext uri="{FF2B5EF4-FFF2-40B4-BE49-F238E27FC236}">
                <a16:creationId xmlns:a16="http://schemas.microsoft.com/office/drawing/2014/main" id="{4C3BCBAE-6702-95C7-7B11-0F54FA03A8AF}"/>
              </a:ext>
            </a:extLst>
          </p:cNvPr>
          <p:cNvSpPr txBox="1"/>
          <p:nvPr/>
        </p:nvSpPr>
        <p:spPr>
          <a:xfrm>
            <a:off x="2532259" y="3671880"/>
            <a:ext cx="339161" cy="461665"/>
          </a:xfrm>
          <a:prstGeom prst="rect">
            <a:avLst/>
          </a:prstGeom>
          <a:noFill/>
        </p:spPr>
        <p:txBody>
          <a:bodyPr wrap="square" rtlCol="0">
            <a:spAutoFit/>
          </a:bodyPr>
          <a:lstStyle/>
          <a:p>
            <a:r>
              <a:rPr lang="en-US" sz="2400">
                <a:solidFill>
                  <a:schemeClr val="tx2"/>
                </a:solidFill>
              </a:rPr>
              <a:t>X</a:t>
            </a:r>
          </a:p>
        </p:txBody>
      </p:sp>
      <p:pic>
        <p:nvPicPr>
          <p:cNvPr id="39" name="Grafik 38" descr="Burger und Getränk Silhouette">
            <a:extLst>
              <a:ext uri="{FF2B5EF4-FFF2-40B4-BE49-F238E27FC236}">
                <a16:creationId xmlns:a16="http://schemas.microsoft.com/office/drawing/2014/main" id="{8D0DFD1E-FB2C-E4D9-E087-0F1F8496BD8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58706" y="3698548"/>
            <a:ext cx="365725" cy="365725"/>
          </a:xfrm>
          <a:prstGeom prst="rect">
            <a:avLst/>
          </a:prstGeom>
        </p:spPr>
      </p:pic>
      <p:pic>
        <p:nvPicPr>
          <p:cNvPr id="41" name="Grafik 40" descr="Schachtel Silhouette">
            <a:extLst>
              <a:ext uri="{FF2B5EF4-FFF2-40B4-BE49-F238E27FC236}">
                <a16:creationId xmlns:a16="http://schemas.microsoft.com/office/drawing/2014/main" id="{53384FCE-34F6-07CE-6349-F4383EE2F7B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520051" y="3703244"/>
            <a:ext cx="385256" cy="385256"/>
          </a:xfrm>
          <a:prstGeom prst="rect">
            <a:avLst/>
          </a:prstGeom>
        </p:spPr>
      </p:pic>
      <p:pic>
        <p:nvPicPr>
          <p:cNvPr id="43" name="Grafik 42" descr="Gruppe Silhouette">
            <a:extLst>
              <a:ext uri="{FF2B5EF4-FFF2-40B4-BE49-F238E27FC236}">
                <a16:creationId xmlns:a16="http://schemas.microsoft.com/office/drawing/2014/main" id="{08859197-AC24-29ED-C869-93083311F74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415564" y="3716685"/>
            <a:ext cx="339161" cy="339161"/>
          </a:xfrm>
          <a:prstGeom prst="rect">
            <a:avLst/>
          </a:prstGeom>
        </p:spPr>
      </p:pic>
      <p:pic>
        <p:nvPicPr>
          <p:cNvPr id="52" name="Grafik 51" descr="Radfahren Silhouette">
            <a:extLst>
              <a:ext uri="{FF2B5EF4-FFF2-40B4-BE49-F238E27FC236}">
                <a16:creationId xmlns:a16="http://schemas.microsoft.com/office/drawing/2014/main" id="{CA459E6E-6B0C-EE25-3978-E49A901D69C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886440" y="3705835"/>
            <a:ext cx="339161" cy="339161"/>
          </a:xfrm>
          <a:prstGeom prst="rect">
            <a:avLst/>
          </a:prstGeom>
        </p:spPr>
      </p:pic>
      <p:pic>
        <p:nvPicPr>
          <p:cNvPr id="54" name="Grafik 53" descr="Hubschrauber Silhouette">
            <a:extLst>
              <a:ext uri="{FF2B5EF4-FFF2-40B4-BE49-F238E27FC236}">
                <a16:creationId xmlns:a16="http://schemas.microsoft.com/office/drawing/2014/main" id="{F6D0EA6F-C504-F6D3-FE70-78ACC49FBF3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174611" y="3693500"/>
            <a:ext cx="409814" cy="409814"/>
          </a:xfrm>
          <a:prstGeom prst="rect">
            <a:avLst/>
          </a:prstGeom>
        </p:spPr>
      </p:pic>
    </p:spTree>
    <p:extLst>
      <p:ext uri="{BB962C8B-B14F-4D97-AF65-F5344CB8AC3E}">
        <p14:creationId xmlns:p14="http://schemas.microsoft.com/office/powerpoint/2010/main" val="202286506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45C31C-6DC4-E86D-8F13-B2CAE63C226E}"/>
              </a:ext>
            </a:extLst>
          </p:cNvPr>
          <p:cNvSpPr>
            <a:spLocks noGrp="1"/>
          </p:cNvSpPr>
          <p:nvPr>
            <p:ph type="title"/>
          </p:nvPr>
        </p:nvSpPr>
        <p:spPr/>
        <p:txBody>
          <a:bodyPr/>
          <a:lstStyle/>
          <a:p>
            <a:r>
              <a:rPr lang="en-US"/>
              <a:t>Innovation gilt als Schlüssel zum Erfolg in der Mobilitätsbranche für UBER</a:t>
            </a:r>
          </a:p>
        </p:txBody>
      </p:sp>
      <p:graphicFrame>
        <p:nvGraphicFramePr>
          <p:cNvPr id="8" name="Inhaltsplatzhalter 7">
            <a:extLst>
              <a:ext uri="{FF2B5EF4-FFF2-40B4-BE49-F238E27FC236}">
                <a16:creationId xmlns:a16="http://schemas.microsoft.com/office/drawing/2014/main" id="{D938AB69-BAB3-94CB-DB81-07EAFDD5161D}"/>
              </a:ext>
            </a:extLst>
          </p:cNvPr>
          <p:cNvGraphicFramePr>
            <a:graphicFrameLocks noGrp="1"/>
          </p:cNvGraphicFramePr>
          <p:nvPr>
            <p:ph idx="1"/>
            <p:extLst>
              <p:ext uri="{D42A27DB-BD31-4B8C-83A1-F6EECF244321}">
                <p14:modId xmlns:p14="http://schemas.microsoft.com/office/powerpoint/2010/main" val="1778917914"/>
              </p:ext>
            </p:extLst>
          </p:nvPr>
        </p:nvGraphicFramePr>
        <p:xfrm>
          <a:off x="360363" y="1989138"/>
          <a:ext cx="8567737" cy="44275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liennummernplatzhalter 3">
            <a:extLst>
              <a:ext uri="{FF2B5EF4-FFF2-40B4-BE49-F238E27FC236}">
                <a16:creationId xmlns:a16="http://schemas.microsoft.com/office/drawing/2014/main" id="{4582CF88-6C5B-2C15-A920-742A54C59C41}"/>
              </a:ext>
            </a:extLst>
          </p:cNvPr>
          <p:cNvSpPr>
            <a:spLocks noGrp="1"/>
          </p:cNvSpPr>
          <p:nvPr>
            <p:ph type="sldNum" sz="quarter" idx="4"/>
          </p:nvPr>
        </p:nvSpPr>
        <p:spPr/>
        <p:txBody>
          <a:bodyPr/>
          <a:lstStyle/>
          <a:p>
            <a:fld id="{BAF04893-69FB-435D-AB2E-CA259D85B32F}" type="slidenum">
              <a:rPr lang="en-US" smtClean="0"/>
              <a:pPr/>
              <a:t>82</a:t>
            </a:fld>
            <a:endParaRPr lang="en-US"/>
          </a:p>
        </p:txBody>
      </p:sp>
      <p:sp>
        <p:nvSpPr>
          <p:cNvPr id="5" name="Inhaltsplatzhalter 4">
            <a:extLst>
              <a:ext uri="{FF2B5EF4-FFF2-40B4-BE49-F238E27FC236}">
                <a16:creationId xmlns:a16="http://schemas.microsoft.com/office/drawing/2014/main" id="{9D2A54F7-9C33-3633-37C9-E90AD83D6807}"/>
              </a:ext>
            </a:extLst>
          </p:cNvPr>
          <p:cNvSpPr>
            <a:spLocks noGrp="1"/>
          </p:cNvSpPr>
          <p:nvPr>
            <p:ph idx="10"/>
          </p:nvPr>
        </p:nvSpPr>
        <p:spPr/>
        <p:txBody>
          <a:bodyPr/>
          <a:lstStyle/>
          <a:p>
            <a:r>
              <a:rPr lang="en-US"/>
              <a:t>Innovationsstrategie von UBER</a:t>
            </a:r>
          </a:p>
        </p:txBody>
      </p:sp>
      <p:sp>
        <p:nvSpPr>
          <p:cNvPr id="6" name="Inhaltsplatzhalter 5">
            <a:extLst>
              <a:ext uri="{FF2B5EF4-FFF2-40B4-BE49-F238E27FC236}">
                <a16:creationId xmlns:a16="http://schemas.microsoft.com/office/drawing/2014/main" id="{206F64AF-A3CE-B0A2-5E18-F4B796576ED1}"/>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E49B0244-1387-B818-D78D-A43BDD43835D}"/>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157342926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0533EE97-F5B4-206D-A0FC-546409FE6794}"/>
              </a:ext>
            </a:extLst>
          </p:cNvPr>
          <p:cNvSpPr/>
          <p:nvPr/>
        </p:nvSpPr>
        <p:spPr>
          <a:xfrm>
            <a:off x="359997" y="2515309"/>
            <a:ext cx="8568102" cy="3902269"/>
          </a:xfrm>
          <a:prstGeom prst="rect">
            <a:avLst/>
          </a:prstGeom>
          <a:ln w="12700">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 name="Titel 1">
            <a:extLst>
              <a:ext uri="{FF2B5EF4-FFF2-40B4-BE49-F238E27FC236}">
                <a16:creationId xmlns:a16="http://schemas.microsoft.com/office/drawing/2014/main" id="{25767FDB-C4AA-C65E-7FCB-EA4CC1B448D5}"/>
              </a:ext>
            </a:extLst>
          </p:cNvPr>
          <p:cNvSpPr>
            <a:spLocks noGrp="1"/>
          </p:cNvSpPr>
          <p:nvPr>
            <p:ph type="title"/>
          </p:nvPr>
        </p:nvSpPr>
        <p:spPr/>
        <p:txBody>
          <a:bodyPr/>
          <a:lstStyle/>
          <a:p>
            <a:r>
              <a:rPr lang="en-US"/>
              <a:t>Innovation ist in der Strategie von Uber fest verankert, diese besteht aus vier Säulen </a:t>
            </a:r>
          </a:p>
        </p:txBody>
      </p:sp>
      <p:sp>
        <p:nvSpPr>
          <p:cNvPr id="4" name="Foliennummernplatzhalter 3">
            <a:extLst>
              <a:ext uri="{FF2B5EF4-FFF2-40B4-BE49-F238E27FC236}">
                <a16:creationId xmlns:a16="http://schemas.microsoft.com/office/drawing/2014/main" id="{BF796BD9-2780-0C5D-BAD3-2B71D74DD974}"/>
              </a:ext>
            </a:extLst>
          </p:cNvPr>
          <p:cNvSpPr>
            <a:spLocks noGrp="1"/>
          </p:cNvSpPr>
          <p:nvPr>
            <p:ph type="sldNum" sz="quarter" idx="4"/>
          </p:nvPr>
        </p:nvSpPr>
        <p:spPr/>
        <p:txBody>
          <a:bodyPr/>
          <a:lstStyle/>
          <a:p>
            <a:fld id="{BAF04893-69FB-435D-AB2E-CA259D85B32F}" type="slidenum">
              <a:rPr lang="en-US" smtClean="0"/>
              <a:pPr/>
              <a:t>83</a:t>
            </a:fld>
            <a:endParaRPr lang="en-US"/>
          </a:p>
        </p:txBody>
      </p:sp>
      <p:sp>
        <p:nvSpPr>
          <p:cNvPr id="6" name="Inhaltsplatzhalter 5">
            <a:extLst>
              <a:ext uri="{FF2B5EF4-FFF2-40B4-BE49-F238E27FC236}">
                <a16:creationId xmlns:a16="http://schemas.microsoft.com/office/drawing/2014/main" id="{47837E85-005B-304C-91FD-68B539650161}"/>
              </a:ext>
            </a:extLst>
          </p:cNvPr>
          <p:cNvSpPr>
            <a:spLocks noGrp="1"/>
          </p:cNvSpPr>
          <p:nvPr>
            <p:ph idx="11"/>
          </p:nvPr>
        </p:nvSpPr>
        <p:spPr/>
        <p:txBody>
          <a:bodyPr/>
          <a:lstStyle/>
          <a:p>
            <a:r>
              <a:rPr lang="en-US"/>
              <a:t>https://research-methodology.net/uber-business-strategy-user-convenience-technological-innovation/</a:t>
            </a:r>
          </a:p>
        </p:txBody>
      </p:sp>
      <p:sp>
        <p:nvSpPr>
          <p:cNvPr id="7" name="Inhaltsplatzhalter 6">
            <a:extLst>
              <a:ext uri="{FF2B5EF4-FFF2-40B4-BE49-F238E27FC236}">
                <a16:creationId xmlns:a16="http://schemas.microsoft.com/office/drawing/2014/main" id="{73E6E0C4-5121-BE00-C470-A5F04A64BCE9}"/>
              </a:ext>
            </a:extLst>
          </p:cNvPr>
          <p:cNvSpPr>
            <a:spLocks noGrp="1"/>
          </p:cNvSpPr>
          <p:nvPr>
            <p:ph idx="12"/>
          </p:nvPr>
        </p:nvSpPr>
        <p:spPr/>
        <p:txBody>
          <a:bodyPr/>
          <a:lstStyle/>
          <a:p>
            <a:endParaRPr lang="en-US"/>
          </a:p>
        </p:txBody>
      </p:sp>
      <p:sp>
        <p:nvSpPr>
          <p:cNvPr id="8" name="Rechteck 7">
            <a:extLst>
              <a:ext uri="{FF2B5EF4-FFF2-40B4-BE49-F238E27FC236}">
                <a16:creationId xmlns:a16="http://schemas.microsoft.com/office/drawing/2014/main" id="{9A2FEE95-B2E9-EC0C-872D-24A8EBA98217}"/>
              </a:ext>
            </a:extLst>
          </p:cNvPr>
          <p:cNvSpPr/>
          <p:nvPr/>
        </p:nvSpPr>
        <p:spPr>
          <a:xfrm>
            <a:off x="359997" y="1989137"/>
            <a:ext cx="8568102" cy="569505"/>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b="1">
                <a:solidFill>
                  <a:schemeClr val="tx1"/>
                </a:solidFill>
              </a:rPr>
              <a:t>UBER Technologies Inc.</a:t>
            </a:r>
          </a:p>
        </p:txBody>
      </p:sp>
      <p:pic>
        <p:nvPicPr>
          <p:cNvPr id="14" name="Inhaltsplatzhalter 11" descr="Griechische Säule Silhouette">
            <a:extLst>
              <a:ext uri="{FF2B5EF4-FFF2-40B4-BE49-F238E27FC236}">
                <a16:creationId xmlns:a16="http://schemas.microsoft.com/office/drawing/2014/main" id="{CA314358-16ED-6C96-8DC1-E1529B78DE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08886" y="2372631"/>
            <a:ext cx="1926725" cy="1926725"/>
          </a:xfrm>
          <a:prstGeom prst="rect">
            <a:avLst/>
          </a:prstGeom>
        </p:spPr>
      </p:pic>
      <p:pic>
        <p:nvPicPr>
          <p:cNvPr id="15" name="Inhaltsplatzhalter 11" descr="Griechische Säule Silhouette">
            <a:extLst>
              <a:ext uri="{FF2B5EF4-FFF2-40B4-BE49-F238E27FC236}">
                <a16:creationId xmlns:a16="http://schemas.microsoft.com/office/drawing/2014/main" id="{2749564E-9A97-3FA5-5619-649BE65BDFA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65150" y="2372632"/>
            <a:ext cx="1926725" cy="1926725"/>
          </a:xfrm>
          <a:prstGeom prst="rect">
            <a:avLst/>
          </a:prstGeom>
        </p:spPr>
      </p:pic>
      <p:pic>
        <p:nvPicPr>
          <p:cNvPr id="16" name="Inhaltsplatzhalter 11" descr="Griechische Säule Silhouette">
            <a:extLst>
              <a:ext uri="{FF2B5EF4-FFF2-40B4-BE49-F238E27FC236}">
                <a16:creationId xmlns:a16="http://schemas.microsoft.com/office/drawing/2014/main" id="{54D358DA-F386-8D7F-31CA-69823047986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74649" y="2372632"/>
            <a:ext cx="1926725" cy="1926725"/>
          </a:xfrm>
          <a:prstGeom prst="rect">
            <a:avLst/>
          </a:prstGeom>
        </p:spPr>
      </p:pic>
      <p:sp>
        <p:nvSpPr>
          <p:cNvPr id="18" name="Inhaltsplatzhalter 17">
            <a:extLst>
              <a:ext uri="{FF2B5EF4-FFF2-40B4-BE49-F238E27FC236}">
                <a16:creationId xmlns:a16="http://schemas.microsoft.com/office/drawing/2014/main" id="{6FE92197-8415-18F1-42DE-F30220BC69CD}"/>
              </a:ext>
            </a:extLst>
          </p:cNvPr>
          <p:cNvSpPr>
            <a:spLocks noGrp="1"/>
          </p:cNvSpPr>
          <p:nvPr>
            <p:ph idx="10"/>
          </p:nvPr>
        </p:nvSpPr>
        <p:spPr/>
        <p:txBody>
          <a:bodyPr/>
          <a:lstStyle/>
          <a:p>
            <a:endParaRPr lang="en-US"/>
          </a:p>
        </p:txBody>
      </p:sp>
      <p:pic>
        <p:nvPicPr>
          <p:cNvPr id="19" name="Inhaltsplatzhalter 11" descr="Griechische Säule Silhouette">
            <a:extLst>
              <a:ext uri="{FF2B5EF4-FFF2-40B4-BE49-F238E27FC236}">
                <a16:creationId xmlns:a16="http://schemas.microsoft.com/office/drawing/2014/main" id="{484094F7-3BA3-F35B-C4E6-006F8E1693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4096" y="2372631"/>
            <a:ext cx="1926725" cy="1926725"/>
          </a:xfrm>
          <a:prstGeom prst="rect">
            <a:avLst/>
          </a:prstGeom>
        </p:spPr>
      </p:pic>
      <p:pic>
        <p:nvPicPr>
          <p:cNvPr id="20" name="Inhaltsplatzhalter 11" descr="Griechische Säule Silhouette">
            <a:extLst>
              <a:ext uri="{FF2B5EF4-FFF2-40B4-BE49-F238E27FC236}">
                <a16:creationId xmlns:a16="http://schemas.microsoft.com/office/drawing/2014/main" id="{1139D627-07C6-8FB9-A99E-C9B80955CEB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42856" y="2372634"/>
            <a:ext cx="1926725" cy="1926725"/>
          </a:xfrm>
          <a:prstGeom prst="rect">
            <a:avLst/>
          </a:prstGeom>
        </p:spPr>
      </p:pic>
      <p:pic>
        <p:nvPicPr>
          <p:cNvPr id="21" name="Inhaltsplatzhalter 11" descr="Griechische Säule Silhouette">
            <a:extLst>
              <a:ext uri="{FF2B5EF4-FFF2-40B4-BE49-F238E27FC236}">
                <a16:creationId xmlns:a16="http://schemas.microsoft.com/office/drawing/2014/main" id="{B130B3EB-7DDD-8425-D1D5-C5116EEE94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90731" y="2372635"/>
            <a:ext cx="1926725" cy="1926725"/>
          </a:xfrm>
          <a:prstGeom prst="rect">
            <a:avLst/>
          </a:prstGeom>
        </p:spPr>
      </p:pic>
      <p:pic>
        <p:nvPicPr>
          <p:cNvPr id="22" name="Inhaltsplatzhalter 11" descr="Griechische Säule Silhouette">
            <a:extLst>
              <a:ext uri="{FF2B5EF4-FFF2-40B4-BE49-F238E27FC236}">
                <a16:creationId xmlns:a16="http://schemas.microsoft.com/office/drawing/2014/main" id="{2B34E919-70EE-B071-83C7-65998027852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00230" y="2372635"/>
            <a:ext cx="1926725" cy="1926725"/>
          </a:xfrm>
          <a:prstGeom prst="rect">
            <a:avLst/>
          </a:prstGeom>
        </p:spPr>
      </p:pic>
      <p:pic>
        <p:nvPicPr>
          <p:cNvPr id="23" name="Inhaltsplatzhalter 11" descr="Griechische Säule Silhouette">
            <a:extLst>
              <a:ext uri="{FF2B5EF4-FFF2-40B4-BE49-F238E27FC236}">
                <a16:creationId xmlns:a16="http://schemas.microsoft.com/office/drawing/2014/main" id="{9F108B59-5F25-4355-06FF-71D41387BB1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9677" y="2372634"/>
            <a:ext cx="1926725" cy="1926725"/>
          </a:xfrm>
          <a:prstGeom prst="rect">
            <a:avLst/>
          </a:prstGeom>
        </p:spPr>
      </p:pic>
      <p:sp>
        <p:nvSpPr>
          <p:cNvPr id="25" name="Textfeld 24">
            <a:extLst>
              <a:ext uri="{FF2B5EF4-FFF2-40B4-BE49-F238E27FC236}">
                <a16:creationId xmlns:a16="http://schemas.microsoft.com/office/drawing/2014/main" id="{D562F553-92E2-3C38-DF91-80BCA4125F3B}"/>
              </a:ext>
            </a:extLst>
          </p:cNvPr>
          <p:cNvSpPr txBox="1"/>
          <p:nvPr/>
        </p:nvSpPr>
        <p:spPr>
          <a:xfrm>
            <a:off x="359997" y="4127619"/>
            <a:ext cx="1546850" cy="2492990"/>
          </a:xfrm>
          <a:prstGeom prst="rect">
            <a:avLst/>
          </a:prstGeom>
          <a:noFill/>
        </p:spPr>
        <p:txBody>
          <a:bodyPr wrap="square" rtlCol="0">
            <a:spAutoFit/>
          </a:bodyPr>
          <a:lstStyle/>
          <a:p>
            <a:pPr algn="ctr"/>
            <a:r>
              <a:rPr lang="en-US" sz="1200" b="1"/>
              <a:t>Erweitertes Serviceangebot</a:t>
            </a:r>
          </a:p>
          <a:p>
            <a:endParaRPr lang="en-US" sz="1200"/>
          </a:p>
          <a:p>
            <a:r>
              <a:rPr lang="en-US" sz="1200"/>
              <a:t>Angebot einer breiten Palette an Dienstleistungen. Wie z.B. :</a:t>
            </a:r>
          </a:p>
          <a:p>
            <a:pPr marL="171450" indent="-171450">
              <a:buFont typeface="Arial" panose="020B0604020202020204" pitchFamily="34" charset="0"/>
              <a:buChar char="•"/>
            </a:pPr>
            <a:r>
              <a:rPr lang="en-US" sz="1200"/>
              <a:t>UberX</a:t>
            </a:r>
          </a:p>
          <a:p>
            <a:pPr marL="171450" indent="-171450">
              <a:buFont typeface="Arial" panose="020B0604020202020204" pitchFamily="34" charset="0"/>
              <a:buChar char="•"/>
            </a:pPr>
            <a:r>
              <a:rPr lang="en-US" sz="1200"/>
              <a:t>UberPool</a:t>
            </a:r>
          </a:p>
          <a:p>
            <a:pPr marL="171450" indent="-171450">
              <a:buFont typeface="Arial" panose="020B0604020202020204" pitchFamily="34" charset="0"/>
              <a:buChar char="•"/>
            </a:pPr>
            <a:r>
              <a:rPr lang="en-US" sz="1200"/>
              <a:t>Uber Premium</a:t>
            </a:r>
          </a:p>
          <a:p>
            <a:pPr marL="171450" indent="-171450">
              <a:buFont typeface="Arial" panose="020B0604020202020204" pitchFamily="34" charset="0"/>
              <a:buChar char="•"/>
            </a:pPr>
            <a:r>
              <a:rPr lang="en-US" sz="1200"/>
              <a:t>UberXI</a:t>
            </a:r>
          </a:p>
          <a:p>
            <a:pPr marL="171450" indent="-171450">
              <a:buFont typeface="Arial" panose="020B0604020202020204" pitchFamily="34" charset="0"/>
              <a:buChar char="•"/>
            </a:pPr>
            <a:r>
              <a:rPr lang="en-US" sz="1200"/>
              <a:t>UberGo</a:t>
            </a:r>
            <a:br>
              <a:rPr lang="en-US" sz="1200"/>
            </a:br>
            <a:endParaRPr lang="en-US" sz="1200"/>
          </a:p>
        </p:txBody>
      </p:sp>
      <p:sp>
        <p:nvSpPr>
          <p:cNvPr id="26" name="Textfeld 25">
            <a:extLst>
              <a:ext uri="{FF2B5EF4-FFF2-40B4-BE49-F238E27FC236}">
                <a16:creationId xmlns:a16="http://schemas.microsoft.com/office/drawing/2014/main" id="{87BE9248-14C5-07D4-FCF7-A3206C5A6C6E}"/>
              </a:ext>
            </a:extLst>
          </p:cNvPr>
          <p:cNvSpPr txBox="1"/>
          <p:nvPr/>
        </p:nvSpPr>
        <p:spPr>
          <a:xfrm>
            <a:off x="2706989" y="4107706"/>
            <a:ext cx="1567518" cy="1938992"/>
          </a:xfrm>
          <a:prstGeom prst="rect">
            <a:avLst/>
          </a:prstGeom>
          <a:noFill/>
        </p:spPr>
        <p:txBody>
          <a:bodyPr wrap="square" rtlCol="0">
            <a:spAutoFit/>
          </a:bodyPr>
          <a:lstStyle/>
          <a:p>
            <a:pPr algn="ctr"/>
            <a:r>
              <a:rPr lang="en-US" sz="1200" b="1"/>
              <a:t>Hoher Nutzerkomfort</a:t>
            </a:r>
          </a:p>
          <a:p>
            <a:endParaRPr lang="en-US" sz="1200" b="1"/>
          </a:p>
          <a:p>
            <a:endParaRPr lang="en-US" sz="1200" b="1"/>
          </a:p>
          <a:p>
            <a:r>
              <a:rPr lang="en-US" sz="1200"/>
              <a:t>Anforderung, Ankunft, Zahlung und Problemlösung können über die Uber-App ohne großen Aufwand durchgeführt werden.</a:t>
            </a:r>
          </a:p>
        </p:txBody>
      </p:sp>
      <p:sp>
        <p:nvSpPr>
          <p:cNvPr id="27" name="Textfeld 26">
            <a:extLst>
              <a:ext uri="{FF2B5EF4-FFF2-40B4-BE49-F238E27FC236}">
                <a16:creationId xmlns:a16="http://schemas.microsoft.com/office/drawing/2014/main" id="{BB4989C7-2B20-5E43-CDA7-B81CA768626F}"/>
              </a:ext>
            </a:extLst>
          </p:cNvPr>
          <p:cNvSpPr txBox="1"/>
          <p:nvPr/>
        </p:nvSpPr>
        <p:spPr>
          <a:xfrm>
            <a:off x="5241661" y="4104806"/>
            <a:ext cx="1710824" cy="1754326"/>
          </a:xfrm>
          <a:prstGeom prst="rect">
            <a:avLst/>
          </a:prstGeom>
          <a:noFill/>
        </p:spPr>
        <p:txBody>
          <a:bodyPr wrap="square" rtlCol="0">
            <a:spAutoFit/>
          </a:bodyPr>
          <a:lstStyle/>
          <a:p>
            <a:pPr algn="ctr"/>
            <a:r>
              <a:rPr lang="en-US" sz="1200" b="1"/>
              <a:t>Kosteneinsparung durch Innovation</a:t>
            </a:r>
          </a:p>
          <a:p>
            <a:endParaRPr lang="en-US" sz="1200" b="1"/>
          </a:p>
          <a:p>
            <a:r>
              <a:rPr lang="en-US" sz="1200"/>
              <a:t>Dank innovativer Funktionen der App gestalten sich die laufenden Betriebskosten als sehr gering </a:t>
            </a:r>
          </a:p>
        </p:txBody>
      </p:sp>
      <p:sp>
        <p:nvSpPr>
          <p:cNvPr id="28" name="Textfeld 27">
            <a:extLst>
              <a:ext uri="{FF2B5EF4-FFF2-40B4-BE49-F238E27FC236}">
                <a16:creationId xmlns:a16="http://schemas.microsoft.com/office/drawing/2014/main" id="{53AC2810-83B1-8F0C-21BB-B3252179721B}"/>
              </a:ext>
            </a:extLst>
          </p:cNvPr>
          <p:cNvSpPr txBox="1"/>
          <p:nvPr/>
        </p:nvSpPr>
        <p:spPr>
          <a:xfrm>
            <a:off x="7536316" y="4067262"/>
            <a:ext cx="1339803" cy="2492990"/>
          </a:xfrm>
          <a:prstGeom prst="rect">
            <a:avLst/>
          </a:prstGeom>
          <a:noFill/>
        </p:spPr>
        <p:txBody>
          <a:bodyPr wrap="square" rtlCol="0">
            <a:spAutoFit/>
          </a:bodyPr>
          <a:lstStyle/>
          <a:p>
            <a:r>
              <a:rPr lang="en-US" sz="1200" b="1"/>
              <a:t>Wachstum durch Akquisition</a:t>
            </a:r>
          </a:p>
          <a:p>
            <a:endParaRPr lang="en-US" sz="1200" b="1"/>
          </a:p>
          <a:p>
            <a:r>
              <a:rPr lang="en-US" sz="1200"/>
              <a:t>Uber strebt ein schnelleres Wachstum an indem es Akquisition von ergänzenden Unternehmen anstrebt</a:t>
            </a:r>
          </a:p>
          <a:p>
            <a:endParaRPr lang="en-US" sz="1200" b="1"/>
          </a:p>
          <a:p>
            <a:endParaRPr lang="en-US" sz="1200" b="1"/>
          </a:p>
        </p:txBody>
      </p:sp>
    </p:spTree>
    <p:extLst>
      <p:ext uri="{BB962C8B-B14F-4D97-AF65-F5344CB8AC3E}">
        <p14:creationId xmlns:p14="http://schemas.microsoft.com/office/powerpoint/2010/main" val="14149108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AA135D-54EB-A20F-C715-6F5FD95F69B2}"/>
              </a:ext>
            </a:extLst>
          </p:cNvPr>
          <p:cNvSpPr>
            <a:spLocks noGrp="1"/>
          </p:cNvSpPr>
          <p:nvPr>
            <p:ph type="title"/>
          </p:nvPr>
        </p:nvSpPr>
        <p:spPr/>
        <p:txBody>
          <a:bodyPr/>
          <a:lstStyle/>
          <a:p>
            <a:r>
              <a:rPr lang="en-US"/>
              <a:t>Ubers innovative Strategien in der Personenbeförderungsbranche</a:t>
            </a:r>
          </a:p>
        </p:txBody>
      </p:sp>
      <p:sp>
        <p:nvSpPr>
          <p:cNvPr id="3" name="Inhaltsplatzhalter 2">
            <a:extLst>
              <a:ext uri="{FF2B5EF4-FFF2-40B4-BE49-F238E27FC236}">
                <a16:creationId xmlns:a16="http://schemas.microsoft.com/office/drawing/2014/main" id="{6CE9B396-42D9-C6D2-386A-9A00AFD22DB6}"/>
              </a:ext>
            </a:extLst>
          </p:cNvPr>
          <p:cNvSpPr>
            <a:spLocks noGrp="1"/>
          </p:cNvSpPr>
          <p:nvPr>
            <p:ph idx="1"/>
          </p:nvPr>
        </p:nvSpPr>
        <p:spPr/>
        <p:txBody>
          <a:bodyPr/>
          <a:lstStyle/>
          <a:p>
            <a:r>
              <a:rPr lang="en-US" sz="1200"/>
              <a:t>Uber hat durch disruptive Strategien die Taxi- und Personenbeförderungsbranche revolutioniert. Diese enthalten folgende Schlüsselelemente:</a:t>
            </a:r>
          </a:p>
          <a:p>
            <a:pPr marL="342900" indent="-342900">
              <a:buFont typeface="+mj-lt"/>
              <a:buAutoNum type="arabicPeriod"/>
            </a:pPr>
            <a:r>
              <a:rPr lang="en-US" sz="1200" b="1"/>
              <a:t>Beseitigung von Transaktionskosten</a:t>
            </a:r>
          </a:p>
          <a:p>
            <a:pPr lvl="2"/>
            <a:r>
              <a:rPr lang="en-US" sz="1200"/>
              <a:t>Buchung von Fahrten über die App ohne dass zusätzliche Gebühren anfallen</a:t>
            </a:r>
          </a:p>
          <a:p>
            <a:pPr marL="342900" indent="-342900">
              <a:buFont typeface="+mj-lt"/>
              <a:buAutoNum type="arabicPeriod"/>
            </a:pPr>
            <a:r>
              <a:rPr lang="en-US" sz="1200" b="1"/>
              <a:t>Förderung der Produktivität z.B. durch Car-Sharing</a:t>
            </a:r>
          </a:p>
          <a:p>
            <a:pPr lvl="2"/>
            <a:r>
              <a:rPr lang="en-US" sz="1200"/>
              <a:t>Umwandlung von ungenutzten Vermögenswerten zu Ressourcen</a:t>
            </a:r>
          </a:p>
          <a:p>
            <a:pPr marL="342900" indent="-342900">
              <a:buFont typeface="+mj-lt"/>
              <a:buAutoNum type="arabicPeriod"/>
            </a:pPr>
            <a:r>
              <a:rPr lang="en-US" sz="1200" b="1"/>
              <a:t>Nutzung modernster Technologien</a:t>
            </a:r>
          </a:p>
          <a:p>
            <a:pPr lvl="2"/>
            <a:r>
              <a:rPr lang="en-US" sz="1200"/>
              <a:t>Einsatz von GPS, Echtzeit-Tracking und Überwachung um Benutzererfahrung zu optimieren</a:t>
            </a:r>
          </a:p>
          <a:p>
            <a:pPr marL="342900" indent="-342900">
              <a:buFont typeface="+mj-lt"/>
              <a:buAutoNum type="arabicPeriod"/>
            </a:pPr>
            <a:r>
              <a:rPr lang="en-US" sz="1200" b="1"/>
              <a:t>Variable und flexible Preisgestaltung</a:t>
            </a:r>
          </a:p>
          <a:p>
            <a:pPr lvl="2"/>
            <a:r>
              <a:rPr lang="en-US" sz="1200"/>
              <a:t>Flexibilität im Preismodell, welches an keine Tarifvorschriften gebunden ist. </a:t>
            </a:r>
          </a:p>
          <a:p>
            <a:pPr marL="342900" indent="-342900">
              <a:buFont typeface="+mj-lt"/>
              <a:buAutoNum type="arabicPeriod"/>
            </a:pPr>
            <a:r>
              <a:rPr lang="en-US" sz="1200" b="1"/>
              <a:t>Bequeme Zahlung</a:t>
            </a:r>
          </a:p>
          <a:p>
            <a:pPr lvl="2"/>
            <a:r>
              <a:rPr lang="en-US" sz="1200"/>
              <a:t>Bargeldloses Transaktionssystem gewährleistet eine unkomplizierte Zahlung</a:t>
            </a:r>
          </a:p>
          <a:p>
            <a:pPr marL="342900" indent="-342900">
              <a:buFont typeface="+mj-lt"/>
              <a:buAutoNum type="arabicPeriod"/>
            </a:pPr>
            <a:r>
              <a:rPr lang="en-US" sz="1200" b="1"/>
              <a:t>Qualitätskontrolle durch Bewertungssystem</a:t>
            </a:r>
          </a:p>
          <a:p>
            <a:pPr lvl="2"/>
            <a:r>
              <a:rPr lang="en-US" sz="1200"/>
              <a:t>Fahrer, welche untere inen von Uber festgelegten Schwellenwert fallen riskieren die Entfernung. Somit streben sie immer einen qualitativ hochwertigen Service an.</a:t>
            </a:r>
          </a:p>
          <a:p>
            <a:pPr marL="342900" indent="-342900">
              <a:buFont typeface="+mj-lt"/>
              <a:buAutoNum type="arabicPeriod"/>
            </a:pPr>
            <a:r>
              <a:rPr lang="en-US" sz="1200" b="1"/>
              <a:t>Aggressive &amp; kontroverse Maßnahmen</a:t>
            </a:r>
          </a:p>
          <a:p>
            <a:pPr lvl="2"/>
            <a:r>
              <a:rPr lang="en-US" sz="1200"/>
              <a:t>Durch kontroverse Maßnahmen versuch Uber seiner Konkurrenz voraus zu sein. Dies kann dazu führen, dass lokale Regelungen herausgefordert werden</a:t>
            </a:r>
          </a:p>
        </p:txBody>
      </p:sp>
      <p:sp>
        <p:nvSpPr>
          <p:cNvPr id="4" name="Foliennummernplatzhalter 3">
            <a:extLst>
              <a:ext uri="{FF2B5EF4-FFF2-40B4-BE49-F238E27FC236}">
                <a16:creationId xmlns:a16="http://schemas.microsoft.com/office/drawing/2014/main" id="{6A4FB9BB-756A-E862-00C6-8F9B54C4B77A}"/>
              </a:ext>
            </a:extLst>
          </p:cNvPr>
          <p:cNvSpPr>
            <a:spLocks noGrp="1"/>
          </p:cNvSpPr>
          <p:nvPr>
            <p:ph type="sldNum" sz="quarter" idx="4"/>
          </p:nvPr>
        </p:nvSpPr>
        <p:spPr/>
        <p:txBody>
          <a:bodyPr/>
          <a:lstStyle/>
          <a:p>
            <a:fld id="{BAF04893-69FB-435D-AB2E-CA259D85B32F}" type="slidenum">
              <a:rPr lang="en-US" smtClean="0"/>
              <a:pPr/>
              <a:t>84</a:t>
            </a:fld>
            <a:endParaRPr lang="en-US"/>
          </a:p>
        </p:txBody>
      </p:sp>
      <p:sp>
        <p:nvSpPr>
          <p:cNvPr id="5" name="Inhaltsplatzhalter 4">
            <a:extLst>
              <a:ext uri="{FF2B5EF4-FFF2-40B4-BE49-F238E27FC236}">
                <a16:creationId xmlns:a16="http://schemas.microsoft.com/office/drawing/2014/main" id="{E330FE02-62CD-7299-8DB8-8525CDC3945A}"/>
              </a:ext>
            </a:extLst>
          </p:cNvPr>
          <p:cNvSpPr>
            <a:spLocks noGrp="1"/>
          </p:cNvSpPr>
          <p:nvPr>
            <p:ph idx="10"/>
          </p:nvPr>
        </p:nvSpPr>
        <p:spPr/>
        <p:txBody>
          <a:bodyPr/>
          <a:lstStyle/>
          <a:p>
            <a:endParaRPr lang="en-US"/>
          </a:p>
        </p:txBody>
      </p:sp>
      <p:sp>
        <p:nvSpPr>
          <p:cNvPr id="6" name="Inhaltsplatzhalter 5">
            <a:extLst>
              <a:ext uri="{FF2B5EF4-FFF2-40B4-BE49-F238E27FC236}">
                <a16:creationId xmlns:a16="http://schemas.microsoft.com/office/drawing/2014/main" id="{886743A3-ABBB-1335-55D0-3118159C96C3}"/>
              </a:ext>
            </a:extLst>
          </p:cNvPr>
          <p:cNvSpPr>
            <a:spLocks noGrp="1"/>
          </p:cNvSpPr>
          <p:nvPr>
            <p:ph idx="11"/>
          </p:nvPr>
        </p:nvSpPr>
        <p:spPr/>
        <p:txBody>
          <a:bodyPr/>
          <a:lstStyle/>
          <a:p>
            <a:r>
              <a:rPr lang="en-US"/>
              <a:t>https://cleverism.com/strategies-uber-is-using-to-disrupt-the-taxi-industry/</a:t>
            </a:r>
          </a:p>
        </p:txBody>
      </p:sp>
      <p:sp>
        <p:nvSpPr>
          <p:cNvPr id="7" name="Inhaltsplatzhalter 6">
            <a:extLst>
              <a:ext uri="{FF2B5EF4-FFF2-40B4-BE49-F238E27FC236}">
                <a16:creationId xmlns:a16="http://schemas.microsoft.com/office/drawing/2014/main" id="{E003F319-747C-CD47-201C-E840570C5734}"/>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40384547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feld 14">
            <a:extLst>
              <a:ext uri="{FF2B5EF4-FFF2-40B4-BE49-F238E27FC236}">
                <a16:creationId xmlns:a16="http://schemas.microsoft.com/office/drawing/2014/main" id="{69666332-2742-460B-8935-F99E0470C832}"/>
              </a:ext>
            </a:extLst>
          </p:cNvPr>
          <p:cNvSpPr txBox="1"/>
          <p:nvPr/>
        </p:nvSpPr>
        <p:spPr>
          <a:xfrm>
            <a:off x="6293467" y="4257228"/>
            <a:ext cx="2480910" cy="2031325"/>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US" sz="1400"/>
              <a:t>Das MVP von Uber war die </a:t>
            </a:r>
            <a:r>
              <a:rPr lang="en-US" sz="1400" b="1"/>
              <a:t>erste Version</a:t>
            </a:r>
            <a:r>
              <a:rPr lang="en-US" sz="1400"/>
              <a:t> ihrer mobilen </a:t>
            </a:r>
            <a:r>
              <a:rPr lang="en-US" sz="1400" b="1"/>
              <a:t>App</a:t>
            </a:r>
            <a:r>
              <a:rPr lang="en-US" sz="1400"/>
              <a:t>, die grundlegende Funktionen zur Buchung von Fahrten und zur Abwicklung von Zahlungen bot. Es war einfach, aber funktional und erfüllte das </a:t>
            </a:r>
          </a:p>
          <a:p>
            <a:r>
              <a:rPr lang="en-US" sz="1400"/>
              <a:t>Kernproblem.</a:t>
            </a:r>
          </a:p>
        </p:txBody>
      </p:sp>
      <p:sp>
        <p:nvSpPr>
          <p:cNvPr id="13" name="Textfeld 12">
            <a:extLst>
              <a:ext uri="{FF2B5EF4-FFF2-40B4-BE49-F238E27FC236}">
                <a16:creationId xmlns:a16="http://schemas.microsoft.com/office/drawing/2014/main" id="{005FFFB9-3D04-630C-760C-BEF395E0226B}"/>
              </a:ext>
            </a:extLst>
          </p:cNvPr>
          <p:cNvSpPr txBox="1"/>
          <p:nvPr/>
        </p:nvSpPr>
        <p:spPr>
          <a:xfrm>
            <a:off x="6293467" y="2265318"/>
            <a:ext cx="2480910" cy="1815882"/>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US" sz="1400"/>
              <a:t>Entwicklung einer einfachen </a:t>
            </a:r>
            <a:r>
              <a:rPr lang="en-US" sz="1400" b="1"/>
              <a:t>mobilen App</a:t>
            </a:r>
            <a:r>
              <a:rPr lang="en-US" sz="1400"/>
              <a:t>. In der es </a:t>
            </a:r>
            <a:r>
              <a:rPr lang="en-US" sz="1400" b="1"/>
              <a:t>Nutzern</a:t>
            </a:r>
            <a:r>
              <a:rPr lang="en-US" sz="1400"/>
              <a:t> ermöglicht wird, </a:t>
            </a:r>
            <a:r>
              <a:rPr lang="en-US" sz="1400" b="1"/>
              <a:t>Fahrten zu buchen</a:t>
            </a:r>
            <a:r>
              <a:rPr lang="en-US" sz="1400"/>
              <a:t> und zu </a:t>
            </a:r>
            <a:r>
              <a:rPr lang="en-US" sz="1400" b="1"/>
              <a:t>bezahlen</a:t>
            </a:r>
            <a:r>
              <a:rPr lang="en-US" sz="1400"/>
              <a:t>. </a:t>
            </a:r>
          </a:p>
          <a:p>
            <a:r>
              <a:rPr lang="en-US" sz="1400"/>
              <a:t>Sie erstellten auch eine Plattform für </a:t>
            </a:r>
            <a:r>
              <a:rPr lang="en-US" sz="1400" b="1"/>
              <a:t>Fahrer</a:t>
            </a:r>
            <a:r>
              <a:rPr lang="en-US" sz="1400"/>
              <a:t>, um sich anzumelden und </a:t>
            </a:r>
            <a:r>
              <a:rPr lang="en-US" sz="1400" b="1"/>
              <a:t>Fahrten anzubieten</a:t>
            </a:r>
            <a:r>
              <a:rPr lang="en-US" sz="1400"/>
              <a:t>.</a:t>
            </a:r>
          </a:p>
        </p:txBody>
      </p:sp>
      <p:sp>
        <p:nvSpPr>
          <p:cNvPr id="2" name="Titel 1">
            <a:extLst>
              <a:ext uri="{FF2B5EF4-FFF2-40B4-BE49-F238E27FC236}">
                <a16:creationId xmlns:a16="http://schemas.microsoft.com/office/drawing/2014/main" id="{BC6D95C7-6189-B544-74D6-3D42505525EF}"/>
              </a:ext>
            </a:extLst>
          </p:cNvPr>
          <p:cNvSpPr>
            <a:spLocks noGrp="1"/>
          </p:cNvSpPr>
          <p:nvPr>
            <p:ph type="title"/>
          </p:nvPr>
        </p:nvSpPr>
        <p:spPr>
          <a:xfrm>
            <a:off x="359998" y="1268413"/>
            <a:ext cx="8568102" cy="646747"/>
          </a:xfrm>
        </p:spPr>
        <p:txBody>
          <a:bodyPr/>
          <a:lstStyle/>
          <a:p>
            <a:r>
              <a:rPr lang="en-US"/>
              <a:t>Anwendung Uber – Lean-Startup-Methode </a:t>
            </a:r>
          </a:p>
        </p:txBody>
      </p:sp>
      <p:sp>
        <p:nvSpPr>
          <p:cNvPr id="4" name="Foliennummernplatzhalter 3">
            <a:extLst>
              <a:ext uri="{FF2B5EF4-FFF2-40B4-BE49-F238E27FC236}">
                <a16:creationId xmlns:a16="http://schemas.microsoft.com/office/drawing/2014/main" id="{4DB221D8-DA39-0548-1160-552BF68FC80E}"/>
              </a:ext>
            </a:extLst>
          </p:cNvPr>
          <p:cNvSpPr>
            <a:spLocks noGrp="1"/>
          </p:cNvSpPr>
          <p:nvPr>
            <p:ph type="sldNum" sz="quarter" idx="4"/>
          </p:nvPr>
        </p:nvSpPr>
        <p:spPr/>
        <p:txBody>
          <a:bodyPr/>
          <a:lstStyle/>
          <a:p>
            <a:fld id="{BAF04893-69FB-435D-AB2E-CA259D85B32F}" type="slidenum">
              <a:rPr lang="en-US" smtClean="0"/>
              <a:pPr/>
              <a:t>85</a:t>
            </a:fld>
            <a:endParaRPr lang="en-US"/>
          </a:p>
        </p:txBody>
      </p:sp>
      <p:sp>
        <p:nvSpPr>
          <p:cNvPr id="6" name="Inhaltsplatzhalter 5">
            <a:extLst>
              <a:ext uri="{FF2B5EF4-FFF2-40B4-BE49-F238E27FC236}">
                <a16:creationId xmlns:a16="http://schemas.microsoft.com/office/drawing/2014/main" id="{4CC9AB60-1732-E120-EF63-271B4254503F}"/>
              </a:ext>
            </a:extLst>
          </p:cNvPr>
          <p:cNvSpPr>
            <a:spLocks noGrp="1"/>
          </p:cNvSpPr>
          <p:nvPr>
            <p:ph idx="11"/>
          </p:nvPr>
        </p:nvSpPr>
        <p:spPr/>
        <p:txBody>
          <a:bodyPr/>
          <a:lstStyle/>
          <a:p>
            <a:r>
              <a:rPr lang="en-US"/>
              <a:t>Isaac, Mike – Super pumped the Battle for Uber</a:t>
            </a:r>
          </a:p>
        </p:txBody>
      </p:sp>
      <p:pic>
        <p:nvPicPr>
          <p:cNvPr id="18" name="Inhaltsplatzhalter 17" descr="Smartphone Silhouette">
            <a:extLst>
              <a:ext uri="{FF2B5EF4-FFF2-40B4-BE49-F238E27FC236}">
                <a16:creationId xmlns:a16="http://schemas.microsoft.com/office/drawing/2014/main" id="{F11D5CE4-A9D1-C262-AD4B-A8CA1F66F470}"/>
              </a:ext>
            </a:extLst>
          </p:cNvPr>
          <p:cNvPicPr>
            <a:picLocks noGrp="1" noChangeAspect="1"/>
          </p:cNvPicPr>
          <p:nvPr>
            <p:ph idx="12"/>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11155" y="5918278"/>
            <a:ext cx="298450" cy="298450"/>
          </a:xfrm>
        </p:spPr>
      </p:pic>
      <p:graphicFrame>
        <p:nvGraphicFramePr>
          <p:cNvPr id="10" name="Inhaltsplatzhalter 9">
            <a:extLst>
              <a:ext uri="{FF2B5EF4-FFF2-40B4-BE49-F238E27FC236}">
                <a16:creationId xmlns:a16="http://schemas.microsoft.com/office/drawing/2014/main" id="{693AA5A3-2658-807D-F0A0-275C0EAE20F5}"/>
              </a:ext>
            </a:extLst>
          </p:cNvPr>
          <p:cNvGraphicFramePr>
            <a:graphicFrameLocks noGrp="1"/>
          </p:cNvGraphicFramePr>
          <p:nvPr>
            <p:ph idx="1"/>
            <p:extLst>
              <p:ext uri="{D42A27DB-BD31-4B8C-83A1-F6EECF244321}">
                <p14:modId xmlns:p14="http://schemas.microsoft.com/office/powerpoint/2010/main" val="3071032070"/>
              </p:ext>
            </p:extLst>
          </p:nvPr>
        </p:nvGraphicFramePr>
        <p:xfrm>
          <a:off x="2979749" y="2239198"/>
          <a:ext cx="3184502" cy="318758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1" name="Textfeld 10">
            <a:extLst>
              <a:ext uri="{FF2B5EF4-FFF2-40B4-BE49-F238E27FC236}">
                <a16:creationId xmlns:a16="http://schemas.microsoft.com/office/drawing/2014/main" id="{05B32D8E-E784-C18B-AC56-86CB46601281}"/>
              </a:ext>
            </a:extLst>
          </p:cNvPr>
          <p:cNvSpPr txBox="1"/>
          <p:nvPr/>
        </p:nvSpPr>
        <p:spPr>
          <a:xfrm>
            <a:off x="266231" y="1829607"/>
            <a:ext cx="8519461" cy="307176"/>
          </a:xfrm>
          <a:prstGeom prst="rect">
            <a:avLst/>
          </a:prstGeom>
          <a:solidFill>
            <a:schemeClr val="accent2">
              <a:lumMod val="40000"/>
              <a:lumOff val="60000"/>
            </a:schemeClr>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defPPr>
              <a:defRPr lang="de-DE"/>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a:solidFill>
                  <a:schemeClr val="dk1"/>
                </a:solidFill>
              </a:rPr>
              <a:t>Problemlösung, um einfach ein Taxi in überfüllten oder unterversorgten städtischen Gebieten zu finden.</a:t>
            </a:r>
          </a:p>
        </p:txBody>
      </p:sp>
      <p:sp>
        <p:nvSpPr>
          <p:cNvPr id="17" name="Textfeld 16">
            <a:extLst>
              <a:ext uri="{FF2B5EF4-FFF2-40B4-BE49-F238E27FC236}">
                <a16:creationId xmlns:a16="http://schemas.microsoft.com/office/drawing/2014/main" id="{5486E49B-2E04-AAED-0956-BBE3606B2D94}"/>
              </a:ext>
            </a:extLst>
          </p:cNvPr>
          <p:cNvSpPr txBox="1"/>
          <p:nvPr/>
        </p:nvSpPr>
        <p:spPr>
          <a:xfrm>
            <a:off x="254915" y="5549889"/>
            <a:ext cx="5791923" cy="73866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US" sz="1400"/>
              <a:t>Uber begann, Metriken zu sammeln, wie die Anzahl der gebuchten Fahrten und die Zufriedenheit der Kunden. Sie begannen, diese </a:t>
            </a:r>
            <a:r>
              <a:rPr lang="en-US" sz="1400" b="1"/>
              <a:t>Daten</a:t>
            </a:r>
            <a:r>
              <a:rPr lang="en-US" sz="1400"/>
              <a:t> zu </a:t>
            </a:r>
            <a:r>
              <a:rPr lang="en-US" sz="1400" b="1"/>
              <a:t>messen</a:t>
            </a:r>
            <a:r>
              <a:rPr lang="en-US" sz="1400"/>
              <a:t> und zu </a:t>
            </a:r>
            <a:r>
              <a:rPr lang="en-US" sz="1400" b="1"/>
              <a:t>analysieren</a:t>
            </a:r>
            <a:r>
              <a:rPr lang="en-US" sz="1400"/>
              <a:t>.</a:t>
            </a:r>
          </a:p>
        </p:txBody>
      </p:sp>
      <p:sp>
        <p:nvSpPr>
          <p:cNvPr id="19" name="Textfeld 18">
            <a:extLst>
              <a:ext uri="{FF2B5EF4-FFF2-40B4-BE49-F238E27FC236}">
                <a16:creationId xmlns:a16="http://schemas.microsoft.com/office/drawing/2014/main" id="{A33B3735-A08A-12A7-50B8-6602D5B75EAD}"/>
              </a:ext>
            </a:extLst>
          </p:cNvPr>
          <p:cNvSpPr txBox="1"/>
          <p:nvPr/>
        </p:nvSpPr>
        <p:spPr>
          <a:xfrm>
            <a:off x="254915" y="4257228"/>
            <a:ext cx="2653200" cy="116955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US" sz="1400"/>
              <a:t>Uber sammelte umfangreiche Daten über die Nutzeraktivitäten, die Fahrerleistungen und die Nutzungsmuster. Diese </a:t>
            </a:r>
            <a:r>
              <a:rPr lang="en-US" sz="1400" b="1"/>
              <a:t>Daten</a:t>
            </a:r>
            <a:r>
              <a:rPr lang="en-US" sz="1400"/>
              <a:t> wurden erfasst und </a:t>
            </a:r>
            <a:r>
              <a:rPr lang="en-US" sz="1400" b="1"/>
              <a:t>analysiert</a:t>
            </a:r>
            <a:r>
              <a:rPr lang="en-US" sz="1400"/>
              <a:t>.</a:t>
            </a:r>
          </a:p>
        </p:txBody>
      </p:sp>
      <p:sp>
        <p:nvSpPr>
          <p:cNvPr id="21" name="Textfeld 20">
            <a:extLst>
              <a:ext uri="{FF2B5EF4-FFF2-40B4-BE49-F238E27FC236}">
                <a16:creationId xmlns:a16="http://schemas.microsoft.com/office/drawing/2014/main" id="{690F1287-73B9-F996-2010-05CEA690778F}"/>
              </a:ext>
            </a:extLst>
          </p:cNvPr>
          <p:cNvSpPr txBox="1"/>
          <p:nvPr/>
        </p:nvSpPr>
        <p:spPr>
          <a:xfrm>
            <a:off x="254915" y="2265318"/>
            <a:ext cx="2653200" cy="1815882"/>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US" sz="1400"/>
              <a:t>Basierend auf den </a:t>
            </a:r>
            <a:r>
              <a:rPr lang="en-US" sz="1400" b="1"/>
              <a:t>gesammelten Daten</a:t>
            </a:r>
            <a:r>
              <a:rPr lang="en-US" sz="1400"/>
              <a:t> begann Uber zu </a:t>
            </a:r>
            <a:r>
              <a:rPr lang="en-US" sz="1400" b="1"/>
              <a:t>lernen</a:t>
            </a:r>
            <a:r>
              <a:rPr lang="en-US" sz="1400"/>
              <a:t>. </a:t>
            </a:r>
          </a:p>
          <a:p>
            <a:r>
              <a:rPr lang="en-US" sz="1400"/>
              <a:t>Sie identifizierten Bereiche, in denen sie Verbesserungen vornehmen konnten, wie die Verbesserung der Fahrerleistung.</a:t>
            </a:r>
          </a:p>
          <a:p>
            <a:r>
              <a:rPr lang="en-US" sz="1400"/>
              <a:t>Sie </a:t>
            </a:r>
            <a:r>
              <a:rPr lang="en-US" sz="1400" b="1"/>
              <a:t>passten</a:t>
            </a:r>
            <a:r>
              <a:rPr lang="en-US" sz="1400"/>
              <a:t> ihre </a:t>
            </a:r>
            <a:r>
              <a:rPr lang="en-US" sz="1400" b="1"/>
              <a:t>App</a:t>
            </a:r>
            <a:r>
              <a:rPr lang="en-US" sz="1400"/>
              <a:t> und ihre </a:t>
            </a:r>
            <a:r>
              <a:rPr lang="en-US" sz="1400" b="1"/>
              <a:t>Dienstleistungen an</a:t>
            </a:r>
            <a:r>
              <a:rPr lang="en-US" sz="1400"/>
              <a:t>.</a:t>
            </a:r>
          </a:p>
        </p:txBody>
      </p:sp>
      <p:pic>
        <p:nvPicPr>
          <p:cNvPr id="3" name="Inhaltsplatzhalter 156" descr="Lichter an Silhouette">
            <a:extLst>
              <a:ext uri="{FF2B5EF4-FFF2-40B4-BE49-F238E27FC236}">
                <a16:creationId xmlns:a16="http://schemas.microsoft.com/office/drawing/2014/main" id="{C980055A-70B8-A2E6-1057-0CB2AFF79D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07753" y="2285633"/>
            <a:ext cx="314911" cy="314911"/>
          </a:xfrm>
          <a:prstGeom prst="rect">
            <a:avLst/>
          </a:prstGeom>
        </p:spPr>
      </p:pic>
      <p:pic>
        <p:nvPicPr>
          <p:cNvPr id="8" name="Grafik 7" descr="Datenbank Silhouette">
            <a:extLst>
              <a:ext uri="{FF2B5EF4-FFF2-40B4-BE49-F238E27FC236}">
                <a16:creationId xmlns:a16="http://schemas.microsoft.com/office/drawing/2014/main" id="{596D404B-1123-FC3A-0E97-CF20A415172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380566" y="4088895"/>
            <a:ext cx="320720" cy="320720"/>
          </a:xfrm>
          <a:prstGeom prst="rect">
            <a:avLst/>
          </a:prstGeom>
        </p:spPr>
      </p:pic>
      <p:pic>
        <p:nvPicPr>
          <p:cNvPr id="9" name="Inhaltsplatzhalter 159" descr="Schraubenschlüssel Silhouette">
            <a:extLst>
              <a:ext uri="{FF2B5EF4-FFF2-40B4-BE49-F238E27FC236}">
                <a16:creationId xmlns:a16="http://schemas.microsoft.com/office/drawing/2014/main" id="{CD544FC6-6175-9541-C497-F5A3B498EE6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442715" y="4076893"/>
            <a:ext cx="307649" cy="307649"/>
          </a:xfrm>
          <a:prstGeom prst="rect">
            <a:avLst/>
          </a:prstGeom>
        </p:spPr>
      </p:pic>
      <p:pic>
        <p:nvPicPr>
          <p:cNvPr id="22" name="Grafik 21" descr="Taxi Silhouette">
            <a:extLst>
              <a:ext uri="{FF2B5EF4-FFF2-40B4-BE49-F238E27FC236}">
                <a16:creationId xmlns:a16="http://schemas.microsoft.com/office/drawing/2014/main" id="{872C4CC7-8536-B086-FCAE-44C1C6DB65C2}"/>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226504" y="5859538"/>
            <a:ext cx="378681" cy="378681"/>
          </a:xfrm>
          <a:prstGeom prst="rect">
            <a:avLst/>
          </a:prstGeom>
        </p:spPr>
      </p:pic>
      <p:pic>
        <p:nvPicPr>
          <p:cNvPr id="24" name="Grafik 23" descr="Chat Silhouette">
            <a:extLst>
              <a:ext uri="{FF2B5EF4-FFF2-40B4-BE49-F238E27FC236}">
                <a16:creationId xmlns:a16="http://schemas.microsoft.com/office/drawing/2014/main" id="{FE91CE30-DF3A-3C46-37B3-48E792A95CBE}"/>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911593" y="5880326"/>
            <a:ext cx="314911" cy="314911"/>
          </a:xfrm>
          <a:prstGeom prst="rect">
            <a:avLst/>
          </a:prstGeom>
        </p:spPr>
      </p:pic>
      <p:sp>
        <p:nvSpPr>
          <p:cNvPr id="26" name="Inhaltsplatzhalter 25">
            <a:extLst>
              <a:ext uri="{FF2B5EF4-FFF2-40B4-BE49-F238E27FC236}">
                <a16:creationId xmlns:a16="http://schemas.microsoft.com/office/drawing/2014/main" id="{8155E7F5-FA23-E675-B30D-0338B169224F}"/>
              </a:ext>
            </a:extLst>
          </p:cNvPr>
          <p:cNvSpPr>
            <a:spLocks noGrp="1"/>
          </p:cNvSpPr>
          <p:nvPr>
            <p:ph idx="10"/>
          </p:nvPr>
        </p:nvSpPr>
        <p:spPr/>
        <p:txBody>
          <a:bodyPr/>
          <a:lstStyle/>
          <a:p>
            <a:r>
              <a:rPr lang="en-US"/>
              <a:t>Innovation Roadmap?</a:t>
            </a:r>
          </a:p>
        </p:txBody>
      </p:sp>
    </p:spTree>
    <p:extLst>
      <p:ext uri="{BB962C8B-B14F-4D97-AF65-F5344CB8AC3E}">
        <p14:creationId xmlns:p14="http://schemas.microsoft.com/office/powerpoint/2010/main" val="140372433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FD615A3-2335-50D6-E753-6860EEE234B7}"/>
              </a:ext>
            </a:extLst>
          </p:cNvPr>
          <p:cNvGraphicFramePr>
            <a:graphicFrameLocks noChangeAspect="1"/>
          </p:cNvGraphicFramePr>
          <p:nvPr>
            <p:custDataLst>
              <p:tags r:id="rId1"/>
            </p:custDataLst>
            <p:extLst>
              <p:ext uri="{D42A27DB-BD31-4B8C-83A1-F6EECF244321}">
                <p14:modId xmlns:p14="http://schemas.microsoft.com/office/powerpoint/2010/main" val="690155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4" name="think-cell data - do not delete" hidden="1">
                        <a:extLst>
                          <a:ext uri="{FF2B5EF4-FFF2-40B4-BE49-F238E27FC236}">
                            <a16:creationId xmlns:a16="http://schemas.microsoft.com/office/drawing/2014/main" id="{BFD615A3-2335-50D6-E753-6860EEE234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2D65226-42BA-4127-2AAA-561630E0985C}"/>
              </a:ext>
            </a:extLst>
          </p:cNvPr>
          <p:cNvSpPr>
            <a:spLocks noGrp="1"/>
          </p:cNvSpPr>
          <p:nvPr>
            <p:ph type="title"/>
          </p:nvPr>
        </p:nvSpPr>
        <p:spPr>
          <a:xfrm>
            <a:off x="360000" y="1980000"/>
            <a:ext cx="8550000" cy="1384995"/>
          </a:xfrm>
        </p:spPr>
        <p:txBody>
          <a:bodyPr vert="horz"/>
          <a:lstStyle/>
          <a:p>
            <a:r>
              <a:rPr lang="en-US"/>
              <a:t>Frage 6: Stakeholder Main – Folien 3</a:t>
            </a:r>
          </a:p>
        </p:txBody>
      </p:sp>
      <p:sp>
        <p:nvSpPr>
          <p:cNvPr id="3" name="Textplatzhalter 2">
            <a:extLst>
              <a:ext uri="{FF2B5EF4-FFF2-40B4-BE49-F238E27FC236}">
                <a16:creationId xmlns:a16="http://schemas.microsoft.com/office/drawing/2014/main" id="{4D2392A8-4AA4-3D9A-F991-CCE602E37FBC}"/>
              </a:ext>
            </a:extLst>
          </p:cNvPr>
          <p:cNvSpPr>
            <a:spLocks noGrp="1"/>
          </p:cNvSpPr>
          <p:nvPr>
            <p:ph type="body" idx="1"/>
          </p:nvPr>
        </p:nvSpPr>
        <p:spPr/>
        <p:txBody>
          <a:bodyPr/>
          <a:lstStyle/>
          <a:p>
            <a:r>
              <a:rPr lang="en-US"/>
              <a:t>Kevin Clausen</a:t>
            </a:r>
          </a:p>
        </p:txBody>
      </p:sp>
    </p:spTree>
    <p:extLst>
      <p:ext uri="{BB962C8B-B14F-4D97-AF65-F5344CB8AC3E}">
        <p14:creationId xmlns:p14="http://schemas.microsoft.com/office/powerpoint/2010/main" val="9691593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FD09AD9-9A92-1E45-226A-2E4EBFF49C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9" name="think-cell data - do not delete" hidden="1">
                        <a:extLst>
                          <a:ext uri="{FF2B5EF4-FFF2-40B4-BE49-F238E27FC236}">
                            <a16:creationId xmlns:a16="http://schemas.microsoft.com/office/drawing/2014/main" id="{AFD09AD9-9A92-1E45-226A-2E4EBFF49C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94212443-DB78-B917-492B-FA3E359EBD3F}"/>
              </a:ext>
            </a:extLst>
          </p:cNvPr>
          <p:cNvSpPr>
            <a:spLocks noGrp="1"/>
          </p:cNvSpPr>
          <p:nvPr>
            <p:ph type="title"/>
          </p:nvPr>
        </p:nvSpPr>
        <p:spPr/>
        <p:txBody>
          <a:bodyPr vert="horz"/>
          <a:lstStyle/>
          <a:p>
            <a:r>
              <a:rPr lang="en-US"/>
              <a:t>Uber must engage a diverse group of stakeholders through numerous channels each with different expectations and concerns</a:t>
            </a:r>
          </a:p>
        </p:txBody>
      </p:sp>
      <p:graphicFrame>
        <p:nvGraphicFramePr>
          <p:cNvPr id="10" name="Inhaltsplatzhalter 9">
            <a:extLst>
              <a:ext uri="{FF2B5EF4-FFF2-40B4-BE49-F238E27FC236}">
                <a16:creationId xmlns:a16="http://schemas.microsoft.com/office/drawing/2014/main" id="{6750B1E7-D7F1-5E89-5FD4-61949B84F34D}"/>
              </a:ext>
            </a:extLst>
          </p:cNvPr>
          <p:cNvGraphicFramePr>
            <a:graphicFrameLocks noGrp="1"/>
          </p:cNvGraphicFramePr>
          <p:nvPr>
            <p:ph idx="10"/>
            <p:extLst>
              <p:ext uri="{D42A27DB-BD31-4B8C-83A1-F6EECF244321}">
                <p14:modId xmlns:p14="http://schemas.microsoft.com/office/powerpoint/2010/main" val="3754905827"/>
              </p:ext>
            </p:extLst>
          </p:nvPr>
        </p:nvGraphicFramePr>
        <p:xfrm>
          <a:off x="303600" y="2054392"/>
          <a:ext cx="8573701" cy="4175760"/>
        </p:xfrm>
        <a:graphic>
          <a:graphicData uri="http://schemas.openxmlformats.org/drawingml/2006/table">
            <a:tbl>
              <a:tblPr firstRow="1" bandRow="1">
                <a:tableStyleId>{073A0DAA-6AF3-43AB-8588-CEC1D06C72B9}</a:tableStyleId>
              </a:tblPr>
              <a:tblGrid>
                <a:gridCol w="413950">
                  <a:extLst>
                    <a:ext uri="{9D8B030D-6E8A-4147-A177-3AD203B41FA5}">
                      <a16:colId xmlns:a16="http://schemas.microsoft.com/office/drawing/2014/main" val="2613054965"/>
                    </a:ext>
                  </a:extLst>
                </a:gridCol>
                <a:gridCol w="1193800">
                  <a:extLst>
                    <a:ext uri="{9D8B030D-6E8A-4147-A177-3AD203B41FA5}">
                      <a16:colId xmlns:a16="http://schemas.microsoft.com/office/drawing/2014/main" val="928293531"/>
                    </a:ext>
                  </a:extLst>
                </a:gridCol>
                <a:gridCol w="1828800">
                  <a:extLst>
                    <a:ext uri="{9D8B030D-6E8A-4147-A177-3AD203B41FA5}">
                      <a16:colId xmlns:a16="http://schemas.microsoft.com/office/drawing/2014/main" val="3666423757"/>
                    </a:ext>
                  </a:extLst>
                </a:gridCol>
                <a:gridCol w="1682750">
                  <a:extLst>
                    <a:ext uri="{9D8B030D-6E8A-4147-A177-3AD203B41FA5}">
                      <a16:colId xmlns:a16="http://schemas.microsoft.com/office/drawing/2014/main" val="3994650340"/>
                    </a:ext>
                  </a:extLst>
                </a:gridCol>
                <a:gridCol w="1727200">
                  <a:extLst>
                    <a:ext uri="{9D8B030D-6E8A-4147-A177-3AD203B41FA5}">
                      <a16:colId xmlns:a16="http://schemas.microsoft.com/office/drawing/2014/main" val="746420266"/>
                    </a:ext>
                  </a:extLst>
                </a:gridCol>
                <a:gridCol w="1727201">
                  <a:extLst>
                    <a:ext uri="{9D8B030D-6E8A-4147-A177-3AD203B41FA5}">
                      <a16:colId xmlns:a16="http://schemas.microsoft.com/office/drawing/2014/main" val="3900349670"/>
                    </a:ext>
                  </a:extLst>
                </a:gridCol>
              </a:tblGrid>
              <a:tr h="376301">
                <a:tc rowSpan="6">
                  <a:txBody>
                    <a:bodyPr/>
                    <a:lstStyle/>
                    <a:p>
                      <a:pPr algn="ctr" rtl="0"/>
                      <a:r>
                        <a:rPr lang="en-US" sz="1200" b="1">
                          <a:solidFill>
                            <a:schemeClr val="tx1"/>
                          </a:solidFill>
                        </a:rPr>
                        <a:t>Primary</a:t>
                      </a:r>
                    </a:p>
                  </a:txBody>
                  <a:tcPr vert="vert270" anchor="ctr">
                    <a:lnB w="12700" cap="flat" cmpd="sng" algn="ctr">
                      <a:solidFill>
                        <a:schemeClr val="tx1"/>
                      </a:solidFill>
                      <a:prstDash val="solid"/>
                      <a:round/>
                      <a:headEnd type="none" w="med" len="med"/>
                      <a:tailEnd type="none" w="med" len="med"/>
                    </a:lnB>
                    <a:noFill/>
                  </a:tcPr>
                </a:tc>
                <a:tc>
                  <a:txBody>
                    <a:bodyPr/>
                    <a:lstStyle/>
                    <a:p>
                      <a:pPr algn="ctr" rtl="0"/>
                      <a:r>
                        <a:rPr lang="en-US" sz="1200" b="1"/>
                        <a:t>Stakeholder</a:t>
                      </a:r>
                    </a:p>
                  </a:txBody>
                  <a:tcPr anchor="ctr"/>
                </a:tc>
                <a:tc>
                  <a:txBody>
                    <a:bodyPr/>
                    <a:lstStyle/>
                    <a:p>
                      <a:pPr algn="ctr" rtl="0"/>
                      <a:r>
                        <a:rPr lang="en-US" sz="1200" b="1"/>
                        <a:t>Expectations</a:t>
                      </a:r>
                    </a:p>
                  </a:txBody>
                  <a:tcPr anchor="ctr"/>
                </a:tc>
                <a:tc>
                  <a:txBody>
                    <a:bodyPr/>
                    <a:lstStyle/>
                    <a:p>
                      <a:pPr algn="ctr" rtl="0"/>
                      <a:r>
                        <a:rPr lang="en-US" sz="1200" b="1"/>
                        <a:t>Concerns</a:t>
                      </a:r>
                    </a:p>
                  </a:txBody>
                  <a:tcPr anchor="ctr"/>
                </a:tc>
                <a:tc>
                  <a:txBody>
                    <a:bodyPr/>
                    <a:lstStyle/>
                    <a:p>
                      <a:pPr algn="ctr" rtl="0"/>
                      <a:r>
                        <a:rPr lang="en-US" sz="1200" b="1"/>
                        <a:t>Channels / Communication</a:t>
                      </a:r>
                    </a:p>
                  </a:txBody>
                  <a:tcPr anchor="ctr"/>
                </a:tc>
                <a:tc>
                  <a:txBody>
                    <a:bodyPr/>
                    <a:lstStyle/>
                    <a:p>
                      <a:pPr algn="ctr" rtl="0"/>
                      <a:r>
                        <a:rPr lang="en-US" sz="1200" b="1"/>
                        <a:t>Engagement</a:t>
                      </a:r>
                    </a:p>
                  </a:txBody>
                  <a:tcPr anchor="ctr"/>
                </a:tc>
                <a:extLst>
                  <a:ext uri="{0D108BD9-81ED-4DB2-BD59-A6C34878D82A}">
                    <a16:rowId xmlns:a16="http://schemas.microsoft.com/office/drawing/2014/main" val="3147406702"/>
                  </a:ext>
                </a:extLst>
              </a:tr>
              <a:tr h="376301">
                <a:tc vMerge="1">
                  <a:txBody>
                    <a:bodyPr/>
                    <a:lstStyle/>
                    <a:p>
                      <a:pPr algn="l" rtl="0"/>
                      <a:endParaRPr lang="en-US" sz="1000"/>
                    </a:p>
                  </a:txBody>
                  <a:tcPr anchor="ctr"/>
                </a:tc>
                <a:tc>
                  <a:txBody>
                    <a:bodyPr/>
                    <a:lstStyle/>
                    <a:p>
                      <a:pPr algn="l" rtl="0"/>
                      <a:r>
                        <a:rPr lang="en-US" sz="1000"/>
                        <a:t>Employees &amp; Drivers</a:t>
                      </a:r>
                    </a:p>
                  </a:txBody>
                  <a:tcPr anchor="ctr"/>
                </a:tc>
                <a:tc>
                  <a:txBody>
                    <a:bodyPr/>
                    <a:lstStyle/>
                    <a:p>
                      <a:pPr rtl="0"/>
                      <a:r>
                        <a:rPr lang="en-US" sz="1000"/>
                        <a:t>Fair wages, job security, career growth</a:t>
                      </a:r>
                    </a:p>
                  </a:txBody>
                  <a:tcPr anchor="ctr"/>
                </a:tc>
                <a:tc>
                  <a:txBody>
                    <a:bodyPr/>
                    <a:lstStyle/>
                    <a:p>
                      <a:pPr rtl="0"/>
                      <a:r>
                        <a:rPr lang="en-US" sz="1000"/>
                        <a:t>Lack of benefits ,Gig economy uncertainties</a:t>
                      </a:r>
                    </a:p>
                  </a:txBody>
                  <a:tcPr anchor="ctr"/>
                </a:tc>
                <a:tc>
                  <a:txBody>
                    <a:bodyPr/>
                    <a:lstStyle/>
                    <a:p>
                      <a:pPr rtl="0"/>
                      <a:r>
                        <a:rPr lang="en-US" sz="1000"/>
                        <a:t>Internal communication platforms, emails, meetings</a:t>
                      </a:r>
                    </a:p>
                  </a:txBody>
                  <a:tcPr/>
                </a:tc>
                <a:tc>
                  <a:txBody>
                    <a:bodyPr/>
                    <a:lstStyle/>
                    <a:p>
                      <a:pPr rtl="0"/>
                      <a:r>
                        <a:rPr lang="en-US" sz="1000"/>
                        <a:t>Feedback mechanisms, driver support services, employee engagement programs</a:t>
                      </a:r>
                    </a:p>
                  </a:txBody>
                  <a:tcPr/>
                </a:tc>
                <a:extLst>
                  <a:ext uri="{0D108BD9-81ED-4DB2-BD59-A6C34878D82A}">
                    <a16:rowId xmlns:a16="http://schemas.microsoft.com/office/drawing/2014/main" val="534012072"/>
                  </a:ext>
                </a:extLst>
              </a:tr>
              <a:tr h="376301">
                <a:tc vMerge="1">
                  <a:txBody>
                    <a:bodyPr/>
                    <a:lstStyle/>
                    <a:p>
                      <a:pPr algn="l" rtl="0"/>
                      <a:endParaRPr lang="en-US" sz="1000"/>
                    </a:p>
                  </a:txBody>
                  <a:tcPr anchor="ctr"/>
                </a:tc>
                <a:tc>
                  <a:txBody>
                    <a:bodyPr/>
                    <a:lstStyle/>
                    <a:p>
                      <a:pPr algn="l" rtl="0"/>
                      <a:r>
                        <a:rPr lang="en-US" sz="1000"/>
                        <a:t>Customers – Riders</a:t>
                      </a:r>
                    </a:p>
                  </a:txBody>
                  <a:tcPr anchor="ctr"/>
                </a:tc>
                <a:tc>
                  <a:txBody>
                    <a:bodyPr/>
                    <a:lstStyle/>
                    <a:p>
                      <a:pPr rtl="0"/>
                      <a:r>
                        <a:rPr lang="en-US" sz="1000"/>
                        <a:t>Safe, reliable, affordable,</a:t>
                      </a:r>
                    </a:p>
                    <a:p>
                      <a:pPr rtl="0"/>
                      <a:r>
                        <a:rPr lang="en-US" sz="1000"/>
                        <a:t>User-friendly app</a:t>
                      </a:r>
                    </a:p>
                  </a:txBody>
                  <a:tcPr anchor="ctr"/>
                </a:tc>
                <a:tc>
                  <a:txBody>
                    <a:bodyPr/>
                    <a:lstStyle/>
                    <a:p>
                      <a:pPr rtl="0"/>
                      <a:r>
                        <a:rPr lang="en-US" sz="1000"/>
                        <a:t>Safety issues, pricing surges, driver prof.</a:t>
                      </a:r>
                    </a:p>
                  </a:txBody>
                  <a:tcPr anchor="ctr"/>
                </a:tc>
                <a:tc>
                  <a:txBody>
                    <a:bodyPr/>
                    <a:lstStyle/>
                    <a:p>
                      <a:pPr rtl="0"/>
                      <a:r>
                        <a:rPr lang="en-US" sz="1000"/>
                        <a:t>App notifications, customer support channels, emails</a:t>
                      </a:r>
                    </a:p>
                  </a:txBody>
                  <a:tcPr/>
                </a:tc>
                <a:tc>
                  <a:txBody>
                    <a:bodyPr/>
                    <a:lstStyle/>
                    <a:p>
                      <a:pPr rtl="0"/>
                      <a:r>
                        <a:rPr lang="en-US" sz="1000"/>
                        <a:t>User surveys, loyalty programs, promo campaigns</a:t>
                      </a:r>
                    </a:p>
                  </a:txBody>
                  <a:tcPr/>
                </a:tc>
                <a:extLst>
                  <a:ext uri="{0D108BD9-81ED-4DB2-BD59-A6C34878D82A}">
                    <a16:rowId xmlns:a16="http://schemas.microsoft.com/office/drawing/2014/main" val="1348651867"/>
                  </a:ext>
                </a:extLst>
              </a:tr>
              <a:tr h="376301">
                <a:tc vMerge="1">
                  <a:txBody>
                    <a:bodyPr/>
                    <a:lstStyle/>
                    <a:p>
                      <a:pPr algn="l" rtl="0"/>
                      <a:endParaRPr lang="en-US" sz="1000"/>
                    </a:p>
                  </a:txBody>
                  <a:tcPr anchor="ctr"/>
                </a:tc>
                <a:tc>
                  <a:txBody>
                    <a:bodyPr/>
                    <a:lstStyle/>
                    <a:p>
                      <a:pPr algn="l" rtl="0"/>
                      <a:r>
                        <a:rPr lang="en-US" sz="1000"/>
                        <a:t>Customers – Businesses Clients</a:t>
                      </a:r>
                    </a:p>
                  </a:txBody>
                  <a:tcPr anchor="ctr"/>
                </a:tc>
                <a:tc>
                  <a:txBody>
                    <a:bodyPr/>
                    <a:lstStyle/>
                    <a:p>
                      <a:pPr rtl="0"/>
                      <a:r>
                        <a:rPr lang="en-US" sz="1000"/>
                        <a:t>Efficient logistic solution, reliability, corp. support</a:t>
                      </a:r>
                    </a:p>
                  </a:txBody>
                  <a:tcPr anchor="ctr"/>
                </a:tc>
                <a:tc>
                  <a:txBody>
                    <a:bodyPr/>
                    <a:lstStyle/>
                    <a:p>
                      <a:pPr rtl="0"/>
                      <a:r>
                        <a:rPr lang="en-US" sz="1000"/>
                        <a:t>Service consistency, cost-effectiveness</a:t>
                      </a:r>
                    </a:p>
                  </a:txBody>
                  <a:tcPr anchor="ctr"/>
                </a:tc>
                <a:tc>
                  <a:txBody>
                    <a:bodyPr/>
                    <a:lstStyle/>
                    <a:p>
                      <a:pPr rtl="0"/>
                      <a:r>
                        <a:rPr lang="en-US" sz="1000"/>
                        <a:t>Dedicated account managers, B2B marketing, newsletters</a:t>
                      </a:r>
                    </a:p>
                  </a:txBody>
                  <a:tcPr/>
                </a:tc>
                <a:tc>
                  <a:txBody>
                    <a:bodyPr/>
                    <a:lstStyle/>
                    <a:p>
                      <a:pPr rtl="0"/>
                      <a:r>
                        <a:rPr lang="en-US" sz="1000"/>
                        <a:t>Customized solutions, corporate events</a:t>
                      </a:r>
                    </a:p>
                  </a:txBody>
                  <a:tcPr/>
                </a:tc>
                <a:extLst>
                  <a:ext uri="{0D108BD9-81ED-4DB2-BD59-A6C34878D82A}">
                    <a16:rowId xmlns:a16="http://schemas.microsoft.com/office/drawing/2014/main" val="3326100315"/>
                  </a:ext>
                </a:extLst>
              </a:tr>
              <a:tr h="376301">
                <a:tc vMerge="1">
                  <a:txBody>
                    <a:bodyPr/>
                    <a:lstStyle/>
                    <a:p>
                      <a:pPr algn="l" rtl="0"/>
                      <a:endParaRPr lang="en-US" sz="1000"/>
                    </a:p>
                  </a:txBody>
                  <a:tcPr anchor="ctr"/>
                </a:tc>
                <a:tc>
                  <a:txBody>
                    <a:bodyPr/>
                    <a:lstStyle/>
                    <a:p>
                      <a:pPr algn="l" rtl="0"/>
                      <a:r>
                        <a:rPr lang="en-US" sz="1000"/>
                        <a:t>Investors and Shareholders</a:t>
                      </a:r>
                    </a:p>
                  </a:txBody>
                  <a:tcPr anchor="ctr"/>
                </a:tc>
                <a:tc>
                  <a:txBody>
                    <a:bodyPr/>
                    <a:lstStyle/>
                    <a:p>
                      <a:pPr rtl="0"/>
                      <a:r>
                        <a:rPr lang="en-US" sz="1000"/>
                        <a:t>Profitable ROI, growth, sustainable practices</a:t>
                      </a:r>
                    </a:p>
                  </a:txBody>
                  <a:tcPr anchor="ctr"/>
                </a:tc>
                <a:tc>
                  <a:txBody>
                    <a:bodyPr/>
                    <a:lstStyle/>
                    <a:p>
                      <a:pPr rtl="0"/>
                      <a:r>
                        <a:rPr lang="en-US" sz="1000"/>
                        <a:t>Market volatility, regulatory challenges</a:t>
                      </a:r>
                    </a:p>
                  </a:txBody>
                  <a:tcPr anchor="ctr"/>
                </a:tc>
                <a:tc>
                  <a:txBody>
                    <a:bodyPr/>
                    <a:lstStyle/>
                    <a:p>
                      <a:pPr rtl="0"/>
                      <a:r>
                        <a:rPr lang="en-US" sz="1000"/>
                        <a:t>Annual reports, shareholder meetings, press releases</a:t>
                      </a:r>
                    </a:p>
                  </a:txBody>
                  <a:tcPr/>
                </a:tc>
                <a:tc>
                  <a:txBody>
                    <a:bodyPr/>
                    <a:lstStyle/>
                    <a:p>
                      <a:pPr rtl="0"/>
                      <a:r>
                        <a:rPr lang="en-US" sz="1000"/>
                        <a:t>Investor relations team, Q&amp;A sessions, financial updates</a:t>
                      </a:r>
                    </a:p>
                  </a:txBody>
                  <a:tcPr/>
                </a:tc>
                <a:extLst>
                  <a:ext uri="{0D108BD9-81ED-4DB2-BD59-A6C34878D82A}">
                    <a16:rowId xmlns:a16="http://schemas.microsoft.com/office/drawing/2014/main" val="963736474"/>
                  </a:ext>
                </a:extLst>
              </a:tr>
              <a:tr h="376301">
                <a:tc vMerge="1">
                  <a:txBody>
                    <a:bodyPr/>
                    <a:lstStyle/>
                    <a:p>
                      <a:pPr algn="l" rtl="0"/>
                      <a:endParaRPr lang="en-US" sz="1000"/>
                    </a:p>
                  </a:txBody>
                  <a:tcPr anchor="ctr">
                    <a:lnB w="12700" cap="flat" cmpd="sng" algn="ctr">
                      <a:solidFill>
                        <a:schemeClr val="tx1"/>
                      </a:solidFill>
                      <a:prstDash val="solid"/>
                      <a:round/>
                      <a:headEnd type="none" w="med" len="med"/>
                      <a:tailEnd type="none" w="med" len="med"/>
                    </a:lnB>
                  </a:tcPr>
                </a:tc>
                <a:tc>
                  <a:txBody>
                    <a:bodyPr/>
                    <a:lstStyle/>
                    <a:p>
                      <a:pPr algn="l" rtl="0"/>
                      <a:r>
                        <a:rPr lang="en-US" sz="1000"/>
                        <a:t>Business Partners</a:t>
                      </a:r>
                    </a:p>
                  </a:txBody>
                  <a:tcPr anchor="ctr">
                    <a:lnB w="12700" cap="flat" cmpd="sng" algn="ctr">
                      <a:solidFill>
                        <a:schemeClr val="tx1"/>
                      </a:solidFill>
                      <a:prstDash val="solid"/>
                      <a:round/>
                      <a:headEnd type="none" w="med" len="med"/>
                      <a:tailEnd type="none" w="med" len="med"/>
                    </a:lnB>
                  </a:tcPr>
                </a:tc>
                <a:tc>
                  <a:txBody>
                    <a:bodyPr/>
                    <a:lstStyle/>
                    <a:p>
                      <a:pPr rtl="0"/>
                      <a:r>
                        <a:rPr lang="en-US" sz="1000"/>
                        <a:t>Beneficial relationships, innovation, market exp.</a:t>
                      </a:r>
                    </a:p>
                  </a:txBody>
                  <a:tcPr anchor="ctr">
                    <a:lnB w="12700" cap="flat" cmpd="sng" algn="ctr">
                      <a:solidFill>
                        <a:schemeClr val="tx1"/>
                      </a:solidFill>
                      <a:prstDash val="solid"/>
                      <a:round/>
                      <a:headEnd type="none" w="med" len="med"/>
                      <a:tailEnd type="none" w="med" len="med"/>
                    </a:lnB>
                  </a:tcPr>
                </a:tc>
                <a:tc>
                  <a:txBody>
                    <a:bodyPr/>
                    <a:lstStyle/>
                    <a:p>
                      <a:pPr rtl="0"/>
                      <a:r>
                        <a:rPr lang="en-US" sz="1000"/>
                        <a:t>Dependence on Uber’s platform, alignment</a:t>
                      </a:r>
                    </a:p>
                  </a:txBody>
                  <a:tcPr anchor="ctr">
                    <a:lnB w="12700" cap="flat" cmpd="sng" algn="ctr">
                      <a:solidFill>
                        <a:schemeClr val="tx1"/>
                      </a:solidFill>
                      <a:prstDash val="solid"/>
                      <a:round/>
                      <a:headEnd type="none" w="med" len="med"/>
                      <a:tailEnd type="none" w="med" len="med"/>
                    </a:lnB>
                  </a:tcPr>
                </a:tc>
                <a:tc>
                  <a:txBody>
                    <a:bodyPr/>
                    <a:lstStyle/>
                    <a:p>
                      <a:pPr rtl="0"/>
                      <a:r>
                        <a:rPr lang="en-US" sz="1000"/>
                        <a:t>Direct meetings, joint press releases, collab. platforms</a:t>
                      </a:r>
                    </a:p>
                  </a:txBody>
                  <a:tcPr>
                    <a:lnB w="12700" cap="flat" cmpd="sng" algn="ctr">
                      <a:solidFill>
                        <a:schemeClr val="tx1"/>
                      </a:solidFill>
                      <a:prstDash val="solid"/>
                      <a:round/>
                      <a:headEnd type="none" w="med" len="med"/>
                      <a:tailEnd type="none" w="med" len="med"/>
                    </a:lnB>
                  </a:tcPr>
                </a:tc>
                <a:tc>
                  <a:txBody>
                    <a:bodyPr/>
                    <a:lstStyle/>
                    <a:p>
                      <a:pPr rtl="0"/>
                      <a:r>
                        <a:rPr lang="en-US" sz="1000"/>
                        <a:t>Partnership programs, co-innovation project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1696763"/>
                  </a:ext>
                </a:extLst>
              </a:tr>
              <a:tr h="376301">
                <a:tc rowSpan="4">
                  <a:txBody>
                    <a:bodyPr/>
                    <a:lstStyle/>
                    <a:p>
                      <a:pPr algn="ctr" rtl="0"/>
                      <a:r>
                        <a:rPr lang="en-US" sz="1200" b="1" kern="1200">
                          <a:solidFill>
                            <a:schemeClr val="tx1"/>
                          </a:solidFill>
                          <a:latin typeface="+mn-lt"/>
                          <a:ea typeface="+mn-ea"/>
                          <a:cs typeface="+mn-cs"/>
                        </a:rPr>
                        <a:t>Secondary</a:t>
                      </a:r>
                    </a:p>
                  </a:txBody>
                  <a:tcPr vert="vert270" anchor="ctr">
                    <a:lnT w="12700" cap="flat" cmpd="sng" algn="ctr">
                      <a:solidFill>
                        <a:schemeClr val="tx1"/>
                      </a:solidFill>
                      <a:prstDash val="solid"/>
                      <a:round/>
                      <a:headEnd type="none" w="med" len="med"/>
                      <a:tailEnd type="none" w="med" len="med"/>
                    </a:lnT>
                    <a:noFill/>
                  </a:tcPr>
                </a:tc>
                <a:tc>
                  <a:txBody>
                    <a:bodyPr/>
                    <a:lstStyle/>
                    <a:p>
                      <a:pPr algn="l" rtl="0"/>
                      <a:r>
                        <a:rPr lang="en-US" sz="1000"/>
                        <a:t>Regulatory Bodies</a:t>
                      </a:r>
                    </a:p>
                  </a:txBody>
                  <a:tcPr anchor="ctr">
                    <a:lnT w="12700" cap="flat" cmpd="sng" algn="ctr">
                      <a:solidFill>
                        <a:schemeClr val="tx1"/>
                      </a:solidFill>
                      <a:prstDash val="solid"/>
                      <a:round/>
                      <a:headEnd type="none" w="med" len="med"/>
                      <a:tailEnd type="none" w="med" len="med"/>
                    </a:lnT>
                  </a:tcPr>
                </a:tc>
                <a:tc>
                  <a:txBody>
                    <a:bodyPr/>
                    <a:lstStyle/>
                    <a:p>
                      <a:pPr rtl="0"/>
                      <a:r>
                        <a:rPr lang="en-US" sz="1000"/>
                        <a:t>Compliance with local laws, contribution to local economies</a:t>
                      </a:r>
                    </a:p>
                  </a:txBody>
                  <a:tcPr anchor="ctr">
                    <a:lnT w="12700" cap="flat" cmpd="sng" algn="ctr">
                      <a:solidFill>
                        <a:schemeClr val="tx1"/>
                      </a:solidFill>
                      <a:prstDash val="solid"/>
                      <a:round/>
                      <a:headEnd type="none" w="med" len="med"/>
                      <a:tailEnd type="none" w="med" len="med"/>
                    </a:lnT>
                  </a:tcPr>
                </a:tc>
                <a:tc>
                  <a:txBody>
                    <a:bodyPr/>
                    <a:lstStyle/>
                    <a:p>
                      <a:pPr rtl="0"/>
                      <a:r>
                        <a:rPr lang="en-US" sz="1000"/>
                        <a:t>Regulatory issues, labor law compliance, local impact</a:t>
                      </a:r>
                    </a:p>
                  </a:txBody>
                  <a:tcPr anchor="ctr">
                    <a:lnT w="12700" cap="flat" cmpd="sng" algn="ctr">
                      <a:solidFill>
                        <a:schemeClr val="tx1"/>
                      </a:solidFill>
                      <a:prstDash val="solid"/>
                      <a:round/>
                      <a:headEnd type="none" w="med" len="med"/>
                      <a:tailEnd type="none" w="med" len="med"/>
                    </a:lnT>
                  </a:tcPr>
                </a:tc>
                <a:tc>
                  <a:txBody>
                    <a:bodyPr/>
                    <a:lstStyle/>
                    <a:p>
                      <a:pPr rtl="0"/>
                      <a:r>
                        <a:rPr lang="en-US" sz="1000"/>
                        <a:t>Official submissions, policy dialogues, regulatory filings</a:t>
                      </a:r>
                    </a:p>
                  </a:txBody>
                  <a:tcPr>
                    <a:lnT w="12700" cap="flat" cmpd="sng" algn="ctr">
                      <a:solidFill>
                        <a:schemeClr val="tx1"/>
                      </a:solidFill>
                      <a:prstDash val="solid"/>
                      <a:round/>
                      <a:headEnd type="none" w="med" len="med"/>
                      <a:tailEnd type="none" w="med" len="med"/>
                    </a:lnT>
                  </a:tcPr>
                </a:tc>
                <a:tc>
                  <a:txBody>
                    <a:bodyPr/>
                    <a:lstStyle/>
                    <a:p>
                      <a:pPr rtl="0"/>
                      <a:r>
                        <a:rPr lang="en-US" sz="1000"/>
                        <a:t>Compliance programs, lobbying efforts</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40561210"/>
                  </a:ext>
                </a:extLst>
              </a:tr>
              <a:tr h="376301">
                <a:tc vMerge="1">
                  <a:txBody>
                    <a:bodyPr/>
                    <a:lstStyle/>
                    <a:p>
                      <a:pPr algn="l" rtl="0"/>
                      <a:endParaRPr lang="en-US" sz="1000"/>
                    </a:p>
                  </a:txBody>
                  <a:tcPr anchor="ctr"/>
                </a:tc>
                <a:tc>
                  <a:txBody>
                    <a:bodyPr/>
                    <a:lstStyle/>
                    <a:p>
                      <a:pPr algn="l" rtl="0"/>
                      <a:r>
                        <a:rPr lang="en-US" sz="1000"/>
                        <a:t>Competitors</a:t>
                      </a:r>
                    </a:p>
                  </a:txBody>
                  <a:tcPr anchor="ctr"/>
                </a:tc>
                <a:tc>
                  <a:txBody>
                    <a:bodyPr/>
                    <a:lstStyle/>
                    <a:p>
                      <a:pPr rtl="0"/>
                      <a:r>
                        <a:rPr lang="en-US" sz="1000"/>
                        <a:t>Fair competition, market innovation</a:t>
                      </a:r>
                    </a:p>
                  </a:txBody>
                  <a:tcPr anchor="ctr"/>
                </a:tc>
                <a:tc>
                  <a:txBody>
                    <a:bodyPr/>
                    <a:lstStyle/>
                    <a:p>
                      <a:pPr rtl="0"/>
                      <a:r>
                        <a:rPr lang="en-US" sz="1000"/>
                        <a:t>Market dominance by Uber, competitive pricing pressure</a:t>
                      </a:r>
                    </a:p>
                  </a:txBody>
                  <a:tcPr anchor="ctr"/>
                </a:tc>
                <a:tc>
                  <a:txBody>
                    <a:bodyPr/>
                    <a:lstStyle/>
                    <a:p>
                      <a:pPr rtl="0"/>
                      <a:r>
                        <a:rPr lang="en-US" sz="1000"/>
                        <a:t>Industry forums, joint ventures, public statements</a:t>
                      </a:r>
                    </a:p>
                  </a:txBody>
                  <a:tcPr/>
                </a:tc>
                <a:tc>
                  <a:txBody>
                    <a:bodyPr/>
                    <a:lstStyle/>
                    <a:p>
                      <a:pPr rtl="0"/>
                      <a:r>
                        <a:rPr lang="en-US" sz="1000"/>
                        <a:t>Market research, competitive intelligence, industry collab.</a:t>
                      </a:r>
                    </a:p>
                  </a:txBody>
                  <a:tcPr/>
                </a:tc>
                <a:extLst>
                  <a:ext uri="{0D108BD9-81ED-4DB2-BD59-A6C34878D82A}">
                    <a16:rowId xmlns:a16="http://schemas.microsoft.com/office/drawing/2014/main" val="1133657051"/>
                  </a:ext>
                </a:extLst>
              </a:tr>
              <a:tr h="376301">
                <a:tc vMerge="1">
                  <a:txBody>
                    <a:bodyPr/>
                    <a:lstStyle/>
                    <a:p>
                      <a:pPr algn="l" rtl="0"/>
                      <a:endParaRPr lang="en-US" sz="1000"/>
                    </a:p>
                  </a:txBody>
                  <a:tcPr anchor="ctr"/>
                </a:tc>
                <a:tc>
                  <a:txBody>
                    <a:bodyPr/>
                    <a:lstStyle/>
                    <a:p>
                      <a:pPr algn="l" rtl="0"/>
                      <a:r>
                        <a:rPr lang="en-US" sz="1000"/>
                        <a:t>Community &amp; Society</a:t>
                      </a:r>
                    </a:p>
                  </a:txBody>
                  <a:tcPr anchor="ctr"/>
                </a:tc>
                <a:tc>
                  <a:txBody>
                    <a:bodyPr/>
                    <a:lstStyle/>
                    <a:p>
                      <a:pPr rtl="0"/>
                      <a:r>
                        <a:rPr lang="en-US" sz="1000"/>
                        <a:t>Positive contribution to local economies, job creation</a:t>
                      </a:r>
                    </a:p>
                  </a:txBody>
                  <a:tcPr anchor="ctr"/>
                </a:tc>
                <a:tc>
                  <a:txBody>
                    <a:bodyPr/>
                    <a:lstStyle/>
                    <a:p>
                      <a:pPr rtl="0"/>
                      <a:r>
                        <a:rPr lang="en-US" sz="1000"/>
                        <a:t>Traffic congestion, environmental impact</a:t>
                      </a:r>
                    </a:p>
                  </a:txBody>
                  <a:tcPr anchor="ctr"/>
                </a:tc>
                <a:tc>
                  <a:txBody>
                    <a:bodyPr/>
                    <a:lstStyle/>
                    <a:p>
                      <a:pPr rtl="0"/>
                      <a:r>
                        <a:rPr lang="en-US" sz="1000"/>
                        <a:t>Public announcements, social media, community events</a:t>
                      </a:r>
                    </a:p>
                  </a:txBody>
                  <a:tcPr/>
                </a:tc>
                <a:tc>
                  <a:txBody>
                    <a:bodyPr/>
                    <a:lstStyle/>
                    <a:p>
                      <a:pPr rtl="0"/>
                      <a:r>
                        <a:rPr lang="en-US" sz="1000"/>
                        <a:t>CSR initiatives, local partnerships</a:t>
                      </a:r>
                    </a:p>
                  </a:txBody>
                  <a:tcPr/>
                </a:tc>
                <a:extLst>
                  <a:ext uri="{0D108BD9-81ED-4DB2-BD59-A6C34878D82A}">
                    <a16:rowId xmlns:a16="http://schemas.microsoft.com/office/drawing/2014/main" val="3642783009"/>
                  </a:ext>
                </a:extLst>
              </a:tr>
              <a:tr h="376301">
                <a:tc vMerge="1">
                  <a:txBody>
                    <a:bodyPr/>
                    <a:lstStyle/>
                    <a:p>
                      <a:pPr algn="l" rtl="0"/>
                      <a:endParaRPr lang="en-US" sz="1000"/>
                    </a:p>
                  </a:txBody>
                  <a:tcPr anchor="ctr"/>
                </a:tc>
                <a:tc>
                  <a:txBody>
                    <a:bodyPr/>
                    <a:lstStyle/>
                    <a:p>
                      <a:pPr algn="l" rtl="0"/>
                      <a:r>
                        <a:rPr lang="en-US" sz="1000"/>
                        <a:t>Media and Public</a:t>
                      </a:r>
                    </a:p>
                  </a:txBody>
                  <a:tcPr anchor="ctr"/>
                </a:tc>
                <a:tc>
                  <a:txBody>
                    <a:bodyPr/>
                    <a:lstStyle/>
                    <a:p>
                      <a:pPr rtl="0"/>
                      <a:r>
                        <a:rPr lang="en-US" sz="1000"/>
                        <a:t>Transparency, ethical business practices</a:t>
                      </a:r>
                    </a:p>
                  </a:txBody>
                  <a:tcPr anchor="ctr"/>
                </a:tc>
                <a:tc>
                  <a:txBody>
                    <a:bodyPr/>
                    <a:lstStyle/>
                    <a:p>
                      <a:pPr rtl="0"/>
                      <a:r>
                        <a:rPr lang="en-US" sz="1000"/>
                        <a:t>Controversies, impact on local communities</a:t>
                      </a:r>
                    </a:p>
                  </a:txBody>
                  <a:tcPr anchor="ctr"/>
                </a:tc>
                <a:tc>
                  <a:txBody>
                    <a:bodyPr/>
                    <a:lstStyle/>
                    <a:p>
                      <a:pPr rtl="0"/>
                      <a:r>
                        <a:rPr lang="en-US" sz="1000"/>
                        <a:t>Press releases, media interviews, social media</a:t>
                      </a:r>
                    </a:p>
                  </a:txBody>
                  <a:tcPr/>
                </a:tc>
                <a:tc>
                  <a:txBody>
                    <a:bodyPr/>
                    <a:lstStyle/>
                    <a:p>
                      <a:pPr rtl="0"/>
                      <a:r>
                        <a:rPr lang="en-US" sz="1000"/>
                        <a:t>Public relations campaigns, marketing, crisis comm.</a:t>
                      </a:r>
                    </a:p>
                  </a:txBody>
                  <a:tcPr/>
                </a:tc>
                <a:extLst>
                  <a:ext uri="{0D108BD9-81ED-4DB2-BD59-A6C34878D82A}">
                    <a16:rowId xmlns:a16="http://schemas.microsoft.com/office/drawing/2014/main" val="1528271024"/>
                  </a:ext>
                </a:extLst>
              </a:tr>
            </a:tbl>
          </a:graphicData>
        </a:graphic>
      </p:graphicFrame>
      <p:sp>
        <p:nvSpPr>
          <p:cNvPr id="7" name="Inhaltsplatzhalter 6">
            <a:extLst>
              <a:ext uri="{FF2B5EF4-FFF2-40B4-BE49-F238E27FC236}">
                <a16:creationId xmlns:a16="http://schemas.microsoft.com/office/drawing/2014/main" id="{EBB26B05-5698-748A-82E9-04B3FA2DEF04}"/>
              </a:ext>
            </a:extLst>
          </p:cNvPr>
          <p:cNvSpPr>
            <a:spLocks noGrp="1"/>
          </p:cNvSpPr>
          <p:nvPr>
            <p:ph idx="11"/>
          </p:nvPr>
        </p:nvSpPr>
        <p:spPr/>
        <p:txBody>
          <a:bodyPr/>
          <a:lstStyle/>
          <a:p>
            <a:r>
              <a:rPr lang="en-US"/>
              <a:t>Own Representation</a:t>
            </a:r>
          </a:p>
        </p:txBody>
      </p:sp>
      <p:sp>
        <p:nvSpPr>
          <p:cNvPr id="8" name="Inhaltsplatzhalter 7">
            <a:extLst>
              <a:ext uri="{FF2B5EF4-FFF2-40B4-BE49-F238E27FC236}">
                <a16:creationId xmlns:a16="http://schemas.microsoft.com/office/drawing/2014/main" id="{1048E254-A411-0908-123E-595C67CA7849}"/>
              </a:ext>
            </a:extLst>
          </p:cNvPr>
          <p:cNvSpPr>
            <a:spLocks noGrp="1"/>
          </p:cNvSpPr>
          <p:nvPr>
            <p:ph idx="12"/>
          </p:nvPr>
        </p:nvSpPr>
        <p:spPr/>
        <p:txBody>
          <a:bodyPr/>
          <a:lstStyle/>
          <a:p>
            <a:r>
              <a:rPr lang="en-US"/>
              <a:t>Stakeholder</a:t>
            </a:r>
          </a:p>
        </p:txBody>
      </p:sp>
      <p:sp>
        <p:nvSpPr>
          <p:cNvPr id="5" name="Inhaltsplatzhalter 4">
            <a:extLst>
              <a:ext uri="{FF2B5EF4-FFF2-40B4-BE49-F238E27FC236}">
                <a16:creationId xmlns:a16="http://schemas.microsoft.com/office/drawing/2014/main" id="{B6865539-3A14-DA37-EE62-F2EC08A7423D}"/>
              </a:ext>
            </a:extLst>
          </p:cNvPr>
          <p:cNvSpPr txBox="1">
            <a:spLocks/>
          </p:cNvSpPr>
          <p:nvPr/>
        </p:nvSpPr>
        <p:spPr>
          <a:xfrm>
            <a:off x="359997" y="912307"/>
            <a:ext cx="8568103" cy="28466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baseline="0">
                <a:solidFill>
                  <a:schemeClr val="tx1"/>
                </a:solidFill>
                <a:latin typeface="+mn-lt"/>
                <a:ea typeface="+mn-ea"/>
                <a:cs typeface="+mn-cs"/>
              </a:defRPr>
            </a:lvl1pPr>
            <a:lvl2pPr marL="179388" marR="0" indent="-179388" algn="l" defTabSz="896938" rtl="0" eaLnBrk="1" fontAlgn="auto" latinLnBrk="0" hangingPunct="1">
              <a:lnSpc>
                <a:spcPct val="90000"/>
              </a:lnSpc>
              <a:spcBef>
                <a:spcPts val="500"/>
              </a:spcBef>
              <a:spcAft>
                <a:spcPts val="0"/>
              </a:spcAft>
              <a:buClrTx/>
              <a:buSzTx/>
              <a:buFont typeface="Arial" panose="020B0604020202020204" pitchFamily="34" charset="0"/>
              <a:buNone/>
              <a:tabLst/>
              <a:defRPr sz="1600" kern="1200" baseline="0">
                <a:solidFill>
                  <a:schemeClr val="tx1"/>
                </a:solidFill>
                <a:latin typeface="+mn-lt"/>
                <a:ea typeface="+mn-ea"/>
                <a:cs typeface="+mn-cs"/>
              </a:defRPr>
            </a:lvl2pPr>
            <a:lvl3pPr marL="358775"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Uber Stakeholder Overview</a:t>
            </a:r>
          </a:p>
        </p:txBody>
      </p:sp>
    </p:spTree>
    <p:extLst>
      <p:ext uri="{BB962C8B-B14F-4D97-AF65-F5344CB8AC3E}">
        <p14:creationId xmlns:p14="http://schemas.microsoft.com/office/powerpoint/2010/main" val="449866283"/>
      </p:ext>
    </p:extLst>
  </p:cSld>
  <p:clrMapOvr>
    <a:masterClrMapping/>
  </p:clrMapOvr>
  <p:extLst>
    <p:ext uri="{6950BFC3-D8DA-4A85-94F7-54DA5524770B}">
      <p188:commentRel xmlns:p188="http://schemas.microsoft.com/office/powerpoint/2018/8/main" r:id="rId4"/>
    </p:ext>
  </p:extLs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ED1E1F41-A9FE-A942-E8F3-42814A6B64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408" imgH="408" progId="TCLayout.ActiveDocument.1">
                  <p:embed/>
                </p:oleObj>
              </mc:Choice>
              <mc:Fallback>
                <p:oleObj name="think-cell Folie" r:id="rId18" imgW="408" imgH="408" progId="TCLayout.ActiveDocument.1">
                  <p:embed/>
                  <p:pic>
                    <p:nvPicPr>
                      <p:cNvPr id="24" name="think-cell data - do not delete" hidden="1">
                        <a:extLst>
                          <a:ext uri="{FF2B5EF4-FFF2-40B4-BE49-F238E27FC236}">
                            <a16:creationId xmlns:a16="http://schemas.microsoft.com/office/drawing/2014/main" id="{ED1E1F41-A9FE-A942-E8F3-42814A6B6412}"/>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50BD79F-B49C-5537-D37C-E096AB115538}"/>
              </a:ext>
            </a:extLst>
          </p:cNvPr>
          <p:cNvSpPr>
            <a:spLocks noGrp="1"/>
          </p:cNvSpPr>
          <p:nvPr>
            <p:ph type="title"/>
          </p:nvPr>
        </p:nvSpPr>
        <p:spPr/>
        <p:txBody>
          <a:bodyPr vert="horz"/>
          <a:lstStyle/>
          <a:p>
            <a:r>
              <a:rPr lang="en-US"/>
              <a:t>Uber prioritizes the communication of its services for different stakeholders highlighting its mission of providing reliable transport</a:t>
            </a:r>
          </a:p>
        </p:txBody>
      </p:sp>
      <p:sp>
        <p:nvSpPr>
          <p:cNvPr id="4" name="Foliennummernplatzhalter 3">
            <a:extLst>
              <a:ext uri="{FF2B5EF4-FFF2-40B4-BE49-F238E27FC236}">
                <a16:creationId xmlns:a16="http://schemas.microsoft.com/office/drawing/2014/main" id="{6F7E0533-BFF0-1322-69DC-C8001B823EA9}"/>
              </a:ext>
            </a:extLst>
          </p:cNvPr>
          <p:cNvSpPr>
            <a:spLocks noGrp="1"/>
          </p:cNvSpPr>
          <p:nvPr>
            <p:ph type="sldNum" sz="quarter" idx="4"/>
          </p:nvPr>
        </p:nvSpPr>
        <p:spPr/>
        <p:txBody>
          <a:bodyPr/>
          <a:lstStyle/>
          <a:p>
            <a:fld id="{BAF04893-69FB-435D-AB2E-CA259D85B32F}" type="slidenum">
              <a:rPr lang="en-US" smtClean="0"/>
              <a:pPr/>
              <a:t>88</a:t>
            </a:fld>
            <a:endParaRPr lang="en-US"/>
          </a:p>
        </p:txBody>
      </p:sp>
      <p:sp>
        <p:nvSpPr>
          <p:cNvPr id="5" name="Inhaltsplatzhalter 4">
            <a:extLst>
              <a:ext uri="{FF2B5EF4-FFF2-40B4-BE49-F238E27FC236}">
                <a16:creationId xmlns:a16="http://schemas.microsoft.com/office/drawing/2014/main" id="{48DE5F82-CA89-DD5C-D353-E3EA3172FC7A}"/>
              </a:ext>
            </a:extLst>
          </p:cNvPr>
          <p:cNvSpPr>
            <a:spLocks noGrp="1"/>
          </p:cNvSpPr>
          <p:nvPr>
            <p:ph idx="10"/>
          </p:nvPr>
        </p:nvSpPr>
        <p:spPr/>
        <p:txBody>
          <a:bodyPr/>
          <a:lstStyle/>
          <a:p>
            <a:r>
              <a:rPr lang="en-US"/>
              <a:t>Stakeholder specific communication</a:t>
            </a:r>
          </a:p>
        </p:txBody>
      </p:sp>
      <p:sp>
        <p:nvSpPr>
          <p:cNvPr id="6" name="Inhaltsplatzhalter 5">
            <a:extLst>
              <a:ext uri="{FF2B5EF4-FFF2-40B4-BE49-F238E27FC236}">
                <a16:creationId xmlns:a16="http://schemas.microsoft.com/office/drawing/2014/main" id="{290A09A6-4ECD-BCF6-D7A8-08F957612577}"/>
              </a:ext>
            </a:extLst>
          </p:cNvPr>
          <p:cNvSpPr>
            <a:spLocks noGrp="1"/>
          </p:cNvSpPr>
          <p:nvPr>
            <p:ph idx="11"/>
          </p:nvPr>
        </p:nvSpPr>
        <p:spPr/>
        <p:txBody>
          <a:bodyPr/>
          <a:lstStyle/>
          <a:p>
            <a:r>
              <a:rPr lang="en-US"/>
              <a:t>Own Representation</a:t>
            </a:r>
          </a:p>
        </p:txBody>
      </p:sp>
      <p:sp>
        <p:nvSpPr>
          <p:cNvPr id="7" name="Inhaltsplatzhalter 6">
            <a:extLst>
              <a:ext uri="{FF2B5EF4-FFF2-40B4-BE49-F238E27FC236}">
                <a16:creationId xmlns:a16="http://schemas.microsoft.com/office/drawing/2014/main" id="{02A16E9E-7D96-6F4F-3831-9F064F283B8F}"/>
              </a:ext>
            </a:extLst>
          </p:cNvPr>
          <p:cNvSpPr>
            <a:spLocks noGrp="1"/>
          </p:cNvSpPr>
          <p:nvPr>
            <p:ph idx="12"/>
          </p:nvPr>
        </p:nvSpPr>
        <p:spPr/>
        <p:txBody>
          <a:bodyPr/>
          <a:lstStyle/>
          <a:p>
            <a:r>
              <a:rPr lang="en-US"/>
              <a:t>Stakeholder</a:t>
            </a:r>
          </a:p>
        </p:txBody>
      </p:sp>
      <p:sp>
        <p:nvSpPr>
          <p:cNvPr id="8" name="Textfeld 7">
            <a:extLst>
              <a:ext uri="{FF2B5EF4-FFF2-40B4-BE49-F238E27FC236}">
                <a16:creationId xmlns:a16="http://schemas.microsoft.com/office/drawing/2014/main" id="{FE698CA9-3682-A738-AA5F-C77FC448597C}"/>
              </a:ext>
            </a:extLst>
          </p:cNvPr>
          <p:cNvSpPr txBox="1"/>
          <p:nvPr/>
        </p:nvSpPr>
        <p:spPr>
          <a:xfrm>
            <a:off x="364715" y="1982652"/>
            <a:ext cx="8563379" cy="523220"/>
          </a:xfrm>
          <a:prstGeom prst="rect">
            <a:avLst/>
          </a:prstGeom>
          <a:noFill/>
        </p:spPr>
        <p:txBody>
          <a:bodyPr wrap="square">
            <a:spAutoFit/>
          </a:bodyPr>
          <a:lstStyle/>
          <a:p>
            <a:r>
              <a:rPr lang="en-US" sz="1400" b="1"/>
              <a:t>Ubers mission, is centered around providing accessible, reliable and affordable transportation. Its values emphasize customer service, innovation, safety and increasingly corporate responsibility and sustainability.</a:t>
            </a:r>
          </a:p>
        </p:txBody>
      </p:sp>
      <p:cxnSp>
        <p:nvCxnSpPr>
          <p:cNvPr id="10" name="Gerader Verbinder 9">
            <a:extLst>
              <a:ext uri="{FF2B5EF4-FFF2-40B4-BE49-F238E27FC236}">
                <a16:creationId xmlns:a16="http://schemas.microsoft.com/office/drawing/2014/main" id="{69BA7ED1-6EB5-EA6E-A43C-8FDFAC25BDF3}"/>
              </a:ext>
            </a:extLst>
          </p:cNvPr>
          <p:cNvCxnSpPr>
            <a:cxnSpLocks/>
          </p:cNvCxnSpPr>
          <p:nvPr/>
        </p:nvCxnSpPr>
        <p:spPr>
          <a:xfrm>
            <a:off x="4572000" y="2635289"/>
            <a:ext cx="0" cy="3492895"/>
          </a:xfrm>
          <a:prstGeom prst="line">
            <a:avLst/>
          </a:prstGeom>
        </p:spPr>
        <p:style>
          <a:lnRef idx="1">
            <a:schemeClr val="accent2"/>
          </a:lnRef>
          <a:fillRef idx="0">
            <a:schemeClr val="accent2"/>
          </a:fillRef>
          <a:effectRef idx="0">
            <a:schemeClr val="accent2"/>
          </a:effectRef>
          <a:fontRef idx="minor">
            <a:schemeClr val="tx1"/>
          </a:fontRef>
        </p:style>
      </p:cxnSp>
      <p:sp>
        <p:nvSpPr>
          <p:cNvPr id="11" name="Textfeld 10">
            <a:extLst>
              <a:ext uri="{FF2B5EF4-FFF2-40B4-BE49-F238E27FC236}">
                <a16:creationId xmlns:a16="http://schemas.microsoft.com/office/drawing/2014/main" id="{2E1B4200-9F79-8653-7A93-9DE714980E68}"/>
              </a:ext>
            </a:extLst>
          </p:cNvPr>
          <p:cNvSpPr txBox="1"/>
          <p:nvPr/>
        </p:nvSpPr>
        <p:spPr>
          <a:xfrm>
            <a:off x="600450" y="2713313"/>
            <a:ext cx="3917630" cy="307777"/>
          </a:xfrm>
          <a:prstGeom prst="rect">
            <a:avLst/>
          </a:prstGeom>
          <a:noFill/>
        </p:spPr>
        <p:txBody>
          <a:bodyPr wrap="square">
            <a:spAutoFit/>
          </a:bodyPr>
          <a:lstStyle/>
          <a:p>
            <a:r>
              <a:rPr lang="en-US" sz="1400" b="1"/>
              <a:t>Customer Communication:</a:t>
            </a:r>
          </a:p>
        </p:txBody>
      </p:sp>
      <p:sp>
        <p:nvSpPr>
          <p:cNvPr id="13" name="Textfeld 12">
            <a:extLst>
              <a:ext uri="{FF2B5EF4-FFF2-40B4-BE49-F238E27FC236}">
                <a16:creationId xmlns:a16="http://schemas.microsoft.com/office/drawing/2014/main" id="{664EDF7C-9573-E256-E856-890EDB153E1D}"/>
              </a:ext>
            </a:extLst>
          </p:cNvPr>
          <p:cNvSpPr txBox="1"/>
          <p:nvPr/>
        </p:nvSpPr>
        <p:spPr>
          <a:xfrm>
            <a:off x="600450" y="4385605"/>
            <a:ext cx="3247446" cy="307777"/>
          </a:xfrm>
          <a:prstGeom prst="rect">
            <a:avLst/>
          </a:prstGeom>
          <a:noFill/>
        </p:spPr>
        <p:txBody>
          <a:bodyPr wrap="square">
            <a:spAutoFit/>
          </a:bodyPr>
          <a:lstStyle/>
          <a:p>
            <a:r>
              <a:rPr lang="en-US" sz="1400" b="1"/>
              <a:t>Driver Communication:</a:t>
            </a:r>
          </a:p>
        </p:txBody>
      </p:sp>
      <p:sp>
        <p:nvSpPr>
          <p:cNvPr id="14" name="Textfeld 13">
            <a:extLst>
              <a:ext uri="{FF2B5EF4-FFF2-40B4-BE49-F238E27FC236}">
                <a16:creationId xmlns:a16="http://schemas.microsoft.com/office/drawing/2014/main" id="{2F5ED647-BE6A-9099-FBCB-1BDBF9849304}"/>
              </a:ext>
            </a:extLst>
          </p:cNvPr>
          <p:cNvSpPr txBox="1"/>
          <p:nvPr/>
        </p:nvSpPr>
        <p:spPr>
          <a:xfrm>
            <a:off x="4958926" y="2716862"/>
            <a:ext cx="3917630" cy="307777"/>
          </a:xfrm>
          <a:prstGeom prst="rect">
            <a:avLst/>
          </a:prstGeom>
          <a:noFill/>
        </p:spPr>
        <p:txBody>
          <a:bodyPr wrap="square">
            <a:spAutoFit/>
          </a:bodyPr>
          <a:lstStyle/>
          <a:p>
            <a:r>
              <a:rPr lang="en-US" sz="1400" b="1"/>
              <a:t>Investor Communication:</a:t>
            </a:r>
          </a:p>
        </p:txBody>
      </p:sp>
      <p:sp>
        <p:nvSpPr>
          <p:cNvPr id="15" name="Textfeld 14">
            <a:extLst>
              <a:ext uri="{FF2B5EF4-FFF2-40B4-BE49-F238E27FC236}">
                <a16:creationId xmlns:a16="http://schemas.microsoft.com/office/drawing/2014/main" id="{10E1575E-3A82-A282-5B42-BC29FC338C3D}"/>
              </a:ext>
            </a:extLst>
          </p:cNvPr>
          <p:cNvSpPr txBox="1"/>
          <p:nvPr/>
        </p:nvSpPr>
        <p:spPr>
          <a:xfrm>
            <a:off x="4956878" y="4341814"/>
            <a:ext cx="3187854" cy="523220"/>
          </a:xfrm>
          <a:prstGeom prst="rect">
            <a:avLst/>
          </a:prstGeom>
          <a:noFill/>
        </p:spPr>
        <p:txBody>
          <a:bodyPr wrap="square">
            <a:spAutoFit/>
          </a:bodyPr>
          <a:lstStyle/>
          <a:p>
            <a:r>
              <a:rPr lang="en-US" sz="1400" b="1"/>
              <a:t>Regulatory Bodies and Policy Communication:</a:t>
            </a:r>
          </a:p>
        </p:txBody>
      </p:sp>
      <p:grpSp>
        <p:nvGrpSpPr>
          <p:cNvPr id="60" name="Car13" descr="{&quot;Key&quot;:&quot;POWER_USER_SHAPE_ICON&quot;,&quot;Value&quot;:&quot;POWER_USER_SHAPE_ICON_STYLE_1&quot;}">
            <a:extLst>
              <a:ext uri="{FF2B5EF4-FFF2-40B4-BE49-F238E27FC236}">
                <a16:creationId xmlns:a16="http://schemas.microsoft.com/office/drawing/2014/main" id="{9959D408-58C1-DE7E-B939-90D1E184A9C7}"/>
              </a:ext>
            </a:extLst>
          </p:cNvPr>
          <p:cNvGrpSpPr>
            <a:grpSpLocks noChangeAspect="1"/>
          </p:cNvGrpSpPr>
          <p:nvPr>
            <p:custDataLst>
              <p:tags r:id="rId2"/>
            </p:custDataLst>
          </p:nvPr>
        </p:nvGrpSpPr>
        <p:grpSpPr>
          <a:xfrm>
            <a:off x="359997" y="4457319"/>
            <a:ext cx="255333" cy="164347"/>
            <a:chOff x="8096251" y="1354138"/>
            <a:chExt cx="850900" cy="547688"/>
          </a:xfrm>
          <a:solidFill>
            <a:schemeClr val="bg1"/>
          </a:solidFill>
        </p:grpSpPr>
        <p:sp>
          <p:nvSpPr>
            <p:cNvPr id="61" name="Freeform 26">
              <a:extLst>
                <a:ext uri="{FF2B5EF4-FFF2-40B4-BE49-F238E27FC236}">
                  <a16:creationId xmlns:a16="http://schemas.microsoft.com/office/drawing/2014/main" id="{C8238DBF-8553-C080-1BA4-3B210BE8DBED}"/>
                </a:ext>
              </a:extLst>
            </p:cNvPr>
            <p:cNvSpPr>
              <a:spLocks/>
            </p:cNvSpPr>
            <p:nvPr/>
          </p:nvSpPr>
          <p:spPr bwMode="auto">
            <a:xfrm>
              <a:off x="8172451" y="1354138"/>
              <a:ext cx="698500" cy="471488"/>
            </a:xfrm>
            <a:custGeom>
              <a:avLst/>
              <a:gdLst>
                <a:gd name="T0" fmla="*/ 767 w 767"/>
                <a:gd name="T1" fmla="*/ 484 h 517"/>
                <a:gd name="T2" fmla="*/ 767 w 767"/>
                <a:gd name="T3" fmla="*/ 329 h 517"/>
                <a:gd name="T4" fmla="*/ 759 w 767"/>
                <a:gd name="T5" fmla="*/ 284 h 517"/>
                <a:gd name="T6" fmla="*/ 675 w 767"/>
                <a:gd name="T7" fmla="*/ 65 h 517"/>
                <a:gd name="T8" fmla="*/ 582 w 767"/>
                <a:gd name="T9" fmla="*/ 0 h 517"/>
                <a:gd name="T10" fmla="*/ 186 w 767"/>
                <a:gd name="T11" fmla="*/ 0 h 517"/>
                <a:gd name="T12" fmla="*/ 92 w 767"/>
                <a:gd name="T13" fmla="*/ 65 h 517"/>
                <a:gd name="T14" fmla="*/ 8 w 767"/>
                <a:gd name="T15" fmla="*/ 284 h 517"/>
                <a:gd name="T16" fmla="*/ 0 w 767"/>
                <a:gd name="T17" fmla="*/ 329 h 517"/>
                <a:gd name="T18" fmla="*/ 0 w 767"/>
                <a:gd name="T19" fmla="*/ 484 h 517"/>
                <a:gd name="T20" fmla="*/ 34 w 767"/>
                <a:gd name="T21" fmla="*/ 517 h 517"/>
                <a:gd name="T22" fmla="*/ 734 w 767"/>
                <a:gd name="T23" fmla="*/ 517 h 517"/>
                <a:gd name="T24" fmla="*/ 767 w 767"/>
                <a:gd name="T25" fmla="*/ 484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7" h="517">
                  <a:moveTo>
                    <a:pt x="767" y="484"/>
                  </a:moveTo>
                  <a:lnTo>
                    <a:pt x="767" y="329"/>
                  </a:lnTo>
                  <a:cubicBezTo>
                    <a:pt x="767" y="314"/>
                    <a:pt x="764" y="298"/>
                    <a:pt x="759" y="284"/>
                  </a:cubicBezTo>
                  <a:lnTo>
                    <a:pt x="675" y="65"/>
                  </a:lnTo>
                  <a:cubicBezTo>
                    <a:pt x="660" y="26"/>
                    <a:pt x="623" y="0"/>
                    <a:pt x="582" y="0"/>
                  </a:cubicBezTo>
                  <a:lnTo>
                    <a:pt x="186" y="0"/>
                  </a:lnTo>
                  <a:cubicBezTo>
                    <a:pt x="144" y="0"/>
                    <a:pt x="107" y="26"/>
                    <a:pt x="92" y="65"/>
                  </a:cubicBezTo>
                  <a:lnTo>
                    <a:pt x="8" y="284"/>
                  </a:lnTo>
                  <a:cubicBezTo>
                    <a:pt x="3" y="298"/>
                    <a:pt x="0" y="314"/>
                    <a:pt x="0" y="329"/>
                  </a:cubicBezTo>
                  <a:lnTo>
                    <a:pt x="0" y="484"/>
                  </a:lnTo>
                  <a:cubicBezTo>
                    <a:pt x="0" y="502"/>
                    <a:pt x="15" y="517"/>
                    <a:pt x="34" y="517"/>
                  </a:cubicBezTo>
                  <a:lnTo>
                    <a:pt x="734" y="517"/>
                  </a:lnTo>
                  <a:cubicBezTo>
                    <a:pt x="752" y="517"/>
                    <a:pt x="767" y="502"/>
                    <a:pt x="767" y="484"/>
                  </a:cubicBezTo>
                  <a:close/>
                </a:path>
              </a:pathLst>
            </a:custGeom>
            <a:grp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27">
              <a:extLst>
                <a:ext uri="{FF2B5EF4-FFF2-40B4-BE49-F238E27FC236}">
                  <a16:creationId xmlns:a16="http://schemas.microsoft.com/office/drawing/2014/main" id="{702BC577-A5BB-BBE2-A487-77925C83690C}"/>
                </a:ext>
              </a:extLst>
            </p:cNvPr>
            <p:cNvSpPr>
              <a:spLocks/>
            </p:cNvSpPr>
            <p:nvPr/>
          </p:nvSpPr>
          <p:spPr bwMode="auto">
            <a:xfrm>
              <a:off x="8172451" y="1795463"/>
              <a:ext cx="106363" cy="106363"/>
            </a:xfrm>
            <a:custGeom>
              <a:avLst/>
              <a:gdLst>
                <a:gd name="T0" fmla="*/ 0 w 117"/>
                <a:gd name="T1" fmla="*/ 0 h 116"/>
                <a:gd name="T2" fmla="*/ 0 w 117"/>
                <a:gd name="T3" fmla="*/ 83 h 116"/>
                <a:gd name="T4" fmla="*/ 34 w 117"/>
                <a:gd name="T5" fmla="*/ 116 h 116"/>
                <a:gd name="T6" fmla="*/ 84 w 117"/>
                <a:gd name="T7" fmla="*/ 116 h 116"/>
                <a:gd name="T8" fmla="*/ 117 w 117"/>
                <a:gd name="T9" fmla="*/ 83 h 116"/>
                <a:gd name="T10" fmla="*/ 117 w 117"/>
                <a:gd name="T11" fmla="*/ 33 h 116"/>
              </a:gdLst>
              <a:ahLst/>
              <a:cxnLst>
                <a:cxn ang="0">
                  <a:pos x="T0" y="T1"/>
                </a:cxn>
                <a:cxn ang="0">
                  <a:pos x="T2" y="T3"/>
                </a:cxn>
                <a:cxn ang="0">
                  <a:pos x="T4" y="T5"/>
                </a:cxn>
                <a:cxn ang="0">
                  <a:pos x="T6" y="T7"/>
                </a:cxn>
                <a:cxn ang="0">
                  <a:pos x="T8" y="T9"/>
                </a:cxn>
                <a:cxn ang="0">
                  <a:pos x="T10" y="T11"/>
                </a:cxn>
              </a:cxnLst>
              <a:rect l="0" t="0" r="r" b="b"/>
              <a:pathLst>
                <a:path w="117" h="116">
                  <a:moveTo>
                    <a:pt x="0" y="0"/>
                  </a:moveTo>
                  <a:lnTo>
                    <a:pt x="0" y="83"/>
                  </a:lnTo>
                  <a:cubicBezTo>
                    <a:pt x="0" y="101"/>
                    <a:pt x="15" y="116"/>
                    <a:pt x="34" y="116"/>
                  </a:cubicBezTo>
                  <a:lnTo>
                    <a:pt x="84" y="116"/>
                  </a:lnTo>
                  <a:cubicBezTo>
                    <a:pt x="102" y="116"/>
                    <a:pt x="117" y="101"/>
                    <a:pt x="117" y="83"/>
                  </a:cubicBezTo>
                  <a:lnTo>
                    <a:pt x="117" y="33"/>
                  </a:lnTo>
                </a:path>
              </a:pathLst>
            </a:custGeom>
            <a:grpFill/>
            <a:ln w="95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28">
              <a:extLst>
                <a:ext uri="{FF2B5EF4-FFF2-40B4-BE49-F238E27FC236}">
                  <a16:creationId xmlns:a16="http://schemas.microsoft.com/office/drawing/2014/main" id="{8C269363-49C5-A897-ACA3-8D7DA6629EC9}"/>
                </a:ext>
              </a:extLst>
            </p:cNvPr>
            <p:cNvSpPr>
              <a:spLocks/>
            </p:cNvSpPr>
            <p:nvPr/>
          </p:nvSpPr>
          <p:spPr bwMode="auto">
            <a:xfrm>
              <a:off x="8764588" y="1795463"/>
              <a:ext cx="106363" cy="106363"/>
            </a:xfrm>
            <a:custGeom>
              <a:avLst/>
              <a:gdLst>
                <a:gd name="T0" fmla="*/ 117 w 117"/>
                <a:gd name="T1" fmla="*/ 0 h 116"/>
                <a:gd name="T2" fmla="*/ 117 w 117"/>
                <a:gd name="T3" fmla="*/ 83 h 116"/>
                <a:gd name="T4" fmla="*/ 84 w 117"/>
                <a:gd name="T5" fmla="*/ 116 h 116"/>
                <a:gd name="T6" fmla="*/ 34 w 117"/>
                <a:gd name="T7" fmla="*/ 116 h 116"/>
                <a:gd name="T8" fmla="*/ 0 w 117"/>
                <a:gd name="T9" fmla="*/ 83 h 116"/>
                <a:gd name="T10" fmla="*/ 0 w 117"/>
                <a:gd name="T11" fmla="*/ 33 h 116"/>
              </a:gdLst>
              <a:ahLst/>
              <a:cxnLst>
                <a:cxn ang="0">
                  <a:pos x="T0" y="T1"/>
                </a:cxn>
                <a:cxn ang="0">
                  <a:pos x="T2" y="T3"/>
                </a:cxn>
                <a:cxn ang="0">
                  <a:pos x="T4" y="T5"/>
                </a:cxn>
                <a:cxn ang="0">
                  <a:pos x="T6" y="T7"/>
                </a:cxn>
                <a:cxn ang="0">
                  <a:pos x="T8" y="T9"/>
                </a:cxn>
                <a:cxn ang="0">
                  <a:pos x="T10" y="T11"/>
                </a:cxn>
              </a:cxnLst>
              <a:rect l="0" t="0" r="r" b="b"/>
              <a:pathLst>
                <a:path w="117" h="116">
                  <a:moveTo>
                    <a:pt x="117" y="0"/>
                  </a:moveTo>
                  <a:lnTo>
                    <a:pt x="117" y="83"/>
                  </a:lnTo>
                  <a:cubicBezTo>
                    <a:pt x="117" y="101"/>
                    <a:pt x="102" y="116"/>
                    <a:pt x="84" y="116"/>
                  </a:cubicBezTo>
                  <a:lnTo>
                    <a:pt x="34" y="116"/>
                  </a:lnTo>
                  <a:cubicBezTo>
                    <a:pt x="15" y="116"/>
                    <a:pt x="0" y="101"/>
                    <a:pt x="0" y="83"/>
                  </a:cubicBezTo>
                  <a:lnTo>
                    <a:pt x="0" y="33"/>
                  </a:lnTo>
                </a:path>
              </a:pathLst>
            </a:custGeom>
            <a:grpFill/>
            <a:ln w="95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29">
              <a:extLst>
                <a:ext uri="{FF2B5EF4-FFF2-40B4-BE49-F238E27FC236}">
                  <a16:creationId xmlns:a16="http://schemas.microsoft.com/office/drawing/2014/main" id="{907DAEDC-3DE1-2248-8B8E-00B4B0BD70EF}"/>
                </a:ext>
              </a:extLst>
            </p:cNvPr>
            <p:cNvSpPr>
              <a:spLocks/>
            </p:cNvSpPr>
            <p:nvPr/>
          </p:nvSpPr>
          <p:spPr bwMode="auto">
            <a:xfrm>
              <a:off x="8202613" y="1568450"/>
              <a:ext cx="638175" cy="14288"/>
            </a:xfrm>
            <a:custGeom>
              <a:avLst/>
              <a:gdLst>
                <a:gd name="T0" fmla="*/ 0 w 700"/>
                <a:gd name="T1" fmla="*/ 0 h 16"/>
                <a:gd name="T2" fmla="*/ 24 w 700"/>
                <a:gd name="T3" fmla="*/ 8 h 16"/>
                <a:gd name="T4" fmla="*/ 77 w 700"/>
                <a:gd name="T5" fmla="*/ 16 h 16"/>
                <a:gd name="T6" fmla="*/ 623 w 700"/>
                <a:gd name="T7" fmla="*/ 16 h 16"/>
                <a:gd name="T8" fmla="*/ 675 w 700"/>
                <a:gd name="T9" fmla="*/ 8 h 16"/>
                <a:gd name="T10" fmla="*/ 700 w 700"/>
                <a:gd name="T11" fmla="*/ 0 h 16"/>
              </a:gdLst>
              <a:ahLst/>
              <a:cxnLst>
                <a:cxn ang="0">
                  <a:pos x="T0" y="T1"/>
                </a:cxn>
                <a:cxn ang="0">
                  <a:pos x="T2" y="T3"/>
                </a:cxn>
                <a:cxn ang="0">
                  <a:pos x="T4" y="T5"/>
                </a:cxn>
                <a:cxn ang="0">
                  <a:pos x="T6" y="T7"/>
                </a:cxn>
                <a:cxn ang="0">
                  <a:pos x="T8" y="T9"/>
                </a:cxn>
                <a:cxn ang="0">
                  <a:pos x="T10" y="T11"/>
                </a:cxn>
              </a:cxnLst>
              <a:rect l="0" t="0" r="r" b="b"/>
              <a:pathLst>
                <a:path w="700" h="16">
                  <a:moveTo>
                    <a:pt x="0" y="0"/>
                  </a:moveTo>
                  <a:lnTo>
                    <a:pt x="24" y="8"/>
                  </a:lnTo>
                  <a:cubicBezTo>
                    <a:pt x="41" y="13"/>
                    <a:pt x="59" y="16"/>
                    <a:pt x="77" y="16"/>
                  </a:cubicBezTo>
                  <a:lnTo>
                    <a:pt x="623" y="16"/>
                  </a:lnTo>
                  <a:cubicBezTo>
                    <a:pt x="641" y="16"/>
                    <a:pt x="658" y="13"/>
                    <a:pt x="675" y="8"/>
                  </a:cubicBezTo>
                  <a:lnTo>
                    <a:pt x="700" y="0"/>
                  </a:lnTo>
                </a:path>
              </a:pathLst>
            </a:custGeom>
            <a:grp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30">
              <a:extLst>
                <a:ext uri="{FF2B5EF4-FFF2-40B4-BE49-F238E27FC236}">
                  <a16:creationId xmlns:a16="http://schemas.microsoft.com/office/drawing/2014/main" id="{F9A669B9-84CA-0B9B-6632-992CB89F2446}"/>
                </a:ext>
              </a:extLst>
            </p:cNvPr>
            <p:cNvSpPr>
              <a:spLocks/>
            </p:cNvSpPr>
            <p:nvPr/>
          </p:nvSpPr>
          <p:spPr bwMode="auto">
            <a:xfrm>
              <a:off x="8218488" y="1658938"/>
              <a:ext cx="122238" cy="60325"/>
            </a:xfrm>
            <a:custGeom>
              <a:avLst/>
              <a:gdLst>
                <a:gd name="T0" fmla="*/ 117 w 134"/>
                <a:gd name="T1" fmla="*/ 66 h 66"/>
                <a:gd name="T2" fmla="*/ 50 w 134"/>
                <a:gd name="T3" fmla="*/ 66 h 66"/>
                <a:gd name="T4" fmla="*/ 0 w 134"/>
                <a:gd name="T5" fmla="*/ 16 h 66"/>
                <a:gd name="T6" fmla="*/ 17 w 134"/>
                <a:gd name="T7" fmla="*/ 0 h 66"/>
                <a:gd name="T8" fmla="*/ 84 w 134"/>
                <a:gd name="T9" fmla="*/ 0 h 66"/>
                <a:gd name="T10" fmla="*/ 134 w 134"/>
                <a:gd name="T11" fmla="*/ 50 h 66"/>
                <a:gd name="T12" fmla="*/ 117 w 134"/>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34" h="66">
                  <a:moveTo>
                    <a:pt x="117" y="66"/>
                  </a:moveTo>
                  <a:lnTo>
                    <a:pt x="50" y="66"/>
                  </a:lnTo>
                  <a:cubicBezTo>
                    <a:pt x="23" y="66"/>
                    <a:pt x="0" y="44"/>
                    <a:pt x="0" y="16"/>
                  </a:cubicBezTo>
                  <a:cubicBezTo>
                    <a:pt x="0" y="7"/>
                    <a:pt x="8" y="0"/>
                    <a:pt x="17" y="0"/>
                  </a:cubicBezTo>
                  <a:lnTo>
                    <a:pt x="84" y="0"/>
                  </a:lnTo>
                  <a:cubicBezTo>
                    <a:pt x="111" y="0"/>
                    <a:pt x="134" y="22"/>
                    <a:pt x="134" y="50"/>
                  </a:cubicBezTo>
                  <a:cubicBezTo>
                    <a:pt x="134" y="59"/>
                    <a:pt x="126" y="66"/>
                    <a:pt x="117" y="66"/>
                  </a:cubicBezTo>
                  <a:close/>
                </a:path>
              </a:pathLst>
            </a:custGeom>
            <a:grpFill/>
            <a:ln w="95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Line 31">
              <a:extLst>
                <a:ext uri="{FF2B5EF4-FFF2-40B4-BE49-F238E27FC236}">
                  <a16:creationId xmlns:a16="http://schemas.microsoft.com/office/drawing/2014/main" id="{734BF222-3D02-0763-FD7A-86FA3B82A57F}"/>
                </a:ext>
              </a:extLst>
            </p:cNvPr>
            <p:cNvSpPr>
              <a:spLocks noChangeShapeType="1"/>
            </p:cNvSpPr>
            <p:nvPr/>
          </p:nvSpPr>
          <p:spPr bwMode="auto">
            <a:xfrm flipH="1">
              <a:off x="8399463" y="1765300"/>
              <a:ext cx="244475" cy="0"/>
            </a:xfrm>
            <a:prstGeom prst="line">
              <a:avLst/>
            </a:prstGeom>
            <a:grpFill/>
            <a:ln w="9525" cap="rnd">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32">
              <a:extLst>
                <a:ext uri="{FF2B5EF4-FFF2-40B4-BE49-F238E27FC236}">
                  <a16:creationId xmlns:a16="http://schemas.microsoft.com/office/drawing/2014/main" id="{B73D8701-7780-1009-87B3-50741B64A5BB}"/>
                </a:ext>
              </a:extLst>
            </p:cNvPr>
            <p:cNvSpPr>
              <a:spLocks/>
            </p:cNvSpPr>
            <p:nvPr/>
          </p:nvSpPr>
          <p:spPr bwMode="auto">
            <a:xfrm>
              <a:off x="8704263" y="1658938"/>
              <a:ext cx="122238" cy="60325"/>
            </a:xfrm>
            <a:custGeom>
              <a:avLst/>
              <a:gdLst>
                <a:gd name="T0" fmla="*/ 83 w 133"/>
                <a:gd name="T1" fmla="*/ 66 h 66"/>
                <a:gd name="T2" fmla="*/ 16 w 133"/>
                <a:gd name="T3" fmla="*/ 66 h 66"/>
                <a:gd name="T4" fmla="*/ 0 w 133"/>
                <a:gd name="T5" fmla="*/ 50 h 66"/>
                <a:gd name="T6" fmla="*/ 50 w 133"/>
                <a:gd name="T7" fmla="*/ 0 h 66"/>
                <a:gd name="T8" fmla="*/ 116 w 133"/>
                <a:gd name="T9" fmla="*/ 0 h 66"/>
                <a:gd name="T10" fmla="*/ 133 w 133"/>
                <a:gd name="T11" fmla="*/ 16 h 66"/>
                <a:gd name="T12" fmla="*/ 83 w 133"/>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33" h="66">
                  <a:moveTo>
                    <a:pt x="83" y="66"/>
                  </a:moveTo>
                  <a:lnTo>
                    <a:pt x="16" y="66"/>
                  </a:lnTo>
                  <a:cubicBezTo>
                    <a:pt x="7" y="66"/>
                    <a:pt x="0" y="59"/>
                    <a:pt x="0" y="50"/>
                  </a:cubicBezTo>
                  <a:cubicBezTo>
                    <a:pt x="0" y="22"/>
                    <a:pt x="22" y="0"/>
                    <a:pt x="50" y="0"/>
                  </a:cubicBezTo>
                  <a:lnTo>
                    <a:pt x="116" y="0"/>
                  </a:lnTo>
                  <a:cubicBezTo>
                    <a:pt x="126" y="0"/>
                    <a:pt x="133" y="7"/>
                    <a:pt x="133" y="16"/>
                  </a:cubicBezTo>
                  <a:cubicBezTo>
                    <a:pt x="133" y="44"/>
                    <a:pt x="111" y="66"/>
                    <a:pt x="83" y="66"/>
                  </a:cubicBezTo>
                  <a:close/>
                </a:path>
              </a:pathLst>
            </a:custGeom>
            <a:grpFill/>
            <a:ln w="95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33">
              <a:extLst>
                <a:ext uri="{FF2B5EF4-FFF2-40B4-BE49-F238E27FC236}">
                  <a16:creationId xmlns:a16="http://schemas.microsoft.com/office/drawing/2014/main" id="{D22ED15F-92AA-3625-1D39-7DE8E5B694A4}"/>
                </a:ext>
              </a:extLst>
            </p:cNvPr>
            <p:cNvSpPr>
              <a:spLocks/>
            </p:cNvSpPr>
            <p:nvPr/>
          </p:nvSpPr>
          <p:spPr bwMode="auto">
            <a:xfrm>
              <a:off x="8096251" y="1490663"/>
              <a:ext cx="92075" cy="61913"/>
            </a:xfrm>
            <a:custGeom>
              <a:avLst/>
              <a:gdLst>
                <a:gd name="T0" fmla="*/ 100 w 100"/>
                <a:gd name="T1" fmla="*/ 67 h 67"/>
                <a:gd name="T2" fmla="*/ 42 w 100"/>
                <a:gd name="T3" fmla="*/ 67 h 67"/>
                <a:gd name="T4" fmla="*/ 0 w 100"/>
                <a:gd name="T5" fmla="*/ 25 h 67"/>
                <a:gd name="T6" fmla="*/ 0 w 100"/>
                <a:gd name="T7" fmla="*/ 25 h 67"/>
                <a:gd name="T8" fmla="*/ 25 w 100"/>
                <a:gd name="T9" fmla="*/ 0 h 67"/>
                <a:gd name="T10" fmla="*/ 75 w 100"/>
                <a:gd name="T11" fmla="*/ 0 h 67"/>
                <a:gd name="T12" fmla="*/ 100 w 100"/>
                <a:gd name="T13" fmla="*/ 25 h 67"/>
                <a:gd name="T14" fmla="*/ 100 w 100"/>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67">
                  <a:moveTo>
                    <a:pt x="100" y="67"/>
                  </a:moveTo>
                  <a:lnTo>
                    <a:pt x="42" y="67"/>
                  </a:lnTo>
                  <a:cubicBezTo>
                    <a:pt x="19" y="67"/>
                    <a:pt x="0" y="48"/>
                    <a:pt x="0" y="25"/>
                  </a:cubicBezTo>
                  <a:lnTo>
                    <a:pt x="0" y="25"/>
                  </a:lnTo>
                  <a:cubicBezTo>
                    <a:pt x="0" y="12"/>
                    <a:pt x="11" y="0"/>
                    <a:pt x="25" y="0"/>
                  </a:cubicBezTo>
                  <a:lnTo>
                    <a:pt x="75" y="0"/>
                  </a:lnTo>
                  <a:cubicBezTo>
                    <a:pt x="89" y="0"/>
                    <a:pt x="100" y="12"/>
                    <a:pt x="100" y="25"/>
                  </a:cubicBezTo>
                  <a:lnTo>
                    <a:pt x="100" y="67"/>
                  </a:lnTo>
                  <a:close/>
                </a:path>
              </a:pathLst>
            </a:custGeom>
            <a:grpFill/>
            <a:ln w="95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34">
              <a:extLst>
                <a:ext uri="{FF2B5EF4-FFF2-40B4-BE49-F238E27FC236}">
                  <a16:creationId xmlns:a16="http://schemas.microsoft.com/office/drawing/2014/main" id="{9FF20863-C786-E2EF-1E74-997A6BE94EAA}"/>
                </a:ext>
              </a:extLst>
            </p:cNvPr>
            <p:cNvSpPr>
              <a:spLocks/>
            </p:cNvSpPr>
            <p:nvPr/>
          </p:nvSpPr>
          <p:spPr bwMode="auto">
            <a:xfrm>
              <a:off x="8856663" y="1490663"/>
              <a:ext cx="90488" cy="61913"/>
            </a:xfrm>
            <a:custGeom>
              <a:avLst/>
              <a:gdLst>
                <a:gd name="T0" fmla="*/ 0 w 100"/>
                <a:gd name="T1" fmla="*/ 67 h 67"/>
                <a:gd name="T2" fmla="*/ 59 w 100"/>
                <a:gd name="T3" fmla="*/ 67 h 67"/>
                <a:gd name="T4" fmla="*/ 100 w 100"/>
                <a:gd name="T5" fmla="*/ 25 h 67"/>
                <a:gd name="T6" fmla="*/ 100 w 100"/>
                <a:gd name="T7" fmla="*/ 25 h 67"/>
                <a:gd name="T8" fmla="*/ 75 w 100"/>
                <a:gd name="T9" fmla="*/ 0 h 67"/>
                <a:gd name="T10" fmla="*/ 25 w 100"/>
                <a:gd name="T11" fmla="*/ 0 h 67"/>
                <a:gd name="T12" fmla="*/ 0 w 100"/>
                <a:gd name="T13" fmla="*/ 25 h 67"/>
                <a:gd name="T14" fmla="*/ 0 w 100"/>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67">
                  <a:moveTo>
                    <a:pt x="0" y="67"/>
                  </a:moveTo>
                  <a:lnTo>
                    <a:pt x="59" y="67"/>
                  </a:lnTo>
                  <a:cubicBezTo>
                    <a:pt x="82" y="67"/>
                    <a:pt x="100" y="48"/>
                    <a:pt x="100" y="25"/>
                  </a:cubicBezTo>
                  <a:lnTo>
                    <a:pt x="100" y="25"/>
                  </a:lnTo>
                  <a:cubicBezTo>
                    <a:pt x="100" y="12"/>
                    <a:pt x="89" y="0"/>
                    <a:pt x="75" y="0"/>
                  </a:cubicBezTo>
                  <a:lnTo>
                    <a:pt x="25" y="0"/>
                  </a:lnTo>
                  <a:cubicBezTo>
                    <a:pt x="12" y="0"/>
                    <a:pt x="0" y="12"/>
                    <a:pt x="0" y="25"/>
                  </a:cubicBezTo>
                  <a:lnTo>
                    <a:pt x="0" y="67"/>
                  </a:lnTo>
                  <a:close/>
                </a:path>
              </a:pathLst>
            </a:custGeom>
            <a:grpFill/>
            <a:ln w="95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0" name="Customer_satisfaction3" descr="{&quot;Key&quot;:&quot;POWER_USER_SHAPE_ICON&quot;,&quot;Value&quot;:&quot;POWER_USER_SHAPE_ICON_STYLE_1&quot;}">
            <a:extLst>
              <a:ext uri="{FF2B5EF4-FFF2-40B4-BE49-F238E27FC236}">
                <a16:creationId xmlns:a16="http://schemas.microsoft.com/office/drawing/2014/main" id="{B04EF994-1215-32C7-DEE5-798FB47417C7}"/>
              </a:ext>
            </a:extLst>
          </p:cNvPr>
          <p:cNvGrpSpPr>
            <a:grpSpLocks noChangeAspect="1"/>
          </p:cNvGrpSpPr>
          <p:nvPr/>
        </p:nvGrpSpPr>
        <p:grpSpPr>
          <a:xfrm>
            <a:off x="397107" y="2739668"/>
            <a:ext cx="209941" cy="224427"/>
            <a:chOff x="7533564" y="3565906"/>
            <a:chExt cx="858887" cy="918153"/>
          </a:xfrm>
          <a:solidFill>
            <a:schemeClr val="tx1"/>
          </a:solidFill>
        </p:grpSpPr>
        <p:grpSp>
          <p:nvGrpSpPr>
            <p:cNvPr id="71" name="Hand5" descr="{&quot;Key&quot;:&quot;POWER_USER_SHAPE_ICON&quot;,&quot;Value&quot;:&quot;POWER_USER_SHAPE_ICON_STYLE_1&quot;}">
              <a:extLst>
                <a:ext uri="{FF2B5EF4-FFF2-40B4-BE49-F238E27FC236}">
                  <a16:creationId xmlns:a16="http://schemas.microsoft.com/office/drawing/2014/main" id="{B2224D41-F4BE-C43B-6328-F7A968F8B49B}"/>
                </a:ext>
              </a:extLst>
            </p:cNvPr>
            <p:cNvGrpSpPr>
              <a:grpSpLocks noChangeAspect="1"/>
            </p:cNvGrpSpPr>
            <p:nvPr>
              <p:custDataLst>
                <p:tags r:id="rId14"/>
              </p:custDataLst>
            </p:nvPr>
          </p:nvGrpSpPr>
          <p:grpSpPr>
            <a:xfrm>
              <a:off x="7533564" y="3941134"/>
              <a:ext cx="858887" cy="542925"/>
              <a:chOff x="5035551" y="327026"/>
              <a:chExt cx="306388" cy="193676"/>
            </a:xfrm>
            <a:grpFill/>
          </p:grpSpPr>
          <p:sp>
            <p:nvSpPr>
              <p:cNvPr id="73" name="Freeform 1522">
                <a:extLst>
                  <a:ext uri="{FF2B5EF4-FFF2-40B4-BE49-F238E27FC236}">
                    <a16:creationId xmlns:a16="http://schemas.microsoft.com/office/drawing/2014/main" id="{8FC2DCA7-E551-8996-16A7-6764F9B222B3}"/>
                  </a:ext>
                </a:extLst>
              </p:cNvPr>
              <p:cNvSpPr>
                <a:spLocks/>
              </p:cNvSpPr>
              <p:nvPr/>
            </p:nvSpPr>
            <p:spPr bwMode="auto">
              <a:xfrm>
                <a:off x="5087938" y="342901"/>
                <a:ext cx="150813" cy="73025"/>
              </a:xfrm>
              <a:custGeom>
                <a:avLst/>
                <a:gdLst>
                  <a:gd name="T0" fmla="*/ 12 w 247"/>
                  <a:gd name="T1" fmla="*/ 119 h 119"/>
                  <a:gd name="T2" fmla="*/ 0 w 247"/>
                  <a:gd name="T3" fmla="*/ 107 h 119"/>
                  <a:gd name="T4" fmla="*/ 86 w 247"/>
                  <a:gd name="T5" fmla="*/ 22 h 119"/>
                  <a:gd name="T6" fmla="*/ 133 w 247"/>
                  <a:gd name="T7" fmla="*/ 1 h 119"/>
                  <a:gd name="T8" fmla="*/ 204 w 247"/>
                  <a:gd name="T9" fmla="*/ 0 h 119"/>
                  <a:gd name="T10" fmla="*/ 235 w 247"/>
                  <a:gd name="T11" fmla="*/ 12 h 119"/>
                  <a:gd name="T12" fmla="*/ 247 w 247"/>
                  <a:gd name="T13" fmla="*/ 42 h 119"/>
                  <a:gd name="T14" fmla="*/ 206 w 247"/>
                  <a:gd name="T15" fmla="*/ 84 h 119"/>
                  <a:gd name="T16" fmla="*/ 155 w 247"/>
                  <a:gd name="T17" fmla="*/ 85 h 119"/>
                  <a:gd name="T18" fmla="*/ 155 w 247"/>
                  <a:gd name="T19" fmla="*/ 68 h 119"/>
                  <a:gd name="T20" fmla="*/ 206 w 247"/>
                  <a:gd name="T21" fmla="*/ 67 h 119"/>
                  <a:gd name="T22" fmla="*/ 230 w 247"/>
                  <a:gd name="T23" fmla="*/ 42 h 119"/>
                  <a:gd name="T24" fmla="*/ 223 w 247"/>
                  <a:gd name="T25" fmla="*/ 24 h 119"/>
                  <a:gd name="T26" fmla="*/ 205 w 247"/>
                  <a:gd name="T27" fmla="*/ 17 h 119"/>
                  <a:gd name="T28" fmla="*/ 134 w 247"/>
                  <a:gd name="T29" fmla="*/ 18 h 119"/>
                  <a:gd name="T30" fmla="*/ 97 w 247"/>
                  <a:gd name="T31" fmla="*/ 33 h 119"/>
                  <a:gd name="T32" fmla="*/ 12 w 247"/>
                  <a:gd name="T3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7" h="119">
                    <a:moveTo>
                      <a:pt x="12" y="119"/>
                    </a:moveTo>
                    <a:lnTo>
                      <a:pt x="0" y="107"/>
                    </a:lnTo>
                    <a:lnTo>
                      <a:pt x="86" y="22"/>
                    </a:lnTo>
                    <a:cubicBezTo>
                      <a:pt x="98" y="9"/>
                      <a:pt x="115" y="2"/>
                      <a:pt x="133" y="1"/>
                    </a:cubicBezTo>
                    <a:lnTo>
                      <a:pt x="204" y="0"/>
                    </a:lnTo>
                    <a:cubicBezTo>
                      <a:pt x="216" y="0"/>
                      <a:pt x="226" y="4"/>
                      <a:pt x="235" y="12"/>
                    </a:cubicBezTo>
                    <a:cubicBezTo>
                      <a:pt x="243" y="20"/>
                      <a:pt x="247" y="31"/>
                      <a:pt x="247" y="42"/>
                    </a:cubicBezTo>
                    <a:cubicBezTo>
                      <a:pt x="247" y="65"/>
                      <a:pt x="229" y="84"/>
                      <a:pt x="206" y="84"/>
                    </a:cubicBezTo>
                    <a:lnTo>
                      <a:pt x="155" y="85"/>
                    </a:lnTo>
                    <a:lnTo>
                      <a:pt x="155" y="68"/>
                    </a:lnTo>
                    <a:lnTo>
                      <a:pt x="206" y="67"/>
                    </a:lnTo>
                    <a:cubicBezTo>
                      <a:pt x="219" y="67"/>
                      <a:pt x="230" y="56"/>
                      <a:pt x="230" y="42"/>
                    </a:cubicBezTo>
                    <a:cubicBezTo>
                      <a:pt x="230" y="35"/>
                      <a:pt x="228" y="29"/>
                      <a:pt x="223" y="24"/>
                    </a:cubicBezTo>
                    <a:cubicBezTo>
                      <a:pt x="218" y="19"/>
                      <a:pt x="212" y="16"/>
                      <a:pt x="205" y="17"/>
                    </a:cubicBezTo>
                    <a:lnTo>
                      <a:pt x="134" y="18"/>
                    </a:lnTo>
                    <a:cubicBezTo>
                      <a:pt x="120" y="18"/>
                      <a:pt x="107" y="24"/>
                      <a:pt x="97" y="33"/>
                    </a:cubicBezTo>
                    <a:lnTo>
                      <a:pt x="12" y="119"/>
                    </a:lnTo>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523">
                <a:extLst>
                  <a:ext uri="{FF2B5EF4-FFF2-40B4-BE49-F238E27FC236}">
                    <a16:creationId xmlns:a16="http://schemas.microsoft.com/office/drawing/2014/main" id="{445B27C8-4FCF-70CF-C2E8-BAF1652EEF02}"/>
                  </a:ext>
                </a:extLst>
              </p:cNvPr>
              <p:cNvSpPr>
                <a:spLocks/>
              </p:cNvSpPr>
              <p:nvPr/>
            </p:nvSpPr>
            <p:spPr bwMode="auto">
              <a:xfrm>
                <a:off x="5140326" y="327026"/>
                <a:ext cx="201613" cy="141288"/>
              </a:xfrm>
              <a:custGeom>
                <a:avLst/>
                <a:gdLst>
                  <a:gd name="T0" fmla="*/ 11 w 332"/>
                  <a:gd name="T1" fmla="*/ 233 h 233"/>
                  <a:gd name="T2" fmla="*/ 0 w 332"/>
                  <a:gd name="T3" fmla="*/ 221 h 233"/>
                  <a:gd name="T4" fmla="*/ 5 w 332"/>
                  <a:gd name="T5" fmla="*/ 215 h 233"/>
                  <a:gd name="T6" fmla="*/ 49 w 332"/>
                  <a:gd name="T7" fmla="*/ 190 h 233"/>
                  <a:gd name="T8" fmla="*/ 174 w 332"/>
                  <a:gd name="T9" fmla="*/ 159 h 233"/>
                  <a:gd name="T10" fmla="*/ 245 w 332"/>
                  <a:gd name="T11" fmla="*/ 118 h 233"/>
                  <a:gd name="T12" fmla="*/ 310 w 332"/>
                  <a:gd name="T13" fmla="*/ 53 h 233"/>
                  <a:gd name="T14" fmla="*/ 316 w 332"/>
                  <a:gd name="T15" fmla="*/ 40 h 233"/>
                  <a:gd name="T16" fmla="*/ 310 w 332"/>
                  <a:gd name="T17" fmla="*/ 26 h 233"/>
                  <a:gd name="T18" fmla="*/ 282 w 332"/>
                  <a:gd name="T19" fmla="*/ 26 h 233"/>
                  <a:gd name="T20" fmla="*/ 225 w 332"/>
                  <a:gd name="T21" fmla="*/ 83 h 233"/>
                  <a:gd name="T22" fmla="*/ 159 w 332"/>
                  <a:gd name="T23" fmla="*/ 111 h 233"/>
                  <a:gd name="T24" fmla="*/ 53 w 332"/>
                  <a:gd name="T25" fmla="*/ 114 h 233"/>
                  <a:gd name="T26" fmla="*/ 53 w 332"/>
                  <a:gd name="T27" fmla="*/ 97 h 233"/>
                  <a:gd name="T28" fmla="*/ 159 w 332"/>
                  <a:gd name="T29" fmla="*/ 95 h 233"/>
                  <a:gd name="T30" fmla="*/ 214 w 332"/>
                  <a:gd name="T31" fmla="*/ 71 h 233"/>
                  <a:gd name="T32" fmla="*/ 271 w 332"/>
                  <a:gd name="T33" fmla="*/ 14 h 233"/>
                  <a:gd name="T34" fmla="*/ 322 w 332"/>
                  <a:gd name="T35" fmla="*/ 14 h 233"/>
                  <a:gd name="T36" fmla="*/ 332 w 332"/>
                  <a:gd name="T37" fmla="*/ 40 h 233"/>
                  <a:gd name="T38" fmla="*/ 322 w 332"/>
                  <a:gd name="T39" fmla="*/ 65 h 233"/>
                  <a:gd name="T40" fmla="*/ 257 w 332"/>
                  <a:gd name="T41" fmla="*/ 130 h 233"/>
                  <a:gd name="T42" fmla="*/ 178 w 332"/>
                  <a:gd name="T43" fmla="*/ 175 h 233"/>
                  <a:gd name="T44" fmla="*/ 53 w 332"/>
                  <a:gd name="T45" fmla="*/ 207 h 233"/>
                  <a:gd name="T46" fmla="*/ 17 w 332"/>
                  <a:gd name="T47" fmla="*/ 227 h 233"/>
                  <a:gd name="T48" fmla="*/ 11 w 332"/>
                  <a:gd name="T49"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2" h="233">
                    <a:moveTo>
                      <a:pt x="11" y="233"/>
                    </a:moveTo>
                    <a:lnTo>
                      <a:pt x="0" y="221"/>
                    </a:lnTo>
                    <a:lnTo>
                      <a:pt x="5" y="215"/>
                    </a:lnTo>
                    <a:cubicBezTo>
                      <a:pt x="17" y="203"/>
                      <a:pt x="33" y="195"/>
                      <a:pt x="49" y="190"/>
                    </a:cubicBezTo>
                    <a:lnTo>
                      <a:pt x="174" y="159"/>
                    </a:lnTo>
                    <a:cubicBezTo>
                      <a:pt x="201" y="152"/>
                      <a:pt x="225" y="138"/>
                      <a:pt x="245" y="118"/>
                    </a:cubicBezTo>
                    <a:lnTo>
                      <a:pt x="310" y="53"/>
                    </a:lnTo>
                    <a:cubicBezTo>
                      <a:pt x="314" y="50"/>
                      <a:pt x="316" y="45"/>
                      <a:pt x="316" y="40"/>
                    </a:cubicBezTo>
                    <a:cubicBezTo>
                      <a:pt x="316" y="34"/>
                      <a:pt x="314" y="30"/>
                      <a:pt x="310" y="26"/>
                    </a:cubicBezTo>
                    <a:cubicBezTo>
                      <a:pt x="302" y="18"/>
                      <a:pt x="290" y="18"/>
                      <a:pt x="282" y="26"/>
                    </a:cubicBezTo>
                    <a:lnTo>
                      <a:pt x="225" y="83"/>
                    </a:lnTo>
                    <a:cubicBezTo>
                      <a:pt x="208" y="101"/>
                      <a:pt x="184" y="111"/>
                      <a:pt x="159" y="111"/>
                    </a:cubicBezTo>
                    <a:lnTo>
                      <a:pt x="53" y="114"/>
                    </a:lnTo>
                    <a:lnTo>
                      <a:pt x="53" y="97"/>
                    </a:lnTo>
                    <a:lnTo>
                      <a:pt x="159" y="95"/>
                    </a:lnTo>
                    <a:cubicBezTo>
                      <a:pt x="179" y="94"/>
                      <a:pt x="199" y="86"/>
                      <a:pt x="214" y="71"/>
                    </a:cubicBezTo>
                    <a:lnTo>
                      <a:pt x="271" y="14"/>
                    </a:lnTo>
                    <a:cubicBezTo>
                      <a:pt x="285" y="0"/>
                      <a:pt x="308" y="0"/>
                      <a:pt x="322" y="14"/>
                    </a:cubicBezTo>
                    <a:cubicBezTo>
                      <a:pt x="328" y="21"/>
                      <a:pt x="332" y="30"/>
                      <a:pt x="332" y="40"/>
                    </a:cubicBezTo>
                    <a:cubicBezTo>
                      <a:pt x="332" y="49"/>
                      <a:pt x="328" y="58"/>
                      <a:pt x="322" y="65"/>
                    </a:cubicBezTo>
                    <a:lnTo>
                      <a:pt x="257" y="130"/>
                    </a:lnTo>
                    <a:cubicBezTo>
                      <a:pt x="235" y="152"/>
                      <a:pt x="208" y="167"/>
                      <a:pt x="178" y="175"/>
                    </a:cubicBezTo>
                    <a:lnTo>
                      <a:pt x="53" y="207"/>
                    </a:lnTo>
                    <a:cubicBezTo>
                      <a:pt x="40" y="210"/>
                      <a:pt x="27" y="217"/>
                      <a:pt x="17" y="227"/>
                    </a:cubicBezTo>
                    <a:lnTo>
                      <a:pt x="11" y="233"/>
                    </a:lnTo>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524">
                <a:extLst>
                  <a:ext uri="{FF2B5EF4-FFF2-40B4-BE49-F238E27FC236}">
                    <a16:creationId xmlns:a16="http://schemas.microsoft.com/office/drawing/2014/main" id="{DB6C8825-A2F2-63C7-311F-480493277040}"/>
                  </a:ext>
                </a:extLst>
              </p:cNvPr>
              <p:cNvSpPr>
                <a:spLocks/>
              </p:cNvSpPr>
              <p:nvPr/>
            </p:nvSpPr>
            <p:spPr bwMode="auto">
              <a:xfrm>
                <a:off x="5226051" y="327026"/>
                <a:ext cx="76200" cy="55563"/>
              </a:xfrm>
              <a:custGeom>
                <a:avLst/>
                <a:gdLst>
                  <a:gd name="T0" fmla="*/ 12 w 124"/>
                  <a:gd name="T1" fmla="*/ 91 h 91"/>
                  <a:gd name="T2" fmla="*/ 0 w 124"/>
                  <a:gd name="T3" fmla="*/ 79 h 91"/>
                  <a:gd name="T4" fmla="*/ 70 w 124"/>
                  <a:gd name="T5" fmla="*/ 9 h 91"/>
                  <a:gd name="T6" fmla="*/ 94 w 124"/>
                  <a:gd name="T7" fmla="*/ 1 h 91"/>
                  <a:gd name="T8" fmla="*/ 120 w 124"/>
                  <a:gd name="T9" fmla="*/ 20 h 91"/>
                  <a:gd name="T10" fmla="*/ 113 w 124"/>
                  <a:gd name="T11" fmla="*/ 52 h 91"/>
                  <a:gd name="T12" fmla="*/ 101 w 124"/>
                  <a:gd name="T13" fmla="*/ 40 h 91"/>
                  <a:gd name="T14" fmla="*/ 104 w 124"/>
                  <a:gd name="T15" fmla="*/ 26 h 91"/>
                  <a:gd name="T16" fmla="*/ 93 w 124"/>
                  <a:gd name="T17" fmla="*/ 17 h 91"/>
                  <a:gd name="T18" fmla="*/ 82 w 124"/>
                  <a:gd name="T19" fmla="*/ 21 h 91"/>
                  <a:gd name="T20" fmla="*/ 12 w 124"/>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91">
                    <a:moveTo>
                      <a:pt x="12" y="91"/>
                    </a:moveTo>
                    <a:lnTo>
                      <a:pt x="0" y="79"/>
                    </a:lnTo>
                    <a:lnTo>
                      <a:pt x="70" y="9"/>
                    </a:lnTo>
                    <a:cubicBezTo>
                      <a:pt x="77" y="3"/>
                      <a:pt x="86" y="0"/>
                      <a:pt x="94" y="1"/>
                    </a:cubicBezTo>
                    <a:cubicBezTo>
                      <a:pt x="106" y="2"/>
                      <a:pt x="116" y="9"/>
                      <a:pt x="120" y="20"/>
                    </a:cubicBezTo>
                    <a:cubicBezTo>
                      <a:pt x="124" y="31"/>
                      <a:pt x="121" y="43"/>
                      <a:pt x="113" y="52"/>
                    </a:cubicBezTo>
                    <a:lnTo>
                      <a:pt x="101" y="40"/>
                    </a:lnTo>
                    <a:cubicBezTo>
                      <a:pt x="105" y="36"/>
                      <a:pt x="106" y="31"/>
                      <a:pt x="104" y="26"/>
                    </a:cubicBezTo>
                    <a:cubicBezTo>
                      <a:pt x="102" y="21"/>
                      <a:pt x="98" y="18"/>
                      <a:pt x="93" y="17"/>
                    </a:cubicBezTo>
                    <a:cubicBezTo>
                      <a:pt x="89" y="17"/>
                      <a:pt x="85" y="18"/>
                      <a:pt x="82" y="21"/>
                    </a:cubicBezTo>
                    <a:lnTo>
                      <a:pt x="12" y="91"/>
                    </a:lnTo>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525">
                <a:extLst>
                  <a:ext uri="{FF2B5EF4-FFF2-40B4-BE49-F238E27FC236}">
                    <a16:creationId xmlns:a16="http://schemas.microsoft.com/office/drawing/2014/main" id="{391FE4DA-DE07-D7B9-0DBD-691A9FCB8D7D}"/>
                  </a:ext>
                </a:extLst>
              </p:cNvPr>
              <p:cNvSpPr>
                <a:spLocks/>
              </p:cNvSpPr>
              <p:nvPr/>
            </p:nvSpPr>
            <p:spPr bwMode="auto">
              <a:xfrm>
                <a:off x="5035551" y="395289"/>
                <a:ext cx="125413" cy="125413"/>
              </a:xfrm>
              <a:custGeom>
                <a:avLst/>
                <a:gdLst>
                  <a:gd name="T0" fmla="*/ 48 w 79"/>
                  <a:gd name="T1" fmla="*/ 79 h 79"/>
                  <a:gd name="T2" fmla="*/ 44 w 79"/>
                  <a:gd name="T3" fmla="*/ 74 h 79"/>
                  <a:gd name="T4" fmla="*/ 70 w 79"/>
                  <a:gd name="T5" fmla="*/ 48 h 79"/>
                  <a:gd name="T6" fmla="*/ 31 w 79"/>
                  <a:gd name="T7" fmla="*/ 9 h 79"/>
                  <a:gd name="T8" fmla="*/ 4 w 79"/>
                  <a:gd name="T9" fmla="*/ 35 h 79"/>
                  <a:gd name="T10" fmla="*/ 0 w 79"/>
                  <a:gd name="T11" fmla="*/ 31 h 79"/>
                  <a:gd name="T12" fmla="*/ 31 w 79"/>
                  <a:gd name="T13" fmla="*/ 0 h 79"/>
                  <a:gd name="T14" fmla="*/ 79 w 79"/>
                  <a:gd name="T15" fmla="*/ 48 h 79"/>
                  <a:gd name="T16" fmla="*/ 48 w 79"/>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79">
                    <a:moveTo>
                      <a:pt x="48" y="79"/>
                    </a:moveTo>
                    <a:lnTo>
                      <a:pt x="44" y="74"/>
                    </a:lnTo>
                    <a:lnTo>
                      <a:pt x="70" y="48"/>
                    </a:lnTo>
                    <a:lnTo>
                      <a:pt x="31" y="9"/>
                    </a:lnTo>
                    <a:lnTo>
                      <a:pt x="4" y="35"/>
                    </a:lnTo>
                    <a:lnTo>
                      <a:pt x="0" y="31"/>
                    </a:lnTo>
                    <a:lnTo>
                      <a:pt x="31" y="0"/>
                    </a:lnTo>
                    <a:lnTo>
                      <a:pt x="79" y="48"/>
                    </a:lnTo>
                    <a:lnTo>
                      <a:pt x="48" y="79"/>
                    </a:ln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2" name="Heart2">
              <a:extLst>
                <a:ext uri="{FF2B5EF4-FFF2-40B4-BE49-F238E27FC236}">
                  <a16:creationId xmlns:a16="http://schemas.microsoft.com/office/drawing/2014/main" id="{01D50084-F6D0-D5F0-82B6-49F5111F0DB4}"/>
                </a:ext>
              </a:extLst>
            </p:cNvPr>
            <p:cNvSpPr>
              <a:spLocks noChangeAspect="1"/>
            </p:cNvSpPr>
            <p:nvPr>
              <p:custDataLst>
                <p:tags r:id="rId15"/>
              </p:custDataLst>
            </p:nvPr>
          </p:nvSpPr>
          <p:spPr bwMode="auto">
            <a:xfrm>
              <a:off x="7847781" y="3565906"/>
              <a:ext cx="358878" cy="308557"/>
            </a:xfrm>
            <a:custGeom>
              <a:avLst/>
              <a:gdLst>
                <a:gd name="T0" fmla="*/ 600 w 600"/>
                <a:gd name="T1" fmla="*/ 174 h 515"/>
                <a:gd name="T2" fmla="*/ 432 w 600"/>
                <a:gd name="T3" fmla="*/ 0 h 515"/>
                <a:gd name="T4" fmla="*/ 300 w 600"/>
                <a:gd name="T5" fmla="*/ 69 h 515"/>
                <a:gd name="T6" fmla="*/ 169 w 600"/>
                <a:gd name="T7" fmla="*/ 0 h 515"/>
                <a:gd name="T8" fmla="*/ 1 w 600"/>
                <a:gd name="T9" fmla="*/ 174 h 515"/>
                <a:gd name="T10" fmla="*/ 0 w 600"/>
                <a:gd name="T11" fmla="*/ 174 h 515"/>
                <a:gd name="T12" fmla="*/ 0 w 600"/>
                <a:gd name="T13" fmla="*/ 176 h 515"/>
                <a:gd name="T14" fmla="*/ 0 w 600"/>
                <a:gd name="T15" fmla="*/ 177 h 515"/>
                <a:gd name="T16" fmla="*/ 1 w 600"/>
                <a:gd name="T17" fmla="*/ 184 h 515"/>
                <a:gd name="T18" fmla="*/ 298 w 600"/>
                <a:gd name="T19" fmla="*/ 515 h 515"/>
                <a:gd name="T20" fmla="*/ 600 w 600"/>
                <a:gd name="T21" fmla="*/ 185 h 515"/>
                <a:gd name="T22" fmla="*/ 600 w 600"/>
                <a:gd name="T23" fmla="*/ 177 h 515"/>
                <a:gd name="T24" fmla="*/ 600 w 600"/>
                <a:gd name="T25" fmla="*/ 176 h 515"/>
                <a:gd name="T26" fmla="*/ 600 w 600"/>
                <a:gd name="T27" fmla="*/ 174 h 515"/>
                <a:gd name="T28" fmla="*/ 600 w 600"/>
                <a:gd name="T29" fmla="*/ 174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0" h="515">
                  <a:moveTo>
                    <a:pt x="600" y="174"/>
                  </a:moveTo>
                  <a:cubicBezTo>
                    <a:pt x="598" y="82"/>
                    <a:pt x="524" y="0"/>
                    <a:pt x="432" y="0"/>
                  </a:cubicBezTo>
                  <a:cubicBezTo>
                    <a:pt x="378" y="0"/>
                    <a:pt x="331" y="28"/>
                    <a:pt x="300" y="69"/>
                  </a:cubicBezTo>
                  <a:cubicBezTo>
                    <a:pt x="269" y="28"/>
                    <a:pt x="222" y="0"/>
                    <a:pt x="169" y="0"/>
                  </a:cubicBezTo>
                  <a:cubicBezTo>
                    <a:pt x="77" y="0"/>
                    <a:pt x="2" y="82"/>
                    <a:pt x="1" y="174"/>
                  </a:cubicBezTo>
                  <a:lnTo>
                    <a:pt x="0" y="174"/>
                  </a:lnTo>
                  <a:cubicBezTo>
                    <a:pt x="0" y="175"/>
                    <a:pt x="0" y="175"/>
                    <a:pt x="0" y="176"/>
                  </a:cubicBezTo>
                  <a:cubicBezTo>
                    <a:pt x="0" y="176"/>
                    <a:pt x="0" y="177"/>
                    <a:pt x="0" y="177"/>
                  </a:cubicBezTo>
                  <a:cubicBezTo>
                    <a:pt x="0" y="180"/>
                    <a:pt x="1" y="182"/>
                    <a:pt x="1" y="184"/>
                  </a:cubicBezTo>
                  <a:cubicBezTo>
                    <a:pt x="9" y="419"/>
                    <a:pt x="298" y="515"/>
                    <a:pt x="298" y="515"/>
                  </a:cubicBezTo>
                  <a:cubicBezTo>
                    <a:pt x="298" y="515"/>
                    <a:pt x="591" y="419"/>
                    <a:pt x="600" y="185"/>
                  </a:cubicBezTo>
                  <a:cubicBezTo>
                    <a:pt x="600" y="182"/>
                    <a:pt x="600" y="180"/>
                    <a:pt x="600" y="177"/>
                  </a:cubicBezTo>
                  <a:cubicBezTo>
                    <a:pt x="600" y="177"/>
                    <a:pt x="600" y="176"/>
                    <a:pt x="600" y="176"/>
                  </a:cubicBezTo>
                  <a:cubicBezTo>
                    <a:pt x="600" y="175"/>
                    <a:pt x="600" y="175"/>
                    <a:pt x="600" y="174"/>
                  </a:cubicBezTo>
                  <a:lnTo>
                    <a:pt x="600" y="174"/>
                  </a:lnTo>
                </a:path>
              </a:pathLst>
            </a:custGeom>
            <a:grpFill/>
            <a:ln w="317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7" name="Bill3" descr="{&quot;Key&quot;:&quot;POWER_USER_SHAPE_ICON&quot;,&quot;Value&quot;:&quot;POWER_USER_SHAPE_ICON_STYLE_1&quot;}">
            <a:extLst>
              <a:ext uri="{FF2B5EF4-FFF2-40B4-BE49-F238E27FC236}">
                <a16:creationId xmlns:a16="http://schemas.microsoft.com/office/drawing/2014/main" id="{53D5E1C9-CF40-C391-09AA-E5BD83CF25C3}"/>
              </a:ext>
            </a:extLst>
          </p:cNvPr>
          <p:cNvGrpSpPr>
            <a:grpSpLocks noChangeAspect="1"/>
          </p:cNvGrpSpPr>
          <p:nvPr/>
        </p:nvGrpSpPr>
        <p:grpSpPr>
          <a:xfrm>
            <a:off x="4686300" y="2774115"/>
            <a:ext cx="288809" cy="189980"/>
            <a:chOff x="2957513" y="2851151"/>
            <a:chExt cx="477838" cy="314325"/>
          </a:xfrm>
          <a:solidFill>
            <a:schemeClr val="tx1"/>
          </a:solidFill>
        </p:grpSpPr>
        <p:sp>
          <p:nvSpPr>
            <p:cNvPr id="78" name="Freeform 373">
              <a:extLst>
                <a:ext uri="{FF2B5EF4-FFF2-40B4-BE49-F238E27FC236}">
                  <a16:creationId xmlns:a16="http://schemas.microsoft.com/office/drawing/2014/main" id="{D66565C2-5D12-7873-5E9D-3205ECA90DAD}"/>
                </a:ext>
              </a:extLst>
            </p:cNvPr>
            <p:cNvSpPr>
              <a:spLocks noEditPoints="1"/>
            </p:cNvSpPr>
            <p:nvPr/>
          </p:nvSpPr>
          <p:spPr bwMode="auto">
            <a:xfrm>
              <a:off x="2957513" y="2927351"/>
              <a:ext cx="436563" cy="238125"/>
            </a:xfrm>
            <a:custGeom>
              <a:avLst/>
              <a:gdLst>
                <a:gd name="T0" fmla="*/ 122 w 3416"/>
                <a:gd name="T1" fmla="*/ 1746 h 1869"/>
                <a:gd name="T2" fmla="*/ 3294 w 3416"/>
                <a:gd name="T3" fmla="*/ 1746 h 1869"/>
                <a:gd name="T4" fmla="*/ 3294 w 3416"/>
                <a:gd name="T5" fmla="*/ 122 h 1869"/>
                <a:gd name="T6" fmla="*/ 122 w 3416"/>
                <a:gd name="T7" fmla="*/ 122 h 1869"/>
                <a:gd name="T8" fmla="*/ 122 w 3416"/>
                <a:gd name="T9" fmla="*/ 1746 h 1869"/>
                <a:gd name="T10" fmla="*/ 3355 w 3416"/>
                <a:gd name="T11" fmla="*/ 1869 h 1869"/>
                <a:gd name="T12" fmla="*/ 61 w 3416"/>
                <a:gd name="T13" fmla="*/ 1869 h 1869"/>
                <a:gd name="T14" fmla="*/ 0 w 3416"/>
                <a:gd name="T15" fmla="*/ 1808 h 1869"/>
                <a:gd name="T16" fmla="*/ 0 w 3416"/>
                <a:gd name="T17" fmla="*/ 61 h 1869"/>
                <a:gd name="T18" fmla="*/ 61 w 3416"/>
                <a:gd name="T19" fmla="*/ 0 h 1869"/>
                <a:gd name="T20" fmla="*/ 3355 w 3416"/>
                <a:gd name="T21" fmla="*/ 0 h 1869"/>
                <a:gd name="T22" fmla="*/ 3416 w 3416"/>
                <a:gd name="T23" fmla="*/ 61 h 1869"/>
                <a:gd name="T24" fmla="*/ 3416 w 3416"/>
                <a:gd name="T25" fmla="*/ 1808 h 1869"/>
                <a:gd name="T26" fmla="*/ 3355 w 3416"/>
                <a:gd name="T27" fmla="*/ 1869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16" h="1869">
                  <a:moveTo>
                    <a:pt x="122" y="1746"/>
                  </a:moveTo>
                  <a:lnTo>
                    <a:pt x="3294" y="1746"/>
                  </a:lnTo>
                  <a:lnTo>
                    <a:pt x="3294" y="122"/>
                  </a:lnTo>
                  <a:lnTo>
                    <a:pt x="122" y="122"/>
                  </a:lnTo>
                  <a:lnTo>
                    <a:pt x="122" y="1746"/>
                  </a:lnTo>
                  <a:close/>
                  <a:moveTo>
                    <a:pt x="3355" y="1869"/>
                  </a:moveTo>
                  <a:lnTo>
                    <a:pt x="61" y="1869"/>
                  </a:lnTo>
                  <a:cubicBezTo>
                    <a:pt x="27" y="1869"/>
                    <a:pt x="0" y="1842"/>
                    <a:pt x="0" y="1808"/>
                  </a:cubicBezTo>
                  <a:lnTo>
                    <a:pt x="0" y="61"/>
                  </a:lnTo>
                  <a:cubicBezTo>
                    <a:pt x="0" y="27"/>
                    <a:pt x="27" y="0"/>
                    <a:pt x="61" y="0"/>
                  </a:cubicBezTo>
                  <a:lnTo>
                    <a:pt x="3355" y="0"/>
                  </a:lnTo>
                  <a:cubicBezTo>
                    <a:pt x="3389" y="0"/>
                    <a:pt x="3416" y="27"/>
                    <a:pt x="3416" y="61"/>
                  </a:cubicBezTo>
                  <a:lnTo>
                    <a:pt x="3416" y="1808"/>
                  </a:lnTo>
                  <a:cubicBezTo>
                    <a:pt x="3416" y="1842"/>
                    <a:pt x="3389" y="1869"/>
                    <a:pt x="3355" y="1869"/>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74">
              <a:extLst>
                <a:ext uri="{FF2B5EF4-FFF2-40B4-BE49-F238E27FC236}">
                  <a16:creationId xmlns:a16="http://schemas.microsoft.com/office/drawing/2014/main" id="{F34257C4-E1F8-6577-E2E2-41BFC0DE6855}"/>
                </a:ext>
              </a:extLst>
            </p:cNvPr>
            <p:cNvSpPr>
              <a:spLocks noEditPoints="1"/>
            </p:cNvSpPr>
            <p:nvPr/>
          </p:nvSpPr>
          <p:spPr bwMode="auto">
            <a:xfrm>
              <a:off x="3087688" y="2960688"/>
              <a:ext cx="171450" cy="171450"/>
            </a:xfrm>
            <a:custGeom>
              <a:avLst/>
              <a:gdLst>
                <a:gd name="T0" fmla="*/ 670 w 1340"/>
                <a:gd name="T1" fmla="*/ 122 h 1339"/>
                <a:gd name="T2" fmla="*/ 123 w 1340"/>
                <a:gd name="T3" fmla="*/ 670 h 1339"/>
                <a:gd name="T4" fmla="*/ 670 w 1340"/>
                <a:gd name="T5" fmla="*/ 1217 h 1339"/>
                <a:gd name="T6" fmla="*/ 1217 w 1340"/>
                <a:gd name="T7" fmla="*/ 670 h 1339"/>
                <a:gd name="T8" fmla="*/ 670 w 1340"/>
                <a:gd name="T9" fmla="*/ 122 h 1339"/>
                <a:gd name="T10" fmla="*/ 670 w 1340"/>
                <a:gd name="T11" fmla="*/ 1339 h 1339"/>
                <a:gd name="T12" fmla="*/ 0 w 1340"/>
                <a:gd name="T13" fmla="*/ 670 h 1339"/>
                <a:gd name="T14" fmla="*/ 670 w 1340"/>
                <a:gd name="T15" fmla="*/ 0 h 1339"/>
                <a:gd name="T16" fmla="*/ 1340 w 1340"/>
                <a:gd name="T17" fmla="*/ 670 h 1339"/>
                <a:gd name="T18" fmla="*/ 670 w 1340"/>
                <a:gd name="T19" fmla="*/ 1339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0" h="1339">
                  <a:moveTo>
                    <a:pt x="670" y="122"/>
                  </a:moveTo>
                  <a:cubicBezTo>
                    <a:pt x="368" y="122"/>
                    <a:pt x="123" y="368"/>
                    <a:pt x="123" y="670"/>
                  </a:cubicBezTo>
                  <a:cubicBezTo>
                    <a:pt x="123" y="971"/>
                    <a:pt x="368" y="1217"/>
                    <a:pt x="670" y="1217"/>
                  </a:cubicBezTo>
                  <a:cubicBezTo>
                    <a:pt x="972" y="1217"/>
                    <a:pt x="1217" y="971"/>
                    <a:pt x="1217" y="670"/>
                  </a:cubicBezTo>
                  <a:cubicBezTo>
                    <a:pt x="1217" y="368"/>
                    <a:pt x="972" y="122"/>
                    <a:pt x="670" y="122"/>
                  </a:cubicBezTo>
                  <a:close/>
                  <a:moveTo>
                    <a:pt x="670" y="1339"/>
                  </a:moveTo>
                  <a:cubicBezTo>
                    <a:pt x="301" y="1339"/>
                    <a:pt x="0" y="1039"/>
                    <a:pt x="0" y="670"/>
                  </a:cubicBezTo>
                  <a:cubicBezTo>
                    <a:pt x="0" y="300"/>
                    <a:pt x="301" y="0"/>
                    <a:pt x="670" y="0"/>
                  </a:cubicBezTo>
                  <a:cubicBezTo>
                    <a:pt x="1039" y="0"/>
                    <a:pt x="1340" y="300"/>
                    <a:pt x="1340" y="670"/>
                  </a:cubicBezTo>
                  <a:cubicBezTo>
                    <a:pt x="1340" y="1039"/>
                    <a:pt x="1039" y="1339"/>
                    <a:pt x="670" y="1339"/>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375">
              <a:extLst>
                <a:ext uri="{FF2B5EF4-FFF2-40B4-BE49-F238E27FC236}">
                  <a16:creationId xmlns:a16="http://schemas.microsoft.com/office/drawing/2014/main" id="{0DD71EB2-4DAD-970C-B19F-559C5824F8D3}"/>
                </a:ext>
              </a:extLst>
            </p:cNvPr>
            <p:cNvSpPr>
              <a:spLocks/>
            </p:cNvSpPr>
            <p:nvPr/>
          </p:nvSpPr>
          <p:spPr bwMode="auto">
            <a:xfrm>
              <a:off x="3317876" y="2946401"/>
              <a:ext cx="57150" cy="57150"/>
            </a:xfrm>
            <a:custGeom>
              <a:avLst/>
              <a:gdLst>
                <a:gd name="T0" fmla="*/ 448 w 453"/>
                <a:gd name="T1" fmla="*/ 452 h 452"/>
                <a:gd name="T2" fmla="*/ 387 w 453"/>
                <a:gd name="T3" fmla="*/ 450 h 452"/>
                <a:gd name="T4" fmla="*/ 3 w 453"/>
                <a:gd name="T5" fmla="*/ 66 h 452"/>
                <a:gd name="T6" fmla="*/ 0 w 453"/>
                <a:gd name="T7" fmla="*/ 5 h 452"/>
                <a:gd name="T8" fmla="*/ 122 w 453"/>
                <a:gd name="T9" fmla="*/ 0 h 452"/>
                <a:gd name="T10" fmla="*/ 125 w 453"/>
                <a:gd name="T11" fmla="*/ 61 h 452"/>
                <a:gd name="T12" fmla="*/ 392 w 453"/>
                <a:gd name="T13" fmla="*/ 327 h 452"/>
                <a:gd name="T14" fmla="*/ 453 w 453"/>
                <a:gd name="T15" fmla="*/ 330 h 452"/>
                <a:gd name="T16" fmla="*/ 448 w 453"/>
                <a:gd name="T17" fmla="*/ 45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452">
                  <a:moveTo>
                    <a:pt x="448" y="452"/>
                  </a:moveTo>
                  <a:lnTo>
                    <a:pt x="387" y="450"/>
                  </a:lnTo>
                  <a:cubicBezTo>
                    <a:pt x="180" y="441"/>
                    <a:pt x="12" y="273"/>
                    <a:pt x="3" y="66"/>
                  </a:cubicBezTo>
                  <a:lnTo>
                    <a:pt x="0" y="5"/>
                  </a:lnTo>
                  <a:lnTo>
                    <a:pt x="122" y="0"/>
                  </a:lnTo>
                  <a:lnTo>
                    <a:pt x="125" y="61"/>
                  </a:lnTo>
                  <a:cubicBezTo>
                    <a:pt x="131" y="205"/>
                    <a:pt x="248" y="321"/>
                    <a:pt x="392" y="327"/>
                  </a:cubicBezTo>
                  <a:lnTo>
                    <a:pt x="453" y="330"/>
                  </a:lnTo>
                  <a:lnTo>
                    <a:pt x="448" y="452"/>
                  </a:ln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376">
              <a:extLst>
                <a:ext uri="{FF2B5EF4-FFF2-40B4-BE49-F238E27FC236}">
                  <a16:creationId xmlns:a16="http://schemas.microsoft.com/office/drawing/2014/main" id="{E42AFFDE-8177-6140-B01F-ED6D0B3379F7}"/>
                </a:ext>
              </a:extLst>
            </p:cNvPr>
            <p:cNvSpPr>
              <a:spLocks/>
            </p:cNvSpPr>
            <p:nvPr/>
          </p:nvSpPr>
          <p:spPr bwMode="auto">
            <a:xfrm>
              <a:off x="2976563" y="2946401"/>
              <a:ext cx="58738" cy="57150"/>
            </a:xfrm>
            <a:custGeom>
              <a:avLst/>
              <a:gdLst>
                <a:gd name="T0" fmla="*/ 5 w 453"/>
                <a:gd name="T1" fmla="*/ 452 h 452"/>
                <a:gd name="T2" fmla="*/ 0 w 453"/>
                <a:gd name="T3" fmla="*/ 330 h 452"/>
                <a:gd name="T4" fmla="*/ 62 w 453"/>
                <a:gd name="T5" fmla="*/ 327 h 452"/>
                <a:gd name="T6" fmla="*/ 328 w 453"/>
                <a:gd name="T7" fmla="*/ 61 h 452"/>
                <a:gd name="T8" fmla="*/ 331 w 453"/>
                <a:gd name="T9" fmla="*/ 0 h 452"/>
                <a:gd name="T10" fmla="*/ 453 w 453"/>
                <a:gd name="T11" fmla="*/ 5 h 452"/>
                <a:gd name="T12" fmla="*/ 451 w 453"/>
                <a:gd name="T13" fmla="*/ 66 h 452"/>
                <a:gd name="T14" fmla="*/ 67 w 453"/>
                <a:gd name="T15" fmla="*/ 450 h 452"/>
                <a:gd name="T16" fmla="*/ 5 w 453"/>
                <a:gd name="T17" fmla="*/ 45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452">
                  <a:moveTo>
                    <a:pt x="5" y="452"/>
                  </a:moveTo>
                  <a:lnTo>
                    <a:pt x="0" y="330"/>
                  </a:lnTo>
                  <a:lnTo>
                    <a:pt x="62" y="327"/>
                  </a:lnTo>
                  <a:cubicBezTo>
                    <a:pt x="205" y="321"/>
                    <a:pt x="322" y="205"/>
                    <a:pt x="328" y="61"/>
                  </a:cubicBezTo>
                  <a:lnTo>
                    <a:pt x="331" y="0"/>
                  </a:lnTo>
                  <a:lnTo>
                    <a:pt x="453" y="5"/>
                  </a:lnTo>
                  <a:lnTo>
                    <a:pt x="451" y="66"/>
                  </a:lnTo>
                  <a:cubicBezTo>
                    <a:pt x="442" y="273"/>
                    <a:pt x="273" y="441"/>
                    <a:pt x="67" y="450"/>
                  </a:cubicBezTo>
                  <a:lnTo>
                    <a:pt x="5" y="452"/>
                  </a:ln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377">
              <a:extLst>
                <a:ext uri="{FF2B5EF4-FFF2-40B4-BE49-F238E27FC236}">
                  <a16:creationId xmlns:a16="http://schemas.microsoft.com/office/drawing/2014/main" id="{0F052AFB-42BE-2243-3D8E-4341C4C02637}"/>
                </a:ext>
              </a:extLst>
            </p:cNvPr>
            <p:cNvSpPr>
              <a:spLocks/>
            </p:cNvSpPr>
            <p:nvPr/>
          </p:nvSpPr>
          <p:spPr bwMode="auto">
            <a:xfrm>
              <a:off x="3314701" y="3092451"/>
              <a:ext cx="57150" cy="58738"/>
            </a:xfrm>
            <a:custGeom>
              <a:avLst/>
              <a:gdLst>
                <a:gd name="T0" fmla="*/ 122 w 453"/>
                <a:gd name="T1" fmla="*/ 452 h 452"/>
                <a:gd name="T2" fmla="*/ 0 w 453"/>
                <a:gd name="T3" fmla="*/ 447 h 452"/>
                <a:gd name="T4" fmla="*/ 2 w 453"/>
                <a:gd name="T5" fmla="*/ 386 h 452"/>
                <a:gd name="T6" fmla="*/ 386 w 453"/>
                <a:gd name="T7" fmla="*/ 3 h 452"/>
                <a:gd name="T8" fmla="*/ 448 w 453"/>
                <a:gd name="T9" fmla="*/ 0 h 452"/>
                <a:gd name="T10" fmla="*/ 453 w 453"/>
                <a:gd name="T11" fmla="*/ 123 h 452"/>
                <a:gd name="T12" fmla="*/ 391 w 453"/>
                <a:gd name="T13" fmla="*/ 125 h 452"/>
                <a:gd name="T14" fmla="*/ 125 w 453"/>
                <a:gd name="T15" fmla="*/ 391 h 452"/>
                <a:gd name="T16" fmla="*/ 122 w 453"/>
                <a:gd name="T17" fmla="*/ 45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452">
                  <a:moveTo>
                    <a:pt x="122" y="452"/>
                  </a:moveTo>
                  <a:lnTo>
                    <a:pt x="0" y="447"/>
                  </a:lnTo>
                  <a:lnTo>
                    <a:pt x="2" y="386"/>
                  </a:lnTo>
                  <a:cubicBezTo>
                    <a:pt x="11" y="179"/>
                    <a:pt x="180" y="11"/>
                    <a:pt x="386" y="3"/>
                  </a:cubicBezTo>
                  <a:lnTo>
                    <a:pt x="448" y="0"/>
                  </a:lnTo>
                  <a:lnTo>
                    <a:pt x="453" y="123"/>
                  </a:lnTo>
                  <a:lnTo>
                    <a:pt x="391" y="125"/>
                  </a:lnTo>
                  <a:cubicBezTo>
                    <a:pt x="248" y="131"/>
                    <a:pt x="131" y="248"/>
                    <a:pt x="125" y="391"/>
                  </a:cubicBezTo>
                  <a:lnTo>
                    <a:pt x="122" y="452"/>
                  </a:ln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378">
              <a:extLst>
                <a:ext uri="{FF2B5EF4-FFF2-40B4-BE49-F238E27FC236}">
                  <a16:creationId xmlns:a16="http://schemas.microsoft.com/office/drawing/2014/main" id="{E54D8ED8-53F5-A758-2E54-DF8F4C0539B1}"/>
                </a:ext>
              </a:extLst>
            </p:cNvPr>
            <p:cNvSpPr>
              <a:spLocks/>
            </p:cNvSpPr>
            <p:nvPr/>
          </p:nvSpPr>
          <p:spPr bwMode="auto">
            <a:xfrm>
              <a:off x="2973388" y="3092451"/>
              <a:ext cx="58738" cy="58738"/>
            </a:xfrm>
            <a:custGeom>
              <a:avLst/>
              <a:gdLst>
                <a:gd name="T0" fmla="*/ 331 w 453"/>
                <a:gd name="T1" fmla="*/ 452 h 452"/>
                <a:gd name="T2" fmla="*/ 328 w 453"/>
                <a:gd name="T3" fmla="*/ 391 h 452"/>
                <a:gd name="T4" fmla="*/ 61 w 453"/>
                <a:gd name="T5" fmla="*/ 125 h 452"/>
                <a:gd name="T6" fmla="*/ 0 w 453"/>
                <a:gd name="T7" fmla="*/ 123 h 452"/>
                <a:gd name="T8" fmla="*/ 5 w 453"/>
                <a:gd name="T9" fmla="*/ 0 h 452"/>
                <a:gd name="T10" fmla="*/ 66 w 453"/>
                <a:gd name="T11" fmla="*/ 3 h 452"/>
                <a:gd name="T12" fmla="*/ 450 w 453"/>
                <a:gd name="T13" fmla="*/ 386 h 452"/>
                <a:gd name="T14" fmla="*/ 453 w 453"/>
                <a:gd name="T15" fmla="*/ 447 h 452"/>
                <a:gd name="T16" fmla="*/ 331 w 453"/>
                <a:gd name="T17" fmla="*/ 45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452">
                  <a:moveTo>
                    <a:pt x="331" y="452"/>
                  </a:moveTo>
                  <a:lnTo>
                    <a:pt x="328" y="391"/>
                  </a:lnTo>
                  <a:cubicBezTo>
                    <a:pt x="322" y="248"/>
                    <a:pt x="205" y="131"/>
                    <a:pt x="61" y="125"/>
                  </a:cubicBezTo>
                  <a:lnTo>
                    <a:pt x="0" y="123"/>
                  </a:lnTo>
                  <a:lnTo>
                    <a:pt x="5" y="0"/>
                  </a:lnTo>
                  <a:lnTo>
                    <a:pt x="66" y="3"/>
                  </a:lnTo>
                  <a:cubicBezTo>
                    <a:pt x="273" y="11"/>
                    <a:pt x="441" y="179"/>
                    <a:pt x="450" y="386"/>
                  </a:cubicBezTo>
                  <a:lnTo>
                    <a:pt x="453" y="447"/>
                  </a:lnTo>
                  <a:lnTo>
                    <a:pt x="331" y="452"/>
                  </a:lnTo>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379">
              <a:extLst>
                <a:ext uri="{FF2B5EF4-FFF2-40B4-BE49-F238E27FC236}">
                  <a16:creationId xmlns:a16="http://schemas.microsoft.com/office/drawing/2014/main" id="{F639CC37-7B31-758D-123A-F61AC6C4A4C1}"/>
                </a:ext>
              </a:extLst>
            </p:cNvPr>
            <p:cNvSpPr>
              <a:spLocks/>
            </p:cNvSpPr>
            <p:nvPr/>
          </p:nvSpPr>
          <p:spPr bwMode="auto">
            <a:xfrm>
              <a:off x="2974976" y="2851151"/>
              <a:ext cx="460375" cy="246063"/>
            </a:xfrm>
            <a:custGeom>
              <a:avLst/>
              <a:gdLst>
                <a:gd name="T0" fmla="*/ 3202 w 3607"/>
                <a:gd name="T1" fmla="*/ 1913 h 1913"/>
                <a:gd name="T2" fmla="*/ 3142 w 3607"/>
                <a:gd name="T3" fmla="*/ 1862 h 1913"/>
                <a:gd name="T4" fmla="*/ 3192 w 3607"/>
                <a:gd name="T5" fmla="*/ 1791 h 1913"/>
                <a:gd name="T6" fmla="*/ 3473 w 3607"/>
                <a:gd name="T7" fmla="*/ 1741 h 1913"/>
                <a:gd name="T8" fmla="*/ 3190 w 3607"/>
                <a:gd name="T9" fmla="*/ 138 h 1913"/>
                <a:gd name="T10" fmla="*/ 77 w 3607"/>
                <a:gd name="T11" fmla="*/ 687 h 1913"/>
                <a:gd name="T12" fmla="*/ 6 w 3607"/>
                <a:gd name="T13" fmla="*/ 638 h 1913"/>
                <a:gd name="T14" fmla="*/ 55 w 3607"/>
                <a:gd name="T15" fmla="*/ 567 h 1913"/>
                <a:gd name="T16" fmla="*/ 3229 w 3607"/>
                <a:gd name="T17" fmla="*/ 6 h 1913"/>
                <a:gd name="T18" fmla="*/ 3300 w 3607"/>
                <a:gd name="T19" fmla="*/ 56 h 1913"/>
                <a:gd name="T20" fmla="*/ 3605 w 3607"/>
                <a:gd name="T21" fmla="*/ 1780 h 1913"/>
                <a:gd name="T22" fmla="*/ 3595 w 3607"/>
                <a:gd name="T23" fmla="*/ 1826 h 1913"/>
                <a:gd name="T24" fmla="*/ 3555 w 3607"/>
                <a:gd name="T25" fmla="*/ 1851 h 1913"/>
                <a:gd name="T26" fmla="*/ 3213 w 3607"/>
                <a:gd name="T27" fmla="*/ 1912 h 1913"/>
                <a:gd name="T28" fmla="*/ 3202 w 3607"/>
                <a:gd name="T29" fmla="*/ 1913 h 1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07" h="1913">
                  <a:moveTo>
                    <a:pt x="3202" y="1913"/>
                  </a:moveTo>
                  <a:cubicBezTo>
                    <a:pt x="3173" y="1913"/>
                    <a:pt x="3147" y="1892"/>
                    <a:pt x="3142" y="1862"/>
                  </a:cubicBezTo>
                  <a:cubicBezTo>
                    <a:pt x="3136" y="1829"/>
                    <a:pt x="3158" y="1797"/>
                    <a:pt x="3192" y="1791"/>
                  </a:cubicBezTo>
                  <a:lnTo>
                    <a:pt x="3473" y="1741"/>
                  </a:lnTo>
                  <a:lnTo>
                    <a:pt x="3190" y="138"/>
                  </a:lnTo>
                  <a:lnTo>
                    <a:pt x="77" y="687"/>
                  </a:lnTo>
                  <a:cubicBezTo>
                    <a:pt x="43" y="693"/>
                    <a:pt x="12" y="671"/>
                    <a:pt x="6" y="638"/>
                  </a:cubicBezTo>
                  <a:cubicBezTo>
                    <a:pt x="0" y="604"/>
                    <a:pt x="22" y="573"/>
                    <a:pt x="55" y="567"/>
                  </a:cubicBezTo>
                  <a:lnTo>
                    <a:pt x="3229" y="6"/>
                  </a:lnTo>
                  <a:cubicBezTo>
                    <a:pt x="3262" y="0"/>
                    <a:pt x="3294" y="23"/>
                    <a:pt x="3300" y="56"/>
                  </a:cubicBezTo>
                  <a:lnTo>
                    <a:pt x="3605" y="1780"/>
                  </a:lnTo>
                  <a:cubicBezTo>
                    <a:pt x="3607" y="1796"/>
                    <a:pt x="3604" y="1813"/>
                    <a:pt x="3595" y="1826"/>
                  </a:cubicBezTo>
                  <a:cubicBezTo>
                    <a:pt x="3585" y="1839"/>
                    <a:pt x="3571" y="1848"/>
                    <a:pt x="3555" y="1851"/>
                  </a:cubicBezTo>
                  <a:lnTo>
                    <a:pt x="3213" y="1912"/>
                  </a:lnTo>
                  <a:cubicBezTo>
                    <a:pt x="3209" y="1912"/>
                    <a:pt x="3206" y="1913"/>
                    <a:pt x="3202" y="1913"/>
                  </a:cubicBezTo>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380">
              <a:extLst>
                <a:ext uri="{FF2B5EF4-FFF2-40B4-BE49-F238E27FC236}">
                  <a16:creationId xmlns:a16="http://schemas.microsoft.com/office/drawing/2014/main" id="{6A773B9B-65AA-051E-A74E-1C87749AEF58}"/>
                </a:ext>
              </a:extLst>
            </p:cNvPr>
            <p:cNvSpPr>
              <a:spLocks/>
            </p:cNvSpPr>
            <p:nvPr/>
          </p:nvSpPr>
          <p:spPr bwMode="auto">
            <a:xfrm>
              <a:off x="3322638" y="2881313"/>
              <a:ext cx="66675" cy="50800"/>
            </a:xfrm>
            <a:custGeom>
              <a:avLst/>
              <a:gdLst>
                <a:gd name="T0" fmla="*/ 406 w 519"/>
                <a:gd name="T1" fmla="*/ 400 h 400"/>
                <a:gd name="T2" fmla="*/ 14 w 519"/>
                <a:gd name="T3" fmla="*/ 86 h 400"/>
                <a:gd name="T4" fmla="*/ 0 w 519"/>
                <a:gd name="T5" fmla="*/ 26 h 400"/>
                <a:gd name="T6" fmla="*/ 120 w 519"/>
                <a:gd name="T7" fmla="*/ 0 h 400"/>
                <a:gd name="T8" fmla="*/ 133 w 519"/>
                <a:gd name="T9" fmla="*/ 59 h 400"/>
                <a:gd name="T10" fmla="*/ 442 w 519"/>
                <a:gd name="T11" fmla="*/ 275 h 400"/>
                <a:gd name="T12" fmla="*/ 503 w 519"/>
                <a:gd name="T13" fmla="*/ 267 h 400"/>
                <a:gd name="T14" fmla="*/ 519 w 519"/>
                <a:gd name="T15" fmla="*/ 388 h 400"/>
                <a:gd name="T16" fmla="*/ 458 w 519"/>
                <a:gd name="T17" fmla="*/ 396 h 400"/>
                <a:gd name="T18" fmla="*/ 406 w 519"/>
                <a:gd name="T19"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9" h="400">
                  <a:moveTo>
                    <a:pt x="406" y="400"/>
                  </a:moveTo>
                  <a:cubicBezTo>
                    <a:pt x="221" y="400"/>
                    <a:pt x="54" y="270"/>
                    <a:pt x="14" y="86"/>
                  </a:cubicBezTo>
                  <a:lnTo>
                    <a:pt x="0" y="26"/>
                  </a:lnTo>
                  <a:lnTo>
                    <a:pt x="120" y="0"/>
                  </a:lnTo>
                  <a:lnTo>
                    <a:pt x="133" y="59"/>
                  </a:lnTo>
                  <a:cubicBezTo>
                    <a:pt x="164" y="199"/>
                    <a:pt x="300" y="294"/>
                    <a:pt x="442" y="275"/>
                  </a:cubicBezTo>
                  <a:lnTo>
                    <a:pt x="503" y="267"/>
                  </a:lnTo>
                  <a:lnTo>
                    <a:pt x="519" y="388"/>
                  </a:lnTo>
                  <a:lnTo>
                    <a:pt x="458" y="396"/>
                  </a:lnTo>
                  <a:cubicBezTo>
                    <a:pt x="441" y="399"/>
                    <a:pt x="423" y="400"/>
                    <a:pt x="406" y="400"/>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381">
              <a:extLst>
                <a:ext uri="{FF2B5EF4-FFF2-40B4-BE49-F238E27FC236}">
                  <a16:creationId xmlns:a16="http://schemas.microsoft.com/office/drawing/2014/main" id="{83254ABE-9742-F48A-40E0-16D22839EE7A}"/>
                </a:ext>
              </a:extLst>
            </p:cNvPr>
            <p:cNvSpPr>
              <a:spLocks/>
            </p:cNvSpPr>
            <p:nvPr/>
          </p:nvSpPr>
          <p:spPr bwMode="auto">
            <a:xfrm>
              <a:off x="3379788" y="3019426"/>
              <a:ext cx="25400" cy="20638"/>
            </a:xfrm>
            <a:custGeom>
              <a:avLst/>
              <a:gdLst>
                <a:gd name="T0" fmla="*/ 44 w 202"/>
                <a:gd name="T1" fmla="*/ 167 h 167"/>
                <a:gd name="T2" fmla="*/ 0 w 202"/>
                <a:gd name="T3" fmla="*/ 53 h 167"/>
                <a:gd name="T4" fmla="*/ 57 w 202"/>
                <a:gd name="T5" fmla="*/ 30 h 167"/>
                <a:gd name="T6" fmla="*/ 116 w 202"/>
                <a:gd name="T7" fmla="*/ 13 h 167"/>
                <a:gd name="T8" fmla="*/ 176 w 202"/>
                <a:gd name="T9" fmla="*/ 0 h 167"/>
                <a:gd name="T10" fmla="*/ 202 w 202"/>
                <a:gd name="T11" fmla="*/ 119 h 167"/>
                <a:gd name="T12" fmla="*/ 143 w 202"/>
                <a:gd name="T13" fmla="*/ 132 h 167"/>
                <a:gd name="T14" fmla="*/ 101 w 202"/>
                <a:gd name="T15" fmla="*/ 145 h 167"/>
                <a:gd name="T16" fmla="*/ 44 w 202"/>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167">
                  <a:moveTo>
                    <a:pt x="44" y="167"/>
                  </a:moveTo>
                  <a:lnTo>
                    <a:pt x="0" y="53"/>
                  </a:lnTo>
                  <a:lnTo>
                    <a:pt x="57" y="30"/>
                  </a:lnTo>
                  <a:cubicBezTo>
                    <a:pt x="76" y="23"/>
                    <a:pt x="96" y="17"/>
                    <a:pt x="116" y="13"/>
                  </a:cubicBezTo>
                  <a:lnTo>
                    <a:pt x="176" y="0"/>
                  </a:lnTo>
                  <a:lnTo>
                    <a:pt x="202" y="119"/>
                  </a:lnTo>
                  <a:lnTo>
                    <a:pt x="143" y="132"/>
                  </a:lnTo>
                  <a:cubicBezTo>
                    <a:pt x="129" y="135"/>
                    <a:pt x="115" y="140"/>
                    <a:pt x="101" y="145"/>
                  </a:cubicBezTo>
                  <a:lnTo>
                    <a:pt x="44" y="167"/>
                  </a:lnTo>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382">
              <a:extLst>
                <a:ext uri="{FF2B5EF4-FFF2-40B4-BE49-F238E27FC236}">
                  <a16:creationId xmlns:a16="http://schemas.microsoft.com/office/drawing/2014/main" id="{42D8ABFA-4A78-B402-D352-A78E3A6C4DB4}"/>
                </a:ext>
              </a:extLst>
            </p:cNvPr>
            <p:cNvSpPr>
              <a:spLocks/>
            </p:cNvSpPr>
            <p:nvPr/>
          </p:nvSpPr>
          <p:spPr bwMode="auto">
            <a:xfrm>
              <a:off x="3136901" y="2997201"/>
              <a:ext cx="66675" cy="100013"/>
            </a:xfrm>
            <a:custGeom>
              <a:avLst/>
              <a:gdLst>
                <a:gd name="T0" fmla="*/ 286 w 521"/>
                <a:gd name="T1" fmla="*/ 780 h 780"/>
                <a:gd name="T2" fmla="*/ 277 w 521"/>
                <a:gd name="T3" fmla="*/ 780 h 780"/>
                <a:gd name="T4" fmla="*/ 22 w 521"/>
                <a:gd name="T5" fmla="*/ 607 h 780"/>
                <a:gd name="T6" fmla="*/ 0 w 521"/>
                <a:gd name="T7" fmla="*/ 550 h 780"/>
                <a:gd name="T8" fmla="*/ 114 w 521"/>
                <a:gd name="T9" fmla="*/ 505 h 780"/>
                <a:gd name="T10" fmla="*/ 136 w 521"/>
                <a:gd name="T11" fmla="*/ 562 h 780"/>
                <a:gd name="T12" fmla="*/ 281 w 521"/>
                <a:gd name="T13" fmla="*/ 657 h 780"/>
                <a:gd name="T14" fmla="*/ 381 w 521"/>
                <a:gd name="T15" fmla="*/ 601 h 780"/>
                <a:gd name="T16" fmla="*/ 387 w 521"/>
                <a:gd name="T17" fmla="*/ 532 h 780"/>
                <a:gd name="T18" fmla="*/ 257 w 521"/>
                <a:gd name="T19" fmla="*/ 422 h 780"/>
                <a:gd name="T20" fmla="*/ 75 w 521"/>
                <a:gd name="T21" fmla="*/ 244 h 780"/>
                <a:gd name="T22" fmla="*/ 116 w 521"/>
                <a:gd name="T23" fmla="*/ 89 h 780"/>
                <a:gd name="T24" fmla="*/ 292 w 521"/>
                <a:gd name="T25" fmla="*/ 0 h 780"/>
                <a:gd name="T26" fmla="*/ 293 w 521"/>
                <a:gd name="T27" fmla="*/ 0 h 780"/>
                <a:gd name="T28" fmla="*/ 463 w 521"/>
                <a:gd name="T29" fmla="*/ 87 h 780"/>
                <a:gd name="T30" fmla="*/ 502 w 521"/>
                <a:gd name="T31" fmla="*/ 134 h 780"/>
                <a:gd name="T32" fmla="*/ 407 w 521"/>
                <a:gd name="T33" fmla="*/ 212 h 780"/>
                <a:gd name="T34" fmla="*/ 368 w 521"/>
                <a:gd name="T35" fmla="*/ 165 h 780"/>
                <a:gd name="T36" fmla="*/ 293 w 521"/>
                <a:gd name="T37" fmla="*/ 122 h 780"/>
                <a:gd name="T38" fmla="*/ 293 w 521"/>
                <a:gd name="T39" fmla="*/ 122 h 780"/>
                <a:gd name="T40" fmla="*/ 211 w 521"/>
                <a:gd name="T41" fmla="*/ 165 h 780"/>
                <a:gd name="T42" fmla="*/ 194 w 521"/>
                <a:gd name="T43" fmla="*/ 215 h 780"/>
                <a:gd name="T44" fmla="*/ 307 w 521"/>
                <a:gd name="T45" fmla="*/ 310 h 780"/>
                <a:gd name="T46" fmla="*/ 501 w 521"/>
                <a:gd name="T47" fmla="*/ 490 h 780"/>
                <a:gd name="T48" fmla="*/ 492 w 521"/>
                <a:gd name="T49" fmla="*/ 653 h 780"/>
                <a:gd name="T50" fmla="*/ 286 w 521"/>
                <a:gd name="T51" fmla="*/ 78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1" h="780">
                  <a:moveTo>
                    <a:pt x="286" y="780"/>
                  </a:moveTo>
                  <a:cubicBezTo>
                    <a:pt x="283" y="780"/>
                    <a:pt x="280" y="780"/>
                    <a:pt x="277" y="780"/>
                  </a:cubicBezTo>
                  <a:cubicBezTo>
                    <a:pt x="166" y="776"/>
                    <a:pt x="61" y="705"/>
                    <a:pt x="22" y="607"/>
                  </a:cubicBezTo>
                  <a:lnTo>
                    <a:pt x="0" y="550"/>
                  </a:lnTo>
                  <a:lnTo>
                    <a:pt x="114" y="505"/>
                  </a:lnTo>
                  <a:lnTo>
                    <a:pt x="136" y="562"/>
                  </a:lnTo>
                  <a:cubicBezTo>
                    <a:pt x="157" y="615"/>
                    <a:pt x="218" y="655"/>
                    <a:pt x="281" y="657"/>
                  </a:cubicBezTo>
                  <a:cubicBezTo>
                    <a:pt x="308" y="658"/>
                    <a:pt x="357" y="652"/>
                    <a:pt x="381" y="601"/>
                  </a:cubicBezTo>
                  <a:cubicBezTo>
                    <a:pt x="393" y="576"/>
                    <a:pt x="395" y="554"/>
                    <a:pt x="387" y="532"/>
                  </a:cubicBezTo>
                  <a:cubicBezTo>
                    <a:pt x="372" y="493"/>
                    <a:pt x="324" y="452"/>
                    <a:pt x="257" y="422"/>
                  </a:cubicBezTo>
                  <a:cubicBezTo>
                    <a:pt x="199" y="396"/>
                    <a:pt x="98" y="338"/>
                    <a:pt x="75" y="244"/>
                  </a:cubicBezTo>
                  <a:cubicBezTo>
                    <a:pt x="66" y="208"/>
                    <a:pt x="66" y="151"/>
                    <a:pt x="116" y="89"/>
                  </a:cubicBezTo>
                  <a:cubicBezTo>
                    <a:pt x="159" y="34"/>
                    <a:pt x="227" y="0"/>
                    <a:pt x="292" y="0"/>
                  </a:cubicBezTo>
                  <a:lnTo>
                    <a:pt x="293" y="0"/>
                  </a:lnTo>
                  <a:cubicBezTo>
                    <a:pt x="338" y="0"/>
                    <a:pt x="404" y="15"/>
                    <a:pt x="463" y="87"/>
                  </a:cubicBezTo>
                  <a:lnTo>
                    <a:pt x="502" y="134"/>
                  </a:lnTo>
                  <a:lnTo>
                    <a:pt x="407" y="212"/>
                  </a:lnTo>
                  <a:lnTo>
                    <a:pt x="368" y="165"/>
                  </a:lnTo>
                  <a:cubicBezTo>
                    <a:pt x="345" y="137"/>
                    <a:pt x="320" y="122"/>
                    <a:pt x="293" y="122"/>
                  </a:cubicBezTo>
                  <a:lnTo>
                    <a:pt x="293" y="122"/>
                  </a:lnTo>
                  <a:cubicBezTo>
                    <a:pt x="258" y="122"/>
                    <a:pt x="227" y="146"/>
                    <a:pt x="211" y="165"/>
                  </a:cubicBezTo>
                  <a:cubicBezTo>
                    <a:pt x="189" y="194"/>
                    <a:pt x="193" y="209"/>
                    <a:pt x="194" y="215"/>
                  </a:cubicBezTo>
                  <a:cubicBezTo>
                    <a:pt x="201" y="245"/>
                    <a:pt x="246" y="283"/>
                    <a:pt x="307" y="310"/>
                  </a:cubicBezTo>
                  <a:cubicBezTo>
                    <a:pt x="364" y="336"/>
                    <a:pt x="466" y="393"/>
                    <a:pt x="501" y="490"/>
                  </a:cubicBezTo>
                  <a:cubicBezTo>
                    <a:pt x="521" y="542"/>
                    <a:pt x="518" y="598"/>
                    <a:pt x="492" y="653"/>
                  </a:cubicBezTo>
                  <a:cubicBezTo>
                    <a:pt x="454" y="733"/>
                    <a:pt x="378" y="780"/>
                    <a:pt x="286" y="780"/>
                  </a:cubicBezTo>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383">
              <a:extLst>
                <a:ext uri="{FF2B5EF4-FFF2-40B4-BE49-F238E27FC236}">
                  <a16:creationId xmlns:a16="http://schemas.microsoft.com/office/drawing/2014/main" id="{4EB38D78-08C8-D514-427F-30E747763046}"/>
                </a:ext>
              </a:extLst>
            </p:cNvPr>
            <p:cNvSpPr>
              <a:spLocks/>
            </p:cNvSpPr>
            <p:nvPr/>
          </p:nvSpPr>
          <p:spPr bwMode="auto">
            <a:xfrm>
              <a:off x="3163888" y="3081338"/>
              <a:ext cx="17463" cy="28575"/>
            </a:xfrm>
            <a:custGeom>
              <a:avLst/>
              <a:gdLst>
                <a:gd name="T0" fmla="*/ 3 w 125"/>
                <a:gd name="T1" fmla="*/ 213 h 213"/>
                <a:gd name="T2" fmla="*/ 2 w 125"/>
                <a:gd name="T3" fmla="*/ 151 h 213"/>
                <a:gd name="T4" fmla="*/ 1 w 125"/>
                <a:gd name="T5" fmla="*/ 62 h 213"/>
                <a:gd name="T6" fmla="*/ 0 w 125"/>
                <a:gd name="T7" fmla="*/ 1 h 213"/>
                <a:gd name="T8" fmla="*/ 123 w 125"/>
                <a:gd name="T9" fmla="*/ 0 h 213"/>
                <a:gd name="T10" fmla="*/ 123 w 125"/>
                <a:gd name="T11" fmla="*/ 61 h 213"/>
                <a:gd name="T12" fmla="*/ 124 w 125"/>
                <a:gd name="T13" fmla="*/ 150 h 213"/>
                <a:gd name="T14" fmla="*/ 125 w 125"/>
                <a:gd name="T15" fmla="*/ 211 h 213"/>
                <a:gd name="T16" fmla="*/ 3 w 125"/>
                <a:gd name="T17"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13">
                  <a:moveTo>
                    <a:pt x="3" y="213"/>
                  </a:moveTo>
                  <a:lnTo>
                    <a:pt x="2" y="151"/>
                  </a:lnTo>
                  <a:cubicBezTo>
                    <a:pt x="2" y="151"/>
                    <a:pt x="2" y="123"/>
                    <a:pt x="1" y="62"/>
                  </a:cubicBezTo>
                  <a:lnTo>
                    <a:pt x="0" y="1"/>
                  </a:lnTo>
                  <a:lnTo>
                    <a:pt x="123" y="0"/>
                  </a:lnTo>
                  <a:lnTo>
                    <a:pt x="123" y="61"/>
                  </a:lnTo>
                  <a:cubicBezTo>
                    <a:pt x="124" y="122"/>
                    <a:pt x="124" y="150"/>
                    <a:pt x="124" y="150"/>
                  </a:cubicBezTo>
                  <a:lnTo>
                    <a:pt x="125" y="211"/>
                  </a:lnTo>
                  <a:lnTo>
                    <a:pt x="3" y="213"/>
                  </a:lnTo>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Rectangle 384">
              <a:extLst>
                <a:ext uri="{FF2B5EF4-FFF2-40B4-BE49-F238E27FC236}">
                  <a16:creationId xmlns:a16="http://schemas.microsoft.com/office/drawing/2014/main" id="{97D71721-45A3-077E-E0FB-560B30EFC6E0}"/>
                </a:ext>
              </a:extLst>
            </p:cNvPr>
            <p:cNvSpPr>
              <a:spLocks noChangeArrowheads="1"/>
            </p:cNvSpPr>
            <p:nvPr/>
          </p:nvSpPr>
          <p:spPr bwMode="auto">
            <a:xfrm>
              <a:off x="3163888" y="2981326"/>
              <a:ext cx="15875" cy="30163"/>
            </a:xfrm>
            <a:prstGeom prst="rect">
              <a:avLst/>
            </a:prstGeom>
            <a:grpFill/>
            <a:ln w="317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0" name="Federal_Government2" descr="{&quot;Key&quot;:&quot;POWER_USER_SHAPE_ICON&quot;,&quot;Value&quot;:&quot;POWER_USER_SHAPE_ICON_STYLE_1&quot;}">
            <a:extLst>
              <a:ext uri="{FF2B5EF4-FFF2-40B4-BE49-F238E27FC236}">
                <a16:creationId xmlns:a16="http://schemas.microsoft.com/office/drawing/2014/main" id="{E654095D-D76B-461E-0934-4CBC5654C13C}"/>
              </a:ext>
            </a:extLst>
          </p:cNvPr>
          <p:cNvGrpSpPr>
            <a:grpSpLocks noChangeAspect="1"/>
          </p:cNvGrpSpPr>
          <p:nvPr>
            <p:custDataLst>
              <p:tags r:id="rId3"/>
            </p:custDataLst>
          </p:nvPr>
        </p:nvGrpSpPr>
        <p:grpSpPr bwMode="auto">
          <a:xfrm>
            <a:off x="4661939" y="4374357"/>
            <a:ext cx="298192" cy="298827"/>
            <a:chOff x="8" y="8"/>
            <a:chExt cx="470" cy="471"/>
          </a:xfrm>
          <a:solidFill>
            <a:schemeClr val="tx1"/>
          </a:solidFill>
        </p:grpSpPr>
        <p:sp>
          <p:nvSpPr>
            <p:cNvPr id="91" name="Federal_Government">
              <a:extLst>
                <a:ext uri="{FF2B5EF4-FFF2-40B4-BE49-F238E27FC236}">
                  <a16:creationId xmlns:a16="http://schemas.microsoft.com/office/drawing/2014/main" id="{EF541C4D-7B44-5031-3737-8294BCA4D91F}"/>
                </a:ext>
              </a:extLst>
            </p:cNvPr>
            <p:cNvSpPr>
              <a:spLocks/>
            </p:cNvSpPr>
            <p:nvPr>
              <p:custDataLst>
                <p:tags r:id="rId8"/>
              </p:custDataLst>
            </p:nvPr>
          </p:nvSpPr>
          <p:spPr bwMode="auto">
            <a:xfrm>
              <a:off x="106" y="204"/>
              <a:ext cx="274" cy="52"/>
            </a:xfrm>
            <a:custGeom>
              <a:avLst/>
              <a:gdLst>
                <a:gd name="T0" fmla="*/ 70 w 730"/>
                <a:gd name="T1" fmla="*/ 112 h 139"/>
                <a:gd name="T2" fmla="*/ 365 w 730"/>
                <a:gd name="T3" fmla="*/ 33 h 139"/>
                <a:gd name="T4" fmla="*/ 660 w 730"/>
                <a:gd name="T5" fmla="*/ 112 h 139"/>
                <a:gd name="T6" fmla="*/ 660 w 730"/>
                <a:gd name="T7" fmla="*/ 139 h 139"/>
                <a:gd name="T8" fmla="*/ 730 w 730"/>
                <a:gd name="T9" fmla="*/ 139 h 139"/>
                <a:gd name="T10" fmla="*/ 730 w 730"/>
                <a:gd name="T11" fmla="*/ 0 h 139"/>
                <a:gd name="T12" fmla="*/ 0 w 730"/>
                <a:gd name="T13" fmla="*/ 0 h 139"/>
                <a:gd name="T14" fmla="*/ 0 w 730"/>
                <a:gd name="T15" fmla="*/ 139 h 139"/>
                <a:gd name="T16" fmla="*/ 70 w 730"/>
                <a:gd name="T17" fmla="*/ 139 h 139"/>
                <a:gd name="T18" fmla="*/ 70 w 730"/>
                <a:gd name="T19" fmla="*/ 11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0" h="139">
                  <a:moveTo>
                    <a:pt x="70" y="112"/>
                  </a:moveTo>
                  <a:lnTo>
                    <a:pt x="365" y="33"/>
                  </a:lnTo>
                  <a:lnTo>
                    <a:pt x="660" y="112"/>
                  </a:lnTo>
                  <a:lnTo>
                    <a:pt x="660" y="139"/>
                  </a:lnTo>
                  <a:lnTo>
                    <a:pt x="730" y="139"/>
                  </a:lnTo>
                  <a:lnTo>
                    <a:pt x="730" y="0"/>
                  </a:lnTo>
                  <a:lnTo>
                    <a:pt x="0" y="0"/>
                  </a:lnTo>
                  <a:lnTo>
                    <a:pt x="0" y="139"/>
                  </a:lnTo>
                  <a:lnTo>
                    <a:pt x="70" y="139"/>
                  </a:lnTo>
                  <a:lnTo>
                    <a:pt x="70" y="112"/>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ederal_Government">
              <a:extLst>
                <a:ext uri="{FF2B5EF4-FFF2-40B4-BE49-F238E27FC236}">
                  <a16:creationId xmlns:a16="http://schemas.microsoft.com/office/drawing/2014/main" id="{1CBBCADB-D902-F891-7E8A-FFC8A88227D0}"/>
                </a:ext>
              </a:extLst>
            </p:cNvPr>
            <p:cNvSpPr>
              <a:spLocks/>
            </p:cNvSpPr>
            <p:nvPr>
              <p:custDataLst>
                <p:tags r:id="rId9"/>
              </p:custDataLst>
            </p:nvPr>
          </p:nvSpPr>
          <p:spPr bwMode="auto">
            <a:xfrm>
              <a:off x="145" y="230"/>
              <a:ext cx="195" cy="209"/>
            </a:xfrm>
            <a:custGeom>
              <a:avLst/>
              <a:gdLst>
                <a:gd name="T0" fmla="*/ 520 w 520"/>
                <a:gd name="T1" fmla="*/ 556 h 556"/>
                <a:gd name="T2" fmla="*/ 520 w 520"/>
                <a:gd name="T3" fmla="*/ 157 h 556"/>
                <a:gd name="T4" fmla="*/ 520 w 520"/>
                <a:gd name="T5" fmla="*/ 122 h 556"/>
                <a:gd name="T6" fmla="*/ 520 w 520"/>
                <a:gd name="T7" fmla="*/ 122 h 556"/>
                <a:gd name="T8" fmla="*/ 520 w 520"/>
                <a:gd name="T9" fmla="*/ 70 h 556"/>
                <a:gd name="T10" fmla="*/ 260 w 520"/>
                <a:gd name="T11" fmla="*/ 0 h 556"/>
                <a:gd name="T12" fmla="*/ 0 w 520"/>
                <a:gd name="T13" fmla="*/ 70 h 556"/>
                <a:gd name="T14" fmla="*/ 0 w 520"/>
                <a:gd name="T15" fmla="*/ 122 h 556"/>
                <a:gd name="T16" fmla="*/ 0 w 520"/>
                <a:gd name="T17" fmla="*/ 122 h 556"/>
                <a:gd name="T18" fmla="*/ 0 w 520"/>
                <a:gd name="T19" fmla="*/ 157 h 556"/>
                <a:gd name="T20" fmla="*/ 0 w 520"/>
                <a:gd name="T21" fmla="*/ 556 h 556"/>
                <a:gd name="T22" fmla="*/ 104 w 520"/>
                <a:gd name="T23" fmla="*/ 556 h 556"/>
                <a:gd name="T24" fmla="*/ 104 w 520"/>
                <a:gd name="T25" fmla="*/ 157 h 556"/>
                <a:gd name="T26" fmla="*/ 208 w 520"/>
                <a:gd name="T27" fmla="*/ 157 h 556"/>
                <a:gd name="T28" fmla="*/ 208 w 520"/>
                <a:gd name="T29" fmla="*/ 556 h 556"/>
                <a:gd name="T30" fmla="*/ 312 w 520"/>
                <a:gd name="T31" fmla="*/ 556 h 556"/>
                <a:gd name="T32" fmla="*/ 312 w 520"/>
                <a:gd name="T33" fmla="*/ 157 h 556"/>
                <a:gd name="T34" fmla="*/ 416 w 520"/>
                <a:gd name="T35" fmla="*/ 157 h 556"/>
                <a:gd name="T36" fmla="*/ 416 w 520"/>
                <a:gd name="T37" fmla="*/ 556 h 556"/>
                <a:gd name="T38" fmla="*/ 520 w 520"/>
                <a:gd name="T39" fmla="*/ 556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0" h="556">
                  <a:moveTo>
                    <a:pt x="520" y="556"/>
                  </a:moveTo>
                  <a:lnTo>
                    <a:pt x="520" y="157"/>
                  </a:lnTo>
                  <a:lnTo>
                    <a:pt x="520" y="122"/>
                  </a:lnTo>
                  <a:lnTo>
                    <a:pt x="520" y="122"/>
                  </a:lnTo>
                  <a:lnTo>
                    <a:pt x="520" y="70"/>
                  </a:lnTo>
                  <a:lnTo>
                    <a:pt x="260" y="0"/>
                  </a:lnTo>
                  <a:lnTo>
                    <a:pt x="0" y="70"/>
                  </a:lnTo>
                  <a:lnTo>
                    <a:pt x="0" y="122"/>
                  </a:lnTo>
                  <a:lnTo>
                    <a:pt x="0" y="122"/>
                  </a:lnTo>
                  <a:lnTo>
                    <a:pt x="0" y="157"/>
                  </a:lnTo>
                  <a:lnTo>
                    <a:pt x="0" y="556"/>
                  </a:lnTo>
                  <a:lnTo>
                    <a:pt x="104" y="556"/>
                  </a:lnTo>
                  <a:lnTo>
                    <a:pt x="104" y="157"/>
                  </a:lnTo>
                  <a:lnTo>
                    <a:pt x="208" y="157"/>
                  </a:lnTo>
                  <a:lnTo>
                    <a:pt x="208" y="556"/>
                  </a:lnTo>
                  <a:lnTo>
                    <a:pt x="312" y="556"/>
                  </a:lnTo>
                  <a:lnTo>
                    <a:pt x="312" y="157"/>
                  </a:lnTo>
                  <a:lnTo>
                    <a:pt x="416" y="157"/>
                  </a:lnTo>
                  <a:lnTo>
                    <a:pt x="416" y="556"/>
                  </a:lnTo>
                  <a:lnTo>
                    <a:pt x="520" y="556"/>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ederal_Government">
              <a:extLst>
                <a:ext uri="{FF2B5EF4-FFF2-40B4-BE49-F238E27FC236}">
                  <a16:creationId xmlns:a16="http://schemas.microsoft.com/office/drawing/2014/main" id="{2F030A21-2FCE-C15B-C07E-7EA7B873C01F}"/>
                </a:ext>
              </a:extLst>
            </p:cNvPr>
            <p:cNvSpPr>
              <a:spLocks/>
            </p:cNvSpPr>
            <p:nvPr>
              <p:custDataLst>
                <p:tags r:id="rId10"/>
              </p:custDataLst>
            </p:nvPr>
          </p:nvSpPr>
          <p:spPr bwMode="auto">
            <a:xfrm>
              <a:off x="165" y="8"/>
              <a:ext cx="156" cy="183"/>
            </a:xfrm>
            <a:custGeom>
              <a:avLst/>
              <a:gdLst>
                <a:gd name="T0" fmla="*/ 416 w 416"/>
                <a:gd name="T1" fmla="*/ 451 h 486"/>
                <a:gd name="T2" fmla="*/ 416 w 416"/>
                <a:gd name="T3" fmla="*/ 451 h 486"/>
                <a:gd name="T4" fmla="*/ 243 w 416"/>
                <a:gd name="T5" fmla="*/ 246 h 486"/>
                <a:gd name="T6" fmla="*/ 243 w 416"/>
                <a:gd name="T7" fmla="*/ 200 h 486"/>
                <a:gd name="T8" fmla="*/ 234 w 416"/>
                <a:gd name="T9" fmla="*/ 191 h 486"/>
                <a:gd name="T10" fmla="*/ 225 w 416"/>
                <a:gd name="T11" fmla="*/ 191 h 486"/>
                <a:gd name="T12" fmla="*/ 225 w 416"/>
                <a:gd name="T13" fmla="*/ 146 h 486"/>
                <a:gd name="T14" fmla="*/ 416 w 416"/>
                <a:gd name="T15" fmla="*/ 156 h 486"/>
                <a:gd name="T16" fmla="*/ 416 w 416"/>
                <a:gd name="T17" fmla="*/ 35 h 486"/>
                <a:gd name="T18" fmla="*/ 225 w 416"/>
                <a:gd name="T19" fmla="*/ 25 h 486"/>
                <a:gd name="T20" fmla="*/ 225 w 416"/>
                <a:gd name="T21" fmla="*/ 17 h 486"/>
                <a:gd name="T22" fmla="*/ 208 w 416"/>
                <a:gd name="T23" fmla="*/ 0 h 486"/>
                <a:gd name="T24" fmla="*/ 191 w 416"/>
                <a:gd name="T25" fmla="*/ 17 h 486"/>
                <a:gd name="T26" fmla="*/ 191 w 416"/>
                <a:gd name="T27" fmla="*/ 191 h 486"/>
                <a:gd name="T28" fmla="*/ 182 w 416"/>
                <a:gd name="T29" fmla="*/ 191 h 486"/>
                <a:gd name="T30" fmla="*/ 173 w 416"/>
                <a:gd name="T31" fmla="*/ 200 h 486"/>
                <a:gd name="T32" fmla="*/ 173 w 416"/>
                <a:gd name="T33" fmla="*/ 246 h 486"/>
                <a:gd name="T34" fmla="*/ 0 w 416"/>
                <a:gd name="T35" fmla="*/ 451 h 486"/>
                <a:gd name="T36" fmla="*/ 0 w 416"/>
                <a:gd name="T37" fmla="*/ 451 h 486"/>
                <a:gd name="T38" fmla="*/ 0 w 416"/>
                <a:gd name="T39" fmla="*/ 486 h 486"/>
                <a:gd name="T40" fmla="*/ 416 w 416"/>
                <a:gd name="T41" fmla="*/ 486 h 486"/>
                <a:gd name="T42" fmla="*/ 416 w 416"/>
                <a:gd name="T43" fmla="*/ 45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6" h="486">
                  <a:moveTo>
                    <a:pt x="416" y="451"/>
                  </a:moveTo>
                  <a:lnTo>
                    <a:pt x="416" y="451"/>
                  </a:lnTo>
                  <a:cubicBezTo>
                    <a:pt x="416" y="348"/>
                    <a:pt x="341" y="263"/>
                    <a:pt x="243" y="246"/>
                  </a:cubicBezTo>
                  <a:lnTo>
                    <a:pt x="243" y="200"/>
                  </a:lnTo>
                  <a:cubicBezTo>
                    <a:pt x="243" y="195"/>
                    <a:pt x="239" y="191"/>
                    <a:pt x="234" y="191"/>
                  </a:cubicBezTo>
                  <a:lnTo>
                    <a:pt x="225" y="191"/>
                  </a:lnTo>
                  <a:lnTo>
                    <a:pt x="225" y="146"/>
                  </a:lnTo>
                  <a:cubicBezTo>
                    <a:pt x="287" y="177"/>
                    <a:pt x="337" y="124"/>
                    <a:pt x="416" y="156"/>
                  </a:cubicBezTo>
                  <a:lnTo>
                    <a:pt x="416" y="35"/>
                  </a:lnTo>
                  <a:cubicBezTo>
                    <a:pt x="337" y="3"/>
                    <a:pt x="287" y="56"/>
                    <a:pt x="225" y="25"/>
                  </a:cubicBezTo>
                  <a:lnTo>
                    <a:pt x="225" y="17"/>
                  </a:lnTo>
                  <a:cubicBezTo>
                    <a:pt x="225" y="8"/>
                    <a:pt x="218" y="0"/>
                    <a:pt x="208" y="0"/>
                  </a:cubicBezTo>
                  <a:cubicBezTo>
                    <a:pt x="198" y="0"/>
                    <a:pt x="191" y="8"/>
                    <a:pt x="191" y="17"/>
                  </a:cubicBezTo>
                  <a:lnTo>
                    <a:pt x="191" y="191"/>
                  </a:lnTo>
                  <a:lnTo>
                    <a:pt x="182" y="191"/>
                  </a:lnTo>
                  <a:cubicBezTo>
                    <a:pt x="177" y="191"/>
                    <a:pt x="173" y="195"/>
                    <a:pt x="173" y="200"/>
                  </a:cubicBezTo>
                  <a:lnTo>
                    <a:pt x="173" y="246"/>
                  </a:lnTo>
                  <a:cubicBezTo>
                    <a:pt x="75" y="263"/>
                    <a:pt x="0" y="348"/>
                    <a:pt x="0" y="451"/>
                  </a:cubicBezTo>
                  <a:lnTo>
                    <a:pt x="0" y="451"/>
                  </a:lnTo>
                  <a:lnTo>
                    <a:pt x="0" y="486"/>
                  </a:lnTo>
                  <a:lnTo>
                    <a:pt x="416" y="486"/>
                  </a:lnTo>
                  <a:lnTo>
                    <a:pt x="416" y="45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ederal_Government">
              <a:extLst>
                <a:ext uri="{FF2B5EF4-FFF2-40B4-BE49-F238E27FC236}">
                  <a16:creationId xmlns:a16="http://schemas.microsoft.com/office/drawing/2014/main" id="{5A5346D9-B773-9E0C-4DE5-84C3826BF61E}"/>
                </a:ext>
              </a:extLst>
            </p:cNvPr>
            <p:cNvSpPr>
              <a:spLocks/>
            </p:cNvSpPr>
            <p:nvPr>
              <p:custDataLst>
                <p:tags r:id="rId11"/>
              </p:custDataLst>
            </p:nvPr>
          </p:nvSpPr>
          <p:spPr bwMode="auto">
            <a:xfrm>
              <a:off x="106" y="453"/>
              <a:ext cx="274" cy="26"/>
            </a:xfrm>
            <a:custGeom>
              <a:avLst/>
              <a:gdLst>
                <a:gd name="T0" fmla="*/ 70 w 730"/>
                <a:gd name="T1" fmla="*/ 0 h 69"/>
                <a:gd name="T2" fmla="*/ 0 w 730"/>
                <a:gd name="T3" fmla="*/ 69 h 69"/>
                <a:gd name="T4" fmla="*/ 730 w 730"/>
                <a:gd name="T5" fmla="*/ 69 h 69"/>
                <a:gd name="T6" fmla="*/ 660 w 730"/>
                <a:gd name="T7" fmla="*/ 0 h 69"/>
                <a:gd name="T8" fmla="*/ 70 w 730"/>
                <a:gd name="T9" fmla="*/ 0 h 69"/>
              </a:gdLst>
              <a:ahLst/>
              <a:cxnLst>
                <a:cxn ang="0">
                  <a:pos x="T0" y="T1"/>
                </a:cxn>
                <a:cxn ang="0">
                  <a:pos x="T2" y="T3"/>
                </a:cxn>
                <a:cxn ang="0">
                  <a:pos x="T4" y="T5"/>
                </a:cxn>
                <a:cxn ang="0">
                  <a:pos x="T6" y="T7"/>
                </a:cxn>
                <a:cxn ang="0">
                  <a:pos x="T8" y="T9"/>
                </a:cxn>
              </a:cxnLst>
              <a:rect l="0" t="0" r="r" b="b"/>
              <a:pathLst>
                <a:path w="730" h="69">
                  <a:moveTo>
                    <a:pt x="70" y="0"/>
                  </a:moveTo>
                  <a:lnTo>
                    <a:pt x="0" y="69"/>
                  </a:lnTo>
                  <a:lnTo>
                    <a:pt x="730" y="69"/>
                  </a:lnTo>
                  <a:lnTo>
                    <a:pt x="660" y="0"/>
                  </a:lnTo>
                  <a:lnTo>
                    <a:pt x="70" y="0"/>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ederal_Government">
              <a:extLst>
                <a:ext uri="{FF2B5EF4-FFF2-40B4-BE49-F238E27FC236}">
                  <a16:creationId xmlns:a16="http://schemas.microsoft.com/office/drawing/2014/main" id="{2B7763DB-DC80-1436-2502-D620746BB3EB}"/>
                </a:ext>
              </a:extLst>
            </p:cNvPr>
            <p:cNvSpPr>
              <a:spLocks noEditPoints="1"/>
            </p:cNvSpPr>
            <p:nvPr>
              <p:custDataLst>
                <p:tags r:id="rId12"/>
              </p:custDataLst>
            </p:nvPr>
          </p:nvSpPr>
          <p:spPr bwMode="auto">
            <a:xfrm>
              <a:off x="354" y="269"/>
              <a:ext cx="124" cy="210"/>
            </a:xfrm>
            <a:custGeom>
              <a:avLst/>
              <a:gdLst>
                <a:gd name="T0" fmla="*/ 0 w 330"/>
                <a:gd name="T1" fmla="*/ 0 h 556"/>
                <a:gd name="T2" fmla="*/ 0 w 330"/>
                <a:gd name="T3" fmla="*/ 452 h 556"/>
                <a:gd name="T4" fmla="*/ 15 w 330"/>
                <a:gd name="T5" fmla="*/ 452 h 556"/>
                <a:gd name="T6" fmla="*/ 25 w 330"/>
                <a:gd name="T7" fmla="*/ 462 h 556"/>
                <a:gd name="T8" fmla="*/ 94 w 330"/>
                <a:gd name="T9" fmla="*/ 531 h 556"/>
                <a:gd name="T10" fmla="*/ 119 w 330"/>
                <a:gd name="T11" fmla="*/ 556 h 556"/>
                <a:gd name="T12" fmla="*/ 330 w 330"/>
                <a:gd name="T13" fmla="*/ 556 h 556"/>
                <a:gd name="T14" fmla="*/ 330 w 330"/>
                <a:gd name="T15" fmla="*/ 0 h 556"/>
                <a:gd name="T16" fmla="*/ 0 w 330"/>
                <a:gd name="T17" fmla="*/ 0 h 556"/>
                <a:gd name="T18" fmla="*/ 139 w 330"/>
                <a:gd name="T19" fmla="*/ 365 h 556"/>
                <a:gd name="T20" fmla="*/ 70 w 330"/>
                <a:gd name="T21" fmla="*/ 365 h 556"/>
                <a:gd name="T22" fmla="*/ 70 w 330"/>
                <a:gd name="T23" fmla="*/ 261 h 556"/>
                <a:gd name="T24" fmla="*/ 139 w 330"/>
                <a:gd name="T25" fmla="*/ 261 h 556"/>
                <a:gd name="T26" fmla="*/ 139 w 330"/>
                <a:gd name="T27" fmla="*/ 365 h 556"/>
                <a:gd name="T28" fmla="*/ 139 w 330"/>
                <a:gd name="T29" fmla="*/ 191 h 556"/>
                <a:gd name="T30" fmla="*/ 70 w 330"/>
                <a:gd name="T31" fmla="*/ 191 h 556"/>
                <a:gd name="T32" fmla="*/ 70 w 330"/>
                <a:gd name="T33" fmla="*/ 87 h 556"/>
                <a:gd name="T34" fmla="*/ 139 w 330"/>
                <a:gd name="T35" fmla="*/ 87 h 556"/>
                <a:gd name="T36" fmla="*/ 139 w 330"/>
                <a:gd name="T37" fmla="*/ 191 h 556"/>
                <a:gd name="T38" fmla="*/ 261 w 330"/>
                <a:gd name="T39" fmla="*/ 365 h 556"/>
                <a:gd name="T40" fmla="*/ 191 w 330"/>
                <a:gd name="T41" fmla="*/ 365 h 556"/>
                <a:gd name="T42" fmla="*/ 191 w 330"/>
                <a:gd name="T43" fmla="*/ 261 h 556"/>
                <a:gd name="T44" fmla="*/ 261 w 330"/>
                <a:gd name="T45" fmla="*/ 261 h 556"/>
                <a:gd name="T46" fmla="*/ 261 w 330"/>
                <a:gd name="T47" fmla="*/ 365 h 556"/>
                <a:gd name="T48" fmla="*/ 261 w 330"/>
                <a:gd name="T49" fmla="*/ 191 h 556"/>
                <a:gd name="T50" fmla="*/ 191 w 330"/>
                <a:gd name="T51" fmla="*/ 191 h 556"/>
                <a:gd name="T52" fmla="*/ 191 w 330"/>
                <a:gd name="T53" fmla="*/ 87 h 556"/>
                <a:gd name="T54" fmla="*/ 261 w 330"/>
                <a:gd name="T55" fmla="*/ 87 h 556"/>
                <a:gd name="T56" fmla="*/ 261 w 330"/>
                <a:gd name="T57" fmla="*/ 19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556">
                  <a:moveTo>
                    <a:pt x="0" y="0"/>
                  </a:moveTo>
                  <a:lnTo>
                    <a:pt x="0" y="452"/>
                  </a:lnTo>
                  <a:lnTo>
                    <a:pt x="15" y="452"/>
                  </a:lnTo>
                  <a:lnTo>
                    <a:pt x="25" y="462"/>
                  </a:lnTo>
                  <a:lnTo>
                    <a:pt x="94" y="531"/>
                  </a:lnTo>
                  <a:lnTo>
                    <a:pt x="119" y="556"/>
                  </a:lnTo>
                  <a:lnTo>
                    <a:pt x="330" y="556"/>
                  </a:lnTo>
                  <a:lnTo>
                    <a:pt x="330" y="0"/>
                  </a:lnTo>
                  <a:lnTo>
                    <a:pt x="0" y="0"/>
                  </a:lnTo>
                  <a:close/>
                  <a:moveTo>
                    <a:pt x="139" y="365"/>
                  </a:moveTo>
                  <a:lnTo>
                    <a:pt x="70" y="365"/>
                  </a:lnTo>
                  <a:lnTo>
                    <a:pt x="70" y="261"/>
                  </a:lnTo>
                  <a:lnTo>
                    <a:pt x="139" y="261"/>
                  </a:lnTo>
                  <a:lnTo>
                    <a:pt x="139" y="365"/>
                  </a:lnTo>
                  <a:close/>
                  <a:moveTo>
                    <a:pt x="139" y="191"/>
                  </a:moveTo>
                  <a:lnTo>
                    <a:pt x="70" y="191"/>
                  </a:lnTo>
                  <a:lnTo>
                    <a:pt x="70" y="87"/>
                  </a:lnTo>
                  <a:lnTo>
                    <a:pt x="139" y="87"/>
                  </a:lnTo>
                  <a:lnTo>
                    <a:pt x="139" y="191"/>
                  </a:lnTo>
                  <a:close/>
                  <a:moveTo>
                    <a:pt x="261" y="365"/>
                  </a:moveTo>
                  <a:lnTo>
                    <a:pt x="191" y="365"/>
                  </a:lnTo>
                  <a:lnTo>
                    <a:pt x="191" y="261"/>
                  </a:lnTo>
                  <a:lnTo>
                    <a:pt x="261" y="261"/>
                  </a:lnTo>
                  <a:lnTo>
                    <a:pt x="261" y="365"/>
                  </a:lnTo>
                  <a:close/>
                  <a:moveTo>
                    <a:pt x="261" y="191"/>
                  </a:moveTo>
                  <a:lnTo>
                    <a:pt x="191" y="191"/>
                  </a:lnTo>
                  <a:lnTo>
                    <a:pt x="191" y="87"/>
                  </a:lnTo>
                  <a:lnTo>
                    <a:pt x="261" y="87"/>
                  </a:lnTo>
                  <a:lnTo>
                    <a:pt x="261" y="19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ederal_Government">
              <a:extLst>
                <a:ext uri="{FF2B5EF4-FFF2-40B4-BE49-F238E27FC236}">
                  <a16:creationId xmlns:a16="http://schemas.microsoft.com/office/drawing/2014/main" id="{F145FA10-69CB-445D-8F72-7CD249BD2F16}"/>
                </a:ext>
              </a:extLst>
            </p:cNvPr>
            <p:cNvSpPr>
              <a:spLocks noEditPoints="1"/>
            </p:cNvSpPr>
            <p:nvPr>
              <p:custDataLst>
                <p:tags r:id="rId13"/>
              </p:custDataLst>
            </p:nvPr>
          </p:nvSpPr>
          <p:spPr bwMode="auto">
            <a:xfrm>
              <a:off x="8" y="269"/>
              <a:ext cx="124" cy="210"/>
            </a:xfrm>
            <a:custGeom>
              <a:avLst/>
              <a:gdLst>
                <a:gd name="T0" fmla="*/ 315 w 330"/>
                <a:gd name="T1" fmla="*/ 452 h 556"/>
                <a:gd name="T2" fmla="*/ 330 w 330"/>
                <a:gd name="T3" fmla="*/ 452 h 556"/>
                <a:gd name="T4" fmla="*/ 330 w 330"/>
                <a:gd name="T5" fmla="*/ 0 h 556"/>
                <a:gd name="T6" fmla="*/ 0 w 330"/>
                <a:gd name="T7" fmla="*/ 0 h 556"/>
                <a:gd name="T8" fmla="*/ 0 w 330"/>
                <a:gd name="T9" fmla="*/ 556 h 556"/>
                <a:gd name="T10" fmla="*/ 211 w 330"/>
                <a:gd name="T11" fmla="*/ 556 h 556"/>
                <a:gd name="T12" fmla="*/ 236 w 330"/>
                <a:gd name="T13" fmla="*/ 531 h 556"/>
                <a:gd name="T14" fmla="*/ 305 w 330"/>
                <a:gd name="T15" fmla="*/ 462 h 556"/>
                <a:gd name="T16" fmla="*/ 315 w 330"/>
                <a:gd name="T17" fmla="*/ 452 h 556"/>
                <a:gd name="T18" fmla="*/ 139 w 330"/>
                <a:gd name="T19" fmla="*/ 365 h 556"/>
                <a:gd name="T20" fmla="*/ 69 w 330"/>
                <a:gd name="T21" fmla="*/ 365 h 556"/>
                <a:gd name="T22" fmla="*/ 69 w 330"/>
                <a:gd name="T23" fmla="*/ 261 h 556"/>
                <a:gd name="T24" fmla="*/ 139 w 330"/>
                <a:gd name="T25" fmla="*/ 261 h 556"/>
                <a:gd name="T26" fmla="*/ 139 w 330"/>
                <a:gd name="T27" fmla="*/ 365 h 556"/>
                <a:gd name="T28" fmla="*/ 139 w 330"/>
                <a:gd name="T29" fmla="*/ 191 h 556"/>
                <a:gd name="T30" fmla="*/ 69 w 330"/>
                <a:gd name="T31" fmla="*/ 191 h 556"/>
                <a:gd name="T32" fmla="*/ 69 w 330"/>
                <a:gd name="T33" fmla="*/ 87 h 556"/>
                <a:gd name="T34" fmla="*/ 139 w 330"/>
                <a:gd name="T35" fmla="*/ 87 h 556"/>
                <a:gd name="T36" fmla="*/ 139 w 330"/>
                <a:gd name="T37" fmla="*/ 191 h 556"/>
                <a:gd name="T38" fmla="*/ 260 w 330"/>
                <a:gd name="T39" fmla="*/ 365 h 556"/>
                <a:gd name="T40" fmla="*/ 191 w 330"/>
                <a:gd name="T41" fmla="*/ 365 h 556"/>
                <a:gd name="T42" fmla="*/ 191 w 330"/>
                <a:gd name="T43" fmla="*/ 261 h 556"/>
                <a:gd name="T44" fmla="*/ 260 w 330"/>
                <a:gd name="T45" fmla="*/ 261 h 556"/>
                <a:gd name="T46" fmla="*/ 260 w 330"/>
                <a:gd name="T47" fmla="*/ 365 h 556"/>
                <a:gd name="T48" fmla="*/ 260 w 330"/>
                <a:gd name="T49" fmla="*/ 191 h 556"/>
                <a:gd name="T50" fmla="*/ 191 w 330"/>
                <a:gd name="T51" fmla="*/ 191 h 556"/>
                <a:gd name="T52" fmla="*/ 191 w 330"/>
                <a:gd name="T53" fmla="*/ 87 h 556"/>
                <a:gd name="T54" fmla="*/ 260 w 330"/>
                <a:gd name="T55" fmla="*/ 87 h 556"/>
                <a:gd name="T56" fmla="*/ 260 w 330"/>
                <a:gd name="T57" fmla="*/ 19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556">
                  <a:moveTo>
                    <a:pt x="315" y="452"/>
                  </a:moveTo>
                  <a:lnTo>
                    <a:pt x="330" y="452"/>
                  </a:lnTo>
                  <a:lnTo>
                    <a:pt x="330" y="0"/>
                  </a:lnTo>
                  <a:lnTo>
                    <a:pt x="0" y="0"/>
                  </a:lnTo>
                  <a:lnTo>
                    <a:pt x="0" y="556"/>
                  </a:lnTo>
                  <a:lnTo>
                    <a:pt x="211" y="556"/>
                  </a:lnTo>
                  <a:lnTo>
                    <a:pt x="236" y="531"/>
                  </a:lnTo>
                  <a:lnTo>
                    <a:pt x="305" y="462"/>
                  </a:lnTo>
                  <a:lnTo>
                    <a:pt x="315" y="452"/>
                  </a:lnTo>
                  <a:close/>
                  <a:moveTo>
                    <a:pt x="139" y="365"/>
                  </a:moveTo>
                  <a:lnTo>
                    <a:pt x="69" y="365"/>
                  </a:lnTo>
                  <a:lnTo>
                    <a:pt x="69" y="261"/>
                  </a:lnTo>
                  <a:lnTo>
                    <a:pt x="139" y="261"/>
                  </a:lnTo>
                  <a:lnTo>
                    <a:pt x="139" y="365"/>
                  </a:lnTo>
                  <a:close/>
                  <a:moveTo>
                    <a:pt x="139" y="191"/>
                  </a:moveTo>
                  <a:lnTo>
                    <a:pt x="69" y="191"/>
                  </a:lnTo>
                  <a:lnTo>
                    <a:pt x="69" y="87"/>
                  </a:lnTo>
                  <a:lnTo>
                    <a:pt x="139" y="87"/>
                  </a:lnTo>
                  <a:lnTo>
                    <a:pt x="139" y="191"/>
                  </a:lnTo>
                  <a:close/>
                  <a:moveTo>
                    <a:pt x="260" y="365"/>
                  </a:moveTo>
                  <a:lnTo>
                    <a:pt x="191" y="365"/>
                  </a:lnTo>
                  <a:lnTo>
                    <a:pt x="191" y="261"/>
                  </a:lnTo>
                  <a:lnTo>
                    <a:pt x="260" y="261"/>
                  </a:lnTo>
                  <a:lnTo>
                    <a:pt x="260" y="365"/>
                  </a:lnTo>
                  <a:close/>
                  <a:moveTo>
                    <a:pt x="260" y="191"/>
                  </a:moveTo>
                  <a:lnTo>
                    <a:pt x="191" y="191"/>
                  </a:lnTo>
                  <a:lnTo>
                    <a:pt x="191" y="87"/>
                  </a:lnTo>
                  <a:lnTo>
                    <a:pt x="260" y="87"/>
                  </a:lnTo>
                  <a:lnTo>
                    <a:pt x="260" y="191"/>
                  </a:lnTo>
                  <a:close/>
                </a:path>
              </a:pathLst>
            </a:custGeom>
            <a:grpFill/>
            <a:ln w="31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7" name="Textfeld 96">
            <a:extLst>
              <a:ext uri="{FF2B5EF4-FFF2-40B4-BE49-F238E27FC236}">
                <a16:creationId xmlns:a16="http://schemas.microsoft.com/office/drawing/2014/main" id="{C8819D3F-94D7-2D50-A660-F3A91EAF9705}"/>
              </a:ext>
            </a:extLst>
          </p:cNvPr>
          <p:cNvSpPr txBox="1"/>
          <p:nvPr/>
        </p:nvSpPr>
        <p:spPr>
          <a:xfrm>
            <a:off x="359997" y="3081620"/>
            <a:ext cx="3639134" cy="830997"/>
          </a:xfrm>
          <a:prstGeom prst="rect">
            <a:avLst/>
          </a:prstGeom>
          <a:noFill/>
        </p:spPr>
        <p:txBody>
          <a:bodyPr wrap="square">
            <a:spAutoFit/>
          </a:bodyPr>
          <a:lstStyle/>
          <a:p>
            <a:r>
              <a:rPr lang="en-US" sz="1200"/>
              <a:t>Uber communicates its commitment to providing reliable and accessible transportation through wide-availability and a user-friendly app interface as well as different customer support channels.</a:t>
            </a:r>
          </a:p>
        </p:txBody>
      </p:sp>
      <p:sp>
        <p:nvSpPr>
          <p:cNvPr id="98" name="Textfeld 97">
            <a:extLst>
              <a:ext uri="{FF2B5EF4-FFF2-40B4-BE49-F238E27FC236}">
                <a16:creationId xmlns:a16="http://schemas.microsoft.com/office/drawing/2014/main" id="{F0E2D785-FC9F-1B54-EB72-F5CF1DC6AECE}"/>
              </a:ext>
            </a:extLst>
          </p:cNvPr>
          <p:cNvSpPr txBox="1"/>
          <p:nvPr/>
        </p:nvSpPr>
        <p:spPr>
          <a:xfrm>
            <a:off x="359996" y="3862385"/>
            <a:ext cx="3785628" cy="461665"/>
          </a:xfrm>
          <a:prstGeom prst="rect">
            <a:avLst/>
          </a:prstGeom>
          <a:noFill/>
        </p:spPr>
        <p:txBody>
          <a:bodyPr wrap="square">
            <a:spAutoFit/>
          </a:bodyPr>
          <a:lstStyle/>
          <a:p>
            <a:r>
              <a:rPr lang="en-US" sz="1200"/>
              <a:t>This generally aligns well with Ubers mission of providing reliable and accessible transportation services.</a:t>
            </a:r>
          </a:p>
        </p:txBody>
      </p:sp>
      <p:sp>
        <p:nvSpPr>
          <p:cNvPr id="99" name="Arrow" descr="{&quot;Key&quot;:&quot;POWER_USER_SHAPE_ICON&quot;,&quot;Value&quot;:&quot;POWER_USER_SHAPE_ICON_STYLE_1&quot;}">
            <a:extLst>
              <a:ext uri="{FF2B5EF4-FFF2-40B4-BE49-F238E27FC236}">
                <a16:creationId xmlns:a16="http://schemas.microsoft.com/office/drawing/2014/main" id="{3AC4543C-0C17-4612-E1D2-72D8B3FF9E10}"/>
              </a:ext>
            </a:extLst>
          </p:cNvPr>
          <p:cNvSpPr>
            <a:spLocks noChangeAspect="1"/>
          </p:cNvSpPr>
          <p:nvPr>
            <p:custDataLst>
              <p:tags r:id="rId4"/>
            </p:custDataLst>
          </p:nvPr>
        </p:nvSpPr>
        <p:spPr bwMode="auto">
          <a:xfrm>
            <a:off x="3877292" y="2873722"/>
            <a:ext cx="307787" cy="323682"/>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bg1"/>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Textfeld 99">
            <a:extLst>
              <a:ext uri="{FF2B5EF4-FFF2-40B4-BE49-F238E27FC236}">
                <a16:creationId xmlns:a16="http://schemas.microsoft.com/office/drawing/2014/main" id="{00E1CA25-7431-1F55-4DFA-11F276BF38F2}"/>
              </a:ext>
            </a:extLst>
          </p:cNvPr>
          <p:cNvSpPr txBox="1"/>
          <p:nvPr/>
        </p:nvSpPr>
        <p:spPr>
          <a:xfrm>
            <a:off x="3698050" y="2666393"/>
            <a:ext cx="667022" cy="215444"/>
          </a:xfrm>
          <a:prstGeom prst="rect">
            <a:avLst/>
          </a:prstGeom>
          <a:noFill/>
        </p:spPr>
        <p:txBody>
          <a:bodyPr wrap="square">
            <a:spAutoFit/>
          </a:bodyPr>
          <a:lstStyle/>
          <a:p>
            <a:pPr algn="ctr"/>
            <a:r>
              <a:rPr lang="en-US" sz="800" b="1"/>
              <a:t>Alignment</a:t>
            </a:r>
          </a:p>
        </p:txBody>
      </p:sp>
      <p:sp>
        <p:nvSpPr>
          <p:cNvPr id="101" name="Arrow" descr="{&quot;Key&quot;:&quot;POWER_USER_SHAPE_ICON&quot;,&quot;Value&quot;:&quot;POWER_USER_SHAPE_ICON_STYLE_1&quot;}">
            <a:extLst>
              <a:ext uri="{FF2B5EF4-FFF2-40B4-BE49-F238E27FC236}">
                <a16:creationId xmlns:a16="http://schemas.microsoft.com/office/drawing/2014/main" id="{65506631-1CE5-F3BF-4877-B75BFD14F7D4}"/>
              </a:ext>
            </a:extLst>
          </p:cNvPr>
          <p:cNvSpPr>
            <a:spLocks noChangeAspect="1"/>
          </p:cNvSpPr>
          <p:nvPr>
            <p:custDataLst>
              <p:tags r:id="rId5"/>
            </p:custDataLst>
          </p:nvPr>
        </p:nvSpPr>
        <p:spPr bwMode="auto">
          <a:xfrm rot="8151284">
            <a:off x="3872640" y="4515205"/>
            <a:ext cx="307787" cy="323682"/>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bg1"/>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Textfeld 101">
            <a:extLst>
              <a:ext uri="{FF2B5EF4-FFF2-40B4-BE49-F238E27FC236}">
                <a16:creationId xmlns:a16="http://schemas.microsoft.com/office/drawing/2014/main" id="{E7052C96-473F-3B8A-0082-D6E2F74C3695}"/>
              </a:ext>
            </a:extLst>
          </p:cNvPr>
          <p:cNvSpPr txBox="1"/>
          <p:nvPr/>
        </p:nvSpPr>
        <p:spPr>
          <a:xfrm>
            <a:off x="3693398" y="4307876"/>
            <a:ext cx="667022" cy="215444"/>
          </a:xfrm>
          <a:prstGeom prst="rect">
            <a:avLst/>
          </a:prstGeom>
          <a:noFill/>
        </p:spPr>
        <p:txBody>
          <a:bodyPr wrap="square">
            <a:spAutoFit/>
          </a:bodyPr>
          <a:lstStyle/>
          <a:p>
            <a:pPr algn="ctr"/>
            <a:r>
              <a:rPr lang="en-US" sz="800" b="1"/>
              <a:t>Alignment</a:t>
            </a:r>
          </a:p>
        </p:txBody>
      </p:sp>
      <p:sp>
        <p:nvSpPr>
          <p:cNvPr id="103" name="Textfeld 102">
            <a:extLst>
              <a:ext uri="{FF2B5EF4-FFF2-40B4-BE49-F238E27FC236}">
                <a16:creationId xmlns:a16="http://schemas.microsoft.com/office/drawing/2014/main" id="{A542130A-F470-6E6D-94B5-BF72F6330D9D}"/>
              </a:ext>
            </a:extLst>
          </p:cNvPr>
          <p:cNvSpPr txBox="1"/>
          <p:nvPr/>
        </p:nvSpPr>
        <p:spPr>
          <a:xfrm>
            <a:off x="433004" y="4777985"/>
            <a:ext cx="3639134" cy="646331"/>
          </a:xfrm>
          <a:prstGeom prst="rect">
            <a:avLst/>
          </a:prstGeom>
          <a:noFill/>
        </p:spPr>
        <p:txBody>
          <a:bodyPr wrap="square">
            <a:spAutoFit/>
          </a:bodyPr>
          <a:lstStyle/>
          <a:p>
            <a:r>
              <a:rPr lang="en-US" sz="1200"/>
              <a:t>Ubers communication with its drivers often focuses on flexibility and earning potential, reflecting its gig economy model.</a:t>
            </a:r>
          </a:p>
        </p:txBody>
      </p:sp>
      <p:sp>
        <p:nvSpPr>
          <p:cNvPr id="104" name="Textfeld 103">
            <a:extLst>
              <a:ext uri="{FF2B5EF4-FFF2-40B4-BE49-F238E27FC236}">
                <a16:creationId xmlns:a16="http://schemas.microsoft.com/office/drawing/2014/main" id="{14291C56-843B-55A8-57B0-3E4DDCCF105B}"/>
              </a:ext>
            </a:extLst>
          </p:cNvPr>
          <p:cNvSpPr txBox="1"/>
          <p:nvPr/>
        </p:nvSpPr>
        <p:spPr>
          <a:xfrm>
            <a:off x="433003" y="5443564"/>
            <a:ext cx="3672471" cy="646331"/>
          </a:xfrm>
          <a:prstGeom prst="rect">
            <a:avLst/>
          </a:prstGeom>
          <a:noFill/>
        </p:spPr>
        <p:txBody>
          <a:bodyPr wrap="square">
            <a:spAutoFit/>
          </a:bodyPr>
          <a:lstStyle/>
          <a:p>
            <a:r>
              <a:rPr lang="en-US" sz="1200"/>
              <a:t>This aligns with some aspects of its mission but may conflict with values related to employee welfare or working conditions.</a:t>
            </a:r>
          </a:p>
        </p:txBody>
      </p:sp>
      <p:sp>
        <p:nvSpPr>
          <p:cNvPr id="3" name="Textfeld 2">
            <a:extLst>
              <a:ext uri="{FF2B5EF4-FFF2-40B4-BE49-F238E27FC236}">
                <a16:creationId xmlns:a16="http://schemas.microsoft.com/office/drawing/2014/main" id="{56FBE029-F60B-7219-380D-B0D58B80F232}"/>
              </a:ext>
            </a:extLst>
          </p:cNvPr>
          <p:cNvSpPr txBox="1"/>
          <p:nvPr/>
        </p:nvSpPr>
        <p:spPr>
          <a:xfrm>
            <a:off x="4640262" y="3084856"/>
            <a:ext cx="3639134" cy="830997"/>
          </a:xfrm>
          <a:prstGeom prst="rect">
            <a:avLst/>
          </a:prstGeom>
          <a:noFill/>
        </p:spPr>
        <p:txBody>
          <a:bodyPr wrap="square">
            <a:spAutoFit/>
          </a:bodyPr>
          <a:lstStyle/>
          <a:p>
            <a:r>
              <a:rPr lang="en-US" sz="1200"/>
              <a:t>Ubers communication with investors highlights growth, innovation, and market expansion and penetration. Positioning itself as being a market leader in transportation.</a:t>
            </a:r>
          </a:p>
        </p:txBody>
      </p:sp>
      <p:sp>
        <p:nvSpPr>
          <p:cNvPr id="9" name="Textfeld 8">
            <a:extLst>
              <a:ext uri="{FF2B5EF4-FFF2-40B4-BE49-F238E27FC236}">
                <a16:creationId xmlns:a16="http://schemas.microsoft.com/office/drawing/2014/main" id="{B13801E3-4203-D3F6-1F43-2C0E43A0964B}"/>
              </a:ext>
            </a:extLst>
          </p:cNvPr>
          <p:cNvSpPr txBox="1"/>
          <p:nvPr/>
        </p:nvSpPr>
        <p:spPr>
          <a:xfrm>
            <a:off x="4661765" y="3861447"/>
            <a:ext cx="3672471" cy="461665"/>
          </a:xfrm>
          <a:prstGeom prst="rect">
            <a:avLst/>
          </a:prstGeom>
          <a:noFill/>
        </p:spPr>
        <p:txBody>
          <a:bodyPr wrap="square">
            <a:spAutoFit/>
          </a:bodyPr>
          <a:lstStyle/>
          <a:p>
            <a:r>
              <a:rPr lang="en-US" sz="1200"/>
              <a:t>This strongly aligns with its current lifecycle stage focusing on growth and innovation.</a:t>
            </a:r>
          </a:p>
        </p:txBody>
      </p:sp>
      <p:sp>
        <p:nvSpPr>
          <p:cNvPr id="12" name="Arrow" descr="{&quot;Key&quot;:&quot;POWER_USER_SHAPE_ICON&quot;,&quot;Value&quot;:&quot;POWER_USER_SHAPE_ICON_STYLE_1&quot;}">
            <a:extLst>
              <a:ext uri="{FF2B5EF4-FFF2-40B4-BE49-F238E27FC236}">
                <a16:creationId xmlns:a16="http://schemas.microsoft.com/office/drawing/2014/main" id="{EE4600D6-061E-49BA-6712-941DEB281D30}"/>
              </a:ext>
            </a:extLst>
          </p:cNvPr>
          <p:cNvSpPr>
            <a:spLocks noChangeAspect="1"/>
          </p:cNvSpPr>
          <p:nvPr>
            <p:custDataLst>
              <p:tags r:id="rId6"/>
            </p:custDataLst>
          </p:nvPr>
        </p:nvSpPr>
        <p:spPr bwMode="auto">
          <a:xfrm>
            <a:off x="8233680" y="2900756"/>
            <a:ext cx="307787" cy="323682"/>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bg1"/>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Textfeld 15">
            <a:extLst>
              <a:ext uri="{FF2B5EF4-FFF2-40B4-BE49-F238E27FC236}">
                <a16:creationId xmlns:a16="http://schemas.microsoft.com/office/drawing/2014/main" id="{24CF72B9-5A2C-6E3A-A97D-8D09A96106DE}"/>
              </a:ext>
            </a:extLst>
          </p:cNvPr>
          <p:cNvSpPr txBox="1"/>
          <p:nvPr/>
        </p:nvSpPr>
        <p:spPr>
          <a:xfrm>
            <a:off x="8054438" y="2693427"/>
            <a:ext cx="667022" cy="215444"/>
          </a:xfrm>
          <a:prstGeom prst="rect">
            <a:avLst/>
          </a:prstGeom>
          <a:noFill/>
        </p:spPr>
        <p:txBody>
          <a:bodyPr wrap="square">
            <a:spAutoFit/>
          </a:bodyPr>
          <a:lstStyle/>
          <a:p>
            <a:pPr algn="ctr"/>
            <a:r>
              <a:rPr lang="en-US" sz="800" b="1"/>
              <a:t>Alignment</a:t>
            </a:r>
          </a:p>
        </p:txBody>
      </p:sp>
      <p:sp>
        <p:nvSpPr>
          <p:cNvPr id="17" name="Textfeld 16">
            <a:extLst>
              <a:ext uri="{FF2B5EF4-FFF2-40B4-BE49-F238E27FC236}">
                <a16:creationId xmlns:a16="http://schemas.microsoft.com/office/drawing/2014/main" id="{C98DF67C-D51F-2A05-08B9-23071029AFBC}"/>
              </a:ext>
            </a:extLst>
          </p:cNvPr>
          <p:cNvSpPr txBox="1"/>
          <p:nvPr/>
        </p:nvSpPr>
        <p:spPr>
          <a:xfrm>
            <a:off x="4661765" y="4896124"/>
            <a:ext cx="3639134" cy="646331"/>
          </a:xfrm>
          <a:prstGeom prst="rect">
            <a:avLst/>
          </a:prstGeom>
          <a:noFill/>
        </p:spPr>
        <p:txBody>
          <a:bodyPr wrap="square">
            <a:spAutoFit/>
          </a:bodyPr>
          <a:lstStyle/>
          <a:p>
            <a:r>
              <a:rPr lang="en-US" sz="1200"/>
              <a:t>Uber communicates a willingness to comply with and shape local policies but has faced several challenges in some regions due to regulatory issues.</a:t>
            </a:r>
          </a:p>
        </p:txBody>
      </p:sp>
      <p:sp>
        <p:nvSpPr>
          <p:cNvPr id="18" name="Textfeld 17">
            <a:extLst>
              <a:ext uri="{FF2B5EF4-FFF2-40B4-BE49-F238E27FC236}">
                <a16:creationId xmlns:a16="http://schemas.microsoft.com/office/drawing/2014/main" id="{2647B316-4811-A27E-343B-5F1270CA4D89}"/>
              </a:ext>
            </a:extLst>
          </p:cNvPr>
          <p:cNvSpPr txBox="1"/>
          <p:nvPr/>
        </p:nvSpPr>
        <p:spPr>
          <a:xfrm>
            <a:off x="4686300" y="5561157"/>
            <a:ext cx="3672471" cy="646331"/>
          </a:xfrm>
          <a:prstGeom prst="rect">
            <a:avLst/>
          </a:prstGeom>
          <a:noFill/>
        </p:spPr>
        <p:txBody>
          <a:bodyPr wrap="square">
            <a:spAutoFit/>
          </a:bodyPr>
          <a:lstStyle/>
          <a:p>
            <a:r>
              <a:rPr lang="en-US" sz="1200"/>
              <a:t>Mixed, as it aligns with the goal of innovation but sometimes conflicts with regulatory expectations and community welfare.</a:t>
            </a:r>
          </a:p>
        </p:txBody>
      </p:sp>
      <p:sp>
        <p:nvSpPr>
          <p:cNvPr id="19" name="Arrow" descr="{&quot;Key&quot;:&quot;POWER_USER_SHAPE_ICON&quot;,&quot;Value&quot;:&quot;POWER_USER_SHAPE_ICON_STYLE_1&quot;}">
            <a:extLst>
              <a:ext uri="{FF2B5EF4-FFF2-40B4-BE49-F238E27FC236}">
                <a16:creationId xmlns:a16="http://schemas.microsoft.com/office/drawing/2014/main" id="{CDFCD635-F0C0-0FAD-C0FF-3EF15C01E8B2}"/>
              </a:ext>
            </a:extLst>
          </p:cNvPr>
          <p:cNvSpPr>
            <a:spLocks noChangeAspect="1"/>
          </p:cNvSpPr>
          <p:nvPr>
            <p:custDataLst>
              <p:tags r:id="rId7"/>
            </p:custDataLst>
          </p:nvPr>
        </p:nvSpPr>
        <p:spPr bwMode="auto">
          <a:xfrm rot="8228873">
            <a:off x="8278746" y="4513356"/>
            <a:ext cx="307787" cy="323682"/>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bg1"/>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Textfeld 19">
            <a:extLst>
              <a:ext uri="{FF2B5EF4-FFF2-40B4-BE49-F238E27FC236}">
                <a16:creationId xmlns:a16="http://schemas.microsoft.com/office/drawing/2014/main" id="{F12D836A-D8A3-2795-AE13-9921C43C4F99}"/>
              </a:ext>
            </a:extLst>
          </p:cNvPr>
          <p:cNvSpPr txBox="1"/>
          <p:nvPr/>
        </p:nvSpPr>
        <p:spPr>
          <a:xfrm>
            <a:off x="8099504" y="4306027"/>
            <a:ext cx="667022" cy="215444"/>
          </a:xfrm>
          <a:prstGeom prst="rect">
            <a:avLst/>
          </a:prstGeom>
          <a:noFill/>
        </p:spPr>
        <p:txBody>
          <a:bodyPr wrap="square">
            <a:spAutoFit/>
          </a:bodyPr>
          <a:lstStyle/>
          <a:p>
            <a:pPr algn="ctr"/>
            <a:r>
              <a:rPr lang="en-US" sz="800" b="1"/>
              <a:t>Alignment</a:t>
            </a:r>
          </a:p>
        </p:txBody>
      </p:sp>
    </p:spTree>
    <p:extLst>
      <p:ext uri="{BB962C8B-B14F-4D97-AF65-F5344CB8AC3E}">
        <p14:creationId xmlns:p14="http://schemas.microsoft.com/office/powerpoint/2010/main" val="172640026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 name="think-cell data - do not delete" hidden="1">
            <a:extLst>
              <a:ext uri="{FF2B5EF4-FFF2-40B4-BE49-F238E27FC236}">
                <a16:creationId xmlns:a16="http://schemas.microsoft.com/office/drawing/2014/main" id="{6D93E34F-F7C4-B7A0-BD2D-7FB212EDAAB9}"/>
              </a:ext>
            </a:extLst>
          </p:cNvPr>
          <p:cNvGraphicFramePr>
            <a:graphicFrameLocks noChangeAspect="1"/>
          </p:cNvGraphicFramePr>
          <p:nvPr>
            <p:custDataLst>
              <p:tags r:id="rId1"/>
            </p:custDataLst>
            <p:extLst>
              <p:ext uri="{D42A27DB-BD31-4B8C-83A1-F6EECF244321}">
                <p14:modId xmlns:p14="http://schemas.microsoft.com/office/powerpoint/2010/main" val="2383758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08" imgH="408" progId="TCLayout.ActiveDocument.1">
                  <p:embed/>
                </p:oleObj>
              </mc:Choice>
              <mc:Fallback>
                <p:oleObj name="think-cell Folie" r:id="rId10" imgW="408" imgH="408" progId="TCLayout.ActiveDocument.1">
                  <p:embed/>
                  <p:pic>
                    <p:nvPicPr>
                      <p:cNvPr id="266" name="think-cell data - do not delete" hidden="1">
                        <a:extLst>
                          <a:ext uri="{FF2B5EF4-FFF2-40B4-BE49-F238E27FC236}">
                            <a16:creationId xmlns:a16="http://schemas.microsoft.com/office/drawing/2014/main" id="{6D93E34F-F7C4-B7A0-BD2D-7FB212EDAAB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957A992-8805-DD7D-A6F0-B1247F8CA50D}"/>
              </a:ext>
            </a:extLst>
          </p:cNvPr>
          <p:cNvSpPr>
            <a:spLocks noGrp="1"/>
          </p:cNvSpPr>
          <p:nvPr>
            <p:ph type="title"/>
          </p:nvPr>
        </p:nvSpPr>
        <p:spPr/>
        <p:txBody>
          <a:bodyPr vert="horz"/>
          <a:lstStyle/>
          <a:p>
            <a:r>
              <a:rPr lang="en-US"/>
              <a:t>Khosrowshahi managed to transform the communication of Ubers Leadership to a more sustainable and cooperative form</a:t>
            </a:r>
          </a:p>
        </p:txBody>
      </p:sp>
      <p:sp>
        <p:nvSpPr>
          <p:cNvPr id="4" name="Foliennummernplatzhalter 3">
            <a:extLst>
              <a:ext uri="{FF2B5EF4-FFF2-40B4-BE49-F238E27FC236}">
                <a16:creationId xmlns:a16="http://schemas.microsoft.com/office/drawing/2014/main" id="{AA3C8F91-5683-CF9B-E4EA-66CF74FC35BE}"/>
              </a:ext>
            </a:extLst>
          </p:cNvPr>
          <p:cNvSpPr>
            <a:spLocks noGrp="1"/>
          </p:cNvSpPr>
          <p:nvPr>
            <p:ph type="sldNum" sz="quarter" idx="4"/>
          </p:nvPr>
        </p:nvSpPr>
        <p:spPr/>
        <p:txBody>
          <a:bodyPr/>
          <a:lstStyle/>
          <a:p>
            <a:fld id="{BAF04893-69FB-435D-AB2E-CA259D85B32F}" type="slidenum">
              <a:rPr lang="en-US" smtClean="0"/>
              <a:pPr/>
              <a:t>89</a:t>
            </a:fld>
            <a:endParaRPr lang="en-US"/>
          </a:p>
        </p:txBody>
      </p:sp>
      <p:sp>
        <p:nvSpPr>
          <p:cNvPr id="5" name="Inhaltsplatzhalter 4">
            <a:extLst>
              <a:ext uri="{FF2B5EF4-FFF2-40B4-BE49-F238E27FC236}">
                <a16:creationId xmlns:a16="http://schemas.microsoft.com/office/drawing/2014/main" id="{17BA3E5D-ED16-79E6-F5F3-EABD3165C749}"/>
              </a:ext>
            </a:extLst>
          </p:cNvPr>
          <p:cNvSpPr>
            <a:spLocks noGrp="1"/>
          </p:cNvSpPr>
          <p:nvPr>
            <p:ph idx="10"/>
          </p:nvPr>
        </p:nvSpPr>
        <p:spPr/>
        <p:txBody>
          <a:bodyPr/>
          <a:lstStyle/>
          <a:p>
            <a:r>
              <a:rPr lang="en-US"/>
              <a:t>Leadership Communication and Improvements</a:t>
            </a:r>
          </a:p>
        </p:txBody>
      </p:sp>
      <p:sp>
        <p:nvSpPr>
          <p:cNvPr id="6" name="Inhaltsplatzhalter 5">
            <a:extLst>
              <a:ext uri="{FF2B5EF4-FFF2-40B4-BE49-F238E27FC236}">
                <a16:creationId xmlns:a16="http://schemas.microsoft.com/office/drawing/2014/main" id="{05FD89EA-E158-C439-A345-92F6F398D264}"/>
              </a:ext>
            </a:extLst>
          </p:cNvPr>
          <p:cNvSpPr>
            <a:spLocks noGrp="1"/>
          </p:cNvSpPr>
          <p:nvPr>
            <p:ph idx="11"/>
          </p:nvPr>
        </p:nvSpPr>
        <p:spPr/>
        <p:txBody>
          <a:bodyPr/>
          <a:lstStyle/>
          <a:p>
            <a:r>
              <a:rPr lang="en-US"/>
              <a:t>1) Based on recent interviews </a:t>
            </a:r>
            <a:r>
              <a:rPr lang="en-US">
                <a:hlinkClick r:id="rId12"/>
              </a:rPr>
              <a:t>[1]</a:t>
            </a:r>
            <a:r>
              <a:rPr lang="en-US"/>
              <a:t>, </a:t>
            </a:r>
            <a:r>
              <a:rPr lang="en-US">
                <a:hlinkClick r:id="rId13"/>
              </a:rPr>
              <a:t>[2]</a:t>
            </a:r>
            <a:r>
              <a:rPr lang="en-US"/>
              <a:t>; ESG and Annual Reports</a:t>
            </a:r>
          </a:p>
        </p:txBody>
      </p:sp>
      <p:sp>
        <p:nvSpPr>
          <p:cNvPr id="7" name="Inhaltsplatzhalter 6">
            <a:extLst>
              <a:ext uri="{FF2B5EF4-FFF2-40B4-BE49-F238E27FC236}">
                <a16:creationId xmlns:a16="http://schemas.microsoft.com/office/drawing/2014/main" id="{923910D4-C04F-6B45-1878-A380FA2BD0E4}"/>
              </a:ext>
            </a:extLst>
          </p:cNvPr>
          <p:cNvSpPr>
            <a:spLocks noGrp="1"/>
          </p:cNvSpPr>
          <p:nvPr>
            <p:ph idx="12"/>
          </p:nvPr>
        </p:nvSpPr>
        <p:spPr/>
        <p:txBody>
          <a:bodyPr/>
          <a:lstStyle/>
          <a:p>
            <a:r>
              <a:rPr lang="en-US"/>
              <a:t>Stakeholder</a:t>
            </a:r>
          </a:p>
        </p:txBody>
      </p:sp>
      <p:cxnSp>
        <p:nvCxnSpPr>
          <p:cNvPr id="14" name="Gerader Verbinder 13">
            <a:extLst>
              <a:ext uri="{FF2B5EF4-FFF2-40B4-BE49-F238E27FC236}">
                <a16:creationId xmlns:a16="http://schemas.microsoft.com/office/drawing/2014/main" id="{B56F259D-5A19-EFAD-6DE0-45B51C1F2AAB}"/>
              </a:ext>
            </a:extLst>
          </p:cNvPr>
          <p:cNvCxnSpPr>
            <a:cxnSpLocks/>
          </p:cNvCxnSpPr>
          <p:nvPr/>
        </p:nvCxnSpPr>
        <p:spPr>
          <a:xfrm>
            <a:off x="4572000" y="2070139"/>
            <a:ext cx="0" cy="4203661"/>
          </a:xfrm>
          <a:prstGeom prst="line">
            <a:avLst/>
          </a:prstGeom>
        </p:spPr>
        <p:style>
          <a:lnRef idx="1">
            <a:schemeClr val="accent2"/>
          </a:lnRef>
          <a:fillRef idx="0">
            <a:schemeClr val="accent2"/>
          </a:fillRef>
          <a:effectRef idx="0">
            <a:schemeClr val="accent2"/>
          </a:effectRef>
          <a:fontRef idx="minor">
            <a:schemeClr val="tx1"/>
          </a:fontRef>
        </p:style>
      </p:cxnSp>
      <p:sp>
        <p:nvSpPr>
          <p:cNvPr id="19" name="Textfeld 18">
            <a:extLst>
              <a:ext uri="{FF2B5EF4-FFF2-40B4-BE49-F238E27FC236}">
                <a16:creationId xmlns:a16="http://schemas.microsoft.com/office/drawing/2014/main" id="{841A9073-ED9D-62BD-F6F4-5DFE735EA6C0}"/>
              </a:ext>
            </a:extLst>
          </p:cNvPr>
          <p:cNvSpPr txBox="1"/>
          <p:nvPr/>
        </p:nvSpPr>
        <p:spPr>
          <a:xfrm>
            <a:off x="408770" y="2070409"/>
            <a:ext cx="3917630" cy="307777"/>
          </a:xfrm>
          <a:prstGeom prst="rect">
            <a:avLst/>
          </a:prstGeom>
          <a:noFill/>
        </p:spPr>
        <p:txBody>
          <a:bodyPr wrap="square">
            <a:spAutoFit/>
          </a:bodyPr>
          <a:lstStyle/>
          <a:p>
            <a:r>
              <a:rPr lang="en-US" sz="1400" b="1"/>
              <a:t>Communication of Leadership</a:t>
            </a:r>
            <a:r>
              <a:rPr lang="en-US" sz="1400" b="1" baseline="30000"/>
              <a:t>1</a:t>
            </a:r>
            <a:endParaRPr lang="en-US" sz="1400" b="1"/>
          </a:p>
        </p:txBody>
      </p:sp>
      <p:grpSp>
        <p:nvGrpSpPr>
          <p:cNvPr id="21" name="Growth6" descr="{&quot;Key&quot;:&quot;POWER_USER_SHAPE_ICON&quot;,&quot;Value&quot;:&quot;POWER_USER_SHAPE_ICON_STYLE_1&quot;}">
            <a:extLst>
              <a:ext uri="{FF2B5EF4-FFF2-40B4-BE49-F238E27FC236}">
                <a16:creationId xmlns:a16="http://schemas.microsoft.com/office/drawing/2014/main" id="{AC226C0F-BC55-4D5D-2EC7-2D845E357C9B}"/>
              </a:ext>
            </a:extLst>
          </p:cNvPr>
          <p:cNvGrpSpPr>
            <a:grpSpLocks noChangeAspect="1"/>
          </p:cNvGrpSpPr>
          <p:nvPr/>
        </p:nvGrpSpPr>
        <p:grpSpPr>
          <a:xfrm>
            <a:off x="4168569" y="2413813"/>
            <a:ext cx="272131" cy="346120"/>
            <a:chOff x="4767263" y="5040314"/>
            <a:chExt cx="344488" cy="438150"/>
          </a:xfrm>
          <a:solidFill>
            <a:schemeClr val="tx1"/>
          </a:solidFill>
        </p:grpSpPr>
        <p:sp>
          <p:nvSpPr>
            <p:cNvPr id="22" name="Freeform 596">
              <a:extLst>
                <a:ext uri="{FF2B5EF4-FFF2-40B4-BE49-F238E27FC236}">
                  <a16:creationId xmlns:a16="http://schemas.microsoft.com/office/drawing/2014/main" id="{D9603AE5-5335-4F99-E4A0-0317DBC13A8D}"/>
                </a:ext>
              </a:extLst>
            </p:cNvPr>
            <p:cNvSpPr>
              <a:spLocks/>
            </p:cNvSpPr>
            <p:nvPr/>
          </p:nvSpPr>
          <p:spPr bwMode="auto">
            <a:xfrm>
              <a:off x="4930776" y="5118101"/>
              <a:ext cx="120650" cy="150813"/>
            </a:xfrm>
            <a:custGeom>
              <a:avLst/>
              <a:gdLst>
                <a:gd name="T0" fmla="*/ 17 w 159"/>
                <a:gd name="T1" fmla="*/ 199 h 199"/>
                <a:gd name="T2" fmla="*/ 0 w 159"/>
                <a:gd name="T3" fmla="*/ 199 h 199"/>
                <a:gd name="T4" fmla="*/ 0 w 159"/>
                <a:gd name="T5" fmla="*/ 153 h 199"/>
                <a:gd name="T6" fmla="*/ 157 w 159"/>
                <a:gd name="T7" fmla="*/ 0 h 199"/>
                <a:gd name="T8" fmla="*/ 159 w 159"/>
                <a:gd name="T9" fmla="*/ 16 h 199"/>
                <a:gd name="T10" fmla="*/ 17 w 159"/>
                <a:gd name="T11" fmla="*/ 153 h 199"/>
                <a:gd name="T12" fmla="*/ 17 w 159"/>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159" h="199">
                  <a:moveTo>
                    <a:pt x="17" y="199"/>
                  </a:moveTo>
                  <a:lnTo>
                    <a:pt x="0" y="199"/>
                  </a:lnTo>
                  <a:lnTo>
                    <a:pt x="0" y="153"/>
                  </a:lnTo>
                  <a:cubicBezTo>
                    <a:pt x="1" y="151"/>
                    <a:pt x="6" y="14"/>
                    <a:pt x="157" y="0"/>
                  </a:cubicBezTo>
                  <a:lnTo>
                    <a:pt x="159" y="16"/>
                  </a:lnTo>
                  <a:cubicBezTo>
                    <a:pt x="22" y="29"/>
                    <a:pt x="17" y="148"/>
                    <a:pt x="17" y="153"/>
                  </a:cubicBezTo>
                  <a:lnTo>
                    <a:pt x="17" y="199"/>
                  </a:lnTo>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597">
              <a:extLst>
                <a:ext uri="{FF2B5EF4-FFF2-40B4-BE49-F238E27FC236}">
                  <a16:creationId xmlns:a16="http://schemas.microsoft.com/office/drawing/2014/main" id="{78A299B2-C8CC-1F0E-6406-A3EE83E1AF32}"/>
                </a:ext>
              </a:extLst>
            </p:cNvPr>
            <p:cNvSpPr>
              <a:spLocks/>
            </p:cNvSpPr>
            <p:nvPr/>
          </p:nvSpPr>
          <p:spPr bwMode="auto">
            <a:xfrm>
              <a:off x="4957763" y="5078414"/>
              <a:ext cx="153988" cy="117475"/>
            </a:xfrm>
            <a:custGeom>
              <a:avLst/>
              <a:gdLst>
                <a:gd name="T0" fmla="*/ 73 w 201"/>
                <a:gd name="T1" fmla="*/ 155 h 155"/>
                <a:gd name="T2" fmla="*/ 36 w 201"/>
                <a:gd name="T3" fmla="*/ 150 h 155"/>
                <a:gd name="T4" fmla="*/ 40 w 201"/>
                <a:gd name="T5" fmla="*/ 134 h 155"/>
                <a:gd name="T6" fmla="*/ 124 w 201"/>
                <a:gd name="T7" fmla="*/ 124 h 155"/>
                <a:gd name="T8" fmla="*/ 181 w 201"/>
                <a:gd name="T9" fmla="*/ 39 h 155"/>
                <a:gd name="T10" fmla="*/ 49 w 201"/>
                <a:gd name="T11" fmla="*/ 39 h 155"/>
                <a:gd name="T12" fmla="*/ 20 w 201"/>
                <a:gd name="T13" fmla="*/ 110 h 155"/>
                <a:gd name="T14" fmla="*/ 3 w 201"/>
                <a:gd name="T15" fmla="*/ 111 h 155"/>
                <a:gd name="T16" fmla="*/ 39 w 201"/>
                <a:gd name="T17" fmla="*/ 25 h 155"/>
                <a:gd name="T18" fmla="*/ 194 w 201"/>
                <a:gd name="T19" fmla="*/ 26 h 155"/>
                <a:gd name="T20" fmla="*/ 201 w 201"/>
                <a:gd name="T21" fmla="*/ 28 h 155"/>
                <a:gd name="T22" fmla="*/ 199 w 201"/>
                <a:gd name="T23" fmla="*/ 35 h 155"/>
                <a:gd name="T24" fmla="*/ 133 w 201"/>
                <a:gd name="T25" fmla="*/ 138 h 155"/>
                <a:gd name="T26" fmla="*/ 73 w 201"/>
                <a:gd name="T2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1" h="155">
                  <a:moveTo>
                    <a:pt x="73" y="155"/>
                  </a:moveTo>
                  <a:cubicBezTo>
                    <a:pt x="61" y="155"/>
                    <a:pt x="49" y="153"/>
                    <a:pt x="36" y="150"/>
                  </a:cubicBezTo>
                  <a:lnTo>
                    <a:pt x="40" y="134"/>
                  </a:lnTo>
                  <a:cubicBezTo>
                    <a:pt x="72" y="142"/>
                    <a:pt x="100" y="138"/>
                    <a:pt x="124" y="124"/>
                  </a:cubicBezTo>
                  <a:cubicBezTo>
                    <a:pt x="160" y="101"/>
                    <a:pt x="176" y="56"/>
                    <a:pt x="181" y="39"/>
                  </a:cubicBezTo>
                  <a:cubicBezTo>
                    <a:pt x="121" y="18"/>
                    <a:pt x="76" y="18"/>
                    <a:pt x="49" y="39"/>
                  </a:cubicBezTo>
                  <a:cubicBezTo>
                    <a:pt x="17" y="63"/>
                    <a:pt x="20" y="110"/>
                    <a:pt x="20" y="110"/>
                  </a:cubicBezTo>
                  <a:lnTo>
                    <a:pt x="3" y="111"/>
                  </a:lnTo>
                  <a:cubicBezTo>
                    <a:pt x="3" y="109"/>
                    <a:pt x="0" y="55"/>
                    <a:pt x="39" y="25"/>
                  </a:cubicBezTo>
                  <a:cubicBezTo>
                    <a:pt x="72" y="0"/>
                    <a:pt x="124" y="0"/>
                    <a:pt x="194" y="26"/>
                  </a:cubicBezTo>
                  <a:lnTo>
                    <a:pt x="201" y="28"/>
                  </a:lnTo>
                  <a:lnTo>
                    <a:pt x="199" y="35"/>
                  </a:lnTo>
                  <a:cubicBezTo>
                    <a:pt x="199" y="38"/>
                    <a:pt x="184" y="105"/>
                    <a:pt x="133" y="138"/>
                  </a:cubicBezTo>
                  <a:cubicBezTo>
                    <a:pt x="115" y="149"/>
                    <a:pt x="95" y="155"/>
                    <a:pt x="73" y="155"/>
                  </a:cubicBezTo>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598">
              <a:extLst>
                <a:ext uri="{FF2B5EF4-FFF2-40B4-BE49-F238E27FC236}">
                  <a16:creationId xmlns:a16="http://schemas.microsoft.com/office/drawing/2014/main" id="{172956F8-38A0-FE6A-7524-2153EC75F75D}"/>
                </a:ext>
              </a:extLst>
            </p:cNvPr>
            <p:cNvSpPr>
              <a:spLocks/>
            </p:cNvSpPr>
            <p:nvPr/>
          </p:nvSpPr>
          <p:spPr bwMode="auto">
            <a:xfrm>
              <a:off x="4827588" y="5081589"/>
              <a:ext cx="117475" cy="136525"/>
            </a:xfrm>
            <a:custGeom>
              <a:avLst/>
              <a:gdLst>
                <a:gd name="T0" fmla="*/ 155 w 155"/>
                <a:gd name="T1" fmla="*/ 178 h 178"/>
                <a:gd name="T2" fmla="*/ 139 w 155"/>
                <a:gd name="T3" fmla="*/ 178 h 178"/>
                <a:gd name="T4" fmla="*/ 0 w 155"/>
                <a:gd name="T5" fmla="*/ 17 h 178"/>
                <a:gd name="T6" fmla="*/ 2 w 155"/>
                <a:gd name="T7" fmla="*/ 0 h 178"/>
                <a:gd name="T8" fmla="*/ 155 w 155"/>
                <a:gd name="T9" fmla="*/ 178 h 178"/>
              </a:gdLst>
              <a:ahLst/>
              <a:cxnLst>
                <a:cxn ang="0">
                  <a:pos x="T0" y="T1"/>
                </a:cxn>
                <a:cxn ang="0">
                  <a:pos x="T2" y="T3"/>
                </a:cxn>
                <a:cxn ang="0">
                  <a:pos x="T4" y="T5"/>
                </a:cxn>
                <a:cxn ang="0">
                  <a:pos x="T6" y="T7"/>
                </a:cxn>
                <a:cxn ang="0">
                  <a:pos x="T8" y="T9"/>
                </a:cxn>
              </a:cxnLst>
              <a:rect l="0" t="0" r="r" b="b"/>
              <a:pathLst>
                <a:path w="155" h="178">
                  <a:moveTo>
                    <a:pt x="155" y="178"/>
                  </a:moveTo>
                  <a:lnTo>
                    <a:pt x="139" y="178"/>
                  </a:lnTo>
                  <a:cubicBezTo>
                    <a:pt x="139" y="172"/>
                    <a:pt x="137" y="29"/>
                    <a:pt x="0" y="17"/>
                  </a:cubicBezTo>
                  <a:lnTo>
                    <a:pt x="2" y="0"/>
                  </a:lnTo>
                  <a:cubicBezTo>
                    <a:pt x="154" y="14"/>
                    <a:pt x="155" y="176"/>
                    <a:pt x="155" y="178"/>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599">
              <a:extLst>
                <a:ext uri="{FF2B5EF4-FFF2-40B4-BE49-F238E27FC236}">
                  <a16:creationId xmlns:a16="http://schemas.microsoft.com/office/drawing/2014/main" id="{6AB66806-5F90-1B1D-2331-A63D1E6A674F}"/>
                </a:ext>
              </a:extLst>
            </p:cNvPr>
            <p:cNvSpPr>
              <a:spLocks/>
            </p:cNvSpPr>
            <p:nvPr/>
          </p:nvSpPr>
          <p:spPr bwMode="auto">
            <a:xfrm>
              <a:off x="4767263" y="5040314"/>
              <a:ext cx="153988" cy="120650"/>
            </a:xfrm>
            <a:custGeom>
              <a:avLst/>
              <a:gdLst>
                <a:gd name="T0" fmla="*/ 128 w 203"/>
                <a:gd name="T1" fmla="*/ 157 h 157"/>
                <a:gd name="T2" fmla="*/ 67 w 203"/>
                <a:gd name="T3" fmla="*/ 139 h 157"/>
                <a:gd name="T4" fmla="*/ 2 w 203"/>
                <a:gd name="T5" fmla="*/ 38 h 157"/>
                <a:gd name="T6" fmla="*/ 0 w 203"/>
                <a:gd name="T7" fmla="*/ 31 h 157"/>
                <a:gd name="T8" fmla="*/ 7 w 203"/>
                <a:gd name="T9" fmla="*/ 28 h 157"/>
                <a:gd name="T10" fmla="*/ 161 w 203"/>
                <a:gd name="T11" fmla="*/ 25 h 157"/>
                <a:gd name="T12" fmla="*/ 198 w 203"/>
                <a:gd name="T13" fmla="*/ 123 h 157"/>
                <a:gd name="T14" fmla="*/ 181 w 203"/>
                <a:gd name="T15" fmla="*/ 121 h 157"/>
                <a:gd name="T16" fmla="*/ 150 w 203"/>
                <a:gd name="T17" fmla="*/ 38 h 157"/>
                <a:gd name="T18" fmla="*/ 20 w 203"/>
                <a:gd name="T19" fmla="*/ 41 h 157"/>
                <a:gd name="T20" fmla="*/ 76 w 203"/>
                <a:gd name="T21" fmla="*/ 125 h 157"/>
                <a:gd name="T22" fmla="*/ 156 w 203"/>
                <a:gd name="T23" fmla="*/ 137 h 157"/>
                <a:gd name="T24" fmla="*/ 159 w 203"/>
                <a:gd name="T25" fmla="*/ 154 h 157"/>
                <a:gd name="T26" fmla="*/ 128 w 203"/>
                <a:gd name="T2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157">
                  <a:moveTo>
                    <a:pt x="128" y="157"/>
                  </a:moveTo>
                  <a:cubicBezTo>
                    <a:pt x="106" y="157"/>
                    <a:pt x="85" y="151"/>
                    <a:pt x="67" y="139"/>
                  </a:cubicBezTo>
                  <a:cubicBezTo>
                    <a:pt x="16" y="106"/>
                    <a:pt x="2" y="40"/>
                    <a:pt x="2" y="38"/>
                  </a:cubicBezTo>
                  <a:lnTo>
                    <a:pt x="0" y="31"/>
                  </a:lnTo>
                  <a:lnTo>
                    <a:pt x="7" y="28"/>
                  </a:lnTo>
                  <a:cubicBezTo>
                    <a:pt x="76" y="1"/>
                    <a:pt x="127" y="0"/>
                    <a:pt x="161" y="25"/>
                  </a:cubicBezTo>
                  <a:cubicBezTo>
                    <a:pt x="203" y="57"/>
                    <a:pt x="198" y="120"/>
                    <a:pt x="198" y="123"/>
                  </a:cubicBezTo>
                  <a:lnTo>
                    <a:pt x="181" y="121"/>
                  </a:lnTo>
                  <a:cubicBezTo>
                    <a:pt x="181" y="121"/>
                    <a:pt x="186" y="65"/>
                    <a:pt x="150" y="38"/>
                  </a:cubicBezTo>
                  <a:cubicBezTo>
                    <a:pt x="123" y="18"/>
                    <a:pt x="79" y="19"/>
                    <a:pt x="20" y="41"/>
                  </a:cubicBezTo>
                  <a:cubicBezTo>
                    <a:pt x="25" y="58"/>
                    <a:pt x="40" y="102"/>
                    <a:pt x="76" y="125"/>
                  </a:cubicBezTo>
                  <a:cubicBezTo>
                    <a:pt x="98" y="140"/>
                    <a:pt x="125" y="144"/>
                    <a:pt x="156" y="137"/>
                  </a:cubicBezTo>
                  <a:lnTo>
                    <a:pt x="159" y="154"/>
                  </a:lnTo>
                  <a:cubicBezTo>
                    <a:pt x="149" y="156"/>
                    <a:pt x="138" y="157"/>
                    <a:pt x="128" y="157"/>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600">
              <a:extLst>
                <a:ext uri="{FF2B5EF4-FFF2-40B4-BE49-F238E27FC236}">
                  <a16:creationId xmlns:a16="http://schemas.microsoft.com/office/drawing/2014/main" id="{0057CE07-5125-726D-722C-5A3307B7B772}"/>
                </a:ext>
              </a:extLst>
            </p:cNvPr>
            <p:cNvSpPr>
              <a:spLocks noEditPoints="1"/>
            </p:cNvSpPr>
            <p:nvPr/>
          </p:nvSpPr>
          <p:spPr bwMode="auto">
            <a:xfrm>
              <a:off x="4813301" y="5260976"/>
              <a:ext cx="247650" cy="47625"/>
            </a:xfrm>
            <a:custGeom>
              <a:avLst/>
              <a:gdLst>
                <a:gd name="T0" fmla="*/ 24 w 324"/>
                <a:gd name="T1" fmla="*/ 46 h 62"/>
                <a:gd name="T2" fmla="*/ 299 w 324"/>
                <a:gd name="T3" fmla="*/ 46 h 62"/>
                <a:gd name="T4" fmla="*/ 305 w 324"/>
                <a:gd name="T5" fmla="*/ 17 h 62"/>
                <a:gd name="T6" fmla="*/ 19 w 324"/>
                <a:gd name="T7" fmla="*/ 17 h 62"/>
                <a:gd name="T8" fmla="*/ 24 w 324"/>
                <a:gd name="T9" fmla="*/ 46 h 62"/>
                <a:gd name="T10" fmla="*/ 306 w 324"/>
                <a:gd name="T11" fmla="*/ 62 h 62"/>
                <a:gd name="T12" fmla="*/ 17 w 324"/>
                <a:gd name="T13" fmla="*/ 62 h 62"/>
                <a:gd name="T14" fmla="*/ 9 w 324"/>
                <a:gd name="T15" fmla="*/ 55 h 62"/>
                <a:gd name="T16" fmla="*/ 0 w 324"/>
                <a:gd name="T17" fmla="*/ 10 h 62"/>
                <a:gd name="T18" fmla="*/ 2 w 324"/>
                <a:gd name="T19" fmla="*/ 3 h 62"/>
                <a:gd name="T20" fmla="*/ 9 w 324"/>
                <a:gd name="T21" fmla="*/ 0 h 62"/>
                <a:gd name="T22" fmla="*/ 315 w 324"/>
                <a:gd name="T23" fmla="*/ 0 h 62"/>
                <a:gd name="T24" fmla="*/ 321 w 324"/>
                <a:gd name="T25" fmla="*/ 3 h 62"/>
                <a:gd name="T26" fmla="*/ 323 w 324"/>
                <a:gd name="T27" fmla="*/ 10 h 62"/>
                <a:gd name="T28" fmla="*/ 314 w 324"/>
                <a:gd name="T29" fmla="*/ 55 h 62"/>
                <a:gd name="T30" fmla="*/ 306 w 324"/>
                <a:gd name="T3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4" h="62">
                  <a:moveTo>
                    <a:pt x="24" y="46"/>
                  </a:moveTo>
                  <a:lnTo>
                    <a:pt x="299" y="46"/>
                  </a:lnTo>
                  <a:lnTo>
                    <a:pt x="305" y="17"/>
                  </a:lnTo>
                  <a:lnTo>
                    <a:pt x="19" y="17"/>
                  </a:lnTo>
                  <a:lnTo>
                    <a:pt x="24" y="46"/>
                  </a:lnTo>
                  <a:close/>
                  <a:moveTo>
                    <a:pt x="306" y="62"/>
                  </a:moveTo>
                  <a:lnTo>
                    <a:pt x="17" y="62"/>
                  </a:lnTo>
                  <a:cubicBezTo>
                    <a:pt x="13" y="62"/>
                    <a:pt x="10" y="59"/>
                    <a:pt x="9" y="55"/>
                  </a:cubicBezTo>
                  <a:lnTo>
                    <a:pt x="0" y="10"/>
                  </a:lnTo>
                  <a:cubicBezTo>
                    <a:pt x="0" y="7"/>
                    <a:pt x="1" y="5"/>
                    <a:pt x="2" y="3"/>
                  </a:cubicBezTo>
                  <a:cubicBezTo>
                    <a:pt x="4" y="1"/>
                    <a:pt x="6" y="0"/>
                    <a:pt x="9" y="0"/>
                  </a:cubicBezTo>
                  <a:lnTo>
                    <a:pt x="315" y="0"/>
                  </a:lnTo>
                  <a:cubicBezTo>
                    <a:pt x="318" y="0"/>
                    <a:pt x="320" y="1"/>
                    <a:pt x="321" y="3"/>
                  </a:cubicBezTo>
                  <a:cubicBezTo>
                    <a:pt x="323" y="5"/>
                    <a:pt x="324" y="7"/>
                    <a:pt x="323" y="10"/>
                  </a:cubicBezTo>
                  <a:lnTo>
                    <a:pt x="314" y="55"/>
                  </a:lnTo>
                  <a:cubicBezTo>
                    <a:pt x="314" y="59"/>
                    <a:pt x="310" y="62"/>
                    <a:pt x="306" y="62"/>
                  </a:cubicBezTo>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601">
              <a:extLst>
                <a:ext uri="{FF2B5EF4-FFF2-40B4-BE49-F238E27FC236}">
                  <a16:creationId xmlns:a16="http://schemas.microsoft.com/office/drawing/2014/main" id="{7A138CBC-F9D1-43F0-2BEF-5ACF1A1AE942}"/>
                </a:ext>
              </a:extLst>
            </p:cNvPr>
            <p:cNvSpPr>
              <a:spLocks noEditPoints="1"/>
            </p:cNvSpPr>
            <p:nvPr/>
          </p:nvSpPr>
          <p:spPr bwMode="auto">
            <a:xfrm>
              <a:off x="4833938" y="5295901"/>
              <a:ext cx="206375" cy="182563"/>
            </a:xfrm>
            <a:custGeom>
              <a:avLst/>
              <a:gdLst>
                <a:gd name="T0" fmla="*/ 42 w 270"/>
                <a:gd name="T1" fmla="*/ 221 h 238"/>
                <a:gd name="T2" fmla="*/ 228 w 270"/>
                <a:gd name="T3" fmla="*/ 221 h 238"/>
                <a:gd name="T4" fmla="*/ 252 w 270"/>
                <a:gd name="T5" fmla="*/ 16 h 238"/>
                <a:gd name="T6" fmla="*/ 18 w 270"/>
                <a:gd name="T7" fmla="*/ 16 h 238"/>
                <a:gd name="T8" fmla="*/ 42 w 270"/>
                <a:gd name="T9" fmla="*/ 221 h 238"/>
                <a:gd name="T10" fmla="*/ 235 w 270"/>
                <a:gd name="T11" fmla="*/ 238 h 238"/>
                <a:gd name="T12" fmla="*/ 35 w 270"/>
                <a:gd name="T13" fmla="*/ 238 h 238"/>
                <a:gd name="T14" fmla="*/ 26 w 270"/>
                <a:gd name="T15" fmla="*/ 230 h 238"/>
                <a:gd name="T16" fmla="*/ 0 w 270"/>
                <a:gd name="T17" fmla="*/ 9 h 238"/>
                <a:gd name="T18" fmla="*/ 2 w 270"/>
                <a:gd name="T19" fmla="*/ 2 h 238"/>
                <a:gd name="T20" fmla="*/ 8 w 270"/>
                <a:gd name="T21" fmla="*/ 0 h 238"/>
                <a:gd name="T22" fmla="*/ 261 w 270"/>
                <a:gd name="T23" fmla="*/ 0 h 238"/>
                <a:gd name="T24" fmla="*/ 268 w 270"/>
                <a:gd name="T25" fmla="*/ 2 h 238"/>
                <a:gd name="T26" fmla="*/ 270 w 270"/>
                <a:gd name="T27" fmla="*/ 9 h 238"/>
                <a:gd name="T28" fmla="*/ 243 w 270"/>
                <a:gd name="T29" fmla="*/ 230 h 238"/>
                <a:gd name="T30" fmla="*/ 235 w 270"/>
                <a:gd name="T3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0" h="238">
                  <a:moveTo>
                    <a:pt x="42" y="221"/>
                  </a:moveTo>
                  <a:lnTo>
                    <a:pt x="228" y="221"/>
                  </a:lnTo>
                  <a:lnTo>
                    <a:pt x="252" y="16"/>
                  </a:lnTo>
                  <a:lnTo>
                    <a:pt x="18" y="16"/>
                  </a:lnTo>
                  <a:lnTo>
                    <a:pt x="42" y="221"/>
                  </a:lnTo>
                  <a:close/>
                  <a:moveTo>
                    <a:pt x="235" y="238"/>
                  </a:moveTo>
                  <a:lnTo>
                    <a:pt x="35" y="238"/>
                  </a:lnTo>
                  <a:cubicBezTo>
                    <a:pt x="30" y="238"/>
                    <a:pt x="27" y="234"/>
                    <a:pt x="26" y="230"/>
                  </a:cubicBezTo>
                  <a:lnTo>
                    <a:pt x="0" y="9"/>
                  </a:lnTo>
                  <a:cubicBezTo>
                    <a:pt x="0" y="7"/>
                    <a:pt x="0" y="4"/>
                    <a:pt x="2" y="2"/>
                  </a:cubicBezTo>
                  <a:cubicBezTo>
                    <a:pt x="3" y="1"/>
                    <a:pt x="6" y="0"/>
                    <a:pt x="8" y="0"/>
                  </a:cubicBezTo>
                  <a:lnTo>
                    <a:pt x="261" y="0"/>
                  </a:lnTo>
                  <a:cubicBezTo>
                    <a:pt x="264" y="0"/>
                    <a:pt x="266" y="1"/>
                    <a:pt x="268" y="2"/>
                  </a:cubicBezTo>
                  <a:cubicBezTo>
                    <a:pt x="269" y="4"/>
                    <a:pt x="270" y="7"/>
                    <a:pt x="270" y="9"/>
                  </a:cubicBezTo>
                  <a:lnTo>
                    <a:pt x="243" y="230"/>
                  </a:lnTo>
                  <a:cubicBezTo>
                    <a:pt x="243" y="234"/>
                    <a:pt x="239" y="238"/>
                    <a:pt x="235" y="238"/>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602">
              <a:extLst>
                <a:ext uri="{FF2B5EF4-FFF2-40B4-BE49-F238E27FC236}">
                  <a16:creationId xmlns:a16="http://schemas.microsoft.com/office/drawing/2014/main" id="{F272355D-768A-5117-AFD4-E35EA6D4F6D3}"/>
                </a:ext>
              </a:extLst>
            </p:cNvPr>
            <p:cNvSpPr>
              <a:spLocks noChangeArrowheads="1"/>
            </p:cNvSpPr>
            <p:nvPr/>
          </p:nvSpPr>
          <p:spPr bwMode="auto">
            <a:xfrm>
              <a:off x="4778376" y="5465764"/>
              <a:ext cx="317500" cy="12700"/>
            </a:xfrm>
            <a:prstGeom prst="rect">
              <a:avLst/>
            </a:prstGeom>
            <a:grpFill/>
            <a:ln w="317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603">
              <a:extLst>
                <a:ext uri="{FF2B5EF4-FFF2-40B4-BE49-F238E27FC236}">
                  <a16:creationId xmlns:a16="http://schemas.microsoft.com/office/drawing/2014/main" id="{4773291A-39AD-F57F-86ED-2ABFA6888D02}"/>
                </a:ext>
              </a:extLst>
            </p:cNvPr>
            <p:cNvSpPr>
              <a:spLocks/>
            </p:cNvSpPr>
            <p:nvPr/>
          </p:nvSpPr>
          <p:spPr bwMode="auto">
            <a:xfrm>
              <a:off x="4908551" y="5343526"/>
              <a:ext cx="57150" cy="87313"/>
            </a:xfrm>
            <a:custGeom>
              <a:avLst/>
              <a:gdLst>
                <a:gd name="T0" fmla="*/ 37 w 74"/>
                <a:gd name="T1" fmla="*/ 113 h 113"/>
                <a:gd name="T2" fmla="*/ 0 w 74"/>
                <a:gd name="T3" fmla="*/ 80 h 113"/>
                <a:gd name="T4" fmla="*/ 17 w 74"/>
                <a:gd name="T5" fmla="*/ 80 h 113"/>
                <a:gd name="T6" fmla="*/ 37 w 74"/>
                <a:gd name="T7" fmla="*/ 96 h 113"/>
                <a:gd name="T8" fmla="*/ 57 w 74"/>
                <a:gd name="T9" fmla="*/ 80 h 113"/>
                <a:gd name="T10" fmla="*/ 37 w 74"/>
                <a:gd name="T11" fmla="*/ 65 h 113"/>
                <a:gd name="T12" fmla="*/ 0 w 74"/>
                <a:gd name="T13" fmla="*/ 33 h 113"/>
                <a:gd name="T14" fmla="*/ 37 w 74"/>
                <a:gd name="T15" fmla="*/ 0 h 113"/>
                <a:gd name="T16" fmla="*/ 74 w 74"/>
                <a:gd name="T17" fmla="*/ 33 h 113"/>
                <a:gd name="T18" fmla="*/ 57 w 74"/>
                <a:gd name="T19" fmla="*/ 33 h 113"/>
                <a:gd name="T20" fmla="*/ 37 w 74"/>
                <a:gd name="T21" fmla="*/ 17 h 113"/>
                <a:gd name="T22" fmla="*/ 17 w 74"/>
                <a:gd name="T23" fmla="*/ 33 h 113"/>
                <a:gd name="T24" fmla="*/ 37 w 74"/>
                <a:gd name="T25" fmla="*/ 48 h 113"/>
                <a:gd name="T26" fmla="*/ 74 w 74"/>
                <a:gd name="T27" fmla="*/ 80 h 113"/>
                <a:gd name="T28" fmla="*/ 37 w 74"/>
                <a:gd name="T2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13">
                  <a:moveTo>
                    <a:pt x="37" y="113"/>
                  </a:moveTo>
                  <a:cubicBezTo>
                    <a:pt x="16" y="113"/>
                    <a:pt x="0" y="98"/>
                    <a:pt x="0" y="80"/>
                  </a:cubicBezTo>
                  <a:lnTo>
                    <a:pt x="17" y="80"/>
                  </a:lnTo>
                  <a:cubicBezTo>
                    <a:pt x="17" y="89"/>
                    <a:pt x="26" y="96"/>
                    <a:pt x="37" y="96"/>
                  </a:cubicBezTo>
                  <a:cubicBezTo>
                    <a:pt x="48" y="96"/>
                    <a:pt x="57" y="89"/>
                    <a:pt x="57" y="80"/>
                  </a:cubicBezTo>
                  <a:cubicBezTo>
                    <a:pt x="57" y="71"/>
                    <a:pt x="49" y="65"/>
                    <a:pt x="37" y="65"/>
                  </a:cubicBezTo>
                  <a:cubicBezTo>
                    <a:pt x="11" y="65"/>
                    <a:pt x="0" y="49"/>
                    <a:pt x="0" y="33"/>
                  </a:cubicBezTo>
                  <a:cubicBezTo>
                    <a:pt x="0" y="15"/>
                    <a:pt x="16" y="0"/>
                    <a:pt x="37" y="0"/>
                  </a:cubicBezTo>
                  <a:cubicBezTo>
                    <a:pt x="57" y="0"/>
                    <a:pt x="74" y="15"/>
                    <a:pt x="74" y="33"/>
                  </a:cubicBezTo>
                  <a:lnTo>
                    <a:pt x="57" y="33"/>
                  </a:lnTo>
                  <a:cubicBezTo>
                    <a:pt x="57" y="24"/>
                    <a:pt x="48" y="17"/>
                    <a:pt x="37" y="17"/>
                  </a:cubicBezTo>
                  <a:cubicBezTo>
                    <a:pt x="26" y="17"/>
                    <a:pt x="17" y="24"/>
                    <a:pt x="17" y="33"/>
                  </a:cubicBezTo>
                  <a:cubicBezTo>
                    <a:pt x="17" y="43"/>
                    <a:pt x="24" y="48"/>
                    <a:pt x="37" y="48"/>
                  </a:cubicBezTo>
                  <a:cubicBezTo>
                    <a:pt x="59" y="48"/>
                    <a:pt x="74" y="61"/>
                    <a:pt x="74" y="80"/>
                  </a:cubicBezTo>
                  <a:cubicBezTo>
                    <a:pt x="74" y="98"/>
                    <a:pt x="57" y="113"/>
                    <a:pt x="37" y="113"/>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604">
              <a:extLst>
                <a:ext uri="{FF2B5EF4-FFF2-40B4-BE49-F238E27FC236}">
                  <a16:creationId xmlns:a16="http://schemas.microsoft.com/office/drawing/2014/main" id="{42544205-4ED3-9D5F-F713-FDD96EDF4DD3}"/>
                </a:ext>
              </a:extLst>
            </p:cNvPr>
            <p:cNvSpPr>
              <a:spLocks noChangeArrowheads="1"/>
            </p:cNvSpPr>
            <p:nvPr/>
          </p:nvSpPr>
          <p:spPr bwMode="auto">
            <a:xfrm>
              <a:off x="4930776" y="5329239"/>
              <a:ext cx="12700" cy="22225"/>
            </a:xfrm>
            <a:prstGeom prst="rect">
              <a:avLst/>
            </a:prstGeom>
            <a:grpFill/>
            <a:ln w="317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605">
              <a:extLst>
                <a:ext uri="{FF2B5EF4-FFF2-40B4-BE49-F238E27FC236}">
                  <a16:creationId xmlns:a16="http://schemas.microsoft.com/office/drawing/2014/main" id="{5B9B0ADD-C3AE-EA5A-91BA-1E6DBD9F19C6}"/>
                </a:ext>
              </a:extLst>
            </p:cNvPr>
            <p:cNvSpPr>
              <a:spLocks noChangeArrowheads="1"/>
            </p:cNvSpPr>
            <p:nvPr/>
          </p:nvSpPr>
          <p:spPr bwMode="auto">
            <a:xfrm>
              <a:off x="4930776" y="5422901"/>
              <a:ext cx="12700" cy="22225"/>
            </a:xfrm>
            <a:prstGeom prst="rect">
              <a:avLst/>
            </a:prstGeom>
            <a:grpFill/>
            <a:ln w="3175">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 name="Institution2" descr="{&quot;Key&quot;:&quot;POWER_USER_SHAPE_ICON&quot;,&quot;Value&quot;:&quot;POWER_USER_SHAPE_ICON_STYLE_1&quot;}">
            <a:extLst>
              <a:ext uri="{FF2B5EF4-FFF2-40B4-BE49-F238E27FC236}">
                <a16:creationId xmlns:a16="http://schemas.microsoft.com/office/drawing/2014/main" id="{5439C5EA-9F38-7852-51B1-2A8744595405}"/>
              </a:ext>
            </a:extLst>
          </p:cNvPr>
          <p:cNvGrpSpPr>
            <a:grpSpLocks noChangeAspect="1"/>
          </p:cNvGrpSpPr>
          <p:nvPr/>
        </p:nvGrpSpPr>
        <p:grpSpPr>
          <a:xfrm>
            <a:off x="4127099" y="2994363"/>
            <a:ext cx="335940" cy="346120"/>
            <a:chOff x="5913438" y="1757363"/>
            <a:chExt cx="419100" cy="431800"/>
          </a:xfrm>
          <a:solidFill>
            <a:schemeClr val="tx1"/>
          </a:solidFill>
        </p:grpSpPr>
        <p:sp>
          <p:nvSpPr>
            <p:cNvPr id="70" name="Freeform 108">
              <a:extLst>
                <a:ext uri="{FF2B5EF4-FFF2-40B4-BE49-F238E27FC236}">
                  <a16:creationId xmlns:a16="http://schemas.microsoft.com/office/drawing/2014/main" id="{734FE179-4725-6847-0FD1-E305906CB03D}"/>
                </a:ext>
              </a:extLst>
            </p:cNvPr>
            <p:cNvSpPr>
              <a:spLocks noEditPoints="1"/>
            </p:cNvSpPr>
            <p:nvPr/>
          </p:nvSpPr>
          <p:spPr bwMode="auto">
            <a:xfrm>
              <a:off x="5913438" y="1757363"/>
              <a:ext cx="419100" cy="152400"/>
            </a:xfrm>
            <a:custGeom>
              <a:avLst/>
              <a:gdLst>
                <a:gd name="T0" fmla="*/ 31 w 460"/>
                <a:gd name="T1" fmla="*/ 152 h 167"/>
                <a:gd name="T2" fmla="*/ 429 w 460"/>
                <a:gd name="T3" fmla="*/ 152 h 167"/>
                <a:gd name="T4" fmla="*/ 230 w 460"/>
                <a:gd name="T5" fmla="*/ 16 h 167"/>
                <a:gd name="T6" fmla="*/ 31 w 460"/>
                <a:gd name="T7" fmla="*/ 152 h 167"/>
                <a:gd name="T8" fmla="*/ 452 w 460"/>
                <a:gd name="T9" fmla="*/ 167 h 167"/>
                <a:gd name="T10" fmla="*/ 8 w 460"/>
                <a:gd name="T11" fmla="*/ 167 h 167"/>
                <a:gd name="T12" fmla="*/ 1 w 460"/>
                <a:gd name="T13" fmla="*/ 162 h 167"/>
                <a:gd name="T14" fmla="*/ 4 w 460"/>
                <a:gd name="T15" fmla="*/ 153 h 167"/>
                <a:gd name="T16" fmla="*/ 226 w 460"/>
                <a:gd name="T17" fmla="*/ 2 h 167"/>
                <a:gd name="T18" fmla="*/ 234 w 460"/>
                <a:gd name="T19" fmla="*/ 2 h 167"/>
                <a:gd name="T20" fmla="*/ 456 w 460"/>
                <a:gd name="T21" fmla="*/ 153 h 167"/>
                <a:gd name="T22" fmla="*/ 459 w 460"/>
                <a:gd name="T23" fmla="*/ 162 h 167"/>
                <a:gd name="T24" fmla="*/ 452 w 460"/>
                <a:gd name="T2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0" h="167">
                  <a:moveTo>
                    <a:pt x="31" y="152"/>
                  </a:moveTo>
                  <a:lnTo>
                    <a:pt x="429" y="152"/>
                  </a:lnTo>
                  <a:lnTo>
                    <a:pt x="230" y="16"/>
                  </a:lnTo>
                  <a:lnTo>
                    <a:pt x="31" y="152"/>
                  </a:lnTo>
                  <a:close/>
                  <a:moveTo>
                    <a:pt x="452" y="167"/>
                  </a:moveTo>
                  <a:lnTo>
                    <a:pt x="8" y="167"/>
                  </a:lnTo>
                  <a:cubicBezTo>
                    <a:pt x="5" y="167"/>
                    <a:pt x="2" y="165"/>
                    <a:pt x="1" y="162"/>
                  </a:cubicBezTo>
                  <a:cubicBezTo>
                    <a:pt x="0" y="158"/>
                    <a:pt x="1" y="155"/>
                    <a:pt x="4" y="153"/>
                  </a:cubicBezTo>
                  <a:lnTo>
                    <a:pt x="226" y="2"/>
                  </a:lnTo>
                  <a:cubicBezTo>
                    <a:pt x="228" y="0"/>
                    <a:pt x="232" y="0"/>
                    <a:pt x="234" y="2"/>
                  </a:cubicBezTo>
                  <a:lnTo>
                    <a:pt x="456" y="153"/>
                  </a:lnTo>
                  <a:cubicBezTo>
                    <a:pt x="459" y="155"/>
                    <a:pt x="460" y="158"/>
                    <a:pt x="459" y="162"/>
                  </a:cubicBezTo>
                  <a:cubicBezTo>
                    <a:pt x="458" y="165"/>
                    <a:pt x="455" y="167"/>
                    <a:pt x="452" y="167"/>
                  </a:cubicBezTo>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09">
              <a:extLst>
                <a:ext uri="{FF2B5EF4-FFF2-40B4-BE49-F238E27FC236}">
                  <a16:creationId xmlns:a16="http://schemas.microsoft.com/office/drawing/2014/main" id="{11B37B4B-0AA7-23B4-087A-53C7A295F594}"/>
                </a:ext>
              </a:extLst>
            </p:cNvPr>
            <p:cNvSpPr>
              <a:spLocks/>
            </p:cNvSpPr>
            <p:nvPr/>
          </p:nvSpPr>
          <p:spPr bwMode="auto">
            <a:xfrm>
              <a:off x="5930901" y="1897063"/>
              <a:ext cx="385763" cy="44450"/>
            </a:xfrm>
            <a:custGeom>
              <a:avLst/>
              <a:gdLst>
                <a:gd name="T0" fmla="*/ 417 w 424"/>
                <a:gd name="T1" fmla="*/ 50 h 50"/>
                <a:gd name="T2" fmla="*/ 7 w 424"/>
                <a:gd name="T3" fmla="*/ 50 h 50"/>
                <a:gd name="T4" fmla="*/ 0 w 424"/>
                <a:gd name="T5" fmla="*/ 43 h 50"/>
                <a:gd name="T6" fmla="*/ 0 w 424"/>
                <a:gd name="T7" fmla="*/ 7 h 50"/>
                <a:gd name="T8" fmla="*/ 7 w 424"/>
                <a:gd name="T9" fmla="*/ 0 h 50"/>
                <a:gd name="T10" fmla="*/ 14 w 424"/>
                <a:gd name="T11" fmla="*/ 7 h 50"/>
                <a:gd name="T12" fmla="*/ 14 w 424"/>
                <a:gd name="T13" fmla="*/ 35 h 50"/>
                <a:gd name="T14" fmla="*/ 410 w 424"/>
                <a:gd name="T15" fmla="*/ 35 h 50"/>
                <a:gd name="T16" fmla="*/ 410 w 424"/>
                <a:gd name="T17" fmla="*/ 7 h 50"/>
                <a:gd name="T18" fmla="*/ 417 w 424"/>
                <a:gd name="T19" fmla="*/ 0 h 50"/>
                <a:gd name="T20" fmla="*/ 424 w 424"/>
                <a:gd name="T21" fmla="*/ 7 h 50"/>
                <a:gd name="T22" fmla="*/ 424 w 424"/>
                <a:gd name="T23" fmla="*/ 43 h 50"/>
                <a:gd name="T24" fmla="*/ 417 w 424"/>
                <a:gd name="T2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4" h="50">
                  <a:moveTo>
                    <a:pt x="417" y="50"/>
                  </a:moveTo>
                  <a:lnTo>
                    <a:pt x="7" y="50"/>
                  </a:lnTo>
                  <a:cubicBezTo>
                    <a:pt x="3" y="50"/>
                    <a:pt x="0" y="47"/>
                    <a:pt x="0" y="43"/>
                  </a:cubicBezTo>
                  <a:lnTo>
                    <a:pt x="0" y="7"/>
                  </a:lnTo>
                  <a:cubicBezTo>
                    <a:pt x="0" y="3"/>
                    <a:pt x="3" y="0"/>
                    <a:pt x="7" y="0"/>
                  </a:cubicBezTo>
                  <a:cubicBezTo>
                    <a:pt x="11" y="0"/>
                    <a:pt x="14" y="3"/>
                    <a:pt x="14" y="7"/>
                  </a:cubicBezTo>
                  <a:lnTo>
                    <a:pt x="14" y="35"/>
                  </a:lnTo>
                  <a:lnTo>
                    <a:pt x="410" y="35"/>
                  </a:lnTo>
                  <a:lnTo>
                    <a:pt x="410" y="7"/>
                  </a:lnTo>
                  <a:cubicBezTo>
                    <a:pt x="410" y="3"/>
                    <a:pt x="413" y="0"/>
                    <a:pt x="417" y="0"/>
                  </a:cubicBezTo>
                  <a:cubicBezTo>
                    <a:pt x="421" y="0"/>
                    <a:pt x="424" y="3"/>
                    <a:pt x="424" y="7"/>
                  </a:cubicBezTo>
                  <a:lnTo>
                    <a:pt x="424" y="43"/>
                  </a:lnTo>
                  <a:cubicBezTo>
                    <a:pt x="424" y="47"/>
                    <a:pt x="421" y="50"/>
                    <a:pt x="417" y="50"/>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110">
              <a:extLst>
                <a:ext uri="{FF2B5EF4-FFF2-40B4-BE49-F238E27FC236}">
                  <a16:creationId xmlns:a16="http://schemas.microsoft.com/office/drawing/2014/main" id="{45CA0B71-851E-E8F6-EE61-B0B36B5FCB8E}"/>
                </a:ext>
              </a:extLst>
            </p:cNvPr>
            <p:cNvSpPr>
              <a:spLocks/>
            </p:cNvSpPr>
            <p:nvPr/>
          </p:nvSpPr>
          <p:spPr bwMode="auto">
            <a:xfrm>
              <a:off x="5954713" y="1928813"/>
              <a:ext cx="14288" cy="220663"/>
            </a:xfrm>
            <a:custGeom>
              <a:avLst/>
              <a:gdLst>
                <a:gd name="T0" fmla="*/ 8 w 15"/>
                <a:gd name="T1" fmla="*/ 243 h 243"/>
                <a:gd name="T2" fmla="*/ 0 w 15"/>
                <a:gd name="T3" fmla="*/ 236 h 243"/>
                <a:gd name="T4" fmla="*/ 0 w 15"/>
                <a:gd name="T5" fmla="*/ 8 h 243"/>
                <a:gd name="T6" fmla="*/ 8 w 15"/>
                <a:gd name="T7" fmla="*/ 0 h 243"/>
                <a:gd name="T8" fmla="*/ 15 w 15"/>
                <a:gd name="T9" fmla="*/ 8 h 243"/>
                <a:gd name="T10" fmla="*/ 15 w 15"/>
                <a:gd name="T11" fmla="*/ 236 h 243"/>
                <a:gd name="T12" fmla="*/ 8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8" y="243"/>
                  </a:moveTo>
                  <a:cubicBezTo>
                    <a:pt x="4" y="243"/>
                    <a:pt x="0" y="240"/>
                    <a:pt x="0" y="236"/>
                  </a:cubicBezTo>
                  <a:lnTo>
                    <a:pt x="0" y="8"/>
                  </a:lnTo>
                  <a:cubicBezTo>
                    <a:pt x="0" y="4"/>
                    <a:pt x="4" y="0"/>
                    <a:pt x="8" y="0"/>
                  </a:cubicBezTo>
                  <a:cubicBezTo>
                    <a:pt x="12" y="0"/>
                    <a:pt x="15" y="4"/>
                    <a:pt x="15" y="8"/>
                  </a:cubicBezTo>
                  <a:lnTo>
                    <a:pt x="15" y="236"/>
                  </a:lnTo>
                  <a:cubicBezTo>
                    <a:pt x="15" y="240"/>
                    <a:pt x="12" y="243"/>
                    <a:pt x="8" y="243"/>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11">
              <a:extLst>
                <a:ext uri="{FF2B5EF4-FFF2-40B4-BE49-F238E27FC236}">
                  <a16:creationId xmlns:a16="http://schemas.microsoft.com/office/drawing/2014/main" id="{744C3C59-036C-2D20-8710-D237F583308C}"/>
                </a:ext>
              </a:extLst>
            </p:cNvPr>
            <p:cNvSpPr>
              <a:spLocks/>
            </p:cNvSpPr>
            <p:nvPr/>
          </p:nvSpPr>
          <p:spPr bwMode="auto">
            <a:xfrm>
              <a:off x="6278563" y="1928813"/>
              <a:ext cx="14288" cy="220663"/>
            </a:xfrm>
            <a:custGeom>
              <a:avLst/>
              <a:gdLst>
                <a:gd name="T0" fmla="*/ 7 w 15"/>
                <a:gd name="T1" fmla="*/ 243 h 243"/>
                <a:gd name="T2" fmla="*/ 0 w 15"/>
                <a:gd name="T3" fmla="*/ 236 h 243"/>
                <a:gd name="T4" fmla="*/ 0 w 15"/>
                <a:gd name="T5" fmla="*/ 8 h 243"/>
                <a:gd name="T6" fmla="*/ 7 w 15"/>
                <a:gd name="T7" fmla="*/ 0 h 243"/>
                <a:gd name="T8" fmla="*/ 15 w 15"/>
                <a:gd name="T9" fmla="*/ 8 h 243"/>
                <a:gd name="T10" fmla="*/ 15 w 15"/>
                <a:gd name="T11" fmla="*/ 236 h 243"/>
                <a:gd name="T12" fmla="*/ 7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7" y="243"/>
                  </a:moveTo>
                  <a:cubicBezTo>
                    <a:pt x="3" y="243"/>
                    <a:pt x="0" y="240"/>
                    <a:pt x="0" y="236"/>
                  </a:cubicBezTo>
                  <a:lnTo>
                    <a:pt x="0" y="8"/>
                  </a:lnTo>
                  <a:cubicBezTo>
                    <a:pt x="0" y="4"/>
                    <a:pt x="3" y="0"/>
                    <a:pt x="7" y="0"/>
                  </a:cubicBezTo>
                  <a:cubicBezTo>
                    <a:pt x="11" y="0"/>
                    <a:pt x="15" y="4"/>
                    <a:pt x="15" y="8"/>
                  </a:cubicBezTo>
                  <a:lnTo>
                    <a:pt x="15" y="236"/>
                  </a:lnTo>
                  <a:cubicBezTo>
                    <a:pt x="15" y="240"/>
                    <a:pt x="11" y="243"/>
                    <a:pt x="7" y="243"/>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12">
              <a:extLst>
                <a:ext uri="{FF2B5EF4-FFF2-40B4-BE49-F238E27FC236}">
                  <a16:creationId xmlns:a16="http://schemas.microsoft.com/office/drawing/2014/main" id="{E8031A3F-89F1-63DA-85DA-EB64A8BA5157}"/>
                </a:ext>
              </a:extLst>
            </p:cNvPr>
            <p:cNvSpPr>
              <a:spLocks/>
            </p:cNvSpPr>
            <p:nvPr/>
          </p:nvSpPr>
          <p:spPr bwMode="auto">
            <a:xfrm>
              <a:off x="6005513" y="1928813"/>
              <a:ext cx="14288" cy="220663"/>
            </a:xfrm>
            <a:custGeom>
              <a:avLst/>
              <a:gdLst>
                <a:gd name="T0" fmla="*/ 8 w 15"/>
                <a:gd name="T1" fmla="*/ 243 h 243"/>
                <a:gd name="T2" fmla="*/ 0 w 15"/>
                <a:gd name="T3" fmla="*/ 236 h 243"/>
                <a:gd name="T4" fmla="*/ 0 w 15"/>
                <a:gd name="T5" fmla="*/ 8 h 243"/>
                <a:gd name="T6" fmla="*/ 8 w 15"/>
                <a:gd name="T7" fmla="*/ 0 h 243"/>
                <a:gd name="T8" fmla="*/ 15 w 15"/>
                <a:gd name="T9" fmla="*/ 8 h 243"/>
                <a:gd name="T10" fmla="*/ 15 w 15"/>
                <a:gd name="T11" fmla="*/ 236 h 243"/>
                <a:gd name="T12" fmla="*/ 8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8" y="243"/>
                  </a:moveTo>
                  <a:cubicBezTo>
                    <a:pt x="4" y="243"/>
                    <a:pt x="0" y="240"/>
                    <a:pt x="0" y="236"/>
                  </a:cubicBezTo>
                  <a:lnTo>
                    <a:pt x="0" y="8"/>
                  </a:lnTo>
                  <a:cubicBezTo>
                    <a:pt x="0" y="4"/>
                    <a:pt x="4" y="0"/>
                    <a:pt x="8" y="0"/>
                  </a:cubicBezTo>
                  <a:cubicBezTo>
                    <a:pt x="12" y="0"/>
                    <a:pt x="15" y="4"/>
                    <a:pt x="15" y="8"/>
                  </a:cubicBezTo>
                  <a:lnTo>
                    <a:pt x="15" y="236"/>
                  </a:lnTo>
                  <a:cubicBezTo>
                    <a:pt x="15" y="240"/>
                    <a:pt x="12" y="243"/>
                    <a:pt x="8" y="243"/>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13">
              <a:extLst>
                <a:ext uri="{FF2B5EF4-FFF2-40B4-BE49-F238E27FC236}">
                  <a16:creationId xmlns:a16="http://schemas.microsoft.com/office/drawing/2014/main" id="{09E8BE02-9C80-E410-1C07-ABFDB2163E81}"/>
                </a:ext>
              </a:extLst>
            </p:cNvPr>
            <p:cNvSpPr>
              <a:spLocks/>
            </p:cNvSpPr>
            <p:nvPr/>
          </p:nvSpPr>
          <p:spPr bwMode="auto">
            <a:xfrm>
              <a:off x="6227763" y="1928813"/>
              <a:ext cx="12700" cy="220663"/>
            </a:xfrm>
            <a:custGeom>
              <a:avLst/>
              <a:gdLst>
                <a:gd name="T0" fmla="*/ 7 w 15"/>
                <a:gd name="T1" fmla="*/ 243 h 243"/>
                <a:gd name="T2" fmla="*/ 0 w 15"/>
                <a:gd name="T3" fmla="*/ 236 h 243"/>
                <a:gd name="T4" fmla="*/ 0 w 15"/>
                <a:gd name="T5" fmla="*/ 8 h 243"/>
                <a:gd name="T6" fmla="*/ 7 w 15"/>
                <a:gd name="T7" fmla="*/ 0 h 243"/>
                <a:gd name="T8" fmla="*/ 15 w 15"/>
                <a:gd name="T9" fmla="*/ 8 h 243"/>
                <a:gd name="T10" fmla="*/ 15 w 15"/>
                <a:gd name="T11" fmla="*/ 236 h 243"/>
                <a:gd name="T12" fmla="*/ 7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7" y="243"/>
                  </a:moveTo>
                  <a:cubicBezTo>
                    <a:pt x="3" y="243"/>
                    <a:pt x="0" y="240"/>
                    <a:pt x="0" y="236"/>
                  </a:cubicBezTo>
                  <a:lnTo>
                    <a:pt x="0" y="8"/>
                  </a:lnTo>
                  <a:cubicBezTo>
                    <a:pt x="0" y="4"/>
                    <a:pt x="3" y="0"/>
                    <a:pt x="7" y="0"/>
                  </a:cubicBezTo>
                  <a:cubicBezTo>
                    <a:pt x="11" y="0"/>
                    <a:pt x="15" y="4"/>
                    <a:pt x="15" y="8"/>
                  </a:cubicBezTo>
                  <a:lnTo>
                    <a:pt x="15" y="236"/>
                  </a:lnTo>
                  <a:cubicBezTo>
                    <a:pt x="15" y="240"/>
                    <a:pt x="11" y="243"/>
                    <a:pt x="7" y="243"/>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14">
              <a:extLst>
                <a:ext uri="{FF2B5EF4-FFF2-40B4-BE49-F238E27FC236}">
                  <a16:creationId xmlns:a16="http://schemas.microsoft.com/office/drawing/2014/main" id="{A287FC71-21FB-AB63-4296-696B3045D8DD}"/>
                </a:ext>
              </a:extLst>
            </p:cNvPr>
            <p:cNvSpPr>
              <a:spLocks noEditPoints="1"/>
            </p:cNvSpPr>
            <p:nvPr/>
          </p:nvSpPr>
          <p:spPr bwMode="auto">
            <a:xfrm>
              <a:off x="5930901" y="2136775"/>
              <a:ext cx="385763" cy="52388"/>
            </a:xfrm>
            <a:custGeom>
              <a:avLst/>
              <a:gdLst>
                <a:gd name="T0" fmla="*/ 14 w 424"/>
                <a:gd name="T1" fmla="*/ 42 h 57"/>
                <a:gd name="T2" fmla="*/ 410 w 424"/>
                <a:gd name="T3" fmla="*/ 42 h 57"/>
                <a:gd name="T4" fmla="*/ 410 w 424"/>
                <a:gd name="T5" fmla="*/ 14 h 57"/>
                <a:gd name="T6" fmla="*/ 14 w 424"/>
                <a:gd name="T7" fmla="*/ 14 h 57"/>
                <a:gd name="T8" fmla="*/ 14 w 424"/>
                <a:gd name="T9" fmla="*/ 42 h 57"/>
                <a:gd name="T10" fmla="*/ 417 w 424"/>
                <a:gd name="T11" fmla="*/ 57 h 57"/>
                <a:gd name="T12" fmla="*/ 7 w 424"/>
                <a:gd name="T13" fmla="*/ 57 h 57"/>
                <a:gd name="T14" fmla="*/ 0 w 424"/>
                <a:gd name="T15" fmla="*/ 49 h 57"/>
                <a:gd name="T16" fmla="*/ 0 w 424"/>
                <a:gd name="T17" fmla="*/ 7 h 57"/>
                <a:gd name="T18" fmla="*/ 7 w 424"/>
                <a:gd name="T19" fmla="*/ 0 h 57"/>
                <a:gd name="T20" fmla="*/ 417 w 424"/>
                <a:gd name="T21" fmla="*/ 0 h 57"/>
                <a:gd name="T22" fmla="*/ 424 w 424"/>
                <a:gd name="T23" fmla="*/ 7 h 57"/>
                <a:gd name="T24" fmla="*/ 424 w 424"/>
                <a:gd name="T25" fmla="*/ 49 h 57"/>
                <a:gd name="T26" fmla="*/ 417 w 424"/>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4" h="57">
                  <a:moveTo>
                    <a:pt x="14" y="42"/>
                  </a:moveTo>
                  <a:lnTo>
                    <a:pt x="410" y="42"/>
                  </a:lnTo>
                  <a:lnTo>
                    <a:pt x="410" y="14"/>
                  </a:lnTo>
                  <a:lnTo>
                    <a:pt x="14" y="14"/>
                  </a:lnTo>
                  <a:lnTo>
                    <a:pt x="14" y="42"/>
                  </a:lnTo>
                  <a:close/>
                  <a:moveTo>
                    <a:pt x="417" y="57"/>
                  </a:moveTo>
                  <a:lnTo>
                    <a:pt x="7" y="57"/>
                  </a:lnTo>
                  <a:cubicBezTo>
                    <a:pt x="3" y="57"/>
                    <a:pt x="0" y="53"/>
                    <a:pt x="0" y="49"/>
                  </a:cubicBezTo>
                  <a:lnTo>
                    <a:pt x="0" y="7"/>
                  </a:lnTo>
                  <a:cubicBezTo>
                    <a:pt x="0" y="3"/>
                    <a:pt x="3" y="0"/>
                    <a:pt x="7" y="0"/>
                  </a:cubicBezTo>
                  <a:lnTo>
                    <a:pt x="417" y="0"/>
                  </a:lnTo>
                  <a:cubicBezTo>
                    <a:pt x="421" y="0"/>
                    <a:pt x="424" y="3"/>
                    <a:pt x="424" y="7"/>
                  </a:cubicBezTo>
                  <a:lnTo>
                    <a:pt x="424" y="49"/>
                  </a:lnTo>
                  <a:cubicBezTo>
                    <a:pt x="424" y="53"/>
                    <a:pt x="421" y="57"/>
                    <a:pt x="417" y="57"/>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15">
              <a:extLst>
                <a:ext uri="{FF2B5EF4-FFF2-40B4-BE49-F238E27FC236}">
                  <a16:creationId xmlns:a16="http://schemas.microsoft.com/office/drawing/2014/main" id="{0BD65D24-116F-D3EB-7499-AE0600BF6E30}"/>
                </a:ext>
              </a:extLst>
            </p:cNvPr>
            <p:cNvSpPr>
              <a:spLocks/>
            </p:cNvSpPr>
            <p:nvPr/>
          </p:nvSpPr>
          <p:spPr bwMode="auto">
            <a:xfrm>
              <a:off x="6049963" y="1928813"/>
              <a:ext cx="12700" cy="220663"/>
            </a:xfrm>
            <a:custGeom>
              <a:avLst/>
              <a:gdLst>
                <a:gd name="T0" fmla="*/ 7 w 14"/>
                <a:gd name="T1" fmla="*/ 243 h 243"/>
                <a:gd name="T2" fmla="*/ 0 w 14"/>
                <a:gd name="T3" fmla="*/ 236 h 243"/>
                <a:gd name="T4" fmla="*/ 0 w 14"/>
                <a:gd name="T5" fmla="*/ 8 h 243"/>
                <a:gd name="T6" fmla="*/ 7 w 14"/>
                <a:gd name="T7" fmla="*/ 0 h 243"/>
                <a:gd name="T8" fmla="*/ 14 w 14"/>
                <a:gd name="T9" fmla="*/ 8 h 243"/>
                <a:gd name="T10" fmla="*/ 14 w 14"/>
                <a:gd name="T11" fmla="*/ 236 h 243"/>
                <a:gd name="T12" fmla="*/ 7 w 14"/>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4" h="243">
                  <a:moveTo>
                    <a:pt x="7" y="243"/>
                  </a:moveTo>
                  <a:cubicBezTo>
                    <a:pt x="3" y="243"/>
                    <a:pt x="0" y="240"/>
                    <a:pt x="0" y="236"/>
                  </a:cubicBezTo>
                  <a:lnTo>
                    <a:pt x="0" y="8"/>
                  </a:lnTo>
                  <a:cubicBezTo>
                    <a:pt x="0" y="4"/>
                    <a:pt x="3" y="0"/>
                    <a:pt x="7" y="0"/>
                  </a:cubicBezTo>
                  <a:cubicBezTo>
                    <a:pt x="11" y="0"/>
                    <a:pt x="14" y="4"/>
                    <a:pt x="14" y="8"/>
                  </a:cubicBezTo>
                  <a:lnTo>
                    <a:pt x="14" y="236"/>
                  </a:lnTo>
                  <a:cubicBezTo>
                    <a:pt x="14" y="240"/>
                    <a:pt x="11" y="243"/>
                    <a:pt x="7" y="243"/>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16">
              <a:extLst>
                <a:ext uri="{FF2B5EF4-FFF2-40B4-BE49-F238E27FC236}">
                  <a16:creationId xmlns:a16="http://schemas.microsoft.com/office/drawing/2014/main" id="{F74F23AE-D898-44C6-6B4B-89E23172EF46}"/>
                </a:ext>
              </a:extLst>
            </p:cNvPr>
            <p:cNvSpPr>
              <a:spLocks/>
            </p:cNvSpPr>
            <p:nvPr/>
          </p:nvSpPr>
          <p:spPr bwMode="auto">
            <a:xfrm>
              <a:off x="6184901" y="1928813"/>
              <a:ext cx="12700" cy="220663"/>
            </a:xfrm>
            <a:custGeom>
              <a:avLst/>
              <a:gdLst>
                <a:gd name="T0" fmla="*/ 7 w 14"/>
                <a:gd name="T1" fmla="*/ 243 h 243"/>
                <a:gd name="T2" fmla="*/ 0 w 14"/>
                <a:gd name="T3" fmla="*/ 236 h 243"/>
                <a:gd name="T4" fmla="*/ 0 w 14"/>
                <a:gd name="T5" fmla="*/ 8 h 243"/>
                <a:gd name="T6" fmla="*/ 7 w 14"/>
                <a:gd name="T7" fmla="*/ 0 h 243"/>
                <a:gd name="T8" fmla="*/ 14 w 14"/>
                <a:gd name="T9" fmla="*/ 8 h 243"/>
                <a:gd name="T10" fmla="*/ 14 w 14"/>
                <a:gd name="T11" fmla="*/ 236 h 243"/>
                <a:gd name="T12" fmla="*/ 7 w 14"/>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4" h="243">
                  <a:moveTo>
                    <a:pt x="7" y="243"/>
                  </a:moveTo>
                  <a:cubicBezTo>
                    <a:pt x="3" y="243"/>
                    <a:pt x="0" y="240"/>
                    <a:pt x="0" y="236"/>
                  </a:cubicBezTo>
                  <a:lnTo>
                    <a:pt x="0" y="8"/>
                  </a:lnTo>
                  <a:cubicBezTo>
                    <a:pt x="0" y="4"/>
                    <a:pt x="3" y="0"/>
                    <a:pt x="7" y="0"/>
                  </a:cubicBezTo>
                  <a:cubicBezTo>
                    <a:pt x="11" y="0"/>
                    <a:pt x="14" y="4"/>
                    <a:pt x="14" y="8"/>
                  </a:cubicBezTo>
                  <a:lnTo>
                    <a:pt x="14" y="236"/>
                  </a:lnTo>
                  <a:cubicBezTo>
                    <a:pt x="14" y="240"/>
                    <a:pt x="11" y="243"/>
                    <a:pt x="7" y="243"/>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117">
              <a:extLst>
                <a:ext uri="{FF2B5EF4-FFF2-40B4-BE49-F238E27FC236}">
                  <a16:creationId xmlns:a16="http://schemas.microsoft.com/office/drawing/2014/main" id="{88064580-BA8A-F579-1C02-5062F03B66AE}"/>
                </a:ext>
              </a:extLst>
            </p:cNvPr>
            <p:cNvSpPr>
              <a:spLocks/>
            </p:cNvSpPr>
            <p:nvPr/>
          </p:nvSpPr>
          <p:spPr bwMode="auto">
            <a:xfrm>
              <a:off x="6097588" y="1928813"/>
              <a:ext cx="12700" cy="220663"/>
            </a:xfrm>
            <a:custGeom>
              <a:avLst/>
              <a:gdLst>
                <a:gd name="T0" fmla="*/ 7 w 15"/>
                <a:gd name="T1" fmla="*/ 243 h 243"/>
                <a:gd name="T2" fmla="*/ 0 w 15"/>
                <a:gd name="T3" fmla="*/ 236 h 243"/>
                <a:gd name="T4" fmla="*/ 0 w 15"/>
                <a:gd name="T5" fmla="*/ 8 h 243"/>
                <a:gd name="T6" fmla="*/ 7 w 15"/>
                <a:gd name="T7" fmla="*/ 0 h 243"/>
                <a:gd name="T8" fmla="*/ 15 w 15"/>
                <a:gd name="T9" fmla="*/ 8 h 243"/>
                <a:gd name="T10" fmla="*/ 15 w 15"/>
                <a:gd name="T11" fmla="*/ 236 h 243"/>
                <a:gd name="T12" fmla="*/ 7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7" y="243"/>
                  </a:moveTo>
                  <a:cubicBezTo>
                    <a:pt x="3" y="243"/>
                    <a:pt x="0" y="240"/>
                    <a:pt x="0" y="236"/>
                  </a:cubicBezTo>
                  <a:lnTo>
                    <a:pt x="0" y="8"/>
                  </a:lnTo>
                  <a:cubicBezTo>
                    <a:pt x="0" y="4"/>
                    <a:pt x="3" y="0"/>
                    <a:pt x="7" y="0"/>
                  </a:cubicBezTo>
                  <a:cubicBezTo>
                    <a:pt x="11" y="0"/>
                    <a:pt x="15" y="4"/>
                    <a:pt x="15" y="8"/>
                  </a:cubicBezTo>
                  <a:lnTo>
                    <a:pt x="15" y="236"/>
                  </a:lnTo>
                  <a:cubicBezTo>
                    <a:pt x="15" y="240"/>
                    <a:pt x="11" y="243"/>
                    <a:pt x="7" y="243"/>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118">
              <a:extLst>
                <a:ext uri="{FF2B5EF4-FFF2-40B4-BE49-F238E27FC236}">
                  <a16:creationId xmlns:a16="http://schemas.microsoft.com/office/drawing/2014/main" id="{4E44CB95-0C18-F6FD-F89F-6B1452BF1395}"/>
                </a:ext>
              </a:extLst>
            </p:cNvPr>
            <p:cNvSpPr>
              <a:spLocks/>
            </p:cNvSpPr>
            <p:nvPr/>
          </p:nvSpPr>
          <p:spPr bwMode="auto">
            <a:xfrm>
              <a:off x="6135688" y="1928813"/>
              <a:ext cx="14288" cy="220663"/>
            </a:xfrm>
            <a:custGeom>
              <a:avLst/>
              <a:gdLst>
                <a:gd name="T0" fmla="*/ 8 w 15"/>
                <a:gd name="T1" fmla="*/ 243 h 243"/>
                <a:gd name="T2" fmla="*/ 0 w 15"/>
                <a:gd name="T3" fmla="*/ 236 h 243"/>
                <a:gd name="T4" fmla="*/ 0 w 15"/>
                <a:gd name="T5" fmla="*/ 8 h 243"/>
                <a:gd name="T6" fmla="*/ 8 w 15"/>
                <a:gd name="T7" fmla="*/ 0 h 243"/>
                <a:gd name="T8" fmla="*/ 15 w 15"/>
                <a:gd name="T9" fmla="*/ 8 h 243"/>
                <a:gd name="T10" fmla="*/ 15 w 15"/>
                <a:gd name="T11" fmla="*/ 236 h 243"/>
                <a:gd name="T12" fmla="*/ 8 w 15"/>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5" h="243">
                  <a:moveTo>
                    <a:pt x="8" y="243"/>
                  </a:moveTo>
                  <a:cubicBezTo>
                    <a:pt x="4" y="243"/>
                    <a:pt x="0" y="240"/>
                    <a:pt x="0" y="236"/>
                  </a:cubicBezTo>
                  <a:lnTo>
                    <a:pt x="0" y="8"/>
                  </a:lnTo>
                  <a:cubicBezTo>
                    <a:pt x="0" y="4"/>
                    <a:pt x="4" y="0"/>
                    <a:pt x="8" y="0"/>
                  </a:cubicBezTo>
                  <a:cubicBezTo>
                    <a:pt x="12" y="0"/>
                    <a:pt x="15" y="4"/>
                    <a:pt x="15" y="8"/>
                  </a:cubicBezTo>
                  <a:lnTo>
                    <a:pt x="15" y="236"/>
                  </a:lnTo>
                  <a:cubicBezTo>
                    <a:pt x="15" y="240"/>
                    <a:pt x="12" y="243"/>
                    <a:pt x="8" y="243"/>
                  </a:cubicBezTo>
                  <a:close/>
                </a:path>
              </a:pathLst>
            </a:custGeom>
            <a:grpFill/>
            <a:ln w="31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1" name="Network_protection" descr="{&quot;Key&quot;:&quot;POWER_USER_SHAPE_ICON&quot;,&quot;Value&quot;:&quot;POWER_USER_SHAPE_ICON_STYLE_1&quot;}">
            <a:extLst>
              <a:ext uri="{FF2B5EF4-FFF2-40B4-BE49-F238E27FC236}">
                <a16:creationId xmlns:a16="http://schemas.microsoft.com/office/drawing/2014/main" id="{6678B514-FF80-A22A-9DA3-2D7CC88B87AC}"/>
              </a:ext>
            </a:extLst>
          </p:cNvPr>
          <p:cNvGrpSpPr>
            <a:grpSpLocks noChangeAspect="1"/>
          </p:cNvGrpSpPr>
          <p:nvPr/>
        </p:nvGrpSpPr>
        <p:grpSpPr>
          <a:xfrm>
            <a:off x="4171048" y="3555165"/>
            <a:ext cx="293801" cy="346121"/>
            <a:chOff x="9212263" y="4864101"/>
            <a:chExt cx="463551" cy="546100"/>
          </a:xfrm>
        </p:grpSpPr>
        <p:sp>
          <p:nvSpPr>
            <p:cNvPr id="82" name="Freeform 410">
              <a:extLst>
                <a:ext uri="{FF2B5EF4-FFF2-40B4-BE49-F238E27FC236}">
                  <a16:creationId xmlns:a16="http://schemas.microsoft.com/office/drawing/2014/main" id="{568E313F-817C-DD24-6266-91CC7CC8D253}"/>
                </a:ext>
              </a:extLst>
            </p:cNvPr>
            <p:cNvSpPr>
              <a:spLocks/>
            </p:cNvSpPr>
            <p:nvPr/>
          </p:nvSpPr>
          <p:spPr bwMode="auto">
            <a:xfrm>
              <a:off x="9445626" y="4972051"/>
              <a:ext cx="230188" cy="438150"/>
            </a:xfrm>
            <a:custGeom>
              <a:avLst/>
              <a:gdLst>
                <a:gd name="T0" fmla="*/ 453 w 453"/>
                <a:gd name="T1" fmla="*/ 0 h 866"/>
                <a:gd name="T2" fmla="*/ 453 w 453"/>
                <a:gd name="T3" fmla="*/ 82 h 866"/>
                <a:gd name="T4" fmla="*/ 0 w 453"/>
                <a:gd name="T5" fmla="*/ 866 h 866"/>
              </a:gdLst>
              <a:ahLst/>
              <a:cxnLst>
                <a:cxn ang="0">
                  <a:pos x="T0" y="T1"/>
                </a:cxn>
                <a:cxn ang="0">
                  <a:pos x="T2" y="T3"/>
                </a:cxn>
                <a:cxn ang="0">
                  <a:pos x="T4" y="T5"/>
                </a:cxn>
              </a:cxnLst>
              <a:rect l="0" t="0" r="r" b="b"/>
              <a:pathLst>
                <a:path w="453" h="866">
                  <a:moveTo>
                    <a:pt x="453" y="0"/>
                  </a:moveTo>
                  <a:lnTo>
                    <a:pt x="453" y="82"/>
                  </a:lnTo>
                  <a:cubicBezTo>
                    <a:pt x="453" y="403"/>
                    <a:pt x="280" y="704"/>
                    <a:pt x="0" y="866"/>
                  </a:cubicBezTo>
                </a:path>
              </a:pathLst>
            </a:custGeom>
            <a:noFill/>
            <a:ln w="14288"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411">
              <a:extLst>
                <a:ext uri="{FF2B5EF4-FFF2-40B4-BE49-F238E27FC236}">
                  <a16:creationId xmlns:a16="http://schemas.microsoft.com/office/drawing/2014/main" id="{74484FEE-22AE-595E-13B3-6C3CDBCDA99E}"/>
                </a:ext>
              </a:extLst>
            </p:cNvPr>
            <p:cNvSpPr>
              <a:spLocks/>
            </p:cNvSpPr>
            <p:nvPr/>
          </p:nvSpPr>
          <p:spPr bwMode="auto">
            <a:xfrm>
              <a:off x="9212263" y="4864101"/>
              <a:ext cx="420688" cy="512763"/>
            </a:xfrm>
            <a:custGeom>
              <a:avLst/>
              <a:gdLst>
                <a:gd name="T0" fmla="*/ 414 w 829"/>
                <a:gd name="T1" fmla="*/ 0 h 1011"/>
                <a:gd name="T2" fmla="*/ 0 w 829"/>
                <a:gd name="T3" fmla="*/ 177 h 1011"/>
                <a:gd name="T4" fmla="*/ 0 w 829"/>
                <a:gd name="T5" fmla="*/ 294 h 1011"/>
                <a:gd name="T6" fmla="*/ 414 w 829"/>
                <a:gd name="T7" fmla="*/ 1011 h 1011"/>
                <a:gd name="T8" fmla="*/ 829 w 829"/>
                <a:gd name="T9" fmla="*/ 294 h 1011"/>
                <a:gd name="T10" fmla="*/ 829 w 829"/>
                <a:gd name="T11" fmla="*/ 177 h 1011"/>
                <a:gd name="T12" fmla="*/ 414 w 829"/>
                <a:gd name="T13" fmla="*/ 0 h 1011"/>
              </a:gdLst>
              <a:ahLst/>
              <a:cxnLst>
                <a:cxn ang="0">
                  <a:pos x="T0" y="T1"/>
                </a:cxn>
                <a:cxn ang="0">
                  <a:pos x="T2" y="T3"/>
                </a:cxn>
                <a:cxn ang="0">
                  <a:pos x="T4" y="T5"/>
                </a:cxn>
                <a:cxn ang="0">
                  <a:pos x="T6" y="T7"/>
                </a:cxn>
                <a:cxn ang="0">
                  <a:pos x="T8" y="T9"/>
                </a:cxn>
                <a:cxn ang="0">
                  <a:pos x="T10" y="T11"/>
                </a:cxn>
                <a:cxn ang="0">
                  <a:pos x="T12" y="T13"/>
                </a:cxn>
              </a:cxnLst>
              <a:rect l="0" t="0" r="r" b="b"/>
              <a:pathLst>
                <a:path w="829" h="1011">
                  <a:moveTo>
                    <a:pt x="414" y="0"/>
                  </a:moveTo>
                  <a:cubicBezTo>
                    <a:pt x="334" y="106"/>
                    <a:pt x="178" y="177"/>
                    <a:pt x="0" y="177"/>
                  </a:cubicBezTo>
                  <a:lnTo>
                    <a:pt x="0" y="294"/>
                  </a:lnTo>
                  <a:cubicBezTo>
                    <a:pt x="0" y="600"/>
                    <a:pt x="167" y="868"/>
                    <a:pt x="414" y="1011"/>
                  </a:cubicBezTo>
                  <a:cubicBezTo>
                    <a:pt x="662" y="868"/>
                    <a:pt x="829" y="600"/>
                    <a:pt x="829" y="294"/>
                  </a:cubicBezTo>
                  <a:lnTo>
                    <a:pt x="829" y="177"/>
                  </a:lnTo>
                  <a:cubicBezTo>
                    <a:pt x="650" y="177"/>
                    <a:pt x="495" y="106"/>
                    <a:pt x="414" y="0"/>
                  </a:cubicBezTo>
                  <a:close/>
                </a:path>
              </a:pathLst>
            </a:custGeom>
            <a:noFill/>
            <a:ln w="14288"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412">
              <a:extLst>
                <a:ext uri="{FF2B5EF4-FFF2-40B4-BE49-F238E27FC236}">
                  <a16:creationId xmlns:a16="http://schemas.microsoft.com/office/drawing/2014/main" id="{CA912182-A5D2-4FBA-2F39-70C5400DFF7F}"/>
                </a:ext>
              </a:extLst>
            </p:cNvPr>
            <p:cNvSpPr>
              <a:spLocks/>
            </p:cNvSpPr>
            <p:nvPr/>
          </p:nvSpPr>
          <p:spPr bwMode="auto">
            <a:xfrm>
              <a:off x="9282113" y="5013326"/>
              <a:ext cx="74613" cy="76200"/>
            </a:xfrm>
            <a:custGeom>
              <a:avLst/>
              <a:gdLst>
                <a:gd name="T0" fmla="*/ 75 w 149"/>
                <a:gd name="T1" fmla="*/ 0 h 149"/>
                <a:gd name="T2" fmla="*/ 149 w 149"/>
                <a:gd name="T3" fmla="*/ 74 h 149"/>
                <a:gd name="T4" fmla="*/ 75 w 149"/>
                <a:gd name="T5" fmla="*/ 149 h 149"/>
                <a:gd name="T6" fmla="*/ 0 w 149"/>
                <a:gd name="T7" fmla="*/ 74 h 149"/>
              </a:gdLst>
              <a:ahLst/>
              <a:cxnLst>
                <a:cxn ang="0">
                  <a:pos x="T0" y="T1"/>
                </a:cxn>
                <a:cxn ang="0">
                  <a:pos x="T2" y="T3"/>
                </a:cxn>
                <a:cxn ang="0">
                  <a:pos x="T4" y="T5"/>
                </a:cxn>
                <a:cxn ang="0">
                  <a:pos x="T6" y="T7"/>
                </a:cxn>
              </a:cxnLst>
              <a:rect l="0" t="0" r="r" b="b"/>
              <a:pathLst>
                <a:path w="149" h="149">
                  <a:moveTo>
                    <a:pt x="75" y="0"/>
                  </a:moveTo>
                  <a:cubicBezTo>
                    <a:pt x="116" y="0"/>
                    <a:pt x="149" y="33"/>
                    <a:pt x="149" y="74"/>
                  </a:cubicBezTo>
                  <a:cubicBezTo>
                    <a:pt x="149" y="115"/>
                    <a:pt x="116" y="149"/>
                    <a:pt x="75" y="149"/>
                  </a:cubicBezTo>
                  <a:cubicBezTo>
                    <a:pt x="33" y="149"/>
                    <a:pt x="0" y="115"/>
                    <a:pt x="0" y="74"/>
                  </a:cubicBezTo>
                </a:path>
              </a:pathLst>
            </a:custGeom>
            <a:noFill/>
            <a:ln w="14288"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413">
              <a:extLst>
                <a:ext uri="{FF2B5EF4-FFF2-40B4-BE49-F238E27FC236}">
                  <a16:creationId xmlns:a16="http://schemas.microsoft.com/office/drawing/2014/main" id="{47F4BFC3-77D7-D37A-9F83-0E8FD76A23F2}"/>
                </a:ext>
              </a:extLst>
            </p:cNvPr>
            <p:cNvSpPr>
              <a:spLocks/>
            </p:cNvSpPr>
            <p:nvPr/>
          </p:nvSpPr>
          <p:spPr bwMode="auto">
            <a:xfrm>
              <a:off x="9385301" y="5202238"/>
              <a:ext cx="74613" cy="76200"/>
            </a:xfrm>
            <a:custGeom>
              <a:avLst/>
              <a:gdLst>
                <a:gd name="T0" fmla="*/ 74 w 149"/>
                <a:gd name="T1" fmla="*/ 0 h 149"/>
                <a:gd name="T2" fmla="*/ 149 w 149"/>
                <a:gd name="T3" fmla="*/ 75 h 149"/>
                <a:gd name="T4" fmla="*/ 74 w 149"/>
                <a:gd name="T5" fmla="*/ 149 h 149"/>
                <a:gd name="T6" fmla="*/ 0 w 149"/>
                <a:gd name="T7" fmla="*/ 75 h 149"/>
              </a:gdLst>
              <a:ahLst/>
              <a:cxnLst>
                <a:cxn ang="0">
                  <a:pos x="T0" y="T1"/>
                </a:cxn>
                <a:cxn ang="0">
                  <a:pos x="T2" y="T3"/>
                </a:cxn>
                <a:cxn ang="0">
                  <a:pos x="T4" y="T5"/>
                </a:cxn>
                <a:cxn ang="0">
                  <a:pos x="T6" y="T7"/>
                </a:cxn>
              </a:cxnLst>
              <a:rect l="0" t="0" r="r" b="b"/>
              <a:pathLst>
                <a:path w="149" h="149">
                  <a:moveTo>
                    <a:pt x="74" y="0"/>
                  </a:moveTo>
                  <a:cubicBezTo>
                    <a:pt x="115" y="0"/>
                    <a:pt x="149" y="34"/>
                    <a:pt x="149" y="75"/>
                  </a:cubicBezTo>
                  <a:cubicBezTo>
                    <a:pt x="149" y="116"/>
                    <a:pt x="115" y="149"/>
                    <a:pt x="74" y="149"/>
                  </a:cubicBezTo>
                  <a:cubicBezTo>
                    <a:pt x="33" y="149"/>
                    <a:pt x="0" y="116"/>
                    <a:pt x="0" y="75"/>
                  </a:cubicBezTo>
                </a:path>
              </a:pathLst>
            </a:custGeom>
            <a:noFill/>
            <a:ln w="14288"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414">
              <a:extLst>
                <a:ext uri="{FF2B5EF4-FFF2-40B4-BE49-F238E27FC236}">
                  <a16:creationId xmlns:a16="http://schemas.microsoft.com/office/drawing/2014/main" id="{90DA629C-2947-00B4-FF21-A6F90BFA088E}"/>
                </a:ext>
              </a:extLst>
            </p:cNvPr>
            <p:cNvSpPr>
              <a:spLocks/>
            </p:cNvSpPr>
            <p:nvPr/>
          </p:nvSpPr>
          <p:spPr bwMode="auto">
            <a:xfrm>
              <a:off x="9488488" y="5013326"/>
              <a:ext cx="74613" cy="76200"/>
            </a:xfrm>
            <a:custGeom>
              <a:avLst/>
              <a:gdLst>
                <a:gd name="T0" fmla="*/ 0 w 148"/>
                <a:gd name="T1" fmla="*/ 74 h 149"/>
                <a:gd name="T2" fmla="*/ 74 w 148"/>
                <a:gd name="T3" fmla="*/ 149 h 149"/>
                <a:gd name="T4" fmla="*/ 148 w 148"/>
                <a:gd name="T5" fmla="*/ 74 h 149"/>
                <a:gd name="T6" fmla="*/ 74 w 148"/>
                <a:gd name="T7" fmla="*/ 0 h 149"/>
              </a:gdLst>
              <a:ahLst/>
              <a:cxnLst>
                <a:cxn ang="0">
                  <a:pos x="T0" y="T1"/>
                </a:cxn>
                <a:cxn ang="0">
                  <a:pos x="T2" y="T3"/>
                </a:cxn>
                <a:cxn ang="0">
                  <a:pos x="T4" y="T5"/>
                </a:cxn>
                <a:cxn ang="0">
                  <a:pos x="T6" y="T7"/>
                </a:cxn>
              </a:cxnLst>
              <a:rect l="0" t="0" r="r" b="b"/>
              <a:pathLst>
                <a:path w="148" h="149">
                  <a:moveTo>
                    <a:pt x="0" y="74"/>
                  </a:moveTo>
                  <a:cubicBezTo>
                    <a:pt x="0" y="115"/>
                    <a:pt x="33" y="149"/>
                    <a:pt x="74" y="149"/>
                  </a:cubicBezTo>
                  <a:cubicBezTo>
                    <a:pt x="115" y="149"/>
                    <a:pt x="148" y="115"/>
                    <a:pt x="148" y="74"/>
                  </a:cubicBezTo>
                  <a:cubicBezTo>
                    <a:pt x="148" y="33"/>
                    <a:pt x="115" y="0"/>
                    <a:pt x="74" y="0"/>
                  </a:cubicBezTo>
                </a:path>
              </a:pathLst>
            </a:custGeom>
            <a:noFill/>
            <a:ln w="14288"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Line 415">
              <a:extLst>
                <a:ext uri="{FF2B5EF4-FFF2-40B4-BE49-F238E27FC236}">
                  <a16:creationId xmlns:a16="http://schemas.microsoft.com/office/drawing/2014/main" id="{7625F9CD-0F1A-5FE3-C765-B22273C3AF11}"/>
                </a:ext>
              </a:extLst>
            </p:cNvPr>
            <p:cNvSpPr>
              <a:spLocks noChangeShapeType="1"/>
            </p:cNvSpPr>
            <p:nvPr/>
          </p:nvSpPr>
          <p:spPr bwMode="auto">
            <a:xfrm>
              <a:off x="9320213" y="5089526"/>
              <a:ext cx="101600" cy="112713"/>
            </a:xfrm>
            <a:prstGeom prst="line">
              <a:avLst/>
            </a:prstGeom>
            <a:noFill/>
            <a:ln w="14288"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Line 416">
              <a:extLst>
                <a:ext uri="{FF2B5EF4-FFF2-40B4-BE49-F238E27FC236}">
                  <a16:creationId xmlns:a16="http://schemas.microsoft.com/office/drawing/2014/main" id="{1A528084-2E20-4C21-24E6-CB6506BBF457}"/>
                </a:ext>
              </a:extLst>
            </p:cNvPr>
            <p:cNvSpPr>
              <a:spLocks noChangeShapeType="1"/>
            </p:cNvSpPr>
            <p:nvPr/>
          </p:nvSpPr>
          <p:spPr bwMode="auto">
            <a:xfrm>
              <a:off x="9356726" y="5051426"/>
              <a:ext cx="131763" cy="0"/>
            </a:xfrm>
            <a:prstGeom prst="line">
              <a:avLst/>
            </a:prstGeom>
            <a:noFill/>
            <a:ln w="14288"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9" name="Textfeld 88">
            <a:extLst>
              <a:ext uri="{FF2B5EF4-FFF2-40B4-BE49-F238E27FC236}">
                <a16:creationId xmlns:a16="http://schemas.microsoft.com/office/drawing/2014/main" id="{960E7B20-DCA1-A409-1774-7A69FCA99090}"/>
              </a:ext>
            </a:extLst>
          </p:cNvPr>
          <p:cNvSpPr txBox="1"/>
          <p:nvPr/>
        </p:nvSpPr>
        <p:spPr>
          <a:xfrm>
            <a:off x="918831" y="2378186"/>
            <a:ext cx="1345516" cy="461665"/>
          </a:xfrm>
          <a:prstGeom prst="rect">
            <a:avLst/>
          </a:prstGeom>
          <a:noFill/>
        </p:spPr>
        <p:txBody>
          <a:bodyPr wrap="square" rtlCol="0">
            <a:spAutoFit/>
          </a:bodyPr>
          <a:lstStyle/>
          <a:p>
            <a:r>
              <a:rPr lang="en-US" sz="1200" b="1"/>
              <a:t>Leadership highlights, … </a:t>
            </a:r>
          </a:p>
        </p:txBody>
      </p:sp>
      <p:pic>
        <p:nvPicPr>
          <p:cNvPr id="90" name="Picture 2">
            <a:extLst>
              <a:ext uri="{FF2B5EF4-FFF2-40B4-BE49-F238E27FC236}">
                <a16:creationId xmlns:a16="http://schemas.microsoft.com/office/drawing/2014/main" id="{82055DB6-A35D-1C6C-1898-E92A8E4BA05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5301" b="20325"/>
          <a:stretch/>
        </p:blipFill>
        <p:spPr bwMode="auto">
          <a:xfrm>
            <a:off x="504024" y="2401616"/>
            <a:ext cx="414807" cy="414807"/>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92" name="Textfeld 91">
            <a:extLst>
              <a:ext uri="{FF2B5EF4-FFF2-40B4-BE49-F238E27FC236}">
                <a16:creationId xmlns:a16="http://schemas.microsoft.com/office/drawing/2014/main" id="{4893D162-89F9-B45B-0C8B-C9A02B8CF84C}"/>
              </a:ext>
            </a:extLst>
          </p:cNvPr>
          <p:cNvSpPr txBox="1"/>
          <p:nvPr/>
        </p:nvSpPr>
        <p:spPr>
          <a:xfrm>
            <a:off x="2021103" y="2358226"/>
            <a:ext cx="2106676" cy="461665"/>
          </a:xfrm>
          <a:prstGeom prst="rect">
            <a:avLst/>
          </a:prstGeom>
          <a:noFill/>
        </p:spPr>
        <p:txBody>
          <a:bodyPr wrap="square" rtlCol="0">
            <a:spAutoFit/>
          </a:bodyPr>
          <a:lstStyle/>
          <a:p>
            <a:r>
              <a:rPr lang="en-US" sz="1200"/>
              <a:t>a shift to sustainable growth and commitments made</a:t>
            </a:r>
          </a:p>
        </p:txBody>
      </p:sp>
      <p:sp>
        <p:nvSpPr>
          <p:cNvPr id="93" name="Textfeld 92">
            <a:extLst>
              <a:ext uri="{FF2B5EF4-FFF2-40B4-BE49-F238E27FC236}">
                <a16:creationId xmlns:a16="http://schemas.microsoft.com/office/drawing/2014/main" id="{8C40AFF9-9C0F-40A9-C40C-E570965E9A55}"/>
              </a:ext>
            </a:extLst>
          </p:cNvPr>
          <p:cNvSpPr txBox="1"/>
          <p:nvPr/>
        </p:nvSpPr>
        <p:spPr>
          <a:xfrm>
            <a:off x="1999102" y="2961720"/>
            <a:ext cx="2180255" cy="461665"/>
          </a:xfrm>
          <a:prstGeom prst="rect">
            <a:avLst/>
          </a:prstGeom>
          <a:noFill/>
        </p:spPr>
        <p:txBody>
          <a:bodyPr wrap="square" rtlCol="0">
            <a:spAutoFit/>
          </a:bodyPr>
          <a:lstStyle/>
          <a:p>
            <a:r>
              <a:rPr lang="en-US" sz="1200"/>
              <a:t>the Importance of working with regulators for mutual solutions</a:t>
            </a:r>
          </a:p>
        </p:txBody>
      </p:sp>
      <p:sp>
        <p:nvSpPr>
          <p:cNvPr id="94" name="Textfeld 93">
            <a:extLst>
              <a:ext uri="{FF2B5EF4-FFF2-40B4-BE49-F238E27FC236}">
                <a16:creationId xmlns:a16="http://schemas.microsoft.com/office/drawing/2014/main" id="{E23E2344-3304-8AB6-7A77-B6046B1E374E}"/>
              </a:ext>
            </a:extLst>
          </p:cNvPr>
          <p:cNvSpPr txBox="1"/>
          <p:nvPr/>
        </p:nvSpPr>
        <p:spPr>
          <a:xfrm>
            <a:off x="2026375" y="3496648"/>
            <a:ext cx="2180255" cy="461665"/>
          </a:xfrm>
          <a:prstGeom prst="rect">
            <a:avLst/>
          </a:prstGeom>
          <a:noFill/>
        </p:spPr>
        <p:txBody>
          <a:bodyPr wrap="square" rtlCol="0">
            <a:spAutoFit/>
          </a:bodyPr>
          <a:lstStyle/>
          <a:p>
            <a:r>
              <a:rPr lang="en-US" sz="1200"/>
              <a:t>the mission to be a sustainable and reliable utility in urban life</a:t>
            </a:r>
          </a:p>
        </p:txBody>
      </p:sp>
      <p:sp>
        <p:nvSpPr>
          <p:cNvPr id="95" name="Rechteck: abgerundete Ecken 94">
            <a:extLst>
              <a:ext uri="{FF2B5EF4-FFF2-40B4-BE49-F238E27FC236}">
                <a16:creationId xmlns:a16="http://schemas.microsoft.com/office/drawing/2014/main" id="{66F101F4-E5DF-2CA4-1A33-0830556BBAAF}"/>
              </a:ext>
            </a:extLst>
          </p:cNvPr>
          <p:cNvSpPr/>
          <p:nvPr/>
        </p:nvSpPr>
        <p:spPr>
          <a:xfrm>
            <a:off x="359998" y="2958042"/>
            <a:ext cx="1651284" cy="928320"/>
          </a:xfrm>
          <a:prstGeom prst="roundRect">
            <a:avLst/>
          </a:prstGeom>
          <a:solidFill>
            <a:schemeClr val="accent2">
              <a:lumMod val="20000"/>
              <a:lumOff val="80000"/>
            </a:schemeClr>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96" name="Textfeld 95">
            <a:extLst>
              <a:ext uri="{FF2B5EF4-FFF2-40B4-BE49-F238E27FC236}">
                <a16:creationId xmlns:a16="http://schemas.microsoft.com/office/drawing/2014/main" id="{EBADA574-DB94-1680-6927-ECFF238A7B40}"/>
              </a:ext>
            </a:extLst>
          </p:cNvPr>
          <p:cNvSpPr txBox="1"/>
          <p:nvPr/>
        </p:nvSpPr>
        <p:spPr>
          <a:xfrm>
            <a:off x="380572" y="2930269"/>
            <a:ext cx="1591811" cy="276999"/>
          </a:xfrm>
          <a:prstGeom prst="rect">
            <a:avLst/>
          </a:prstGeom>
          <a:noFill/>
        </p:spPr>
        <p:txBody>
          <a:bodyPr wrap="square" rtlCol="0">
            <a:spAutoFit/>
          </a:bodyPr>
          <a:lstStyle/>
          <a:p>
            <a:pPr algn="ctr"/>
            <a:r>
              <a:rPr lang="en-US" sz="1200" b="1"/>
              <a:t>Leadership Style-Mix</a:t>
            </a:r>
          </a:p>
        </p:txBody>
      </p:sp>
      <p:grpSp>
        <p:nvGrpSpPr>
          <p:cNvPr id="98" name="Manager4" descr="{&quot;Key&quot;:&quot;POWER_USER_SHAPE_ICON&quot;,&quot;Value&quot;:&quot;POWER_USER_SHAPE_ICON_STYLE_1&quot;}">
            <a:extLst>
              <a:ext uri="{FF2B5EF4-FFF2-40B4-BE49-F238E27FC236}">
                <a16:creationId xmlns:a16="http://schemas.microsoft.com/office/drawing/2014/main" id="{EDE6A58B-FC89-B5B4-2159-15E31C0B1FF7}"/>
              </a:ext>
            </a:extLst>
          </p:cNvPr>
          <p:cNvGrpSpPr>
            <a:grpSpLocks noChangeAspect="1"/>
          </p:cNvGrpSpPr>
          <p:nvPr>
            <p:custDataLst>
              <p:tags r:id="rId2"/>
            </p:custDataLst>
          </p:nvPr>
        </p:nvGrpSpPr>
        <p:grpSpPr>
          <a:xfrm>
            <a:off x="658171" y="3286655"/>
            <a:ext cx="294522" cy="298829"/>
            <a:chOff x="5656263" y="1608138"/>
            <a:chExt cx="868363" cy="881062"/>
          </a:xfrm>
        </p:grpSpPr>
        <p:sp>
          <p:nvSpPr>
            <p:cNvPr id="99" name="Oval 136">
              <a:extLst>
                <a:ext uri="{FF2B5EF4-FFF2-40B4-BE49-F238E27FC236}">
                  <a16:creationId xmlns:a16="http://schemas.microsoft.com/office/drawing/2014/main" id="{83ABBF2E-6C8A-C653-0DB0-B86E428298BD}"/>
                </a:ext>
              </a:extLst>
            </p:cNvPr>
            <p:cNvSpPr>
              <a:spLocks noChangeArrowheads="1"/>
            </p:cNvSpPr>
            <p:nvPr/>
          </p:nvSpPr>
          <p:spPr bwMode="auto">
            <a:xfrm>
              <a:off x="5708650" y="2192338"/>
              <a:ext cx="152400" cy="152400"/>
            </a:xfrm>
            <a:prstGeom prst="ellipse">
              <a:avLst/>
            </a:prstGeom>
            <a:noFill/>
            <a:ln w="63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137">
              <a:extLst>
                <a:ext uri="{FF2B5EF4-FFF2-40B4-BE49-F238E27FC236}">
                  <a16:creationId xmlns:a16="http://schemas.microsoft.com/office/drawing/2014/main" id="{4E785859-157C-19B8-D361-9650F49A8431}"/>
                </a:ext>
              </a:extLst>
            </p:cNvPr>
            <p:cNvSpPr>
              <a:spLocks/>
            </p:cNvSpPr>
            <p:nvPr/>
          </p:nvSpPr>
          <p:spPr bwMode="auto">
            <a:xfrm>
              <a:off x="5656263" y="2381250"/>
              <a:ext cx="257175" cy="107950"/>
            </a:xfrm>
            <a:custGeom>
              <a:avLst/>
              <a:gdLst>
                <a:gd name="T0" fmla="*/ 342 w 342"/>
                <a:gd name="T1" fmla="*/ 145 h 145"/>
                <a:gd name="T2" fmla="*/ 342 w 342"/>
                <a:gd name="T3" fmla="*/ 117 h 145"/>
                <a:gd name="T4" fmla="*/ 234 w 342"/>
                <a:gd name="T5" fmla="*/ 0 h 145"/>
                <a:gd name="T6" fmla="*/ 171 w 342"/>
                <a:gd name="T7" fmla="*/ 56 h 145"/>
                <a:gd name="T8" fmla="*/ 108 w 342"/>
                <a:gd name="T9" fmla="*/ 0 h 145"/>
                <a:gd name="T10" fmla="*/ 0 w 342"/>
                <a:gd name="T11" fmla="*/ 117 h 145"/>
                <a:gd name="T12" fmla="*/ 0 w 342"/>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342" h="145">
                  <a:moveTo>
                    <a:pt x="342" y="145"/>
                  </a:moveTo>
                  <a:lnTo>
                    <a:pt x="342" y="117"/>
                  </a:lnTo>
                  <a:cubicBezTo>
                    <a:pt x="342" y="57"/>
                    <a:pt x="297" y="16"/>
                    <a:pt x="234" y="0"/>
                  </a:cubicBezTo>
                  <a:lnTo>
                    <a:pt x="171" y="56"/>
                  </a:lnTo>
                  <a:lnTo>
                    <a:pt x="108" y="0"/>
                  </a:lnTo>
                  <a:cubicBezTo>
                    <a:pt x="45" y="16"/>
                    <a:pt x="0" y="57"/>
                    <a:pt x="0" y="117"/>
                  </a:cubicBezTo>
                  <a:lnTo>
                    <a:pt x="0" y="145"/>
                  </a:lnTo>
                </a:path>
              </a:pathLst>
            </a:custGeom>
            <a:noFill/>
            <a:ln w="63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Oval 138">
              <a:extLst>
                <a:ext uri="{FF2B5EF4-FFF2-40B4-BE49-F238E27FC236}">
                  <a16:creationId xmlns:a16="http://schemas.microsoft.com/office/drawing/2014/main" id="{91FBB9E1-CE4C-BAB4-2496-64A0FC804BB2}"/>
                </a:ext>
              </a:extLst>
            </p:cNvPr>
            <p:cNvSpPr>
              <a:spLocks noChangeArrowheads="1"/>
            </p:cNvSpPr>
            <p:nvPr/>
          </p:nvSpPr>
          <p:spPr bwMode="auto">
            <a:xfrm>
              <a:off x="6015038" y="2192338"/>
              <a:ext cx="152400" cy="152400"/>
            </a:xfrm>
            <a:prstGeom prst="ellipse">
              <a:avLst/>
            </a:prstGeom>
            <a:noFill/>
            <a:ln w="63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139">
              <a:extLst>
                <a:ext uri="{FF2B5EF4-FFF2-40B4-BE49-F238E27FC236}">
                  <a16:creationId xmlns:a16="http://schemas.microsoft.com/office/drawing/2014/main" id="{EE066F22-ADB3-1B20-890E-B873BE045ABE}"/>
                </a:ext>
              </a:extLst>
            </p:cNvPr>
            <p:cNvSpPr>
              <a:spLocks/>
            </p:cNvSpPr>
            <p:nvPr/>
          </p:nvSpPr>
          <p:spPr bwMode="auto">
            <a:xfrm>
              <a:off x="5962650" y="2381250"/>
              <a:ext cx="255588" cy="107950"/>
            </a:xfrm>
            <a:custGeom>
              <a:avLst/>
              <a:gdLst>
                <a:gd name="T0" fmla="*/ 341 w 341"/>
                <a:gd name="T1" fmla="*/ 145 h 145"/>
                <a:gd name="T2" fmla="*/ 341 w 341"/>
                <a:gd name="T3" fmla="*/ 117 h 145"/>
                <a:gd name="T4" fmla="*/ 234 w 341"/>
                <a:gd name="T5" fmla="*/ 0 h 145"/>
                <a:gd name="T6" fmla="*/ 171 w 341"/>
                <a:gd name="T7" fmla="*/ 56 h 145"/>
                <a:gd name="T8" fmla="*/ 108 w 341"/>
                <a:gd name="T9" fmla="*/ 0 h 145"/>
                <a:gd name="T10" fmla="*/ 0 w 341"/>
                <a:gd name="T11" fmla="*/ 117 h 145"/>
                <a:gd name="T12" fmla="*/ 0 w 341"/>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341" h="145">
                  <a:moveTo>
                    <a:pt x="341" y="145"/>
                  </a:moveTo>
                  <a:lnTo>
                    <a:pt x="341" y="117"/>
                  </a:lnTo>
                  <a:cubicBezTo>
                    <a:pt x="341" y="57"/>
                    <a:pt x="297" y="16"/>
                    <a:pt x="234" y="0"/>
                  </a:cubicBezTo>
                  <a:lnTo>
                    <a:pt x="171" y="56"/>
                  </a:lnTo>
                  <a:lnTo>
                    <a:pt x="108" y="0"/>
                  </a:lnTo>
                  <a:cubicBezTo>
                    <a:pt x="45" y="16"/>
                    <a:pt x="0" y="57"/>
                    <a:pt x="0" y="117"/>
                  </a:cubicBezTo>
                  <a:lnTo>
                    <a:pt x="0" y="145"/>
                  </a:lnTo>
                </a:path>
              </a:pathLst>
            </a:custGeom>
            <a:noFill/>
            <a:ln w="63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Oval 140">
              <a:extLst>
                <a:ext uri="{FF2B5EF4-FFF2-40B4-BE49-F238E27FC236}">
                  <a16:creationId xmlns:a16="http://schemas.microsoft.com/office/drawing/2014/main" id="{F02E3724-A012-42EE-2B58-26349E075E25}"/>
                </a:ext>
              </a:extLst>
            </p:cNvPr>
            <p:cNvSpPr>
              <a:spLocks noChangeArrowheads="1"/>
            </p:cNvSpPr>
            <p:nvPr/>
          </p:nvSpPr>
          <p:spPr bwMode="auto">
            <a:xfrm>
              <a:off x="6319838" y="2192338"/>
              <a:ext cx="152400" cy="152400"/>
            </a:xfrm>
            <a:prstGeom prst="ellipse">
              <a:avLst/>
            </a:prstGeom>
            <a:noFill/>
            <a:ln w="63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Freeform 141">
              <a:extLst>
                <a:ext uri="{FF2B5EF4-FFF2-40B4-BE49-F238E27FC236}">
                  <a16:creationId xmlns:a16="http://schemas.microsoft.com/office/drawing/2014/main" id="{C0B6F641-0C1E-1C7B-1760-DB5807E551A2}"/>
                </a:ext>
              </a:extLst>
            </p:cNvPr>
            <p:cNvSpPr>
              <a:spLocks/>
            </p:cNvSpPr>
            <p:nvPr/>
          </p:nvSpPr>
          <p:spPr bwMode="auto">
            <a:xfrm>
              <a:off x="6269038" y="2381250"/>
              <a:ext cx="255588" cy="107950"/>
            </a:xfrm>
            <a:custGeom>
              <a:avLst/>
              <a:gdLst>
                <a:gd name="T0" fmla="*/ 341 w 341"/>
                <a:gd name="T1" fmla="*/ 145 h 145"/>
                <a:gd name="T2" fmla="*/ 341 w 341"/>
                <a:gd name="T3" fmla="*/ 117 h 145"/>
                <a:gd name="T4" fmla="*/ 234 w 341"/>
                <a:gd name="T5" fmla="*/ 0 h 145"/>
                <a:gd name="T6" fmla="*/ 171 w 341"/>
                <a:gd name="T7" fmla="*/ 56 h 145"/>
                <a:gd name="T8" fmla="*/ 108 w 341"/>
                <a:gd name="T9" fmla="*/ 0 h 145"/>
                <a:gd name="T10" fmla="*/ 0 w 341"/>
                <a:gd name="T11" fmla="*/ 117 h 145"/>
                <a:gd name="T12" fmla="*/ 0 w 341"/>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341" h="145">
                  <a:moveTo>
                    <a:pt x="341" y="145"/>
                  </a:moveTo>
                  <a:lnTo>
                    <a:pt x="341" y="117"/>
                  </a:lnTo>
                  <a:cubicBezTo>
                    <a:pt x="341" y="57"/>
                    <a:pt x="297" y="16"/>
                    <a:pt x="234" y="0"/>
                  </a:cubicBezTo>
                  <a:lnTo>
                    <a:pt x="171" y="56"/>
                  </a:lnTo>
                  <a:lnTo>
                    <a:pt x="108" y="0"/>
                  </a:lnTo>
                  <a:cubicBezTo>
                    <a:pt x="45" y="16"/>
                    <a:pt x="0" y="57"/>
                    <a:pt x="0" y="117"/>
                  </a:cubicBezTo>
                  <a:lnTo>
                    <a:pt x="0" y="145"/>
                  </a:lnTo>
                </a:path>
              </a:pathLst>
            </a:custGeom>
            <a:noFill/>
            <a:ln w="63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Oval 142">
              <a:extLst>
                <a:ext uri="{FF2B5EF4-FFF2-40B4-BE49-F238E27FC236}">
                  <a16:creationId xmlns:a16="http://schemas.microsoft.com/office/drawing/2014/main" id="{F070B19C-38E7-8F50-E996-2863CD7A95E0}"/>
                </a:ext>
              </a:extLst>
            </p:cNvPr>
            <p:cNvSpPr>
              <a:spLocks noChangeArrowheads="1"/>
            </p:cNvSpPr>
            <p:nvPr/>
          </p:nvSpPr>
          <p:spPr bwMode="auto">
            <a:xfrm>
              <a:off x="5992813" y="1608138"/>
              <a:ext cx="171450" cy="171450"/>
            </a:xfrm>
            <a:prstGeom prst="ellipse">
              <a:avLst/>
            </a:prstGeom>
            <a:noFill/>
            <a:ln w="63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143">
              <a:extLst>
                <a:ext uri="{FF2B5EF4-FFF2-40B4-BE49-F238E27FC236}">
                  <a16:creationId xmlns:a16="http://schemas.microsoft.com/office/drawing/2014/main" id="{DF86E314-1664-3E44-81DA-8E52FF2B5A05}"/>
                </a:ext>
              </a:extLst>
            </p:cNvPr>
            <p:cNvSpPr>
              <a:spLocks/>
            </p:cNvSpPr>
            <p:nvPr/>
          </p:nvSpPr>
          <p:spPr bwMode="auto">
            <a:xfrm>
              <a:off x="5934075" y="1817688"/>
              <a:ext cx="288925" cy="123825"/>
            </a:xfrm>
            <a:custGeom>
              <a:avLst/>
              <a:gdLst>
                <a:gd name="T0" fmla="*/ 383 w 383"/>
                <a:gd name="T1" fmla="*/ 164 h 164"/>
                <a:gd name="T2" fmla="*/ 383 w 383"/>
                <a:gd name="T3" fmla="*/ 133 h 164"/>
                <a:gd name="T4" fmla="*/ 263 w 383"/>
                <a:gd name="T5" fmla="*/ 0 h 164"/>
                <a:gd name="T6" fmla="*/ 192 w 383"/>
                <a:gd name="T7" fmla="*/ 63 h 164"/>
                <a:gd name="T8" fmla="*/ 121 w 383"/>
                <a:gd name="T9" fmla="*/ 0 h 164"/>
                <a:gd name="T10" fmla="*/ 0 w 383"/>
                <a:gd name="T11" fmla="*/ 133 h 164"/>
                <a:gd name="T12" fmla="*/ 0 w 383"/>
                <a:gd name="T13" fmla="*/ 164 h 164"/>
              </a:gdLst>
              <a:ahLst/>
              <a:cxnLst>
                <a:cxn ang="0">
                  <a:pos x="T0" y="T1"/>
                </a:cxn>
                <a:cxn ang="0">
                  <a:pos x="T2" y="T3"/>
                </a:cxn>
                <a:cxn ang="0">
                  <a:pos x="T4" y="T5"/>
                </a:cxn>
                <a:cxn ang="0">
                  <a:pos x="T6" y="T7"/>
                </a:cxn>
                <a:cxn ang="0">
                  <a:pos x="T8" y="T9"/>
                </a:cxn>
                <a:cxn ang="0">
                  <a:pos x="T10" y="T11"/>
                </a:cxn>
                <a:cxn ang="0">
                  <a:pos x="T12" y="T13"/>
                </a:cxn>
              </a:cxnLst>
              <a:rect l="0" t="0" r="r" b="b"/>
              <a:pathLst>
                <a:path w="383" h="164">
                  <a:moveTo>
                    <a:pt x="383" y="164"/>
                  </a:moveTo>
                  <a:lnTo>
                    <a:pt x="383" y="133"/>
                  </a:lnTo>
                  <a:cubicBezTo>
                    <a:pt x="383" y="64"/>
                    <a:pt x="333" y="18"/>
                    <a:pt x="263" y="0"/>
                  </a:cubicBezTo>
                  <a:lnTo>
                    <a:pt x="192" y="63"/>
                  </a:lnTo>
                  <a:lnTo>
                    <a:pt x="121" y="0"/>
                  </a:lnTo>
                  <a:cubicBezTo>
                    <a:pt x="50" y="18"/>
                    <a:pt x="0" y="64"/>
                    <a:pt x="0" y="133"/>
                  </a:cubicBezTo>
                  <a:lnTo>
                    <a:pt x="0" y="164"/>
                  </a:lnTo>
                </a:path>
              </a:pathLst>
            </a:custGeom>
            <a:noFill/>
            <a:ln w="63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Oval 144">
              <a:extLst>
                <a:ext uri="{FF2B5EF4-FFF2-40B4-BE49-F238E27FC236}">
                  <a16:creationId xmlns:a16="http://schemas.microsoft.com/office/drawing/2014/main" id="{7C69A4A3-248B-E6E4-F9A9-B78169EDC9B1}"/>
                </a:ext>
              </a:extLst>
            </p:cNvPr>
            <p:cNvSpPr>
              <a:spLocks noChangeArrowheads="1"/>
            </p:cNvSpPr>
            <p:nvPr/>
          </p:nvSpPr>
          <p:spPr bwMode="auto">
            <a:xfrm>
              <a:off x="5848350" y="2085975"/>
              <a:ext cx="53975" cy="53975"/>
            </a:xfrm>
            <a:prstGeom prst="ellipse">
              <a:avLst/>
            </a:pr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Oval 145">
              <a:extLst>
                <a:ext uri="{FF2B5EF4-FFF2-40B4-BE49-F238E27FC236}">
                  <a16:creationId xmlns:a16="http://schemas.microsoft.com/office/drawing/2014/main" id="{140F2769-5EE9-F5F8-CD17-2F1CB93BFA11}"/>
                </a:ext>
              </a:extLst>
            </p:cNvPr>
            <p:cNvSpPr>
              <a:spLocks noChangeArrowheads="1"/>
            </p:cNvSpPr>
            <p:nvPr/>
          </p:nvSpPr>
          <p:spPr bwMode="auto">
            <a:xfrm>
              <a:off x="6051550" y="2085975"/>
              <a:ext cx="53975" cy="53975"/>
            </a:xfrm>
            <a:prstGeom prst="ellipse">
              <a:avLst/>
            </a:pr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Oval 146">
              <a:extLst>
                <a:ext uri="{FF2B5EF4-FFF2-40B4-BE49-F238E27FC236}">
                  <a16:creationId xmlns:a16="http://schemas.microsoft.com/office/drawing/2014/main" id="{E84E5F97-4884-C589-3E70-C44A8F068DFC}"/>
                </a:ext>
              </a:extLst>
            </p:cNvPr>
            <p:cNvSpPr>
              <a:spLocks noChangeArrowheads="1"/>
            </p:cNvSpPr>
            <p:nvPr/>
          </p:nvSpPr>
          <p:spPr bwMode="auto">
            <a:xfrm>
              <a:off x="6254750" y="2085975"/>
              <a:ext cx="53975" cy="53975"/>
            </a:xfrm>
            <a:prstGeom prst="ellipse">
              <a:avLst/>
            </a:pr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147">
              <a:extLst>
                <a:ext uri="{FF2B5EF4-FFF2-40B4-BE49-F238E27FC236}">
                  <a16:creationId xmlns:a16="http://schemas.microsoft.com/office/drawing/2014/main" id="{4D8581F8-D2BF-CA81-4FF1-636E11B3E597}"/>
                </a:ext>
              </a:extLst>
            </p:cNvPr>
            <p:cNvSpPr>
              <a:spLocks/>
            </p:cNvSpPr>
            <p:nvPr/>
          </p:nvSpPr>
          <p:spPr bwMode="auto">
            <a:xfrm>
              <a:off x="5900738" y="1971675"/>
              <a:ext cx="95250" cy="131763"/>
            </a:xfrm>
            <a:custGeom>
              <a:avLst/>
              <a:gdLst>
                <a:gd name="T0" fmla="*/ 0 w 128"/>
                <a:gd name="T1" fmla="*/ 174 h 174"/>
                <a:gd name="T2" fmla="*/ 128 w 128"/>
                <a:gd name="T3" fmla="*/ 0 h 174"/>
              </a:gdLst>
              <a:ahLst/>
              <a:cxnLst>
                <a:cxn ang="0">
                  <a:pos x="T0" y="T1"/>
                </a:cxn>
                <a:cxn ang="0">
                  <a:pos x="T2" y="T3"/>
                </a:cxn>
              </a:cxnLst>
              <a:rect l="0" t="0" r="r" b="b"/>
              <a:pathLst>
                <a:path w="128" h="174">
                  <a:moveTo>
                    <a:pt x="0" y="174"/>
                  </a:moveTo>
                  <a:cubicBezTo>
                    <a:pt x="126" y="101"/>
                    <a:pt x="128" y="5"/>
                    <a:pt x="128" y="0"/>
                  </a:cubicBez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Line 148">
              <a:extLst>
                <a:ext uri="{FF2B5EF4-FFF2-40B4-BE49-F238E27FC236}">
                  <a16:creationId xmlns:a16="http://schemas.microsoft.com/office/drawing/2014/main" id="{94A4E103-1C0E-6C55-10CC-9E2F7625EBB0}"/>
                </a:ext>
              </a:extLst>
            </p:cNvPr>
            <p:cNvSpPr>
              <a:spLocks noChangeShapeType="1"/>
            </p:cNvSpPr>
            <p:nvPr/>
          </p:nvSpPr>
          <p:spPr bwMode="auto">
            <a:xfrm>
              <a:off x="6078538" y="1971675"/>
              <a:ext cx="0" cy="11430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149">
              <a:extLst>
                <a:ext uri="{FF2B5EF4-FFF2-40B4-BE49-F238E27FC236}">
                  <a16:creationId xmlns:a16="http://schemas.microsoft.com/office/drawing/2014/main" id="{B60A05B0-CF05-1E59-EA82-5A83E2C69883}"/>
                </a:ext>
              </a:extLst>
            </p:cNvPr>
            <p:cNvSpPr>
              <a:spLocks/>
            </p:cNvSpPr>
            <p:nvPr/>
          </p:nvSpPr>
          <p:spPr bwMode="auto">
            <a:xfrm>
              <a:off x="6161088" y="1971675"/>
              <a:ext cx="96838" cy="131763"/>
            </a:xfrm>
            <a:custGeom>
              <a:avLst/>
              <a:gdLst>
                <a:gd name="T0" fmla="*/ 128 w 128"/>
                <a:gd name="T1" fmla="*/ 174 h 174"/>
                <a:gd name="T2" fmla="*/ 0 w 128"/>
                <a:gd name="T3" fmla="*/ 0 h 174"/>
              </a:gdLst>
              <a:ahLst/>
              <a:cxnLst>
                <a:cxn ang="0">
                  <a:pos x="T0" y="T1"/>
                </a:cxn>
                <a:cxn ang="0">
                  <a:pos x="T2" y="T3"/>
                </a:cxn>
              </a:cxnLst>
              <a:rect l="0" t="0" r="r" b="b"/>
              <a:pathLst>
                <a:path w="128" h="174">
                  <a:moveTo>
                    <a:pt x="128" y="174"/>
                  </a:moveTo>
                  <a:cubicBezTo>
                    <a:pt x="2" y="101"/>
                    <a:pt x="0" y="5"/>
                    <a:pt x="0" y="0"/>
                  </a:cubicBez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3" name="Collaboration5" descr="{&quot;Key&quot;:&quot;POWER_USER_SHAPE_ICON&quot;,&quot;Value&quot;:&quot;POWER_USER_SHAPE_ICON_STYLE_1&quot;}">
            <a:extLst>
              <a:ext uri="{FF2B5EF4-FFF2-40B4-BE49-F238E27FC236}">
                <a16:creationId xmlns:a16="http://schemas.microsoft.com/office/drawing/2014/main" id="{A39F81A8-5AA3-9E33-B8D4-3A307B315179}"/>
              </a:ext>
            </a:extLst>
          </p:cNvPr>
          <p:cNvGrpSpPr>
            <a:grpSpLocks noChangeAspect="1"/>
          </p:cNvGrpSpPr>
          <p:nvPr>
            <p:custDataLst>
              <p:tags r:id="rId3"/>
            </p:custDataLst>
          </p:nvPr>
        </p:nvGrpSpPr>
        <p:grpSpPr>
          <a:xfrm>
            <a:off x="1427987" y="3256059"/>
            <a:ext cx="298238" cy="298829"/>
            <a:chOff x="2976563" y="4403725"/>
            <a:chExt cx="801688" cy="803275"/>
          </a:xfrm>
        </p:grpSpPr>
        <p:sp>
          <p:nvSpPr>
            <p:cNvPr id="114" name="Freeform 161">
              <a:extLst>
                <a:ext uri="{FF2B5EF4-FFF2-40B4-BE49-F238E27FC236}">
                  <a16:creationId xmlns:a16="http://schemas.microsoft.com/office/drawing/2014/main" id="{02EA4128-1AA0-A364-3EE4-C40A8FA42734}"/>
                </a:ext>
              </a:extLst>
            </p:cNvPr>
            <p:cNvSpPr>
              <a:spLocks/>
            </p:cNvSpPr>
            <p:nvPr/>
          </p:nvSpPr>
          <p:spPr bwMode="auto">
            <a:xfrm>
              <a:off x="2976563" y="4819650"/>
              <a:ext cx="390525" cy="373063"/>
            </a:xfrm>
            <a:custGeom>
              <a:avLst/>
              <a:gdLst>
                <a:gd name="T0" fmla="*/ 89 w 522"/>
                <a:gd name="T1" fmla="*/ 413 h 496"/>
                <a:gd name="T2" fmla="*/ 332 w 522"/>
                <a:gd name="T3" fmla="*/ 452 h 496"/>
                <a:gd name="T4" fmla="*/ 452 w 522"/>
                <a:gd name="T5" fmla="*/ 426 h 496"/>
                <a:gd name="T6" fmla="*/ 488 w 522"/>
                <a:gd name="T7" fmla="*/ 415 h 496"/>
                <a:gd name="T8" fmla="*/ 472 w 522"/>
                <a:gd name="T9" fmla="*/ 360 h 496"/>
                <a:gd name="T10" fmla="*/ 385 w 522"/>
                <a:gd name="T11" fmla="*/ 344 h 496"/>
                <a:gd name="T12" fmla="*/ 382 w 522"/>
                <a:gd name="T13" fmla="*/ 344 h 496"/>
                <a:gd name="T14" fmla="*/ 504 w 522"/>
                <a:gd name="T15" fmla="*/ 222 h 496"/>
                <a:gd name="T16" fmla="*/ 504 w 522"/>
                <a:gd name="T17" fmla="*/ 163 h 496"/>
                <a:gd name="T18" fmla="*/ 474 w 522"/>
                <a:gd name="T19" fmla="*/ 151 h 496"/>
                <a:gd name="T20" fmla="*/ 445 w 522"/>
                <a:gd name="T21" fmla="*/ 163 h 496"/>
                <a:gd name="T22" fmla="*/ 351 w 522"/>
                <a:gd name="T23" fmla="*/ 258 h 496"/>
                <a:gd name="T24" fmla="*/ 474 w 522"/>
                <a:gd name="T25" fmla="*/ 134 h 496"/>
                <a:gd name="T26" fmla="*/ 474 w 522"/>
                <a:gd name="T27" fmla="*/ 74 h 496"/>
                <a:gd name="T28" fmla="*/ 415 w 522"/>
                <a:gd name="T29" fmla="*/ 74 h 496"/>
                <a:gd name="T30" fmla="*/ 283 w 522"/>
                <a:gd name="T31" fmla="*/ 207 h 496"/>
                <a:gd name="T32" fmla="*/ 399 w 522"/>
                <a:gd name="T33" fmla="*/ 91 h 496"/>
                <a:gd name="T34" fmla="*/ 399 w 522"/>
                <a:gd name="T35" fmla="*/ 31 h 496"/>
                <a:gd name="T36" fmla="*/ 369 w 522"/>
                <a:gd name="T37" fmla="*/ 19 h 496"/>
                <a:gd name="T38" fmla="*/ 339 w 522"/>
                <a:gd name="T39" fmla="*/ 31 h 496"/>
                <a:gd name="T40" fmla="*/ 213 w 522"/>
                <a:gd name="T41" fmla="*/ 157 h 496"/>
                <a:gd name="T42" fmla="*/ 300 w 522"/>
                <a:gd name="T43" fmla="*/ 71 h 496"/>
                <a:gd name="T44" fmla="*/ 300 w 522"/>
                <a:gd name="T45" fmla="*/ 16 h 496"/>
                <a:gd name="T46" fmla="*/ 245 w 522"/>
                <a:gd name="T47" fmla="*/ 15 h 496"/>
                <a:gd name="T48" fmla="*/ 73 w 522"/>
                <a:gd name="T49" fmla="*/ 186 h 496"/>
                <a:gd name="T50" fmla="*/ 89 w 522"/>
                <a:gd name="T51" fmla="*/ 413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496">
                  <a:moveTo>
                    <a:pt x="89" y="413"/>
                  </a:moveTo>
                  <a:cubicBezTo>
                    <a:pt x="172" y="496"/>
                    <a:pt x="235" y="494"/>
                    <a:pt x="332" y="452"/>
                  </a:cubicBezTo>
                  <a:cubicBezTo>
                    <a:pt x="387" y="428"/>
                    <a:pt x="428" y="427"/>
                    <a:pt x="452" y="426"/>
                  </a:cubicBezTo>
                  <a:cubicBezTo>
                    <a:pt x="470" y="426"/>
                    <a:pt x="482" y="425"/>
                    <a:pt x="488" y="415"/>
                  </a:cubicBezTo>
                  <a:cubicBezTo>
                    <a:pt x="495" y="400"/>
                    <a:pt x="488" y="376"/>
                    <a:pt x="472" y="360"/>
                  </a:cubicBezTo>
                  <a:cubicBezTo>
                    <a:pt x="460" y="348"/>
                    <a:pt x="433" y="330"/>
                    <a:pt x="385" y="344"/>
                  </a:cubicBezTo>
                  <a:cubicBezTo>
                    <a:pt x="384" y="344"/>
                    <a:pt x="383" y="344"/>
                    <a:pt x="382" y="344"/>
                  </a:cubicBezTo>
                  <a:lnTo>
                    <a:pt x="504" y="222"/>
                  </a:lnTo>
                  <a:cubicBezTo>
                    <a:pt x="518" y="208"/>
                    <a:pt x="522" y="181"/>
                    <a:pt x="504" y="163"/>
                  </a:cubicBezTo>
                  <a:cubicBezTo>
                    <a:pt x="496" y="155"/>
                    <a:pt x="486" y="151"/>
                    <a:pt x="474" y="151"/>
                  </a:cubicBezTo>
                  <a:cubicBezTo>
                    <a:pt x="463" y="151"/>
                    <a:pt x="453" y="155"/>
                    <a:pt x="445" y="163"/>
                  </a:cubicBezTo>
                  <a:lnTo>
                    <a:pt x="351" y="258"/>
                  </a:lnTo>
                  <a:lnTo>
                    <a:pt x="474" y="134"/>
                  </a:lnTo>
                  <a:cubicBezTo>
                    <a:pt x="488" y="120"/>
                    <a:pt x="492" y="93"/>
                    <a:pt x="474" y="74"/>
                  </a:cubicBezTo>
                  <a:cubicBezTo>
                    <a:pt x="458" y="58"/>
                    <a:pt x="431" y="58"/>
                    <a:pt x="415" y="74"/>
                  </a:cubicBezTo>
                  <a:lnTo>
                    <a:pt x="283" y="207"/>
                  </a:lnTo>
                  <a:lnTo>
                    <a:pt x="399" y="91"/>
                  </a:lnTo>
                  <a:cubicBezTo>
                    <a:pt x="413" y="76"/>
                    <a:pt x="417" y="50"/>
                    <a:pt x="399" y="31"/>
                  </a:cubicBezTo>
                  <a:cubicBezTo>
                    <a:pt x="391" y="24"/>
                    <a:pt x="380" y="19"/>
                    <a:pt x="369" y="19"/>
                  </a:cubicBezTo>
                  <a:cubicBezTo>
                    <a:pt x="358" y="19"/>
                    <a:pt x="347" y="23"/>
                    <a:pt x="339" y="31"/>
                  </a:cubicBezTo>
                  <a:lnTo>
                    <a:pt x="213" y="157"/>
                  </a:lnTo>
                  <a:lnTo>
                    <a:pt x="300" y="71"/>
                  </a:lnTo>
                  <a:cubicBezTo>
                    <a:pt x="313" y="57"/>
                    <a:pt x="317" y="33"/>
                    <a:pt x="300" y="16"/>
                  </a:cubicBezTo>
                  <a:cubicBezTo>
                    <a:pt x="285" y="0"/>
                    <a:pt x="260" y="0"/>
                    <a:pt x="245" y="15"/>
                  </a:cubicBezTo>
                  <a:lnTo>
                    <a:pt x="73" y="186"/>
                  </a:lnTo>
                  <a:cubicBezTo>
                    <a:pt x="26" y="232"/>
                    <a:pt x="0" y="323"/>
                    <a:pt x="89" y="413"/>
                  </a:cubicBezTo>
                  <a:close/>
                </a:path>
              </a:pathLst>
            </a:custGeom>
            <a:noFill/>
            <a:ln w="63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162">
              <a:extLst>
                <a:ext uri="{FF2B5EF4-FFF2-40B4-BE49-F238E27FC236}">
                  <a16:creationId xmlns:a16="http://schemas.microsoft.com/office/drawing/2014/main" id="{A2206651-4A71-E23E-D990-F00AA839BA97}"/>
                </a:ext>
              </a:extLst>
            </p:cNvPr>
            <p:cNvSpPr>
              <a:spLocks/>
            </p:cNvSpPr>
            <p:nvPr/>
          </p:nvSpPr>
          <p:spPr bwMode="auto">
            <a:xfrm>
              <a:off x="3386138" y="4418013"/>
              <a:ext cx="392113" cy="373063"/>
            </a:xfrm>
            <a:custGeom>
              <a:avLst/>
              <a:gdLst>
                <a:gd name="T0" fmla="*/ 433 w 523"/>
                <a:gd name="T1" fmla="*/ 84 h 496"/>
                <a:gd name="T2" fmla="*/ 190 w 523"/>
                <a:gd name="T3" fmla="*/ 45 h 496"/>
                <a:gd name="T4" fmla="*/ 70 w 523"/>
                <a:gd name="T5" fmla="*/ 70 h 496"/>
                <a:gd name="T6" fmla="*/ 35 w 523"/>
                <a:gd name="T7" fmla="*/ 82 h 496"/>
                <a:gd name="T8" fmla="*/ 50 w 523"/>
                <a:gd name="T9" fmla="*/ 137 h 496"/>
                <a:gd name="T10" fmla="*/ 138 w 523"/>
                <a:gd name="T11" fmla="*/ 153 h 496"/>
                <a:gd name="T12" fmla="*/ 140 w 523"/>
                <a:gd name="T13" fmla="*/ 152 h 496"/>
                <a:gd name="T14" fmla="*/ 18 w 523"/>
                <a:gd name="T15" fmla="*/ 274 h 496"/>
                <a:gd name="T16" fmla="*/ 18 w 523"/>
                <a:gd name="T17" fmla="*/ 333 h 496"/>
                <a:gd name="T18" fmla="*/ 48 w 523"/>
                <a:gd name="T19" fmla="*/ 345 h 496"/>
                <a:gd name="T20" fmla="*/ 77 w 523"/>
                <a:gd name="T21" fmla="*/ 333 h 496"/>
                <a:gd name="T22" fmla="*/ 172 w 523"/>
                <a:gd name="T23" fmla="*/ 239 h 496"/>
                <a:gd name="T24" fmla="*/ 48 w 523"/>
                <a:gd name="T25" fmla="*/ 363 h 496"/>
                <a:gd name="T26" fmla="*/ 48 w 523"/>
                <a:gd name="T27" fmla="*/ 422 h 496"/>
                <a:gd name="T28" fmla="*/ 107 w 523"/>
                <a:gd name="T29" fmla="*/ 422 h 496"/>
                <a:gd name="T30" fmla="*/ 240 w 523"/>
                <a:gd name="T31" fmla="*/ 290 h 496"/>
                <a:gd name="T32" fmla="*/ 123 w 523"/>
                <a:gd name="T33" fmla="*/ 406 h 496"/>
                <a:gd name="T34" fmla="*/ 123 w 523"/>
                <a:gd name="T35" fmla="*/ 465 h 496"/>
                <a:gd name="T36" fmla="*/ 153 w 523"/>
                <a:gd name="T37" fmla="*/ 477 h 496"/>
                <a:gd name="T38" fmla="*/ 183 w 523"/>
                <a:gd name="T39" fmla="*/ 465 h 496"/>
                <a:gd name="T40" fmla="*/ 309 w 523"/>
                <a:gd name="T41" fmla="*/ 339 h 496"/>
                <a:gd name="T42" fmla="*/ 222 w 523"/>
                <a:gd name="T43" fmla="*/ 426 h 496"/>
                <a:gd name="T44" fmla="*/ 222 w 523"/>
                <a:gd name="T45" fmla="*/ 481 h 496"/>
                <a:gd name="T46" fmla="*/ 278 w 523"/>
                <a:gd name="T47" fmla="*/ 481 h 496"/>
                <a:gd name="T48" fmla="*/ 450 w 523"/>
                <a:gd name="T49" fmla="*/ 310 h 496"/>
                <a:gd name="T50" fmla="*/ 433 w 523"/>
                <a:gd name="T51" fmla="*/ 84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3" h="496">
                  <a:moveTo>
                    <a:pt x="433" y="84"/>
                  </a:moveTo>
                  <a:cubicBezTo>
                    <a:pt x="350" y="0"/>
                    <a:pt x="288" y="2"/>
                    <a:pt x="190" y="45"/>
                  </a:cubicBezTo>
                  <a:cubicBezTo>
                    <a:pt x="135" y="68"/>
                    <a:pt x="95" y="69"/>
                    <a:pt x="70" y="70"/>
                  </a:cubicBezTo>
                  <a:cubicBezTo>
                    <a:pt x="52" y="71"/>
                    <a:pt x="40" y="71"/>
                    <a:pt x="35" y="82"/>
                  </a:cubicBezTo>
                  <a:cubicBezTo>
                    <a:pt x="27" y="97"/>
                    <a:pt x="34" y="121"/>
                    <a:pt x="50" y="137"/>
                  </a:cubicBezTo>
                  <a:cubicBezTo>
                    <a:pt x="62" y="149"/>
                    <a:pt x="89" y="167"/>
                    <a:pt x="138" y="153"/>
                  </a:cubicBezTo>
                  <a:cubicBezTo>
                    <a:pt x="139" y="152"/>
                    <a:pt x="139" y="152"/>
                    <a:pt x="140" y="152"/>
                  </a:cubicBezTo>
                  <a:lnTo>
                    <a:pt x="18" y="274"/>
                  </a:lnTo>
                  <a:cubicBezTo>
                    <a:pt x="4" y="288"/>
                    <a:pt x="0" y="315"/>
                    <a:pt x="18" y="333"/>
                  </a:cubicBezTo>
                  <a:cubicBezTo>
                    <a:pt x="26" y="341"/>
                    <a:pt x="37" y="345"/>
                    <a:pt x="48" y="345"/>
                  </a:cubicBezTo>
                  <a:cubicBezTo>
                    <a:pt x="59" y="345"/>
                    <a:pt x="69" y="341"/>
                    <a:pt x="77" y="333"/>
                  </a:cubicBezTo>
                  <a:lnTo>
                    <a:pt x="172" y="239"/>
                  </a:lnTo>
                  <a:lnTo>
                    <a:pt x="48" y="363"/>
                  </a:lnTo>
                  <a:cubicBezTo>
                    <a:pt x="34" y="377"/>
                    <a:pt x="30" y="404"/>
                    <a:pt x="48" y="422"/>
                  </a:cubicBezTo>
                  <a:cubicBezTo>
                    <a:pt x="65" y="438"/>
                    <a:pt x="91" y="438"/>
                    <a:pt x="107" y="422"/>
                  </a:cubicBezTo>
                  <a:lnTo>
                    <a:pt x="240" y="290"/>
                  </a:lnTo>
                  <a:lnTo>
                    <a:pt x="123" y="406"/>
                  </a:lnTo>
                  <a:cubicBezTo>
                    <a:pt x="109" y="420"/>
                    <a:pt x="105" y="447"/>
                    <a:pt x="123" y="465"/>
                  </a:cubicBezTo>
                  <a:cubicBezTo>
                    <a:pt x="131" y="473"/>
                    <a:pt x="142" y="478"/>
                    <a:pt x="153" y="477"/>
                  </a:cubicBezTo>
                  <a:cubicBezTo>
                    <a:pt x="164" y="477"/>
                    <a:pt x="175" y="473"/>
                    <a:pt x="183" y="465"/>
                  </a:cubicBezTo>
                  <a:lnTo>
                    <a:pt x="309" y="339"/>
                  </a:lnTo>
                  <a:lnTo>
                    <a:pt x="222" y="426"/>
                  </a:lnTo>
                  <a:cubicBezTo>
                    <a:pt x="209" y="439"/>
                    <a:pt x="205" y="464"/>
                    <a:pt x="222" y="481"/>
                  </a:cubicBezTo>
                  <a:cubicBezTo>
                    <a:pt x="237" y="496"/>
                    <a:pt x="262" y="496"/>
                    <a:pt x="278" y="481"/>
                  </a:cubicBezTo>
                  <a:lnTo>
                    <a:pt x="450" y="310"/>
                  </a:lnTo>
                  <a:cubicBezTo>
                    <a:pt x="496" y="264"/>
                    <a:pt x="523" y="173"/>
                    <a:pt x="433" y="84"/>
                  </a:cubicBezTo>
                  <a:close/>
                </a:path>
              </a:pathLst>
            </a:custGeom>
            <a:noFill/>
            <a:ln w="63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163">
              <a:extLst>
                <a:ext uri="{FF2B5EF4-FFF2-40B4-BE49-F238E27FC236}">
                  <a16:creationId xmlns:a16="http://schemas.microsoft.com/office/drawing/2014/main" id="{0A270B6E-8E85-CCF6-E5E1-F5F60049AE7B}"/>
                </a:ext>
              </a:extLst>
            </p:cNvPr>
            <p:cNvSpPr>
              <a:spLocks/>
            </p:cNvSpPr>
            <p:nvPr/>
          </p:nvSpPr>
          <p:spPr bwMode="auto">
            <a:xfrm>
              <a:off x="3390900" y="4813300"/>
              <a:ext cx="373063" cy="393700"/>
            </a:xfrm>
            <a:custGeom>
              <a:avLst/>
              <a:gdLst>
                <a:gd name="T0" fmla="*/ 413 w 496"/>
                <a:gd name="T1" fmla="*/ 433 h 523"/>
                <a:gd name="T2" fmla="*/ 452 w 496"/>
                <a:gd name="T3" fmla="*/ 190 h 523"/>
                <a:gd name="T4" fmla="*/ 426 w 496"/>
                <a:gd name="T5" fmla="*/ 71 h 523"/>
                <a:gd name="T6" fmla="*/ 414 w 496"/>
                <a:gd name="T7" fmla="*/ 35 h 523"/>
                <a:gd name="T8" fmla="*/ 359 w 496"/>
                <a:gd name="T9" fmla="*/ 50 h 523"/>
                <a:gd name="T10" fmla="*/ 344 w 496"/>
                <a:gd name="T11" fmla="*/ 138 h 523"/>
                <a:gd name="T12" fmla="*/ 344 w 496"/>
                <a:gd name="T13" fmla="*/ 140 h 523"/>
                <a:gd name="T14" fmla="*/ 222 w 496"/>
                <a:gd name="T15" fmla="*/ 18 h 523"/>
                <a:gd name="T16" fmla="*/ 163 w 496"/>
                <a:gd name="T17" fmla="*/ 18 h 523"/>
                <a:gd name="T18" fmla="*/ 151 w 496"/>
                <a:gd name="T19" fmla="*/ 48 h 523"/>
                <a:gd name="T20" fmla="*/ 163 w 496"/>
                <a:gd name="T21" fmla="*/ 77 h 523"/>
                <a:gd name="T22" fmla="*/ 258 w 496"/>
                <a:gd name="T23" fmla="*/ 172 h 523"/>
                <a:gd name="T24" fmla="*/ 134 w 496"/>
                <a:gd name="T25" fmla="*/ 48 h 523"/>
                <a:gd name="T26" fmla="*/ 74 w 496"/>
                <a:gd name="T27" fmla="*/ 48 h 523"/>
                <a:gd name="T28" fmla="*/ 74 w 496"/>
                <a:gd name="T29" fmla="*/ 107 h 523"/>
                <a:gd name="T30" fmla="*/ 207 w 496"/>
                <a:gd name="T31" fmla="*/ 240 h 523"/>
                <a:gd name="T32" fmla="*/ 90 w 496"/>
                <a:gd name="T33" fmla="*/ 124 h 523"/>
                <a:gd name="T34" fmla="*/ 31 w 496"/>
                <a:gd name="T35" fmla="*/ 124 h 523"/>
                <a:gd name="T36" fmla="*/ 19 w 496"/>
                <a:gd name="T37" fmla="*/ 153 h 523"/>
                <a:gd name="T38" fmla="*/ 31 w 496"/>
                <a:gd name="T39" fmla="*/ 183 h 523"/>
                <a:gd name="T40" fmla="*/ 157 w 496"/>
                <a:gd name="T41" fmla="*/ 309 h 523"/>
                <a:gd name="T42" fmla="*/ 70 w 496"/>
                <a:gd name="T43" fmla="*/ 222 h 523"/>
                <a:gd name="T44" fmla="*/ 15 w 496"/>
                <a:gd name="T45" fmla="*/ 222 h 523"/>
                <a:gd name="T46" fmla="*/ 15 w 496"/>
                <a:gd name="T47" fmla="*/ 278 h 523"/>
                <a:gd name="T48" fmla="*/ 186 w 496"/>
                <a:gd name="T49" fmla="*/ 450 h 523"/>
                <a:gd name="T50" fmla="*/ 413 w 496"/>
                <a:gd name="T51" fmla="*/ 433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6" h="523">
                  <a:moveTo>
                    <a:pt x="413" y="433"/>
                  </a:moveTo>
                  <a:cubicBezTo>
                    <a:pt x="496" y="350"/>
                    <a:pt x="494" y="288"/>
                    <a:pt x="452" y="190"/>
                  </a:cubicBezTo>
                  <a:cubicBezTo>
                    <a:pt x="428" y="135"/>
                    <a:pt x="427" y="95"/>
                    <a:pt x="426" y="71"/>
                  </a:cubicBezTo>
                  <a:cubicBezTo>
                    <a:pt x="426" y="52"/>
                    <a:pt x="425" y="40"/>
                    <a:pt x="414" y="35"/>
                  </a:cubicBezTo>
                  <a:cubicBezTo>
                    <a:pt x="400" y="27"/>
                    <a:pt x="375" y="34"/>
                    <a:pt x="359" y="50"/>
                  </a:cubicBezTo>
                  <a:cubicBezTo>
                    <a:pt x="348" y="62"/>
                    <a:pt x="330" y="89"/>
                    <a:pt x="344" y="138"/>
                  </a:cubicBezTo>
                  <a:cubicBezTo>
                    <a:pt x="344" y="139"/>
                    <a:pt x="344" y="140"/>
                    <a:pt x="344" y="140"/>
                  </a:cubicBezTo>
                  <a:lnTo>
                    <a:pt x="222" y="18"/>
                  </a:lnTo>
                  <a:cubicBezTo>
                    <a:pt x="208" y="4"/>
                    <a:pt x="181" y="0"/>
                    <a:pt x="163" y="18"/>
                  </a:cubicBezTo>
                  <a:cubicBezTo>
                    <a:pt x="155" y="26"/>
                    <a:pt x="151" y="37"/>
                    <a:pt x="151" y="48"/>
                  </a:cubicBezTo>
                  <a:cubicBezTo>
                    <a:pt x="151" y="59"/>
                    <a:pt x="155" y="69"/>
                    <a:pt x="163" y="77"/>
                  </a:cubicBezTo>
                  <a:lnTo>
                    <a:pt x="258" y="172"/>
                  </a:lnTo>
                  <a:lnTo>
                    <a:pt x="134" y="48"/>
                  </a:lnTo>
                  <a:cubicBezTo>
                    <a:pt x="119" y="34"/>
                    <a:pt x="93" y="30"/>
                    <a:pt x="74" y="48"/>
                  </a:cubicBezTo>
                  <a:cubicBezTo>
                    <a:pt x="58" y="65"/>
                    <a:pt x="58" y="91"/>
                    <a:pt x="74" y="107"/>
                  </a:cubicBezTo>
                  <a:lnTo>
                    <a:pt x="207" y="240"/>
                  </a:lnTo>
                  <a:lnTo>
                    <a:pt x="90" y="124"/>
                  </a:lnTo>
                  <a:cubicBezTo>
                    <a:pt x="76" y="109"/>
                    <a:pt x="50" y="105"/>
                    <a:pt x="31" y="124"/>
                  </a:cubicBezTo>
                  <a:cubicBezTo>
                    <a:pt x="23" y="131"/>
                    <a:pt x="19" y="142"/>
                    <a:pt x="19" y="153"/>
                  </a:cubicBezTo>
                  <a:cubicBezTo>
                    <a:pt x="19" y="165"/>
                    <a:pt x="23" y="175"/>
                    <a:pt x="31" y="183"/>
                  </a:cubicBezTo>
                  <a:lnTo>
                    <a:pt x="157" y="309"/>
                  </a:lnTo>
                  <a:lnTo>
                    <a:pt x="70" y="222"/>
                  </a:lnTo>
                  <a:cubicBezTo>
                    <a:pt x="57" y="209"/>
                    <a:pt x="32" y="205"/>
                    <a:pt x="15" y="222"/>
                  </a:cubicBezTo>
                  <a:cubicBezTo>
                    <a:pt x="0" y="238"/>
                    <a:pt x="0" y="263"/>
                    <a:pt x="15" y="278"/>
                  </a:cubicBezTo>
                  <a:lnTo>
                    <a:pt x="186" y="450"/>
                  </a:lnTo>
                  <a:cubicBezTo>
                    <a:pt x="232" y="496"/>
                    <a:pt x="323" y="523"/>
                    <a:pt x="413" y="433"/>
                  </a:cubicBezTo>
                  <a:close/>
                </a:path>
              </a:pathLst>
            </a:custGeom>
            <a:noFill/>
            <a:ln w="63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164">
              <a:extLst>
                <a:ext uri="{FF2B5EF4-FFF2-40B4-BE49-F238E27FC236}">
                  <a16:creationId xmlns:a16="http://schemas.microsoft.com/office/drawing/2014/main" id="{6C3381B5-4538-AB66-23E5-0B621C3D9AC8}"/>
                </a:ext>
              </a:extLst>
            </p:cNvPr>
            <p:cNvSpPr>
              <a:spLocks/>
            </p:cNvSpPr>
            <p:nvPr/>
          </p:nvSpPr>
          <p:spPr bwMode="auto">
            <a:xfrm>
              <a:off x="2990850" y="4403725"/>
              <a:ext cx="371475" cy="392113"/>
            </a:xfrm>
            <a:custGeom>
              <a:avLst/>
              <a:gdLst>
                <a:gd name="T0" fmla="*/ 84 w 496"/>
                <a:gd name="T1" fmla="*/ 89 h 522"/>
                <a:gd name="T2" fmla="*/ 44 w 496"/>
                <a:gd name="T3" fmla="*/ 333 h 522"/>
                <a:gd name="T4" fmla="*/ 70 w 496"/>
                <a:gd name="T5" fmla="*/ 452 h 522"/>
                <a:gd name="T6" fmla="*/ 82 w 496"/>
                <a:gd name="T7" fmla="*/ 488 h 522"/>
                <a:gd name="T8" fmla="*/ 137 w 496"/>
                <a:gd name="T9" fmla="*/ 472 h 522"/>
                <a:gd name="T10" fmla="*/ 153 w 496"/>
                <a:gd name="T11" fmla="*/ 385 h 522"/>
                <a:gd name="T12" fmla="*/ 152 w 496"/>
                <a:gd name="T13" fmla="*/ 382 h 522"/>
                <a:gd name="T14" fmla="*/ 274 w 496"/>
                <a:gd name="T15" fmla="*/ 504 h 522"/>
                <a:gd name="T16" fmla="*/ 333 w 496"/>
                <a:gd name="T17" fmla="*/ 504 h 522"/>
                <a:gd name="T18" fmla="*/ 345 w 496"/>
                <a:gd name="T19" fmla="*/ 475 h 522"/>
                <a:gd name="T20" fmla="*/ 333 w 496"/>
                <a:gd name="T21" fmla="*/ 445 h 522"/>
                <a:gd name="T22" fmla="*/ 239 w 496"/>
                <a:gd name="T23" fmla="*/ 351 h 522"/>
                <a:gd name="T24" fmla="*/ 363 w 496"/>
                <a:gd name="T25" fmla="*/ 474 h 522"/>
                <a:gd name="T26" fmla="*/ 422 w 496"/>
                <a:gd name="T27" fmla="*/ 474 h 522"/>
                <a:gd name="T28" fmla="*/ 422 w 496"/>
                <a:gd name="T29" fmla="*/ 415 h 522"/>
                <a:gd name="T30" fmla="*/ 290 w 496"/>
                <a:gd name="T31" fmla="*/ 283 h 522"/>
                <a:gd name="T32" fmla="*/ 406 w 496"/>
                <a:gd name="T33" fmla="*/ 399 h 522"/>
                <a:gd name="T34" fmla="*/ 465 w 496"/>
                <a:gd name="T35" fmla="*/ 399 h 522"/>
                <a:gd name="T36" fmla="*/ 477 w 496"/>
                <a:gd name="T37" fmla="*/ 369 h 522"/>
                <a:gd name="T38" fmla="*/ 465 w 496"/>
                <a:gd name="T39" fmla="*/ 339 h 522"/>
                <a:gd name="T40" fmla="*/ 339 w 496"/>
                <a:gd name="T41" fmla="*/ 213 h 522"/>
                <a:gd name="T42" fmla="*/ 426 w 496"/>
                <a:gd name="T43" fmla="*/ 300 h 522"/>
                <a:gd name="T44" fmla="*/ 481 w 496"/>
                <a:gd name="T45" fmla="*/ 300 h 522"/>
                <a:gd name="T46" fmla="*/ 481 w 496"/>
                <a:gd name="T47" fmla="*/ 245 h 522"/>
                <a:gd name="T48" fmla="*/ 310 w 496"/>
                <a:gd name="T49" fmla="*/ 73 h 522"/>
                <a:gd name="T50" fmla="*/ 84 w 496"/>
                <a:gd name="T51" fmla="*/ 89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6" h="522">
                  <a:moveTo>
                    <a:pt x="84" y="89"/>
                  </a:moveTo>
                  <a:cubicBezTo>
                    <a:pt x="0" y="172"/>
                    <a:pt x="2" y="235"/>
                    <a:pt x="44" y="333"/>
                  </a:cubicBezTo>
                  <a:cubicBezTo>
                    <a:pt x="68" y="387"/>
                    <a:pt x="69" y="428"/>
                    <a:pt x="70" y="452"/>
                  </a:cubicBezTo>
                  <a:cubicBezTo>
                    <a:pt x="71" y="470"/>
                    <a:pt x="71" y="482"/>
                    <a:pt x="82" y="488"/>
                  </a:cubicBezTo>
                  <a:cubicBezTo>
                    <a:pt x="96" y="495"/>
                    <a:pt x="121" y="488"/>
                    <a:pt x="137" y="472"/>
                  </a:cubicBezTo>
                  <a:cubicBezTo>
                    <a:pt x="149" y="460"/>
                    <a:pt x="166" y="433"/>
                    <a:pt x="153" y="385"/>
                  </a:cubicBezTo>
                  <a:cubicBezTo>
                    <a:pt x="152" y="384"/>
                    <a:pt x="152" y="383"/>
                    <a:pt x="152" y="382"/>
                  </a:cubicBezTo>
                  <a:lnTo>
                    <a:pt x="274" y="504"/>
                  </a:lnTo>
                  <a:cubicBezTo>
                    <a:pt x="288" y="518"/>
                    <a:pt x="315" y="522"/>
                    <a:pt x="333" y="504"/>
                  </a:cubicBezTo>
                  <a:cubicBezTo>
                    <a:pt x="341" y="496"/>
                    <a:pt x="345" y="486"/>
                    <a:pt x="345" y="475"/>
                  </a:cubicBezTo>
                  <a:cubicBezTo>
                    <a:pt x="345" y="463"/>
                    <a:pt x="341" y="453"/>
                    <a:pt x="333" y="445"/>
                  </a:cubicBezTo>
                  <a:lnTo>
                    <a:pt x="239" y="351"/>
                  </a:lnTo>
                  <a:lnTo>
                    <a:pt x="363" y="474"/>
                  </a:lnTo>
                  <a:cubicBezTo>
                    <a:pt x="377" y="488"/>
                    <a:pt x="404" y="492"/>
                    <a:pt x="422" y="474"/>
                  </a:cubicBezTo>
                  <a:cubicBezTo>
                    <a:pt x="438" y="458"/>
                    <a:pt x="438" y="431"/>
                    <a:pt x="422" y="415"/>
                  </a:cubicBezTo>
                  <a:lnTo>
                    <a:pt x="290" y="283"/>
                  </a:lnTo>
                  <a:lnTo>
                    <a:pt x="406" y="399"/>
                  </a:lnTo>
                  <a:cubicBezTo>
                    <a:pt x="420" y="413"/>
                    <a:pt x="447" y="417"/>
                    <a:pt x="465" y="399"/>
                  </a:cubicBezTo>
                  <a:cubicBezTo>
                    <a:pt x="473" y="391"/>
                    <a:pt x="477" y="380"/>
                    <a:pt x="477" y="369"/>
                  </a:cubicBezTo>
                  <a:cubicBezTo>
                    <a:pt x="477" y="358"/>
                    <a:pt x="473" y="347"/>
                    <a:pt x="465" y="339"/>
                  </a:cubicBezTo>
                  <a:lnTo>
                    <a:pt x="339" y="213"/>
                  </a:lnTo>
                  <a:lnTo>
                    <a:pt x="426" y="300"/>
                  </a:lnTo>
                  <a:cubicBezTo>
                    <a:pt x="439" y="313"/>
                    <a:pt x="464" y="317"/>
                    <a:pt x="481" y="300"/>
                  </a:cubicBezTo>
                  <a:cubicBezTo>
                    <a:pt x="496" y="285"/>
                    <a:pt x="496" y="260"/>
                    <a:pt x="481" y="245"/>
                  </a:cubicBezTo>
                  <a:lnTo>
                    <a:pt x="310" y="73"/>
                  </a:lnTo>
                  <a:cubicBezTo>
                    <a:pt x="264" y="27"/>
                    <a:pt x="173" y="0"/>
                    <a:pt x="84" y="89"/>
                  </a:cubicBezTo>
                  <a:close/>
                </a:path>
              </a:pathLst>
            </a:custGeom>
            <a:noFill/>
            <a:ln w="63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8" name="Textfeld 117">
            <a:extLst>
              <a:ext uri="{FF2B5EF4-FFF2-40B4-BE49-F238E27FC236}">
                <a16:creationId xmlns:a16="http://schemas.microsoft.com/office/drawing/2014/main" id="{8ECFF683-59BA-BD4E-CE0B-02FBDCA44C81}"/>
              </a:ext>
            </a:extLst>
          </p:cNvPr>
          <p:cNvSpPr txBox="1"/>
          <p:nvPr/>
        </p:nvSpPr>
        <p:spPr>
          <a:xfrm>
            <a:off x="1137720" y="3556323"/>
            <a:ext cx="903226" cy="276999"/>
          </a:xfrm>
          <a:prstGeom prst="rect">
            <a:avLst/>
          </a:prstGeom>
          <a:noFill/>
        </p:spPr>
        <p:txBody>
          <a:bodyPr wrap="square" rtlCol="0">
            <a:spAutoFit/>
          </a:bodyPr>
          <a:lstStyle/>
          <a:p>
            <a:pPr algn="ctr"/>
            <a:r>
              <a:rPr lang="en-US" sz="1200"/>
              <a:t>Democratic</a:t>
            </a:r>
          </a:p>
        </p:txBody>
      </p:sp>
      <p:sp>
        <p:nvSpPr>
          <p:cNvPr id="119" name="Textfeld 118">
            <a:extLst>
              <a:ext uri="{FF2B5EF4-FFF2-40B4-BE49-F238E27FC236}">
                <a16:creationId xmlns:a16="http://schemas.microsoft.com/office/drawing/2014/main" id="{29F94521-659A-8B39-D0D1-CE2D9DFAA7C3}"/>
              </a:ext>
            </a:extLst>
          </p:cNvPr>
          <p:cNvSpPr txBox="1"/>
          <p:nvPr/>
        </p:nvSpPr>
        <p:spPr>
          <a:xfrm>
            <a:off x="434022" y="3540781"/>
            <a:ext cx="765802" cy="276999"/>
          </a:xfrm>
          <a:prstGeom prst="rect">
            <a:avLst/>
          </a:prstGeom>
          <a:noFill/>
        </p:spPr>
        <p:txBody>
          <a:bodyPr wrap="square" rtlCol="0">
            <a:spAutoFit/>
          </a:bodyPr>
          <a:lstStyle/>
          <a:p>
            <a:pPr algn="ctr"/>
            <a:r>
              <a:rPr lang="en-US" sz="1200"/>
              <a:t>Coaching</a:t>
            </a:r>
          </a:p>
        </p:txBody>
      </p:sp>
      <p:cxnSp>
        <p:nvCxnSpPr>
          <p:cNvPr id="120" name="Gerader Verbinder 119">
            <a:extLst>
              <a:ext uri="{FF2B5EF4-FFF2-40B4-BE49-F238E27FC236}">
                <a16:creationId xmlns:a16="http://schemas.microsoft.com/office/drawing/2014/main" id="{92C3091C-4F7A-5408-D5D4-608EF2BFE578}"/>
              </a:ext>
            </a:extLst>
          </p:cNvPr>
          <p:cNvCxnSpPr>
            <a:cxnSpLocks/>
          </p:cNvCxnSpPr>
          <p:nvPr/>
        </p:nvCxnSpPr>
        <p:spPr>
          <a:xfrm flipH="1">
            <a:off x="879466" y="4146984"/>
            <a:ext cx="3521104" cy="0"/>
          </a:xfrm>
          <a:prstGeom prst="line">
            <a:avLst/>
          </a:prstGeom>
        </p:spPr>
        <p:style>
          <a:lnRef idx="1">
            <a:schemeClr val="accent2"/>
          </a:lnRef>
          <a:fillRef idx="0">
            <a:schemeClr val="accent2"/>
          </a:fillRef>
          <a:effectRef idx="0">
            <a:schemeClr val="accent2"/>
          </a:effectRef>
          <a:fontRef idx="minor">
            <a:schemeClr val="tx1"/>
          </a:fontRef>
        </p:style>
      </p:cxnSp>
      <p:sp>
        <p:nvSpPr>
          <p:cNvPr id="123" name="Pfeil: nach unten 122">
            <a:extLst>
              <a:ext uri="{FF2B5EF4-FFF2-40B4-BE49-F238E27FC236}">
                <a16:creationId xmlns:a16="http://schemas.microsoft.com/office/drawing/2014/main" id="{A123B6B4-E35F-60CD-BB2E-78DF9D29BA3F}"/>
              </a:ext>
            </a:extLst>
          </p:cNvPr>
          <p:cNvSpPr/>
          <p:nvPr/>
        </p:nvSpPr>
        <p:spPr>
          <a:xfrm>
            <a:off x="504024" y="3833322"/>
            <a:ext cx="248371" cy="294491"/>
          </a:xfrm>
          <a:prstGeom prst="downArrow">
            <a:avLst/>
          </a:prstGeom>
          <a:solidFill>
            <a:schemeClr val="accent2">
              <a:lumMod val="20000"/>
              <a:lumOff val="8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grpSp>
        <p:nvGrpSpPr>
          <p:cNvPr id="124" name="Connections" descr="{&quot;Key&quot;:&quot;POWER_USER_SHAPE_ICON&quot;,&quot;Value&quot;:&quot;POWER_USER_SHAPE_ICON_STYLE_1&quot;}">
            <a:extLst>
              <a:ext uri="{FF2B5EF4-FFF2-40B4-BE49-F238E27FC236}">
                <a16:creationId xmlns:a16="http://schemas.microsoft.com/office/drawing/2014/main" id="{C3F4282E-E173-886D-B36A-A60AED34EE33}"/>
              </a:ext>
            </a:extLst>
          </p:cNvPr>
          <p:cNvGrpSpPr>
            <a:grpSpLocks noChangeAspect="1"/>
          </p:cNvGrpSpPr>
          <p:nvPr/>
        </p:nvGrpSpPr>
        <p:grpSpPr>
          <a:xfrm>
            <a:off x="259406" y="4147878"/>
            <a:ext cx="738156" cy="1016558"/>
            <a:chOff x="2757700" y="670294"/>
            <a:chExt cx="1549585" cy="2134024"/>
          </a:xfrm>
        </p:grpSpPr>
        <p:sp>
          <p:nvSpPr>
            <p:cNvPr id="125" name="Arc 302">
              <a:extLst>
                <a:ext uri="{FF2B5EF4-FFF2-40B4-BE49-F238E27FC236}">
                  <a16:creationId xmlns:a16="http://schemas.microsoft.com/office/drawing/2014/main" id="{B04898AB-93DF-0AF1-8DB5-2F9C0F46728E}"/>
                </a:ext>
              </a:extLst>
            </p:cNvPr>
            <p:cNvSpPr/>
            <p:nvPr/>
          </p:nvSpPr>
          <p:spPr>
            <a:xfrm>
              <a:off x="3072209" y="1883939"/>
              <a:ext cx="920379" cy="920379"/>
            </a:xfrm>
            <a:prstGeom prst="arc">
              <a:avLst>
                <a:gd name="adj1" fmla="val 17464626"/>
                <a:gd name="adj2" fmla="val 1789909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Arc 303">
              <a:extLst>
                <a:ext uri="{FF2B5EF4-FFF2-40B4-BE49-F238E27FC236}">
                  <a16:creationId xmlns:a16="http://schemas.microsoft.com/office/drawing/2014/main" id="{B5C26A8B-B3F5-CDC1-F9F0-8736E08E648C}"/>
                </a:ext>
              </a:extLst>
            </p:cNvPr>
            <p:cNvSpPr/>
            <p:nvPr/>
          </p:nvSpPr>
          <p:spPr>
            <a:xfrm>
              <a:off x="3072209" y="1883939"/>
              <a:ext cx="920379" cy="920379"/>
            </a:xfrm>
            <a:prstGeom prst="arc">
              <a:avLst>
                <a:gd name="adj1" fmla="val 14600188"/>
                <a:gd name="adj2" fmla="val 16747057"/>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Oval 1408">
              <a:extLst>
                <a:ext uri="{FF2B5EF4-FFF2-40B4-BE49-F238E27FC236}">
                  <a16:creationId xmlns:a16="http://schemas.microsoft.com/office/drawing/2014/main" id="{8E994502-9480-4580-90CD-3FC80A2E2F85}"/>
                </a:ext>
              </a:extLst>
            </p:cNvPr>
            <p:cNvSpPr>
              <a:spLocks noChangeArrowheads="1"/>
            </p:cNvSpPr>
            <p:nvPr/>
          </p:nvSpPr>
          <p:spPr bwMode="auto">
            <a:xfrm>
              <a:off x="3248025" y="1444625"/>
              <a:ext cx="571500" cy="585788"/>
            </a:xfrm>
            <a:prstGeom prst="ellips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Line 1412">
              <a:extLst>
                <a:ext uri="{FF2B5EF4-FFF2-40B4-BE49-F238E27FC236}">
                  <a16:creationId xmlns:a16="http://schemas.microsoft.com/office/drawing/2014/main" id="{B788554B-FDD7-27A4-8D3F-6444942446DF}"/>
                </a:ext>
              </a:extLst>
            </p:cNvPr>
            <p:cNvSpPr>
              <a:spLocks noChangeShapeType="1"/>
            </p:cNvSpPr>
            <p:nvPr/>
          </p:nvSpPr>
          <p:spPr bwMode="auto">
            <a:xfrm>
              <a:off x="3436937" y="1736724"/>
              <a:ext cx="382587" cy="1"/>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Line 1413">
              <a:extLst>
                <a:ext uri="{FF2B5EF4-FFF2-40B4-BE49-F238E27FC236}">
                  <a16:creationId xmlns:a16="http://schemas.microsoft.com/office/drawing/2014/main" id="{E7E89898-8ADC-136F-74D6-9EFF8FEA7935}"/>
                </a:ext>
              </a:extLst>
            </p:cNvPr>
            <p:cNvSpPr>
              <a:spLocks noChangeShapeType="1"/>
            </p:cNvSpPr>
            <p:nvPr/>
          </p:nvSpPr>
          <p:spPr bwMode="auto">
            <a:xfrm flipH="1">
              <a:off x="3533774" y="1444625"/>
              <a:ext cx="1" cy="9525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Oval 1415">
              <a:extLst>
                <a:ext uri="{FF2B5EF4-FFF2-40B4-BE49-F238E27FC236}">
                  <a16:creationId xmlns:a16="http://schemas.microsoft.com/office/drawing/2014/main" id="{B66ED4C1-1631-3C80-4A9B-8B9035C980C5}"/>
                </a:ext>
              </a:extLst>
            </p:cNvPr>
            <p:cNvSpPr>
              <a:spLocks noChangeArrowheads="1"/>
            </p:cNvSpPr>
            <p:nvPr/>
          </p:nvSpPr>
          <p:spPr bwMode="auto">
            <a:xfrm>
              <a:off x="3344863" y="1689100"/>
              <a:ext cx="92075" cy="95250"/>
            </a:xfrm>
            <a:prstGeom prst="ellipse">
              <a:avLst/>
            </a:prstGeom>
            <a:noFill/>
            <a:ln w="95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Oval 1417">
              <a:extLst>
                <a:ext uri="{FF2B5EF4-FFF2-40B4-BE49-F238E27FC236}">
                  <a16:creationId xmlns:a16="http://schemas.microsoft.com/office/drawing/2014/main" id="{F6BF717D-5FF4-52F1-C4AB-3AD9E95E347B}"/>
                </a:ext>
              </a:extLst>
            </p:cNvPr>
            <p:cNvSpPr>
              <a:spLocks noChangeArrowheads="1"/>
            </p:cNvSpPr>
            <p:nvPr/>
          </p:nvSpPr>
          <p:spPr bwMode="auto">
            <a:xfrm>
              <a:off x="3606800" y="1849438"/>
              <a:ext cx="92075" cy="95250"/>
            </a:xfrm>
            <a:prstGeom prst="ellips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Oval 1419">
              <a:extLst>
                <a:ext uri="{FF2B5EF4-FFF2-40B4-BE49-F238E27FC236}">
                  <a16:creationId xmlns:a16="http://schemas.microsoft.com/office/drawing/2014/main" id="{1DD1300C-17ED-2BCA-603E-64748053EA3B}"/>
                </a:ext>
              </a:extLst>
            </p:cNvPr>
            <p:cNvSpPr>
              <a:spLocks noChangeArrowheads="1"/>
            </p:cNvSpPr>
            <p:nvPr/>
          </p:nvSpPr>
          <p:spPr bwMode="auto">
            <a:xfrm>
              <a:off x="3487738" y="1543050"/>
              <a:ext cx="92075" cy="95250"/>
            </a:xfrm>
            <a:prstGeom prst="ellips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Line 1412">
              <a:extLst>
                <a:ext uri="{FF2B5EF4-FFF2-40B4-BE49-F238E27FC236}">
                  <a16:creationId xmlns:a16="http://schemas.microsoft.com/office/drawing/2014/main" id="{A0D8795D-D159-4E55-5D63-257A4C462D96}"/>
                </a:ext>
              </a:extLst>
            </p:cNvPr>
            <p:cNvSpPr>
              <a:spLocks noChangeShapeType="1"/>
            </p:cNvSpPr>
            <p:nvPr/>
          </p:nvSpPr>
          <p:spPr bwMode="auto">
            <a:xfrm flipV="1">
              <a:off x="3248025" y="1736724"/>
              <a:ext cx="92075" cy="1"/>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Line 1413">
              <a:extLst>
                <a:ext uri="{FF2B5EF4-FFF2-40B4-BE49-F238E27FC236}">
                  <a16:creationId xmlns:a16="http://schemas.microsoft.com/office/drawing/2014/main" id="{B83F8A1F-9E60-7A14-6379-060187AA08F7}"/>
                </a:ext>
              </a:extLst>
            </p:cNvPr>
            <p:cNvSpPr>
              <a:spLocks noChangeShapeType="1"/>
            </p:cNvSpPr>
            <p:nvPr/>
          </p:nvSpPr>
          <p:spPr bwMode="auto">
            <a:xfrm>
              <a:off x="3533775" y="1638177"/>
              <a:ext cx="0" cy="39223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Oval 1415">
              <a:extLst>
                <a:ext uri="{FF2B5EF4-FFF2-40B4-BE49-F238E27FC236}">
                  <a16:creationId xmlns:a16="http://schemas.microsoft.com/office/drawing/2014/main" id="{80E1E173-E9AF-11F8-2EB0-FAA4D86770DB}"/>
                </a:ext>
              </a:extLst>
            </p:cNvPr>
            <p:cNvSpPr>
              <a:spLocks noChangeArrowheads="1"/>
            </p:cNvSpPr>
            <p:nvPr/>
          </p:nvSpPr>
          <p:spPr bwMode="auto">
            <a:xfrm>
              <a:off x="3344863" y="1689100"/>
              <a:ext cx="92075" cy="95250"/>
            </a:xfrm>
            <a:prstGeom prst="ellipse">
              <a:avLst/>
            </a:prstGeom>
            <a:noFill/>
            <a:ln w="95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Arc 313">
              <a:extLst>
                <a:ext uri="{FF2B5EF4-FFF2-40B4-BE49-F238E27FC236}">
                  <a16:creationId xmlns:a16="http://schemas.microsoft.com/office/drawing/2014/main" id="{1C24F6F9-B133-E1F8-BF0C-E10A56F96143}"/>
                </a:ext>
              </a:extLst>
            </p:cNvPr>
            <p:cNvSpPr/>
            <p:nvPr/>
          </p:nvSpPr>
          <p:spPr>
            <a:xfrm>
              <a:off x="3386906" y="1273731"/>
              <a:ext cx="920379" cy="920379"/>
            </a:xfrm>
            <a:prstGeom prst="arc">
              <a:avLst>
                <a:gd name="adj1" fmla="val 11136032"/>
                <a:gd name="adj2" fmla="val 13122483"/>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Arc 314">
              <a:extLst>
                <a:ext uri="{FF2B5EF4-FFF2-40B4-BE49-F238E27FC236}">
                  <a16:creationId xmlns:a16="http://schemas.microsoft.com/office/drawing/2014/main" id="{C0AC3C2C-D4FE-D7B8-28F6-671DC374F3C3}"/>
                </a:ext>
              </a:extLst>
            </p:cNvPr>
            <p:cNvSpPr/>
            <p:nvPr/>
          </p:nvSpPr>
          <p:spPr>
            <a:xfrm>
              <a:off x="3386906" y="1273731"/>
              <a:ext cx="920379" cy="920379"/>
            </a:xfrm>
            <a:prstGeom prst="arc">
              <a:avLst>
                <a:gd name="adj1" fmla="val 8421100"/>
                <a:gd name="adj2" fmla="val 10382316"/>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Arc 315">
              <a:extLst>
                <a:ext uri="{FF2B5EF4-FFF2-40B4-BE49-F238E27FC236}">
                  <a16:creationId xmlns:a16="http://schemas.microsoft.com/office/drawing/2014/main" id="{FFDEFAD5-895F-1463-54EB-7B4A2A65E810}"/>
                </a:ext>
              </a:extLst>
            </p:cNvPr>
            <p:cNvSpPr/>
            <p:nvPr/>
          </p:nvSpPr>
          <p:spPr>
            <a:xfrm flipH="1">
              <a:off x="2757700" y="1286061"/>
              <a:ext cx="920379" cy="920379"/>
            </a:xfrm>
            <a:prstGeom prst="arc">
              <a:avLst>
                <a:gd name="adj1" fmla="val 10050938"/>
                <a:gd name="adj2" fmla="val 13232858"/>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Arc 316">
              <a:extLst>
                <a:ext uri="{FF2B5EF4-FFF2-40B4-BE49-F238E27FC236}">
                  <a16:creationId xmlns:a16="http://schemas.microsoft.com/office/drawing/2014/main" id="{3EC4A975-1F87-5F6F-8E09-DCC632DB3B52}"/>
                </a:ext>
              </a:extLst>
            </p:cNvPr>
            <p:cNvSpPr/>
            <p:nvPr/>
          </p:nvSpPr>
          <p:spPr>
            <a:xfrm flipH="1">
              <a:off x="2757700" y="1286061"/>
              <a:ext cx="920379" cy="920379"/>
            </a:xfrm>
            <a:prstGeom prst="arc">
              <a:avLst>
                <a:gd name="adj1" fmla="val 8574268"/>
                <a:gd name="adj2" fmla="val 9283416"/>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Arc 317">
              <a:extLst>
                <a:ext uri="{FF2B5EF4-FFF2-40B4-BE49-F238E27FC236}">
                  <a16:creationId xmlns:a16="http://schemas.microsoft.com/office/drawing/2014/main" id="{EBCCD546-7639-E9AC-283B-2745C5C16FEC}"/>
                </a:ext>
              </a:extLst>
            </p:cNvPr>
            <p:cNvSpPr/>
            <p:nvPr/>
          </p:nvSpPr>
          <p:spPr>
            <a:xfrm flipH="1">
              <a:off x="3072209" y="670294"/>
              <a:ext cx="920379" cy="920379"/>
            </a:xfrm>
            <a:prstGeom prst="arc">
              <a:avLst>
                <a:gd name="adj1" fmla="val 3811302"/>
                <a:gd name="adj2" fmla="val 5104727"/>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Arc 318">
              <a:extLst>
                <a:ext uri="{FF2B5EF4-FFF2-40B4-BE49-F238E27FC236}">
                  <a16:creationId xmlns:a16="http://schemas.microsoft.com/office/drawing/2014/main" id="{AF177CE1-4C3F-BC90-D40D-8084E82384F7}"/>
                </a:ext>
              </a:extLst>
            </p:cNvPr>
            <p:cNvSpPr/>
            <p:nvPr/>
          </p:nvSpPr>
          <p:spPr>
            <a:xfrm flipH="1">
              <a:off x="3072209" y="670294"/>
              <a:ext cx="920379" cy="920379"/>
            </a:xfrm>
            <a:prstGeom prst="arc">
              <a:avLst>
                <a:gd name="adj1" fmla="val 5765953"/>
                <a:gd name="adj2" fmla="val 7010808"/>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42" name="Connection3" descr="{&quot;Key&quot;:&quot;POWER_USER_SHAPE_ICON&quot;,&quot;Value&quot;:&quot;POWER_USER_SHAPE_ICON_STYLE_1&quot;}">
            <a:extLst>
              <a:ext uri="{FF2B5EF4-FFF2-40B4-BE49-F238E27FC236}">
                <a16:creationId xmlns:a16="http://schemas.microsoft.com/office/drawing/2014/main" id="{1CB8E583-B2C9-BBD3-A399-0F50B9C2487F}"/>
              </a:ext>
            </a:extLst>
          </p:cNvPr>
          <p:cNvGrpSpPr>
            <a:grpSpLocks noChangeAspect="1"/>
          </p:cNvGrpSpPr>
          <p:nvPr/>
        </p:nvGrpSpPr>
        <p:grpSpPr>
          <a:xfrm>
            <a:off x="465837" y="4950156"/>
            <a:ext cx="357446" cy="356142"/>
            <a:chOff x="7158039" y="1946276"/>
            <a:chExt cx="434975" cy="433388"/>
          </a:xfrm>
          <a:solidFill>
            <a:schemeClr val="accent2"/>
          </a:solidFill>
        </p:grpSpPr>
        <p:sp>
          <p:nvSpPr>
            <p:cNvPr id="143" name="Freeform 564">
              <a:extLst>
                <a:ext uri="{FF2B5EF4-FFF2-40B4-BE49-F238E27FC236}">
                  <a16:creationId xmlns:a16="http://schemas.microsoft.com/office/drawing/2014/main" id="{026EEDDF-E4D0-1B4D-27A3-6430B22E6D67}"/>
                </a:ext>
              </a:extLst>
            </p:cNvPr>
            <p:cNvSpPr>
              <a:spLocks noEditPoints="1"/>
            </p:cNvSpPr>
            <p:nvPr/>
          </p:nvSpPr>
          <p:spPr bwMode="auto">
            <a:xfrm>
              <a:off x="7218364" y="2005014"/>
              <a:ext cx="317500" cy="317500"/>
            </a:xfrm>
            <a:custGeom>
              <a:avLst/>
              <a:gdLst>
                <a:gd name="T0" fmla="*/ 208 w 416"/>
                <a:gd name="T1" fmla="*/ 16 h 416"/>
                <a:gd name="T2" fmla="*/ 16 w 416"/>
                <a:gd name="T3" fmla="*/ 208 h 416"/>
                <a:gd name="T4" fmla="*/ 208 w 416"/>
                <a:gd name="T5" fmla="*/ 399 h 416"/>
                <a:gd name="T6" fmla="*/ 399 w 416"/>
                <a:gd name="T7" fmla="*/ 208 h 416"/>
                <a:gd name="T8" fmla="*/ 208 w 416"/>
                <a:gd name="T9" fmla="*/ 16 h 416"/>
                <a:gd name="T10" fmla="*/ 208 w 416"/>
                <a:gd name="T11" fmla="*/ 416 h 416"/>
                <a:gd name="T12" fmla="*/ 0 w 416"/>
                <a:gd name="T13" fmla="*/ 208 h 416"/>
                <a:gd name="T14" fmla="*/ 208 w 416"/>
                <a:gd name="T15" fmla="*/ 0 h 416"/>
                <a:gd name="T16" fmla="*/ 416 w 416"/>
                <a:gd name="T17" fmla="*/ 208 h 416"/>
                <a:gd name="T18" fmla="*/ 208 w 416"/>
                <a:gd name="T19"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6" h="416">
                  <a:moveTo>
                    <a:pt x="208" y="16"/>
                  </a:moveTo>
                  <a:cubicBezTo>
                    <a:pt x="102" y="16"/>
                    <a:pt x="16" y="102"/>
                    <a:pt x="16" y="208"/>
                  </a:cubicBezTo>
                  <a:cubicBezTo>
                    <a:pt x="16" y="313"/>
                    <a:pt x="102" y="399"/>
                    <a:pt x="208" y="399"/>
                  </a:cubicBezTo>
                  <a:cubicBezTo>
                    <a:pt x="313" y="399"/>
                    <a:pt x="399" y="313"/>
                    <a:pt x="399" y="208"/>
                  </a:cubicBezTo>
                  <a:cubicBezTo>
                    <a:pt x="399" y="102"/>
                    <a:pt x="313" y="16"/>
                    <a:pt x="208" y="16"/>
                  </a:cubicBezTo>
                  <a:close/>
                  <a:moveTo>
                    <a:pt x="208" y="416"/>
                  </a:moveTo>
                  <a:cubicBezTo>
                    <a:pt x="93" y="416"/>
                    <a:pt x="0" y="322"/>
                    <a:pt x="0" y="208"/>
                  </a:cubicBezTo>
                  <a:cubicBezTo>
                    <a:pt x="0" y="93"/>
                    <a:pt x="93" y="0"/>
                    <a:pt x="208" y="0"/>
                  </a:cubicBezTo>
                  <a:cubicBezTo>
                    <a:pt x="323" y="0"/>
                    <a:pt x="416" y="93"/>
                    <a:pt x="416" y="208"/>
                  </a:cubicBezTo>
                  <a:cubicBezTo>
                    <a:pt x="416" y="322"/>
                    <a:pt x="323" y="416"/>
                    <a:pt x="208" y="416"/>
                  </a:cubicBez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565">
              <a:extLst>
                <a:ext uri="{FF2B5EF4-FFF2-40B4-BE49-F238E27FC236}">
                  <a16:creationId xmlns:a16="http://schemas.microsoft.com/office/drawing/2014/main" id="{4D8751D3-081C-C6E7-CD29-307C42FE502B}"/>
                </a:ext>
              </a:extLst>
            </p:cNvPr>
            <p:cNvSpPr>
              <a:spLocks/>
            </p:cNvSpPr>
            <p:nvPr/>
          </p:nvSpPr>
          <p:spPr bwMode="auto">
            <a:xfrm>
              <a:off x="7275514" y="2043114"/>
              <a:ext cx="204788" cy="36513"/>
            </a:xfrm>
            <a:custGeom>
              <a:avLst/>
              <a:gdLst>
                <a:gd name="T0" fmla="*/ 134 w 268"/>
                <a:gd name="T1" fmla="*/ 47 h 47"/>
                <a:gd name="T2" fmla="*/ 24 w 268"/>
                <a:gd name="T3" fmla="*/ 23 h 47"/>
                <a:gd name="T4" fmla="*/ 0 w 268"/>
                <a:gd name="T5" fmla="*/ 16 h 47"/>
                <a:gd name="T6" fmla="*/ 5 w 268"/>
                <a:gd name="T7" fmla="*/ 0 h 47"/>
                <a:gd name="T8" fmla="*/ 29 w 268"/>
                <a:gd name="T9" fmla="*/ 7 h 47"/>
                <a:gd name="T10" fmla="*/ 134 w 268"/>
                <a:gd name="T11" fmla="*/ 30 h 47"/>
                <a:gd name="T12" fmla="*/ 239 w 268"/>
                <a:gd name="T13" fmla="*/ 7 h 47"/>
                <a:gd name="T14" fmla="*/ 263 w 268"/>
                <a:gd name="T15" fmla="*/ 0 h 47"/>
                <a:gd name="T16" fmla="*/ 268 w 268"/>
                <a:gd name="T17" fmla="*/ 16 h 47"/>
                <a:gd name="T18" fmla="*/ 244 w 268"/>
                <a:gd name="T19" fmla="*/ 23 h 47"/>
                <a:gd name="T20" fmla="*/ 134 w 268"/>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 h="47">
                  <a:moveTo>
                    <a:pt x="134" y="47"/>
                  </a:moveTo>
                  <a:cubicBezTo>
                    <a:pt x="94" y="47"/>
                    <a:pt x="57" y="34"/>
                    <a:pt x="24" y="23"/>
                  </a:cubicBezTo>
                  <a:cubicBezTo>
                    <a:pt x="15" y="21"/>
                    <a:pt x="8" y="18"/>
                    <a:pt x="0" y="16"/>
                  </a:cubicBezTo>
                  <a:lnTo>
                    <a:pt x="5" y="0"/>
                  </a:lnTo>
                  <a:cubicBezTo>
                    <a:pt x="13" y="2"/>
                    <a:pt x="21" y="5"/>
                    <a:pt x="29" y="7"/>
                  </a:cubicBezTo>
                  <a:cubicBezTo>
                    <a:pt x="61" y="18"/>
                    <a:pt x="97" y="30"/>
                    <a:pt x="134" y="30"/>
                  </a:cubicBezTo>
                  <a:cubicBezTo>
                    <a:pt x="171" y="30"/>
                    <a:pt x="207" y="18"/>
                    <a:pt x="239" y="7"/>
                  </a:cubicBezTo>
                  <a:cubicBezTo>
                    <a:pt x="247" y="5"/>
                    <a:pt x="255" y="2"/>
                    <a:pt x="263" y="0"/>
                  </a:cubicBezTo>
                  <a:lnTo>
                    <a:pt x="268" y="16"/>
                  </a:lnTo>
                  <a:cubicBezTo>
                    <a:pt x="260" y="18"/>
                    <a:pt x="252" y="20"/>
                    <a:pt x="244" y="23"/>
                  </a:cubicBezTo>
                  <a:cubicBezTo>
                    <a:pt x="211" y="34"/>
                    <a:pt x="174" y="47"/>
                    <a:pt x="134" y="47"/>
                  </a:cubicBezTo>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566">
              <a:extLst>
                <a:ext uri="{FF2B5EF4-FFF2-40B4-BE49-F238E27FC236}">
                  <a16:creationId xmlns:a16="http://schemas.microsoft.com/office/drawing/2014/main" id="{46EA2486-EC19-8140-D2AC-67BBD89FF168}"/>
                </a:ext>
              </a:extLst>
            </p:cNvPr>
            <p:cNvSpPr>
              <a:spLocks/>
            </p:cNvSpPr>
            <p:nvPr/>
          </p:nvSpPr>
          <p:spPr bwMode="auto">
            <a:xfrm>
              <a:off x="7286626" y="2257426"/>
              <a:ext cx="182563" cy="31750"/>
            </a:xfrm>
            <a:custGeom>
              <a:avLst/>
              <a:gdLst>
                <a:gd name="T0" fmla="*/ 236 w 240"/>
                <a:gd name="T1" fmla="*/ 42 h 42"/>
                <a:gd name="T2" fmla="*/ 120 w 240"/>
                <a:gd name="T3" fmla="*/ 17 h 42"/>
                <a:gd name="T4" fmla="*/ 5 w 240"/>
                <a:gd name="T5" fmla="*/ 42 h 42"/>
                <a:gd name="T6" fmla="*/ 1 w 240"/>
                <a:gd name="T7" fmla="*/ 34 h 42"/>
                <a:gd name="T8" fmla="*/ 0 w 240"/>
                <a:gd name="T9" fmla="*/ 26 h 42"/>
                <a:gd name="T10" fmla="*/ 120 w 240"/>
                <a:gd name="T11" fmla="*/ 0 h 42"/>
                <a:gd name="T12" fmla="*/ 240 w 240"/>
                <a:gd name="T13" fmla="*/ 26 h 42"/>
                <a:gd name="T14" fmla="*/ 236 w 240"/>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42">
                  <a:moveTo>
                    <a:pt x="236" y="42"/>
                  </a:moveTo>
                  <a:cubicBezTo>
                    <a:pt x="200" y="30"/>
                    <a:pt x="162" y="17"/>
                    <a:pt x="120" y="17"/>
                  </a:cubicBezTo>
                  <a:cubicBezTo>
                    <a:pt x="78" y="17"/>
                    <a:pt x="39" y="30"/>
                    <a:pt x="5" y="42"/>
                  </a:cubicBezTo>
                  <a:lnTo>
                    <a:pt x="1" y="34"/>
                  </a:lnTo>
                  <a:lnTo>
                    <a:pt x="0" y="26"/>
                  </a:lnTo>
                  <a:cubicBezTo>
                    <a:pt x="33" y="14"/>
                    <a:pt x="75" y="0"/>
                    <a:pt x="120" y="0"/>
                  </a:cubicBezTo>
                  <a:cubicBezTo>
                    <a:pt x="164" y="0"/>
                    <a:pt x="206" y="14"/>
                    <a:pt x="240" y="26"/>
                  </a:cubicBezTo>
                  <a:lnTo>
                    <a:pt x="236" y="4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567">
              <a:extLst>
                <a:ext uri="{FF2B5EF4-FFF2-40B4-BE49-F238E27FC236}">
                  <a16:creationId xmlns:a16="http://schemas.microsoft.com/office/drawing/2014/main" id="{46FBC9EF-B393-B903-3A33-E6412D66A23D}"/>
                </a:ext>
              </a:extLst>
            </p:cNvPr>
            <p:cNvSpPr>
              <a:spLocks noEditPoints="1"/>
            </p:cNvSpPr>
            <p:nvPr/>
          </p:nvSpPr>
          <p:spPr bwMode="auto">
            <a:xfrm>
              <a:off x="7315201" y="2005014"/>
              <a:ext cx="123825" cy="317500"/>
            </a:xfrm>
            <a:custGeom>
              <a:avLst/>
              <a:gdLst>
                <a:gd name="T0" fmla="*/ 81 w 162"/>
                <a:gd name="T1" fmla="*/ 16 h 416"/>
                <a:gd name="T2" fmla="*/ 16 w 162"/>
                <a:gd name="T3" fmla="*/ 208 h 416"/>
                <a:gd name="T4" fmla="*/ 81 w 162"/>
                <a:gd name="T5" fmla="*/ 399 h 416"/>
                <a:gd name="T6" fmla="*/ 145 w 162"/>
                <a:gd name="T7" fmla="*/ 208 h 416"/>
                <a:gd name="T8" fmla="*/ 81 w 162"/>
                <a:gd name="T9" fmla="*/ 16 h 416"/>
                <a:gd name="T10" fmla="*/ 81 w 162"/>
                <a:gd name="T11" fmla="*/ 416 h 416"/>
                <a:gd name="T12" fmla="*/ 0 w 162"/>
                <a:gd name="T13" fmla="*/ 208 h 416"/>
                <a:gd name="T14" fmla="*/ 81 w 162"/>
                <a:gd name="T15" fmla="*/ 0 h 416"/>
                <a:gd name="T16" fmla="*/ 162 w 162"/>
                <a:gd name="T17" fmla="*/ 208 h 416"/>
                <a:gd name="T18" fmla="*/ 81 w 162"/>
                <a:gd name="T19"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416">
                  <a:moveTo>
                    <a:pt x="81" y="16"/>
                  </a:moveTo>
                  <a:cubicBezTo>
                    <a:pt x="50" y="16"/>
                    <a:pt x="16" y="95"/>
                    <a:pt x="16" y="208"/>
                  </a:cubicBezTo>
                  <a:cubicBezTo>
                    <a:pt x="16" y="321"/>
                    <a:pt x="50" y="399"/>
                    <a:pt x="81" y="399"/>
                  </a:cubicBezTo>
                  <a:cubicBezTo>
                    <a:pt x="111" y="399"/>
                    <a:pt x="145" y="321"/>
                    <a:pt x="145" y="208"/>
                  </a:cubicBezTo>
                  <a:cubicBezTo>
                    <a:pt x="145" y="95"/>
                    <a:pt x="111" y="16"/>
                    <a:pt x="81" y="16"/>
                  </a:cubicBezTo>
                  <a:close/>
                  <a:moveTo>
                    <a:pt x="81" y="416"/>
                  </a:moveTo>
                  <a:cubicBezTo>
                    <a:pt x="35" y="416"/>
                    <a:pt x="0" y="326"/>
                    <a:pt x="0" y="208"/>
                  </a:cubicBezTo>
                  <a:cubicBezTo>
                    <a:pt x="0" y="89"/>
                    <a:pt x="35" y="0"/>
                    <a:pt x="81" y="0"/>
                  </a:cubicBezTo>
                  <a:cubicBezTo>
                    <a:pt x="127" y="0"/>
                    <a:pt x="162" y="89"/>
                    <a:pt x="162" y="208"/>
                  </a:cubicBezTo>
                  <a:cubicBezTo>
                    <a:pt x="162" y="326"/>
                    <a:pt x="127" y="416"/>
                    <a:pt x="81" y="416"/>
                  </a:cubicBez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Rectangle 568">
              <a:extLst>
                <a:ext uri="{FF2B5EF4-FFF2-40B4-BE49-F238E27FC236}">
                  <a16:creationId xmlns:a16="http://schemas.microsoft.com/office/drawing/2014/main" id="{C8EE59A7-51A1-1232-4EE9-98429E037AF7}"/>
                </a:ext>
              </a:extLst>
            </p:cNvPr>
            <p:cNvSpPr>
              <a:spLocks noChangeArrowheads="1"/>
            </p:cNvSpPr>
            <p:nvPr/>
          </p:nvSpPr>
          <p:spPr bwMode="auto">
            <a:xfrm>
              <a:off x="7224714" y="2120901"/>
              <a:ext cx="304800" cy="12700"/>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Rectangle 569">
              <a:extLst>
                <a:ext uri="{FF2B5EF4-FFF2-40B4-BE49-F238E27FC236}">
                  <a16:creationId xmlns:a16="http://schemas.microsoft.com/office/drawing/2014/main" id="{1D11D7F5-07EF-9BFB-D158-0DEC3DF1E4DE}"/>
                </a:ext>
              </a:extLst>
            </p:cNvPr>
            <p:cNvSpPr>
              <a:spLocks noChangeArrowheads="1"/>
            </p:cNvSpPr>
            <p:nvPr/>
          </p:nvSpPr>
          <p:spPr bwMode="auto">
            <a:xfrm>
              <a:off x="7224714" y="2193926"/>
              <a:ext cx="304800" cy="12700"/>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570">
              <a:extLst>
                <a:ext uri="{FF2B5EF4-FFF2-40B4-BE49-F238E27FC236}">
                  <a16:creationId xmlns:a16="http://schemas.microsoft.com/office/drawing/2014/main" id="{F1CEF80B-1779-8903-A970-F4E0049D3591}"/>
                </a:ext>
              </a:extLst>
            </p:cNvPr>
            <p:cNvSpPr>
              <a:spLocks/>
            </p:cNvSpPr>
            <p:nvPr/>
          </p:nvSpPr>
          <p:spPr bwMode="auto">
            <a:xfrm>
              <a:off x="7312026" y="1949451"/>
              <a:ext cx="38100" cy="49213"/>
            </a:xfrm>
            <a:custGeom>
              <a:avLst/>
              <a:gdLst>
                <a:gd name="T0" fmla="*/ 13 w 24"/>
                <a:gd name="T1" fmla="*/ 31 h 31"/>
                <a:gd name="T2" fmla="*/ 6 w 24"/>
                <a:gd name="T3" fmla="*/ 27 h 31"/>
                <a:gd name="T4" fmla="*/ 13 w 24"/>
                <a:gd name="T5" fmla="*/ 14 h 31"/>
                <a:gd name="T6" fmla="*/ 0 w 24"/>
                <a:gd name="T7" fmla="*/ 7 h 31"/>
                <a:gd name="T8" fmla="*/ 5 w 24"/>
                <a:gd name="T9" fmla="*/ 0 h 31"/>
                <a:gd name="T10" fmla="*/ 24 w 24"/>
                <a:gd name="T11" fmla="*/ 11 h 31"/>
                <a:gd name="T12" fmla="*/ 13 w 2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4" h="31">
                  <a:moveTo>
                    <a:pt x="13" y="31"/>
                  </a:moveTo>
                  <a:lnTo>
                    <a:pt x="6" y="27"/>
                  </a:lnTo>
                  <a:lnTo>
                    <a:pt x="13" y="14"/>
                  </a:lnTo>
                  <a:lnTo>
                    <a:pt x="0" y="7"/>
                  </a:lnTo>
                  <a:lnTo>
                    <a:pt x="5" y="0"/>
                  </a:lnTo>
                  <a:lnTo>
                    <a:pt x="24" y="11"/>
                  </a:lnTo>
                  <a:lnTo>
                    <a:pt x="13" y="31"/>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571">
              <a:extLst>
                <a:ext uri="{FF2B5EF4-FFF2-40B4-BE49-F238E27FC236}">
                  <a16:creationId xmlns:a16="http://schemas.microsoft.com/office/drawing/2014/main" id="{0891D987-F8BD-6B05-3F9C-EA0DFD26E99D}"/>
                </a:ext>
              </a:extLst>
            </p:cNvPr>
            <p:cNvSpPr>
              <a:spLocks/>
            </p:cNvSpPr>
            <p:nvPr/>
          </p:nvSpPr>
          <p:spPr bwMode="auto">
            <a:xfrm>
              <a:off x="7210426" y="2290764"/>
              <a:ext cx="38100" cy="41275"/>
            </a:xfrm>
            <a:custGeom>
              <a:avLst/>
              <a:gdLst>
                <a:gd name="T0" fmla="*/ 2 w 24"/>
                <a:gd name="T1" fmla="*/ 26 h 26"/>
                <a:gd name="T2" fmla="*/ 0 w 24"/>
                <a:gd name="T3" fmla="*/ 2 h 26"/>
                <a:gd name="T4" fmla="*/ 23 w 24"/>
                <a:gd name="T5" fmla="*/ 0 h 26"/>
                <a:gd name="T6" fmla="*/ 24 w 24"/>
                <a:gd name="T7" fmla="*/ 8 h 26"/>
                <a:gd name="T8" fmla="*/ 8 w 24"/>
                <a:gd name="T9" fmla="*/ 10 h 26"/>
                <a:gd name="T10" fmla="*/ 10 w 24"/>
                <a:gd name="T11" fmla="*/ 25 h 26"/>
                <a:gd name="T12" fmla="*/ 2 w 24"/>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4" h="26">
                  <a:moveTo>
                    <a:pt x="2" y="26"/>
                  </a:moveTo>
                  <a:lnTo>
                    <a:pt x="0" y="2"/>
                  </a:lnTo>
                  <a:lnTo>
                    <a:pt x="23" y="0"/>
                  </a:lnTo>
                  <a:lnTo>
                    <a:pt x="24" y="8"/>
                  </a:lnTo>
                  <a:lnTo>
                    <a:pt x="8" y="10"/>
                  </a:lnTo>
                  <a:lnTo>
                    <a:pt x="10" y="25"/>
                  </a:lnTo>
                  <a:lnTo>
                    <a:pt x="2" y="2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572">
              <a:extLst>
                <a:ext uri="{FF2B5EF4-FFF2-40B4-BE49-F238E27FC236}">
                  <a16:creationId xmlns:a16="http://schemas.microsoft.com/office/drawing/2014/main" id="{905C056C-2078-EA20-6508-82BA023AD4EE}"/>
                </a:ext>
              </a:extLst>
            </p:cNvPr>
            <p:cNvSpPr>
              <a:spLocks/>
            </p:cNvSpPr>
            <p:nvPr/>
          </p:nvSpPr>
          <p:spPr bwMode="auto">
            <a:xfrm>
              <a:off x="7167564" y="1966914"/>
              <a:ext cx="168275" cy="250825"/>
            </a:xfrm>
            <a:custGeom>
              <a:avLst/>
              <a:gdLst>
                <a:gd name="T0" fmla="*/ 7 w 221"/>
                <a:gd name="T1" fmla="*/ 329 h 329"/>
                <a:gd name="T2" fmla="*/ 0 w 221"/>
                <a:gd name="T3" fmla="*/ 268 h 329"/>
                <a:gd name="T4" fmla="*/ 218 w 221"/>
                <a:gd name="T5" fmla="*/ 0 h 329"/>
                <a:gd name="T6" fmla="*/ 221 w 221"/>
                <a:gd name="T7" fmla="*/ 16 h 329"/>
                <a:gd name="T8" fmla="*/ 17 w 221"/>
                <a:gd name="T9" fmla="*/ 268 h 329"/>
                <a:gd name="T10" fmla="*/ 23 w 221"/>
                <a:gd name="T11" fmla="*/ 325 h 329"/>
                <a:gd name="T12" fmla="*/ 7 w 221"/>
                <a:gd name="T13" fmla="*/ 329 h 329"/>
              </a:gdLst>
              <a:ahLst/>
              <a:cxnLst>
                <a:cxn ang="0">
                  <a:pos x="T0" y="T1"/>
                </a:cxn>
                <a:cxn ang="0">
                  <a:pos x="T2" y="T3"/>
                </a:cxn>
                <a:cxn ang="0">
                  <a:pos x="T4" y="T5"/>
                </a:cxn>
                <a:cxn ang="0">
                  <a:pos x="T6" y="T7"/>
                </a:cxn>
                <a:cxn ang="0">
                  <a:pos x="T8" y="T9"/>
                </a:cxn>
                <a:cxn ang="0">
                  <a:pos x="T10" y="T11"/>
                </a:cxn>
                <a:cxn ang="0">
                  <a:pos x="T12" y="T13"/>
                </a:cxn>
              </a:cxnLst>
              <a:rect l="0" t="0" r="r" b="b"/>
              <a:pathLst>
                <a:path w="221" h="329">
                  <a:moveTo>
                    <a:pt x="7" y="329"/>
                  </a:moveTo>
                  <a:cubicBezTo>
                    <a:pt x="2" y="309"/>
                    <a:pt x="0" y="288"/>
                    <a:pt x="0" y="268"/>
                  </a:cubicBezTo>
                  <a:cubicBezTo>
                    <a:pt x="0" y="138"/>
                    <a:pt x="92" y="26"/>
                    <a:pt x="218" y="0"/>
                  </a:cubicBezTo>
                  <a:lnTo>
                    <a:pt x="221" y="16"/>
                  </a:lnTo>
                  <a:cubicBezTo>
                    <a:pt x="103" y="40"/>
                    <a:pt x="17" y="146"/>
                    <a:pt x="17" y="268"/>
                  </a:cubicBezTo>
                  <a:cubicBezTo>
                    <a:pt x="17" y="287"/>
                    <a:pt x="19" y="306"/>
                    <a:pt x="23" y="325"/>
                  </a:cubicBezTo>
                  <a:lnTo>
                    <a:pt x="7" y="329"/>
                  </a:lnTo>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573">
              <a:extLst>
                <a:ext uri="{FF2B5EF4-FFF2-40B4-BE49-F238E27FC236}">
                  <a16:creationId xmlns:a16="http://schemas.microsoft.com/office/drawing/2014/main" id="{67AA52A0-183F-2DB8-D371-19F072B5208F}"/>
                </a:ext>
              </a:extLst>
            </p:cNvPr>
            <p:cNvSpPr>
              <a:spLocks/>
            </p:cNvSpPr>
            <p:nvPr/>
          </p:nvSpPr>
          <p:spPr bwMode="auto">
            <a:xfrm>
              <a:off x="7545389" y="2211389"/>
              <a:ext cx="47625" cy="36513"/>
            </a:xfrm>
            <a:custGeom>
              <a:avLst/>
              <a:gdLst>
                <a:gd name="T0" fmla="*/ 11 w 30"/>
                <a:gd name="T1" fmla="*/ 23 h 23"/>
                <a:gd name="T2" fmla="*/ 0 w 30"/>
                <a:gd name="T3" fmla="*/ 4 h 23"/>
                <a:gd name="T4" fmla="*/ 7 w 30"/>
                <a:gd name="T5" fmla="*/ 0 h 23"/>
                <a:gd name="T6" fmla="*/ 14 w 30"/>
                <a:gd name="T7" fmla="*/ 12 h 23"/>
                <a:gd name="T8" fmla="*/ 26 w 30"/>
                <a:gd name="T9" fmla="*/ 4 h 23"/>
                <a:gd name="T10" fmla="*/ 30 w 30"/>
                <a:gd name="T11" fmla="*/ 12 h 23"/>
                <a:gd name="T12" fmla="*/ 11 w 30"/>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30" h="23">
                  <a:moveTo>
                    <a:pt x="11" y="23"/>
                  </a:moveTo>
                  <a:lnTo>
                    <a:pt x="0" y="4"/>
                  </a:lnTo>
                  <a:lnTo>
                    <a:pt x="7" y="0"/>
                  </a:lnTo>
                  <a:lnTo>
                    <a:pt x="14" y="12"/>
                  </a:lnTo>
                  <a:lnTo>
                    <a:pt x="26" y="4"/>
                  </a:lnTo>
                  <a:lnTo>
                    <a:pt x="30" y="12"/>
                  </a:lnTo>
                  <a:lnTo>
                    <a:pt x="11" y="23"/>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574">
              <a:extLst>
                <a:ext uri="{FF2B5EF4-FFF2-40B4-BE49-F238E27FC236}">
                  <a16:creationId xmlns:a16="http://schemas.microsoft.com/office/drawing/2014/main" id="{A39EC8AB-4156-9404-A1A4-AD5EF40D370D}"/>
                </a:ext>
              </a:extLst>
            </p:cNvPr>
            <p:cNvSpPr>
              <a:spLocks/>
            </p:cNvSpPr>
            <p:nvPr/>
          </p:nvSpPr>
          <p:spPr bwMode="auto">
            <a:xfrm>
              <a:off x="7219951" y="2301876"/>
              <a:ext cx="298450" cy="77788"/>
            </a:xfrm>
            <a:custGeom>
              <a:avLst/>
              <a:gdLst>
                <a:gd name="T0" fmla="*/ 204 w 391"/>
                <a:gd name="T1" fmla="*/ 102 h 102"/>
                <a:gd name="T2" fmla="*/ 0 w 391"/>
                <a:gd name="T3" fmla="*/ 11 h 102"/>
                <a:gd name="T4" fmla="*/ 13 w 391"/>
                <a:gd name="T5" fmla="*/ 0 h 102"/>
                <a:gd name="T6" fmla="*/ 204 w 391"/>
                <a:gd name="T7" fmla="*/ 85 h 102"/>
                <a:gd name="T8" fmla="*/ 379 w 391"/>
                <a:gd name="T9" fmla="*/ 17 h 102"/>
                <a:gd name="T10" fmla="*/ 391 w 391"/>
                <a:gd name="T11" fmla="*/ 29 h 102"/>
                <a:gd name="T12" fmla="*/ 204 w 39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91" h="102">
                  <a:moveTo>
                    <a:pt x="204" y="102"/>
                  </a:moveTo>
                  <a:cubicBezTo>
                    <a:pt x="127" y="102"/>
                    <a:pt x="52" y="69"/>
                    <a:pt x="0" y="11"/>
                  </a:cubicBezTo>
                  <a:lnTo>
                    <a:pt x="13" y="0"/>
                  </a:lnTo>
                  <a:cubicBezTo>
                    <a:pt x="62" y="54"/>
                    <a:pt x="131" y="85"/>
                    <a:pt x="204" y="85"/>
                  </a:cubicBezTo>
                  <a:cubicBezTo>
                    <a:pt x="270" y="85"/>
                    <a:pt x="332" y="61"/>
                    <a:pt x="379" y="17"/>
                  </a:cubicBezTo>
                  <a:lnTo>
                    <a:pt x="391" y="29"/>
                  </a:lnTo>
                  <a:cubicBezTo>
                    <a:pt x="340" y="76"/>
                    <a:pt x="274" y="102"/>
                    <a:pt x="204" y="102"/>
                  </a:cubicBezTo>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575">
              <a:extLst>
                <a:ext uri="{FF2B5EF4-FFF2-40B4-BE49-F238E27FC236}">
                  <a16:creationId xmlns:a16="http://schemas.microsoft.com/office/drawing/2014/main" id="{DB252B8A-2BE7-4031-2646-3BE7D9EC0F69}"/>
                </a:ext>
              </a:extLst>
            </p:cNvPr>
            <p:cNvSpPr>
              <a:spLocks/>
            </p:cNvSpPr>
            <p:nvPr/>
          </p:nvSpPr>
          <p:spPr bwMode="auto">
            <a:xfrm>
              <a:off x="7432676" y="1971676"/>
              <a:ext cx="150813" cy="261938"/>
            </a:xfrm>
            <a:custGeom>
              <a:avLst/>
              <a:gdLst>
                <a:gd name="T0" fmla="*/ 186 w 198"/>
                <a:gd name="T1" fmla="*/ 343 h 343"/>
                <a:gd name="T2" fmla="*/ 170 w 198"/>
                <a:gd name="T3" fmla="*/ 338 h 343"/>
                <a:gd name="T4" fmla="*/ 181 w 198"/>
                <a:gd name="T5" fmla="*/ 262 h 343"/>
                <a:gd name="T6" fmla="*/ 0 w 198"/>
                <a:gd name="T7" fmla="*/ 16 h 343"/>
                <a:gd name="T8" fmla="*/ 5 w 198"/>
                <a:gd name="T9" fmla="*/ 0 h 343"/>
                <a:gd name="T10" fmla="*/ 198 w 198"/>
                <a:gd name="T11" fmla="*/ 262 h 343"/>
                <a:gd name="T12" fmla="*/ 186 w 198"/>
                <a:gd name="T13" fmla="*/ 343 h 343"/>
              </a:gdLst>
              <a:ahLst/>
              <a:cxnLst>
                <a:cxn ang="0">
                  <a:pos x="T0" y="T1"/>
                </a:cxn>
                <a:cxn ang="0">
                  <a:pos x="T2" y="T3"/>
                </a:cxn>
                <a:cxn ang="0">
                  <a:pos x="T4" y="T5"/>
                </a:cxn>
                <a:cxn ang="0">
                  <a:pos x="T6" y="T7"/>
                </a:cxn>
                <a:cxn ang="0">
                  <a:pos x="T8" y="T9"/>
                </a:cxn>
                <a:cxn ang="0">
                  <a:pos x="T10" y="T11"/>
                </a:cxn>
                <a:cxn ang="0">
                  <a:pos x="T12" y="T13"/>
                </a:cxn>
              </a:cxnLst>
              <a:rect l="0" t="0" r="r" b="b"/>
              <a:pathLst>
                <a:path w="198" h="343">
                  <a:moveTo>
                    <a:pt x="186" y="343"/>
                  </a:moveTo>
                  <a:lnTo>
                    <a:pt x="170" y="338"/>
                  </a:lnTo>
                  <a:cubicBezTo>
                    <a:pt x="177" y="313"/>
                    <a:pt x="181" y="288"/>
                    <a:pt x="181" y="262"/>
                  </a:cubicBezTo>
                  <a:cubicBezTo>
                    <a:pt x="181" y="148"/>
                    <a:pt x="108" y="49"/>
                    <a:pt x="0" y="16"/>
                  </a:cubicBezTo>
                  <a:lnTo>
                    <a:pt x="5" y="0"/>
                  </a:lnTo>
                  <a:cubicBezTo>
                    <a:pt x="120" y="35"/>
                    <a:pt x="198" y="140"/>
                    <a:pt x="198" y="262"/>
                  </a:cubicBezTo>
                  <a:cubicBezTo>
                    <a:pt x="198" y="289"/>
                    <a:pt x="194" y="317"/>
                    <a:pt x="186" y="343"/>
                  </a:cubicBezTo>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576">
              <a:extLst>
                <a:ext uri="{FF2B5EF4-FFF2-40B4-BE49-F238E27FC236}">
                  <a16:creationId xmlns:a16="http://schemas.microsoft.com/office/drawing/2014/main" id="{445C01DA-8B6D-024C-BE0F-DFFA31F7C90B}"/>
                </a:ext>
              </a:extLst>
            </p:cNvPr>
            <p:cNvSpPr>
              <a:spLocks noEditPoints="1"/>
            </p:cNvSpPr>
            <p:nvPr/>
          </p:nvSpPr>
          <p:spPr bwMode="auto">
            <a:xfrm>
              <a:off x="7158039" y="2208214"/>
              <a:ext cx="50800" cy="50800"/>
            </a:xfrm>
            <a:custGeom>
              <a:avLst/>
              <a:gdLst>
                <a:gd name="T0" fmla="*/ 34 w 67"/>
                <a:gd name="T1" fmla="*/ 17 h 67"/>
                <a:gd name="T2" fmla="*/ 17 w 67"/>
                <a:gd name="T3" fmla="*/ 34 h 67"/>
                <a:gd name="T4" fmla="*/ 34 w 67"/>
                <a:gd name="T5" fmla="*/ 50 h 67"/>
                <a:gd name="T6" fmla="*/ 50 w 67"/>
                <a:gd name="T7" fmla="*/ 34 h 67"/>
                <a:gd name="T8" fmla="*/ 34 w 67"/>
                <a:gd name="T9" fmla="*/ 17 h 67"/>
                <a:gd name="T10" fmla="*/ 34 w 67"/>
                <a:gd name="T11" fmla="*/ 67 h 67"/>
                <a:gd name="T12" fmla="*/ 0 w 67"/>
                <a:gd name="T13" fmla="*/ 34 h 67"/>
                <a:gd name="T14" fmla="*/ 34 w 67"/>
                <a:gd name="T15" fmla="*/ 0 h 67"/>
                <a:gd name="T16" fmla="*/ 67 w 67"/>
                <a:gd name="T17" fmla="*/ 34 h 67"/>
                <a:gd name="T18" fmla="*/ 34 w 67"/>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4" y="17"/>
                  </a:moveTo>
                  <a:cubicBezTo>
                    <a:pt x="24" y="17"/>
                    <a:pt x="17" y="25"/>
                    <a:pt x="17" y="34"/>
                  </a:cubicBezTo>
                  <a:cubicBezTo>
                    <a:pt x="17" y="43"/>
                    <a:pt x="24" y="50"/>
                    <a:pt x="34" y="50"/>
                  </a:cubicBezTo>
                  <a:cubicBezTo>
                    <a:pt x="43" y="50"/>
                    <a:pt x="50" y="43"/>
                    <a:pt x="50" y="34"/>
                  </a:cubicBezTo>
                  <a:cubicBezTo>
                    <a:pt x="50" y="25"/>
                    <a:pt x="43" y="17"/>
                    <a:pt x="34" y="17"/>
                  </a:cubicBezTo>
                  <a:close/>
                  <a:moveTo>
                    <a:pt x="34" y="67"/>
                  </a:moveTo>
                  <a:cubicBezTo>
                    <a:pt x="15" y="67"/>
                    <a:pt x="0" y="52"/>
                    <a:pt x="0" y="34"/>
                  </a:cubicBezTo>
                  <a:cubicBezTo>
                    <a:pt x="0" y="15"/>
                    <a:pt x="15" y="0"/>
                    <a:pt x="34" y="0"/>
                  </a:cubicBezTo>
                  <a:cubicBezTo>
                    <a:pt x="52" y="0"/>
                    <a:pt x="67" y="15"/>
                    <a:pt x="67" y="34"/>
                  </a:cubicBezTo>
                  <a:cubicBezTo>
                    <a:pt x="67" y="52"/>
                    <a:pt x="52" y="67"/>
                    <a:pt x="34" y="67"/>
                  </a:cubicBez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Freeform 577">
              <a:extLst>
                <a:ext uri="{FF2B5EF4-FFF2-40B4-BE49-F238E27FC236}">
                  <a16:creationId xmlns:a16="http://schemas.microsoft.com/office/drawing/2014/main" id="{CBC0416D-F4C2-D8B2-A91D-AFA3F8CB35DD}"/>
                </a:ext>
              </a:extLst>
            </p:cNvPr>
            <p:cNvSpPr>
              <a:spLocks noEditPoints="1"/>
            </p:cNvSpPr>
            <p:nvPr/>
          </p:nvSpPr>
          <p:spPr bwMode="auto">
            <a:xfrm>
              <a:off x="7391401" y="1946276"/>
              <a:ext cx="50800" cy="52388"/>
            </a:xfrm>
            <a:custGeom>
              <a:avLst/>
              <a:gdLst>
                <a:gd name="T0" fmla="*/ 33 w 66"/>
                <a:gd name="T1" fmla="*/ 17 h 67"/>
                <a:gd name="T2" fmla="*/ 16 w 66"/>
                <a:gd name="T3" fmla="*/ 34 h 67"/>
                <a:gd name="T4" fmla="*/ 33 w 66"/>
                <a:gd name="T5" fmla="*/ 50 h 67"/>
                <a:gd name="T6" fmla="*/ 50 w 66"/>
                <a:gd name="T7" fmla="*/ 34 h 67"/>
                <a:gd name="T8" fmla="*/ 33 w 66"/>
                <a:gd name="T9" fmla="*/ 17 h 67"/>
                <a:gd name="T10" fmla="*/ 33 w 66"/>
                <a:gd name="T11" fmla="*/ 67 h 67"/>
                <a:gd name="T12" fmla="*/ 0 w 66"/>
                <a:gd name="T13" fmla="*/ 34 h 67"/>
                <a:gd name="T14" fmla="*/ 33 w 66"/>
                <a:gd name="T15" fmla="*/ 0 h 67"/>
                <a:gd name="T16" fmla="*/ 66 w 66"/>
                <a:gd name="T17" fmla="*/ 34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17"/>
                  </a:moveTo>
                  <a:cubicBezTo>
                    <a:pt x="24" y="17"/>
                    <a:pt x="16" y="24"/>
                    <a:pt x="16" y="34"/>
                  </a:cubicBezTo>
                  <a:cubicBezTo>
                    <a:pt x="16" y="43"/>
                    <a:pt x="24" y="50"/>
                    <a:pt x="33" y="50"/>
                  </a:cubicBezTo>
                  <a:cubicBezTo>
                    <a:pt x="42" y="50"/>
                    <a:pt x="50" y="43"/>
                    <a:pt x="50" y="34"/>
                  </a:cubicBezTo>
                  <a:cubicBezTo>
                    <a:pt x="50" y="24"/>
                    <a:pt x="42" y="17"/>
                    <a:pt x="33" y="17"/>
                  </a:cubicBezTo>
                  <a:close/>
                  <a:moveTo>
                    <a:pt x="33" y="67"/>
                  </a:moveTo>
                  <a:cubicBezTo>
                    <a:pt x="15" y="67"/>
                    <a:pt x="0" y="52"/>
                    <a:pt x="0" y="34"/>
                  </a:cubicBezTo>
                  <a:cubicBezTo>
                    <a:pt x="0" y="15"/>
                    <a:pt x="15" y="0"/>
                    <a:pt x="33" y="0"/>
                  </a:cubicBezTo>
                  <a:cubicBezTo>
                    <a:pt x="51" y="0"/>
                    <a:pt x="66" y="15"/>
                    <a:pt x="66" y="34"/>
                  </a:cubicBezTo>
                  <a:cubicBezTo>
                    <a:pt x="66" y="52"/>
                    <a:pt x="51" y="67"/>
                    <a:pt x="33" y="67"/>
                  </a:cubicBez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578">
              <a:extLst>
                <a:ext uri="{FF2B5EF4-FFF2-40B4-BE49-F238E27FC236}">
                  <a16:creationId xmlns:a16="http://schemas.microsoft.com/office/drawing/2014/main" id="{CBAC7561-5908-B5C3-1B86-163AB5FDC8FC}"/>
                </a:ext>
              </a:extLst>
            </p:cNvPr>
            <p:cNvSpPr>
              <a:spLocks noEditPoints="1"/>
            </p:cNvSpPr>
            <p:nvPr/>
          </p:nvSpPr>
          <p:spPr bwMode="auto">
            <a:xfrm>
              <a:off x="7500939" y="2279651"/>
              <a:ext cx="50800" cy="50800"/>
            </a:xfrm>
            <a:custGeom>
              <a:avLst/>
              <a:gdLst>
                <a:gd name="T0" fmla="*/ 33 w 67"/>
                <a:gd name="T1" fmla="*/ 16 h 66"/>
                <a:gd name="T2" fmla="*/ 17 w 67"/>
                <a:gd name="T3" fmla="*/ 33 h 66"/>
                <a:gd name="T4" fmla="*/ 33 w 67"/>
                <a:gd name="T5" fmla="*/ 50 h 66"/>
                <a:gd name="T6" fmla="*/ 50 w 67"/>
                <a:gd name="T7" fmla="*/ 33 h 66"/>
                <a:gd name="T8" fmla="*/ 33 w 67"/>
                <a:gd name="T9" fmla="*/ 16 h 66"/>
                <a:gd name="T10" fmla="*/ 33 w 67"/>
                <a:gd name="T11" fmla="*/ 66 h 66"/>
                <a:gd name="T12" fmla="*/ 0 w 67"/>
                <a:gd name="T13" fmla="*/ 33 h 66"/>
                <a:gd name="T14" fmla="*/ 33 w 67"/>
                <a:gd name="T15" fmla="*/ 0 h 66"/>
                <a:gd name="T16" fmla="*/ 67 w 67"/>
                <a:gd name="T17" fmla="*/ 33 h 66"/>
                <a:gd name="T18" fmla="*/ 33 w 67"/>
                <a:gd name="T1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6">
                  <a:moveTo>
                    <a:pt x="33" y="16"/>
                  </a:moveTo>
                  <a:cubicBezTo>
                    <a:pt x="24" y="16"/>
                    <a:pt x="17" y="24"/>
                    <a:pt x="17" y="33"/>
                  </a:cubicBezTo>
                  <a:cubicBezTo>
                    <a:pt x="17" y="42"/>
                    <a:pt x="24" y="50"/>
                    <a:pt x="33" y="50"/>
                  </a:cubicBezTo>
                  <a:cubicBezTo>
                    <a:pt x="43" y="50"/>
                    <a:pt x="50" y="42"/>
                    <a:pt x="50" y="33"/>
                  </a:cubicBezTo>
                  <a:cubicBezTo>
                    <a:pt x="50" y="24"/>
                    <a:pt x="43" y="16"/>
                    <a:pt x="33" y="16"/>
                  </a:cubicBezTo>
                  <a:close/>
                  <a:moveTo>
                    <a:pt x="33" y="66"/>
                  </a:moveTo>
                  <a:cubicBezTo>
                    <a:pt x="15" y="66"/>
                    <a:pt x="0" y="51"/>
                    <a:pt x="0" y="33"/>
                  </a:cubicBezTo>
                  <a:cubicBezTo>
                    <a:pt x="0" y="15"/>
                    <a:pt x="15" y="0"/>
                    <a:pt x="33" y="0"/>
                  </a:cubicBezTo>
                  <a:cubicBezTo>
                    <a:pt x="52" y="0"/>
                    <a:pt x="67" y="15"/>
                    <a:pt x="67" y="33"/>
                  </a:cubicBezTo>
                  <a:cubicBezTo>
                    <a:pt x="67" y="51"/>
                    <a:pt x="52" y="66"/>
                    <a:pt x="33" y="66"/>
                  </a:cubicBez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58" name="Tornado2" descr="{&quot;Key&quot;:&quot;POWER_USER_SHAPE_ICON&quot;,&quot;Value&quot;:&quot;POWER_USER_SHAPE_ICON_STYLE_1&quot;}">
            <a:extLst>
              <a:ext uri="{FF2B5EF4-FFF2-40B4-BE49-F238E27FC236}">
                <a16:creationId xmlns:a16="http://schemas.microsoft.com/office/drawing/2014/main" id="{44C8B87C-ADFB-1841-22D1-171CA5571FDB}"/>
              </a:ext>
            </a:extLst>
          </p:cNvPr>
          <p:cNvGrpSpPr>
            <a:grpSpLocks noChangeAspect="1"/>
          </p:cNvGrpSpPr>
          <p:nvPr>
            <p:custDataLst>
              <p:tags r:id="rId4"/>
            </p:custDataLst>
          </p:nvPr>
        </p:nvGrpSpPr>
        <p:grpSpPr>
          <a:xfrm>
            <a:off x="459477" y="5448962"/>
            <a:ext cx="349475" cy="378975"/>
            <a:chOff x="4919663" y="4487863"/>
            <a:chExt cx="733425" cy="795337"/>
          </a:xfrm>
          <a:noFill/>
        </p:grpSpPr>
        <p:sp>
          <p:nvSpPr>
            <p:cNvPr id="159" name="Freeform 56">
              <a:extLst>
                <a:ext uri="{FF2B5EF4-FFF2-40B4-BE49-F238E27FC236}">
                  <a16:creationId xmlns:a16="http://schemas.microsoft.com/office/drawing/2014/main" id="{03FBDCF7-717B-B8E5-1313-B88B2842BA9E}"/>
                </a:ext>
              </a:extLst>
            </p:cNvPr>
            <p:cNvSpPr>
              <a:spLocks/>
            </p:cNvSpPr>
            <p:nvPr/>
          </p:nvSpPr>
          <p:spPr bwMode="auto">
            <a:xfrm>
              <a:off x="5156201" y="5232400"/>
              <a:ext cx="0" cy="1588"/>
            </a:xfrm>
            <a:custGeom>
              <a:avLst/>
              <a:gdLst>
                <a:gd name="T0" fmla="*/ 1 w 1"/>
                <a:gd name="T1" fmla="*/ 2 h 2"/>
                <a:gd name="T2" fmla="*/ 1 w 1"/>
                <a:gd name="T3" fmla="*/ 2 h 2"/>
                <a:gd name="T4" fmla="*/ 1 w 1"/>
                <a:gd name="T5" fmla="*/ 2 h 2"/>
              </a:gdLst>
              <a:ahLst/>
              <a:cxnLst>
                <a:cxn ang="0">
                  <a:pos x="T0" y="T1"/>
                </a:cxn>
                <a:cxn ang="0">
                  <a:pos x="T2" y="T3"/>
                </a:cxn>
                <a:cxn ang="0">
                  <a:pos x="T4" y="T5"/>
                </a:cxn>
              </a:cxnLst>
              <a:rect l="0" t="0" r="r" b="b"/>
              <a:pathLst>
                <a:path w="1" h="2">
                  <a:moveTo>
                    <a:pt x="1" y="2"/>
                  </a:moveTo>
                  <a:lnTo>
                    <a:pt x="1" y="2"/>
                  </a:lnTo>
                  <a:cubicBezTo>
                    <a:pt x="0" y="0"/>
                    <a:pt x="0" y="1"/>
                    <a:pt x="1" y="2"/>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Freeform 57">
              <a:extLst>
                <a:ext uri="{FF2B5EF4-FFF2-40B4-BE49-F238E27FC236}">
                  <a16:creationId xmlns:a16="http://schemas.microsoft.com/office/drawing/2014/main" id="{5037772A-1BC0-C047-2567-EC411BE1F949}"/>
                </a:ext>
              </a:extLst>
            </p:cNvPr>
            <p:cNvSpPr>
              <a:spLocks/>
            </p:cNvSpPr>
            <p:nvPr/>
          </p:nvSpPr>
          <p:spPr bwMode="auto">
            <a:xfrm>
              <a:off x="5116513" y="5156200"/>
              <a:ext cx="309563" cy="127000"/>
            </a:xfrm>
            <a:custGeom>
              <a:avLst/>
              <a:gdLst>
                <a:gd name="T0" fmla="*/ 327 w 406"/>
                <a:gd name="T1" fmla="*/ 87 h 166"/>
                <a:gd name="T2" fmla="*/ 313 w 406"/>
                <a:gd name="T3" fmla="*/ 89 h 166"/>
                <a:gd name="T4" fmla="*/ 212 w 406"/>
                <a:gd name="T5" fmla="*/ 39 h 166"/>
                <a:gd name="T6" fmla="*/ 150 w 406"/>
                <a:gd name="T7" fmla="*/ 55 h 166"/>
                <a:gd name="T8" fmla="*/ 153 w 406"/>
                <a:gd name="T9" fmla="*/ 8 h 166"/>
                <a:gd name="T10" fmla="*/ 0 w 406"/>
                <a:gd name="T11" fmla="*/ 0 h 166"/>
                <a:gd name="T12" fmla="*/ 53 w 406"/>
                <a:gd name="T13" fmla="*/ 102 h 166"/>
                <a:gd name="T14" fmla="*/ 53 w 406"/>
                <a:gd name="T15" fmla="*/ 102 h 166"/>
                <a:gd name="T16" fmla="*/ 19 w 406"/>
                <a:gd name="T17" fmla="*/ 166 h 166"/>
                <a:gd name="T18" fmla="*/ 406 w 406"/>
                <a:gd name="T19" fmla="*/ 166 h 166"/>
                <a:gd name="T20" fmla="*/ 327 w 406"/>
                <a:gd name="T21" fmla="*/ 8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166">
                  <a:moveTo>
                    <a:pt x="327" y="87"/>
                  </a:moveTo>
                  <a:cubicBezTo>
                    <a:pt x="322" y="87"/>
                    <a:pt x="317" y="88"/>
                    <a:pt x="313" y="89"/>
                  </a:cubicBezTo>
                  <a:cubicBezTo>
                    <a:pt x="289" y="59"/>
                    <a:pt x="253" y="39"/>
                    <a:pt x="212" y="39"/>
                  </a:cubicBezTo>
                  <a:cubicBezTo>
                    <a:pt x="191" y="39"/>
                    <a:pt x="168" y="46"/>
                    <a:pt x="150" y="55"/>
                  </a:cubicBezTo>
                  <a:cubicBezTo>
                    <a:pt x="150" y="39"/>
                    <a:pt x="151" y="23"/>
                    <a:pt x="153" y="8"/>
                  </a:cubicBezTo>
                  <a:cubicBezTo>
                    <a:pt x="153" y="8"/>
                    <a:pt x="80" y="17"/>
                    <a:pt x="0" y="0"/>
                  </a:cubicBezTo>
                  <a:cubicBezTo>
                    <a:pt x="22" y="45"/>
                    <a:pt x="43" y="85"/>
                    <a:pt x="53" y="102"/>
                  </a:cubicBezTo>
                  <a:cubicBezTo>
                    <a:pt x="53" y="102"/>
                    <a:pt x="53" y="102"/>
                    <a:pt x="53" y="102"/>
                  </a:cubicBezTo>
                  <a:cubicBezTo>
                    <a:pt x="32" y="116"/>
                    <a:pt x="19" y="139"/>
                    <a:pt x="19" y="166"/>
                  </a:cubicBezTo>
                  <a:lnTo>
                    <a:pt x="406" y="166"/>
                  </a:lnTo>
                  <a:cubicBezTo>
                    <a:pt x="406" y="123"/>
                    <a:pt x="371" y="87"/>
                    <a:pt x="327" y="87"/>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Freeform 58">
              <a:extLst>
                <a:ext uri="{FF2B5EF4-FFF2-40B4-BE49-F238E27FC236}">
                  <a16:creationId xmlns:a16="http://schemas.microsoft.com/office/drawing/2014/main" id="{DFA7FE0E-D3DB-8470-AFA2-63363D5AD2A8}"/>
                </a:ext>
              </a:extLst>
            </p:cNvPr>
            <p:cNvSpPr>
              <a:spLocks noEditPoints="1"/>
            </p:cNvSpPr>
            <p:nvPr/>
          </p:nvSpPr>
          <p:spPr bwMode="auto">
            <a:xfrm>
              <a:off x="5010151" y="4987925"/>
              <a:ext cx="322263" cy="152400"/>
            </a:xfrm>
            <a:custGeom>
              <a:avLst/>
              <a:gdLst>
                <a:gd name="T0" fmla="*/ 76 w 422"/>
                <a:gd name="T1" fmla="*/ 75 h 199"/>
                <a:gd name="T2" fmla="*/ 94 w 422"/>
                <a:gd name="T3" fmla="*/ 120 h 199"/>
                <a:gd name="T4" fmla="*/ 49 w 422"/>
                <a:gd name="T5" fmla="*/ 90 h 199"/>
                <a:gd name="T6" fmla="*/ 76 w 422"/>
                <a:gd name="T7" fmla="*/ 75 h 199"/>
                <a:gd name="T8" fmla="*/ 344 w 422"/>
                <a:gd name="T9" fmla="*/ 95 h 199"/>
                <a:gd name="T10" fmla="*/ 373 w 422"/>
                <a:gd name="T11" fmla="*/ 117 h 199"/>
                <a:gd name="T12" fmla="*/ 319 w 422"/>
                <a:gd name="T13" fmla="*/ 139 h 199"/>
                <a:gd name="T14" fmla="*/ 344 w 422"/>
                <a:gd name="T15" fmla="*/ 95 h 199"/>
                <a:gd name="T16" fmla="*/ 1 w 422"/>
                <a:gd name="T17" fmla="*/ 86 h 199"/>
                <a:gd name="T18" fmla="*/ 8 w 422"/>
                <a:gd name="T19" fmla="*/ 116 h 199"/>
                <a:gd name="T20" fmla="*/ 204 w 422"/>
                <a:gd name="T21" fmla="*/ 192 h 199"/>
                <a:gd name="T22" fmla="*/ 409 w 422"/>
                <a:gd name="T23" fmla="*/ 149 h 199"/>
                <a:gd name="T24" fmla="*/ 421 w 422"/>
                <a:gd name="T25" fmla="*/ 121 h 199"/>
                <a:gd name="T26" fmla="*/ 400 w 422"/>
                <a:gd name="T27" fmla="*/ 74 h 199"/>
                <a:gd name="T28" fmla="*/ 218 w 422"/>
                <a:gd name="T29" fmla="*/ 53 h 199"/>
                <a:gd name="T30" fmla="*/ 49 w 422"/>
                <a:gd name="T31" fmla="*/ 0 h 199"/>
                <a:gd name="T32" fmla="*/ 60 w 422"/>
                <a:gd name="T33" fmla="*/ 29 h 199"/>
                <a:gd name="T34" fmla="*/ 1 w 422"/>
                <a:gd name="T35" fmla="*/ 8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2" h="199">
                  <a:moveTo>
                    <a:pt x="76" y="75"/>
                  </a:moveTo>
                  <a:cubicBezTo>
                    <a:pt x="82" y="90"/>
                    <a:pt x="88" y="105"/>
                    <a:pt x="94" y="120"/>
                  </a:cubicBezTo>
                  <a:cubicBezTo>
                    <a:pt x="65" y="108"/>
                    <a:pt x="50" y="96"/>
                    <a:pt x="49" y="90"/>
                  </a:cubicBezTo>
                  <a:cubicBezTo>
                    <a:pt x="49" y="89"/>
                    <a:pt x="56" y="82"/>
                    <a:pt x="76" y="75"/>
                  </a:cubicBezTo>
                  <a:close/>
                  <a:moveTo>
                    <a:pt x="344" y="95"/>
                  </a:moveTo>
                  <a:cubicBezTo>
                    <a:pt x="366" y="106"/>
                    <a:pt x="372" y="115"/>
                    <a:pt x="373" y="117"/>
                  </a:cubicBezTo>
                  <a:cubicBezTo>
                    <a:pt x="371" y="123"/>
                    <a:pt x="353" y="133"/>
                    <a:pt x="319" y="139"/>
                  </a:cubicBezTo>
                  <a:cubicBezTo>
                    <a:pt x="326" y="124"/>
                    <a:pt x="335" y="109"/>
                    <a:pt x="344" y="95"/>
                  </a:cubicBezTo>
                  <a:close/>
                  <a:moveTo>
                    <a:pt x="1" y="86"/>
                  </a:moveTo>
                  <a:cubicBezTo>
                    <a:pt x="0" y="97"/>
                    <a:pt x="3" y="107"/>
                    <a:pt x="8" y="116"/>
                  </a:cubicBezTo>
                  <a:cubicBezTo>
                    <a:pt x="33" y="159"/>
                    <a:pt x="120" y="186"/>
                    <a:pt x="204" y="192"/>
                  </a:cubicBezTo>
                  <a:cubicBezTo>
                    <a:pt x="309" y="199"/>
                    <a:pt x="380" y="182"/>
                    <a:pt x="409" y="149"/>
                  </a:cubicBezTo>
                  <a:cubicBezTo>
                    <a:pt x="417" y="139"/>
                    <a:pt x="420" y="129"/>
                    <a:pt x="421" y="121"/>
                  </a:cubicBezTo>
                  <a:cubicBezTo>
                    <a:pt x="422" y="108"/>
                    <a:pt x="418" y="91"/>
                    <a:pt x="400" y="74"/>
                  </a:cubicBezTo>
                  <a:cubicBezTo>
                    <a:pt x="342" y="74"/>
                    <a:pt x="280" y="66"/>
                    <a:pt x="218" y="53"/>
                  </a:cubicBezTo>
                  <a:cubicBezTo>
                    <a:pt x="157" y="40"/>
                    <a:pt x="100" y="22"/>
                    <a:pt x="49" y="0"/>
                  </a:cubicBezTo>
                  <a:cubicBezTo>
                    <a:pt x="53" y="10"/>
                    <a:pt x="56" y="20"/>
                    <a:pt x="60" y="29"/>
                  </a:cubicBezTo>
                  <a:cubicBezTo>
                    <a:pt x="14" y="45"/>
                    <a:pt x="2" y="69"/>
                    <a:pt x="1" y="86"/>
                  </a:cubicBez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Freeform 59">
              <a:extLst>
                <a:ext uri="{FF2B5EF4-FFF2-40B4-BE49-F238E27FC236}">
                  <a16:creationId xmlns:a16="http://schemas.microsoft.com/office/drawing/2014/main" id="{92A97F43-8DF8-CFEA-2CF2-72C961DB6912}"/>
                </a:ext>
              </a:extLst>
            </p:cNvPr>
            <p:cNvSpPr>
              <a:spLocks noEditPoints="1"/>
            </p:cNvSpPr>
            <p:nvPr/>
          </p:nvSpPr>
          <p:spPr bwMode="auto">
            <a:xfrm>
              <a:off x="4919663" y="4487863"/>
              <a:ext cx="733425" cy="527050"/>
            </a:xfrm>
            <a:custGeom>
              <a:avLst/>
              <a:gdLst>
                <a:gd name="T0" fmla="*/ 909 w 963"/>
                <a:gd name="T1" fmla="*/ 254 h 692"/>
                <a:gd name="T2" fmla="*/ 716 w 963"/>
                <a:gd name="T3" fmla="*/ 313 h 692"/>
                <a:gd name="T4" fmla="*/ 672 w 963"/>
                <a:gd name="T5" fmla="*/ 312 h 692"/>
                <a:gd name="T6" fmla="*/ 812 w 963"/>
                <a:gd name="T7" fmla="*/ 255 h 692"/>
                <a:gd name="T8" fmla="*/ 749 w 963"/>
                <a:gd name="T9" fmla="*/ 171 h 692"/>
                <a:gd name="T10" fmla="*/ 769 w 963"/>
                <a:gd name="T11" fmla="*/ 220 h 692"/>
                <a:gd name="T12" fmla="*/ 457 w 963"/>
                <a:gd name="T13" fmla="*/ 263 h 692"/>
                <a:gd name="T14" fmla="*/ 255 w 963"/>
                <a:gd name="T15" fmla="*/ 192 h 692"/>
                <a:gd name="T16" fmla="*/ 185 w 963"/>
                <a:gd name="T17" fmla="*/ 107 h 692"/>
                <a:gd name="T18" fmla="*/ 378 w 963"/>
                <a:gd name="T19" fmla="*/ 48 h 692"/>
                <a:gd name="T20" fmla="*/ 489 w 963"/>
                <a:gd name="T21" fmla="*/ 55 h 692"/>
                <a:gd name="T22" fmla="*/ 285 w 963"/>
                <a:gd name="T23" fmla="*/ 112 h 692"/>
                <a:gd name="T24" fmla="*/ 348 w 963"/>
                <a:gd name="T25" fmla="*/ 195 h 692"/>
                <a:gd name="T26" fmla="*/ 329 w 963"/>
                <a:gd name="T27" fmla="*/ 147 h 692"/>
                <a:gd name="T28" fmla="*/ 640 w 963"/>
                <a:gd name="T29" fmla="*/ 103 h 692"/>
                <a:gd name="T30" fmla="*/ 845 w 963"/>
                <a:gd name="T31" fmla="*/ 172 h 692"/>
                <a:gd name="T32" fmla="*/ 909 w 963"/>
                <a:gd name="T33" fmla="*/ 254 h 692"/>
                <a:gd name="T34" fmla="*/ 694 w 963"/>
                <a:gd name="T35" fmla="*/ 593 h 692"/>
                <a:gd name="T36" fmla="*/ 558 w 963"/>
                <a:gd name="T37" fmla="*/ 644 h 692"/>
                <a:gd name="T38" fmla="*/ 680 w 963"/>
                <a:gd name="T39" fmla="*/ 555 h 692"/>
                <a:gd name="T40" fmla="*/ 694 w 963"/>
                <a:gd name="T41" fmla="*/ 593 h 692"/>
                <a:gd name="T42" fmla="*/ 49 w 963"/>
                <a:gd name="T43" fmla="*/ 452 h 692"/>
                <a:gd name="T44" fmla="*/ 111 w 963"/>
                <a:gd name="T45" fmla="*/ 420 h 692"/>
                <a:gd name="T46" fmla="*/ 137 w 963"/>
                <a:gd name="T47" fmla="*/ 549 h 692"/>
                <a:gd name="T48" fmla="*/ 49 w 963"/>
                <a:gd name="T49" fmla="*/ 452 h 692"/>
                <a:gd name="T50" fmla="*/ 852 w 963"/>
                <a:gd name="T51" fmla="*/ 119 h 692"/>
                <a:gd name="T52" fmla="*/ 580 w 963"/>
                <a:gd name="T53" fmla="*/ 21 h 692"/>
                <a:gd name="T54" fmla="*/ 378 w 963"/>
                <a:gd name="T55" fmla="*/ 0 h 692"/>
                <a:gd name="T56" fmla="*/ 138 w 963"/>
                <a:gd name="T57" fmla="*/ 97 h 692"/>
                <a:gd name="T58" fmla="*/ 106 w 963"/>
                <a:gd name="T59" fmla="*/ 372 h 692"/>
                <a:gd name="T60" fmla="*/ 2 w 963"/>
                <a:gd name="T61" fmla="*/ 445 h 692"/>
                <a:gd name="T62" fmla="*/ 3 w 963"/>
                <a:gd name="T63" fmla="*/ 475 h 692"/>
                <a:gd name="T64" fmla="*/ 340 w 963"/>
                <a:gd name="T65" fmla="*/ 671 h 692"/>
                <a:gd name="T66" fmla="*/ 525 w 963"/>
                <a:gd name="T67" fmla="*/ 692 h 692"/>
                <a:gd name="T68" fmla="*/ 728 w 963"/>
                <a:gd name="T69" fmla="*/ 631 h 692"/>
                <a:gd name="T70" fmla="*/ 741 w 963"/>
                <a:gd name="T71" fmla="*/ 603 h 692"/>
                <a:gd name="T72" fmla="*/ 722 w 963"/>
                <a:gd name="T73" fmla="*/ 531 h 692"/>
                <a:gd name="T74" fmla="*/ 771 w 963"/>
                <a:gd name="T75" fmla="*/ 507 h 692"/>
                <a:gd name="T76" fmla="*/ 956 w 963"/>
                <a:gd name="T77" fmla="*/ 264 h 692"/>
                <a:gd name="T78" fmla="*/ 852 w 963"/>
                <a:gd name="T79" fmla="*/ 119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63" h="692">
                  <a:moveTo>
                    <a:pt x="909" y="254"/>
                  </a:moveTo>
                  <a:cubicBezTo>
                    <a:pt x="903" y="283"/>
                    <a:pt x="841" y="313"/>
                    <a:pt x="716" y="313"/>
                  </a:cubicBezTo>
                  <a:cubicBezTo>
                    <a:pt x="702" y="313"/>
                    <a:pt x="687" y="313"/>
                    <a:pt x="672" y="312"/>
                  </a:cubicBezTo>
                  <a:cubicBezTo>
                    <a:pt x="750" y="309"/>
                    <a:pt x="805" y="288"/>
                    <a:pt x="812" y="255"/>
                  </a:cubicBezTo>
                  <a:cubicBezTo>
                    <a:pt x="818" y="228"/>
                    <a:pt x="793" y="199"/>
                    <a:pt x="749" y="171"/>
                  </a:cubicBezTo>
                  <a:cubicBezTo>
                    <a:pt x="765" y="188"/>
                    <a:pt x="772" y="205"/>
                    <a:pt x="769" y="220"/>
                  </a:cubicBezTo>
                  <a:cubicBezTo>
                    <a:pt x="757" y="275"/>
                    <a:pt x="618" y="294"/>
                    <a:pt x="457" y="263"/>
                  </a:cubicBezTo>
                  <a:cubicBezTo>
                    <a:pt x="373" y="246"/>
                    <a:pt x="303" y="223"/>
                    <a:pt x="255" y="192"/>
                  </a:cubicBezTo>
                  <a:cubicBezTo>
                    <a:pt x="207" y="162"/>
                    <a:pt x="181" y="129"/>
                    <a:pt x="185" y="107"/>
                  </a:cubicBezTo>
                  <a:cubicBezTo>
                    <a:pt x="191" y="78"/>
                    <a:pt x="254" y="48"/>
                    <a:pt x="378" y="48"/>
                  </a:cubicBezTo>
                  <a:cubicBezTo>
                    <a:pt x="413" y="48"/>
                    <a:pt x="450" y="51"/>
                    <a:pt x="489" y="55"/>
                  </a:cubicBezTo>
                  <a:cubicBezTo>
                    <a:pt x="378" y="49"/>
                    <a:pt x="294" y="70"/>
                    <a:pt x="285" y="112"/>
                  </a:cubicBezTo>
                  <a:cubicBezTo>
                    <a:pt x="280" y="139"/>
                    <a:pt x="304" y="168"/>
                    <a:pt x="348" y="195"/>
                  </a:cubicBezTo>
                  <a:cubicBezTo>
                    <a:pt x="333" y="179"/>
                    <a:pt x="326" y="162"/>
                    <a:pt x="329" y="147"/>
                  </a:cubicBezTo>
                  <a:cubicBezTo>
                    <a:pt x="340" y="91"/>
                    <a:pt x="479" y="72"/>
                    <a:pt x="640" y="103"/>
                  </a:cubicBezTo>
                  <a:cubicBezTo>
                    <a:pt x="724" y="120"/>
                    <a:pt x="797" y="141"/>
                    <a:pt x="845" y="172"/>
                  </a:cubicBezTo>
                  <a:cubicBezTo>
                    <a:pt x="890" y="201"/>
                    <a:pt x="914" y="233"/>
                    <a:pt x="909" y="254"/>
                  </a:cubicBezTo>
                  <a:close/>
                  <a:moveTo>
                    <a:pt x="694" y="593"/>
                  </a:moveTo>
                  <a:cubicBezTo>
                    <a:pt x="689" y="618"/>
                    <a:pt x="639" y="639"/>
                    <a:pt x="558" y="644"/>
                  </a:cubicBezTo>
                  <a:cubicBezTo>
                    <a:pt x="598" y="609"/>
                    <a:pt x="640" y="579"/>
                    <a:pt x="680" y="555"/>
                  </a:cubicBezTo>
                  <a:cubicBezTo>
                    <a:pt x="688" y="566"/>
                    <a:pt x="697" y="580"/>
                    <a:pt x="694" y="593"/>
                  </a:cubicBezTo>
                  <a:close/>
                  <a:moveTo>
                    <a:pt x="49" y="452"/>
                  </a:moveTo>
                  <a:cubicBezTo>
                    <a:pt x="50" y="445"/>
                    <a:pt x="71" y="426"/>
                    <a:pt x="111" y="420"/>
                  </a:cubicBezTo>
                  <a:cubicBezTo>
                    <a:pt x="117" y="464"/>
                    <a:pt x="126" y="507"/>
                    <a:pt x="137" y="549"/>
                  </a:cubicBezTo>
                  <a:cubicBezTo>
                    <a:pt x="76" y="516"/>
                    <a:pt x="45" y="480"/>
                    <a:pt x="49" y="452"/>
                  </a:cubicBezTo>
                  <a:close/>
                  <a:moveTo>
                    <a:pt x="852" y="119"/>
                  </a:moveTo>
                  <a:cubicBezTo>
                    <a:pt x="782" y="78"/>
                    <a:pt x="685" y="43"/>
                    <a:pt x="580" y="21"/>
                  </a:cubicBezTo>
                  <a:cubicBezTo>
                    <a:pt x="510" y="7"/>
                    <a:pt x="440" y="0"/>
                    <a:pt x="378" y="0"/>
                  </a:cubicBezTo>
                  <a:cubicBezTo>
                    <a:pt x="238" y="0"/>
                    <a:pt x="151" y="35"/>
                    <a:pt x="138" y="97"/>
                  </a:cubicBezTo>
                  <a:cubicBezTo>
                    <a:pt x="106" y="180"/>
                    <a:pt x="98" y="278"/>
                    <a:pt x="106" y="372"/>
                  </a:cubicBezTo>
                  <a:cubicBezTo>
                    <a:pt x="50" y="380"/>
                    <a:pt x="7" y="409"/>
                    <a:pt x="2" y="445"/>
                  </a:cubicBezTo>
                  <a:cubicBezTo>
                    <a:pt x="0" y="455"/>
                    <a:pt x="1" y="465"/>
                    <a:pt x="3" y="475"/>
                  </a:cubicBezTo>
                  <a:cubicBezTo>
                    <a:pt x="21" y="564"/>
                    <a:pt x="178" y="637"/>
                    <a:pt x="340" y="671"/>
                  </a:cubicBezTo>
                  <a:cubicBezTo>
                    <a:pt x="402" y="685"/>
                    <a:pt x="467" y="692"/>
                    <a:pt x="525" y="692"/>
                  </a:cubicBezTo>
                  <a:cubicBezTo>
                    <a:pt x="618" y="692"/>
                    <a:pt x="697" y="674"/>
                    <a:pt x="728" y="631"/>
                  </a:cubicBezTo>
                  <a:cubicBezTo>
                    <a:pt x="735" y="622"/>
                    <a:pt x="739" y="613"/>
                    <a:pt x="741" y="603"/>
                  </a:cubicBezTo>
                  <a:cubicBezTo>
                    <a:pt x="745" y="586"/>
                    <a:pt x="744" y="561"/>
                    <a:pt x="722" y="531"/>
                  </a:cubicBezTo>
                  <a:cubicBezTo>
                    <a:pt x="740" y="522"/>
                    <a:pt x="756" y="514"/>
                    <a:pt x="771" y="507"/>
                  </a:cubicBezTo>
                  <a:cubicBezTo>
                    <a:pt x="936" y="434"/>
                    <a:pt x="954" y="297"/>
                    <a:pt x="956" y="264"/>
                  </a:cubicBezTo>
                  <a:cubicBezTo>
                    <a:pt x="963" y="231"/>
                    <a:pt x="950" y="179"/>
                    <a:pt x="852" y="119"/>
                  </a:cubicBez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3" name="Textfeld 162">
            <a:extLst>
              <a:ext uri="{FF2B5EF4-FFF2-40B4-BE49-F238E27FC236}">
                <a16:creationId xmlns:a16="http://schemas.microsoft.com/office/drawing/2014/main" id="{1B3F10F3-D169-83AA-10DA-C369628C79A5}"/>
              </a:ext>
            </a:extLst>
          </p:cNvPr>
          <p:cNvSpPr txBox="1"/>
          <p:nvPr/>
        </p:nvSpPr>
        <p:spPr>
          <a:xfrm>
            <a:off x="860363" y="4130409"/>
            <a:ext cx="1240905" cy="276999"/>
          </a:xfrm>
          <a:prstGeom prst="rect">
            <a:avLst/>
          </a:prstGeom>
          <a:noFill/>
        </p:spPr>
        <p:txBody>
          <a:bodyPr wrap="square" rtlCol="0">
            <a:spAutoFit/>
          </a:bodyPr>
          <a:lstStyle/>
          <a:p>
            <a:r>
              <a:rPr lang="en-US" sz="1200" b="1"/>
              <a:t>Communication</a:t>
            </a:r>
          </a:p>
        </p:txBody>
      </p:sp>
      <p:sp>
        <p:nvSpPr>
          <p:cNvPr id="164" name="Textfeld 163">
            <a:extLst>
              <a:ext uri="{FF2B5EF4-FFF2-40B4-BE49-F238E27FC236}">
                <a16:creationId xmlns:a16="http://schemas.microsoft.com/office/drawing/2014/main" id="{267DA71D-F7B4-2078-A203-34210BEB4E36}"/>
              </a:ext>
            </a:extLst>
          </p:cNvPr>
          <p:cNvSpPr txBox="1"/>
          <p:nvPr/>
        </p:nvSpPr>
        <p:spPr>
          <a:xfrm>
            <a:off x="1075486" y="4492509"/>
            <a:ext cx="716400" cy="276999"/>
          </a:xfrm>
          <a:prstGeom prst="rect">
            <a:avLst/>
          </a:prstGeom>
          <a:noFill/>
        </p:spPr>
        <p:txBody>
          <a:bodyPr wrap="square" rtlCol="0">
            <a:spAutoFit/>
          </a:bodyPr>
          <a:lstStyle/>
          <a:p>
            <a:r>
              <a:rPr lang="en-US" sz="1200" b="1"/>
              <a:t>Internal</a:t>
            </a:r>
          </a:p>
        </p:txBody>
      </p:sp>
      <p:sp>
        <p:nvSpPr>
          <p:cNvPr id="165" name="Textfeld 164">
            <a:extLst>
              <a:ext uri="{FF2B5EF4-FFF2-40B4-BE49-F238E27FC236}">
                <a16:creationId xmlns:a16="http://schemas.microsoft.com/office/drawing/2014/main" id="{079FE95D-7EC1-0894-A51A-ECB17FEED4C5}"/>
              </a:ext>
            </a:extLst>
          </p:cNvPr>
          <p:cNvSpPr txBox="1"/>
          <p:nvPr/>
        </p:nvSpPr>
        <p:spPr>
          <a:xfrm>
            <a:off x="1074895" y="4985116"/>
            <a:ext cx="717582" cy="276999"/>
          </a:xfrm>
          <a:prstGeom prst="rect">
            <a:avLst/>
          </a:prstGeom>
          <a:noFill/>
        </p:spPr>
        <p:txBody>
          <a:bodyPr wrap="square" rtlCol="0">
            <a:spAutoFit/>
          </a:bodyPr>
          <a:lstStyle/>
          <a:p>
            <a:r>
              <a:rPr lang="en-US" sz="1200" b="1"/>
              <a:t>External</a:t>
            </a:r>
          </a:p>
        </p:txBody>
      </p:sp>
      <p:sp>
        <p:nvSpPr>
          <p:cNvPr id="166" name="Textfeld 165">
            <a:extLst>
              <a:ext uri="{FF2B5EF4-FFF2-40B4-BE49-F238E27FC236}">
                <a16:creationId xmlns:a16="http://schemas.microsoft.com/office/drawing/2014/main" id="{764DF4AC-F67C-78D0-00F6-8DDDF288BA08}"/>
              </a:ext>
            </a:extLst>
          </p:cNvPr>
          <p:cNvSpPr txBox="1"/>
          <p:nvPr/>
        </p:nvSpPr>
        <p:spPr>
          <a:xfrm>
            <a:off x="1074898" y="5490423"/>
            <a:ext cx="717577" cy="276999"/>
          </a:xfrm>
          <a:prstGeom prst="rect">
            <a:avLst/>
          </a:prstGeom>
          <a:noFill/>
        </p:spPr>
        <p:txBody>
          <a:bodyPr wrap="square" rtlCol="0">
            <a:spAutoFit/>
          </a:bodyPr>
          <a:lstStyle/>
          <a:p>
            <a:r>
              <a:rPr lang="en-US" sz="1200" b="1"/>
              <a:t>Crisis</a:t>
            </a:r>
          </a:p>
        </p:txBody>
      </p:sp>
      <p:sp>
        <p:nvSpPr>
          <p:cNvPr id="167" name="Textfeld 166">
            <a:extLst>
              <a:ext uri="{FF2B5EF4-FFF2-40B4-BE49-F238E27FC236}">
                <a16:creationId xmlns:a16="http://schemas.microsoft.com/office/drawing/2014/main" id="{4D7C5AC3-8365-9756-E858-4483C1E81015}"/>
              </a:ext>
            </a:extLst>
          </p:cNvPr>
          <p:cNvSpPr txBox="1"/>
          <p:nvPr/>
        </p:nvSpPr>
        <p:spPr>
          <a:xfrm>
            <a:off x="1929928" y="4422986"/>
            <a:ext cx="2530073" cy="461665"/>
          </a:xfrm>
          <a:prstGeom prst="rect">
            <a:avLst/>
          </a:prstGeom>
          <a:noFill/>
        </p:spPr>
        <p:txBody>
          <a:bodyPr wrap="square" rtlCol="0">
            <a:spAutoFit/>
          </a:bodyPr>
          <a:lstStyle/>
          <a:p>
            <a:r>
              <a:rPr lang="en-US" sz="1200"/>
              <a:t>Provide employees a clear vision of the companies heading to build trust</a:t>
            </a:r>
          </a:p>
        </p:txBody>
      </p:sp>
      <p:sp>
        <p:nvSpPr>
          <p:cNvPr id="168" name="Textfeld 167">
            <a:extLst>
              <a:ext uri="{FF2B5EF4-FFF2-40B4-BE49-F238E27FC236}">
                <a16:creationId xmlns:a16="http://schemas.microsoft.com/office/drawing/2014/main" id="{CFCAB74E-E214-8DCB-1A07-24AFB68703A2}"/>
              </a:ext>
            </a:extLst>
          </p:cNvPr>
          <p:cNvSpPr txBox="1"/>
          <p:nvPr/>
        </p:nvSpPr>
        <p:spPr>
          <a:xfrm>
            <a:off x="1922901" y="4908855"/>
            <a:ext cx="2731647" cy="461665"/>
          </a:xfrm>
          <a:prstGeom prst="rect">
            <a:avLst/>
          </a:prstGeom>
          <a:noFill/>
        </p:spPr>
        <p:txBody>
          <a:bodyPr wrap="square" rtlCol="0">
            <a:spAutoFit/>
          </a:bodyPr>
          <a:lstStyle/>
          <a:p>
            <a:r>
              <a:rPr lang="en-US" sz="1200"/>
              <a:t>Clear commitment to safety and sustain-</a:t>
            </a:r>
            <a:br>
              <a:rPr lang="en-US" sz="1200"/>
            </a:br>
            <a:r>
              <a:rPr lang="en-US" sz="1200"/>
              <a:t>ability focusing on drivers and customers</a:t>
            </a:r>
          </a:p>
        </p:txBody>
      </p:sp>
      <p:sp>
        <p:nvSpPr>
          <p:cNvPr id="169" name="Textfeld 168">
            <a:extLst>
              <a:ext uri="{FF2B5EF4-FFF2-40B4-BE49-F238E27FC236}">
                <a16:creationId xmlns:a16="http://schemas.microsoft.com/office/drawing/2014/main" id="{72E102A8-B635-D8BC-1004-3B484D7B74F2}"/>
              </a:ext>
            </a:extLst>
          </p:cNvPr>
          <p:cNvSpPr txBox="1"/>
          <p:nvPr/>
        </p:nvSpPr>
        <p:spPr>
          <a:xfrm>
            <a:off x="1903448" y="5372622"/>
            <a:ext cx="2731647" cy="461665"/>
          </a:xfrm>
          <a:prstGeom prst="rect">
            <a:avLst/>
          </a:prstGeom>
          <a:noFill/>
        </p:spPr>
        <p:txBody>
          <a:bodyPr wrap="square" rtlCol="0">
            <a:spAutoFit/>
          </a:bodyPr>
          <a:lstStyle/>
          <a:p>
            <a:r>
              <a:rPr lang="en-US" sz="1200"/>
              <a:t>Proactive addressing of incidents to be prepared of backlash </a:t>
            </a:r>
          </a:p>
        </p:txBody>
      </p:sp>
      <p:sp>
        <p:nvSpPr>
          <p:cNvPr id="170" name="Textfeld 169">
            <a:extLst>
              <a:ext uri="{FF2B5EF4-FFF2-40B4-BE49-F238E27FC236}">
                <a16:creationId xmlns:a16="http://schemas.microsoft.com/office/drawing/2014/main" id="{08311602-32E0-67AD-A3C5-3512B6EDD20B}"/>
              </a:ext>
            </a:extLst>
          </p:cNvPr>
          <p:cNvSpPr txBox="1"/>
          <p:nvPr/>
        </p:nvSpPr>
        <p:spPr>
          <a:xfrm>
            <a:off x="4628830" y="2070409"/>
            <a:ext cx="3917630" cy="307777"/>
          </a:xfrm>
          <a:prstGeom prst="rect">
            <a:avLst/>
          </a:prstGeom>
          <a:noFill/>
        </p:spPr>
        <p:txBody>
          <a:bodyPr wrap="square">
            <a:spAutoFit/>
          </a:bodyPr>
          <a:lstStyle/>
          <a:p>
            <a:r>
              <a:rPr lang="en-US" sz="1400" b="1"/>
              <a:t>Improvement Potential for Ubers Communication</a:t>
            </a:r>
          </a:p>
        </p:txBody>
      </p:sp>
      <p:grpSp>
        <p:nvGrpSpPr>
          <p:cNvPr id="171" name="Compensation2" descr="{&quot;Key&quot;:&quot;POWER_USER_SHAPE_ICON&quot;,&quot;Value&quot;:&quot;POWER_USER_SHAPE_ICON_STYLE_1&quot;}">
            <a:extLst>
              <a:ext uri="{FF2B5EF4-FFF2-40B4-BE49-F238E27FC236}">
                <a16:creationId xmlns:a16="http://schemas.microsoft.com/office/drawing/2014/main" id="{FF027C9B-9CCB-E378-7F9A-7BD1547F24C7}"/>
              </a:ext>
            </a:extLst>
          </p:cNvPr>
          <p:cNvGrpSpPr>
            <a:grpSpLocks noChangeAspect="1"/>
          </p:cNvGrpSpPr>
          <p:nvPr/>
        </p:nvGrpSpPr>
        <p:grpSpPr>
          <a:xfrm>
            <a:off x="4784651" y="2514839"/>
            <a:ext cx="399195" cy="345970"/>
            <a:chOff x="400222" y="3944524"/>
            <a:chExt cx="690563" cy="598488"/>
          </a:xfrm>
          <a:noFill/>
        </p:grpSpPr>
        <p:sp>
          <p:nvSpPr>
            <p:cNvPr id="172" name="Freeform 1895">
              <a:extLst>
                <a:ext uri="{FF2B5EF4-FFF2-40B4-BE49-F238E27FC236}">
                  <a16:creationId xmlns:a16="http://schemas.microsoft.com/office/drawing/2014/main" id="{03F22A7E-51B6-B17D-0C3B-856F5F7501E1}"/>
                </a:ext>
              </a:extLst>
            </p:cNvPr>
            <p:cNvSpPr>
              <a:spLocks/>
            </p:cNvSpPr>
            <p:nvPr/>
          </p:nvSpPr>
          <p:spPr bwMode="auto">
            <a:xfrm>
              <a:off x="605010" y="4184236"/>
              <a:ext cx="485775" cy="246063"/>
            </a:xfrm>
            <a:custGeom>
              <a:avLst/>
              <a:gdLst>
                <a:gd name="T0" fmla="*/ 242 w 435"/>
                <a:gd name="T1" fmla="*/ 103 h 221"/>
                <a:gd name="T2" fmla="*/ 337 w 435"/>
                <a:gd name="T3" fmla="*/ 31 h 221"/>
                <a:gd name="T4" fmla="*/ 435 w 435"/>
                <a:gd name="T5" fmla="*/ 39 h 221"/>
                <a:gd name="T6" fmla="*/ 241 w 435"/>
                <a:gd name="T7" fmla="*/ 221 h 221"/>
                <a:gd name="T8" fmla="*/ 0 w 435"/>
                <a:gd name="T9" fmla="*/ 221 h 221"/>
              </a:gdLst>
              <a:ahLst/>
              <a:cxnLst>
                <a:cxn ang="0">
                  <a:pos x="T0" y="T1"/>
                </a:cxn>
                <a:cxn ang="0">
                  <a:pos x="T2" y="T3"/>
                </a:cxn>
                <a:cxn ang="0">
                  <a:pos x="T4" y="T5"/>
                </a:cxn>
                <a:cxn ang="0">
                  <a:pos x="T6" y="T7"/>
                </a:cxn>
                <a:cxn ang="0">
                  <a:pos x="T8" y="T9"/>
                </a:cxn>
              </a:cxnLst>
              <a:rect l="0" t="0" r="r" b="b"/>
              <a:pathLst>
                <a:path w="435" h="221">
                  <a:moveTo>
                    <a:pt x="242" y="103"/>
                  </a:moveTo>
                  <a:cubicBezTo>
                    <a:pt x="242" y="103"/>
                    <a:pt x="299" y="60"/>
                    <a:pt x="337" y="31"/>
                  </a:cubicBezTo>
                  <a:cubicBezTo>
                    <a:pt x="378" y="0"/>
                    <a:pt x="410" y="13"/>
                    <a:pt x="435" y="39"/>
                  </a:cubicBezTo>
                  <a:lnTo>
                    <a:pt x="241" y="221"/>
                  </a:lnTo>
                  <a:lnTo>
                    <a:pt x="0" y="221"/>
                  </a:lnTo>
                </a:path>
              </a:pathLst>
            </a:custGeom>
            <a:grp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Freeform 1896">
              <a:extLst>
                <a:ext uri="{FF2B5EF4-FFF2-40B4-BE49-F238E27FC236}">
                  <a16:creationId xmlns:a16="http://schemas.microsoft.com/office/drawing/2014/main" id="{A54D2ACD-6E41-44FA-3741-7E11A2E4F49A}"/>
                </a:ext>
              </a:extLst>
            </p:cNvPr>
            <p:cNvSpPr>
              <a:spLocks/>
            </p:cNvSpPr>
            <p:nvPr/>
          </p:nvSpPr>
          <p:spPr bwMode="auto">
            <a:xfrm>
              <a:off x="490710" y="4246149"/>
              <a:ext cx="387350" cy="98425"/>
            </a:xfrm>
            <a:custGeom>
              <a:avLst/>
              <a:gdLst>
                <a:gd name="T0" fmla="*/ 0 w 347"/>
                <a:gd name="T1" fmla="*/ 83 h 89"/>
                <a:gd name="T2" fmla="*/ 132 w 347"/>
                <a:gd name="T3" fmla="*/ 0 h 89"/>
                <a:gd name="T4" fmla="*/ 226 w 347"/>
                <a:gd name="T5" fmla="*/ 28 h 89"/>
                <a:gd name="T6" fmla="*/ 298 w 347"/>
                <a:gd name="T7" fmla="*/ 28 h 89"/>
                <a:gd name="T8" fmla="*/ 347 w 347"/>
                <a:gd name="T9" fmla="*/ 89 h 89"/>
                <a:gd name="T10" fmla="*/ 196 w 347"/>
                <a:gd name="T11" fmla="*/ 89 h 89"/>
              </a:gdLst>
              <a:ahLst/>
              <a:cxnLst>
                <a:cxn ang="0">
                  <a:pos x="T0" y="T1"/>
                </a:cxn>
                <a:cxn ang="0">
                  <a:pos x="T2" y="T3"/>
                </a:cxn>
                <a:cxn ang="0">
                  <a:pos x="T4" y="T5"/>
                </a:cxn>
                <a:cxn ang="0">
                  <a:pos x="T6" y="T7"/>
                </a:cxn>
                <a:cxn ang="0">
                  <a:pos x="T8" y="T9"/>
                </a:cxn>
                <a:cxn ang="0">
                  <a:pos x="T10" y="T11"/>
                </a:cxn>
              </a:cxnLst>
              <a:rect l="0" t="0" r="r" b="b"/>
              <a:pathLst>
                <a:path w="347" h="89">
                  <a:moveTo>
                    <a:pt x="0" y="83"/>
                  </a:moveTo>
                  <a:cubicBezTo>
                    <a:pt x="47" y="23"/>
                    <a:pt x="85" y="0"/>
                    <a:pt x="132" y="0"/>
                  </a:cubicBezTo>
                  <a:cubicBezTo>
                    <a:pt x="171" y="0"/>
                    <a:pt x="192" y="5"/>
                    <a:pt x="226" y="28"/>
                  </a:cubicBezTo>
                  <a:lnTo>
                    <a:pt x="298" y="28"/>
                  </a:lnTo>
                  <a:cubicBezTo>
                    <a:pt x="309" y="28"/>
                    <a:pt x="347" y="33"/>
                    <a:pt x="347" y="89"/>
                  </a:cubicBezTo>
                  <a:lnTo>
                    <a:pt x="196" y="89"/>
                  </a:lnTo>
                </a:path>
              </a:pathLst>
            </a:custGeom>
            <a:grp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Freeform 1898">
              <a:extLst>
                <a:ext uri="{FF2B5EF4-FFF2-40B4-BE49-F238E27FC236}">
                  <a16:creationId xmlns:a16="http://schemas.microsoft.com/office/drawing/2014/main" id="{B3B53947-E976-C2BF-A658-49D998833218}"/>
                </a:ext>
              </a:extLst>
            </p:cNvPr>
            <p:cNvSpPr>
              <a:spLocks/>
            </p:cNvSpPr>
            <p:nvPr/>
          </p:nvSpPr>
          <p:spPr bwMode="auto">
            <a:xfrm>
              <a:off x="400222" y="4300124"/>
              <a:ext cx="244475" cy="242888"/>
            </a:xfrm>
            <a:custGeom>
              <a:avLst/>
              <a:gdLst>
                <a:gd name="T0" fmla="*/ 0 w 219"/>
                <a:gd name="T1" fmla="*/ 57 h 218"/>
                <a:gd name="T2" fmla="*/ 57 w 219"/>
                <a:gd name="T3" fmla="*/ 0 h 218"/>
                <a:gd name="T4" fmla="*/ 219 w 219"/>
                <a:gd name="T5" fmla="*/ 161 h 218"/>
                <a:gd name="T6" fmla="*/ 162 w 219"/>
                <a:gd name="T7" fmla="*/ 218 h 218"/>
              </a:gdLst>
              <a:ahLst/>
              <a:cxnLst>
                <a:cxn ang="0">
                  <a:pos x="T0" y="T1"/>
                </a:cxn>
                <a:cxn ang="0">
                  <a:pos x="T2" y="T3"/>
                </a:cxn>
                <a:cxn ang="0">
                  <a:pos x="T4" y="T5"/>
                </a:cxn>
                <a:cxn ang="0">
                  <a:pos x="T6" y="T7"/>
                </a:cxn>
              </a:cxnLst>
              <a:rect l="0" t="0" r="r" b="b"/>
              <a:pathLst>
                <a:path w="219" h="218">
                  <a:moveTo>
                    <a:pt x="0" y="57"/>
                  </a:moveTo>
                  <a:lnTo>
                    <a:pt x="57" y="0"/>
                  </a:lnTo>
                  <a:lnTo>
                    <a:pt x="219" y="161"/>
                  </a:lnTo>
                  <a:lnTo>
                    <a:pt x="162" y="218"/>
                  </a:lnTo>
                </a:path>
              </a:pathLst>
            </a:custGeom>
            <a:grp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1899">
              <a:extLst>
                <a:ext uri="{FF2B5EF4-FFF2-40B4-BE49-F238E27FC236}">
                  <a16:creationId xmlns:a16="http://schemas.microsoft.com/office/drawing/2014/main" id="{872B5083-C2F0-5142-A93B-B16FEDB1E170}"/>
                </a:ext>
              </a:extLst>
            </p:cNvPr>
            <p:cNvSpPr>
              <a:spLocks/>
            </p:cNvSpPr>
            <p:nvPr/>
          </p:nvSpPr>
          <p:spPr bwMode="auto">
            <a:xfrm>
              <a:off x="454197" y="4377911"/>
              <a:ext cx="38100" cy="36513"/>
            </a:xfrm>
            <a:custGeom>
              <a:avLst/>
              <a:gdLst>
                <a:gd name="T0" fmla="*/ 6 w 33"/>
                <a:gd name="T1" fmla="*/ 6 h 33"/>
                <a:gd name="T2" fmla="*/ 6 w 33"/>
                <a:gd name="T3" fmla="*/ 27 h 33"/>
                <a:gd name="T4" fmla="*/ 27 w 33"/>
                <a:gd name="T5" fmla="*/ 27 h 33"/>
                <a:gd name="T6" fmla="*/ 27 w 33"/>
                <a:gd name="T7" fmla="*/ 6 h 33"/>
                <a:gd name="T8" fmla="*/ 6 w 33"/>
                <a:gd name="T9" fmla="*/ 6 h 33"/>
              </a:gdLst>
              <a:ahLst/>
              <a:cxnLst>
                <a:cxn ang="0">
                  <a:pos x="T0" y="T1"/>
                </a:cxn>
                <a:cxn ang="0">
                  <a:pos x="T2" y="T3"/>
                </a:cxn>
                <a:cxn ang="0">
                  <a:pos x="T4" y="T5"/>
                </a:cxn>
                <a:cxn ang="0">
                  <a:pos x="T6" y="T7"/>
                </a:cxn>
                <a:cxn ang="0">
                  <a:pos x="T8" y="T9"/>
                </a:cxn>
              </a:cxnLst>
              <a:rect l="0" t="0" r="r" b="b"/>
              <a:pathLst>
                <a:path w="33" h="33">
                  <a:moveTo>
                    <a:pt x="6" y="6"/>
                  </a:moveTo>
                  <a:cubicBezTo>
                    <a:pt x="0" y="12"/>
                    <a:pt x="0" y="21"/>
                    <a:pt x="6" y="27"/>
                  </a:cubicBezTo>
                  <a:cubicBezTo>
                    <a:pt x="12" y="33"/>
                    <a:pt x="21" y="33"/>
                    <a:pt x="27" y="27"/>
                  </a:cubicBezTo>
                  <a:cubicBezTo>
                    <a:pt x="33" y="21"/>
                    <a:pt x="33" y="12"/>
                    <a:pt x="27" y="6"/>
                  </a:cubicBezTo>
                  <a:cubicBezTo>
                    <a:pt x="21" y="0"/>
                    <a:pt x="12" y="0"/>
                    <a:pt x="6" y="6"/>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Oval 1903">
              <a:extLst>
                <a:ext uri="{FF2B5EF4-FFF2-40B4-BE49-F238E27FC236}">
                  <a16:creationId xmlns:a16="http://schemas.microsoft.com/office/drawing/2014/main" id="{1014BD9B-BEA8-D41C-64CB-9019756A2928}"/>
                </a:ext>
              </a:extLst>
            </p:cNvPr>
            <p:cNvSpPr>
              <a:spLocks noChangeArrowheads="1"/>
            </p:cNvSpPr>
            <p:nvPr/>
          </p:nvSpPr>
          <p:spPr bwMode="auto">
            <a:xfrm>
              <a:off x="679622" y="3944524"/>
              <a:ext cx="252413" cy="254000"/>
            </a:xfrm>
            <a:prstGeom prst="ellipse">
              <a:avLst/>
            </a:prstGeom>
            <a:grp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77" name="Group 1265">
              <a:extLst>
                <a:ext uri="{FF2B5EF4-FFF2-40B4-BE49-F238E27FC236}">
                  <a16:creationId xmlns:a16="http://schemas.microsoft.com/office/drawing/2014/main" id="{C82F2220-4787-A0AC-8229-65729945F74B}"/>
                </a:ext>
              </a:extLst>
            </p:cNvPr>
            <p:cNvGrpSpPr>
              <a:grpSpLocks noChangeAspect="1"/>
            </p:cNvGrpSpPr>
            <p:nvPr/>
          </p:nvGrpSpPr>
          <p:grpSpPr>
            <a:xfrm>
              <a:off x="730245" y="4004716"/>
              <a:ext cx="144066" cy="142145"/>
              <a:chOff x="1346360" y="5009188"/>
              <a:chExt cx="174320" cy="171995"/>
            </a:xfrm>
            <a:grpFill/>
          </p:grpSpPr>
          <p:sp>
            <p:nvSpPr>
              <p:cNvPr id="178" name="Freeform 244">
                <a:extLst>
                  <a:ext uri="{FF2B5EF4-FFF2-40B4-BE49-F238E27FC236}">
                    <a16:creationId xmlns:a16="http://schemas.microsoft.com/office/drawing/2014/main" id="{83D03156-D862-782A-B5CC-EF3CE06782AC}"/>
                  </a:ext>
                </a:extLst>
              </p:cNvPr>
              <p:cNvSpPr>
                <a:spLocks/>
              </p:cNvSpPr>
              <p:nvPr/>
            </p:nvSpPr>
            <p:spPr bwMode="auto">
              <a:xfrm>
                <a:off x="1371927" y="5009188"/>
                <a:ext cx="148753" cy="171995"/>
              </a:xfrm>
              <a:custGeom>
                <a:avLst/>
                <a:gdLst>
                  <a:gd name="T0" fmla="*/ 65 w 111"/>
                  <a:gd name="T1" fmla="*/ 128 h 128"/>
                  <a:gd name="T2" fmla="*/ 0 w 111"/>
                  <a:gd name="T3" fmla="*/ 64 h 128"/>
                  <a:gd name="T4" fmla="*/ 65 w 111"/>
                  <a:gd name="T5" fmla="*/ 0 h 128"/>
                  <a:gd name="T6" fmla="*/ 108 w 111"/>
                  <a:gd name="T7" fmla="*/ 17 h 128"/>
                  <a:gd name="T8" fmla="*/ 108 w 111"/>
                  <a:gd name="T9" fmla="*/ 27 h 128"/>
                  <a:gd name="T10" fmla="*/ 98 w 111"/>
                  <a:gd name="T11" fmla="*/ 27 h 128"/>
                  <a:gd name="T12" fmla="*/ 65 w 111"/>
                  <a:gd name="T13" fmla="*/ 14 h 128"/>
                  <a:gd name="T14" fmla="*/ 15 w 111"/>
                  <a:gd name="T15" fmla="*/ 64 h 128"/>
                  <a:gd name="T16" fmla="*/ 65 w 111"/>
                  <a:gd name="T17" fmla="*/ 114 h 128"/>
                  <a:gd name="T18" fmla="*/ 98 w 111"/>
                  <a:gd name="T19" fmla="*/ 101 h 128"/>
                  <a:gd name="T20" fmla="*/ 108 w 111"/>
                  <a:gd name="T21" fmla="*/ 101 h 128"/>
                  <a:gd name="T22" fmla="*/ 108 w 111"/>
                  <a:gd name="T23" fmla="*/ 111 h 128"/>
                  <a:gd name="T24" fmla="*/ 65 w 111"/>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28">
                    <a:moveTo>
                      <a:pt x="65" y="128"/>
                    </a:moveTo>
                    <a:cubicBezTo>
                      <a:pt x="29" y="128"/>
                      <a:pt x="0" y="99"/>
                      <a:pt x="0" y="64"/>
                    </a:cubicBezTo>
                    <a:cubicBezTo>
                      <a:pt x="0" y="29"/>
                      <a:pt x="29" y="0"/>
                      <a:pt x="65" y="0"/>
                    </a:cubicBezTo>
                    <a:cubicBezTo>
                      <a:pt x="81" y="0"/>
                      <a:pt x="96" y="6"/>
                      <a:pt x="108" y="17"/>
                    </a:cubicBezTo>
                    <a:cubicBezTo>
                      <a:pt x="111" y="19"/>
                      <a:pt x="111" y="24"/>
                      <a:pt x="108" y="27"/>
                    </a:cubicBezTo>
                    <a:cubicBezTo>
                      <a:pt x="106" y="30"/>
                      <a:pt x="101" y="30"/>
                      <a:pt x="98" y="27"/>
                    </a:cubicBezTo>
                    <a:cubicBezTo>
                      <a:pt x="89" y="19"/>
                      <a:pt x="77" y="14"/>
                      <a:pt x="65" y="14"/>
                    </a:cubicBezTo>
                    <a:cubicBezTo>
                      <a:pt x="37" y="14"/>
                      <a:pt x="15" y="37"/>
                      <a:pt x="15" y="64"/>
                    </a:cubicBezTo>
                    <a:cubicBezTo>
                      <a:pt x="15" y="91"/>
                      <a:pt x="37" y="114"/>
                      <a:pt x="65" y="114"/>
                    </a:cubicBezTo>
                    <a:cubicBezTo>
                      <a:pt x="77" y="114"/>
                      <a:pt x="89" y="109"/>
                      <a:pt x="98" y="101"/>
                    </a:cubicBezTo>
                    <a:cubicBezTo>
                      <a:pt x="101" y="98"/>
                      <a:pt x="106" y="98"/>
                      <a:pt x="108" y="101"/>
                    </a:cubicBezTo>
                    <a:cubicBezTo>
                      <a:pt x="111" y="104"/>
                      <a:pt x="111" y="109"/>
                      <a:pt x="108" y="111"/>
                    </a:cubicBezTo>
                    <a:cubicBezTo>
                      <a:pt x="96" y="122"/>
                      <a:pt x="81" y="128"/>
                      <a:pt x="65" y="128"/>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245">
                <a:extLst>
                  <a:ext uri="{FF2B5EF4-FFF2-40B4-BE49-F238E27FC236}">
                    <a16:creationId xmlns:a16="http://schemas.microsoft.com/office/drawing/2014/main" id="{E2F2EB32-7F45-A84E-2BAD-308353FD1FB6}"/>
                  </a:ext>
                </a:extLst>
              </p:cNvPr>
              <p:cNvSpPr>
                <a:spLocks/>
              </p:cNvSpPr>
              <p:nvPr/>
            </p:nvSpPr>
            <p:spPr bwMode="auto">
              <a:xfrm>
                <a:off x="1346360" y="5062645"/>
                <a:ext cx="118538" cy="18594"/>
              </a:xfrm>
              <a:custGeom>
                <a:avLst/>
                <a:gdLst>
                  <a:gd name="T0" fmla="*/ 81 w 89"/>
                  <a:gd name="T1" fmla="*/ 15 h 15"/>
                  <a:gd name="T2" fmla="*/ 7 w 89"/>
                  <a:gd name="T3" fmla="*/ 15 h 15"/>
                  <a:gd name="T4" fmla="*/ 0 w 89"/>
                  <a:gd name="T5" fmla="*/ 8 h 15"/>
                  <a:gd name="T6" fmla="*/ 7 w 89"/>
                  <a:gd name="T7" fmla="*/ 0 h 15"/>
                  <a:gd name="T8" fmla="*/ 81 w 89"/>
                  <a:gd name="T9" fmla="*/ 0 h 15"/>
                  <a:gd name="T10" fmla="*/ 89 w 89"/>
                  <a:gd name="T11" fmla="*/ 8 h 15"/>
                  <a:gd name="T12" fmla="*/ 81 w 8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89" h="15">
                    <a:moveTo>
                      <a:pt x="81" y="15"/>
                    </a:moveTo>
                    <a:lnTo>
                      <a:pt x="7" y="15"/>
                    </a:lnTo>
                    <a:cubicBezTo>
                      <a:pt x="3" y="15"/>
                      <a:pt x="0" y="12"/>
                      <a:pt x="0" y="8"/>
                    </a:cubicBezTo>
                    <a:cubicBezTo>
                      <a:pt x="0" y="4"/>
                      <a:pt x="3" y="0"/>
                      <a:pt x="7" y="0"/>
                    </a:cubicBezTo>
                    <a:lnTo>
                      <a:pt x="81" y="0"/>
                    </a:lnTo>
                    <a:cubicBezTo>
                      <a:pt x="85" y="0"/>
                      <a:pt x="89" y="4"/>
                      <a:pt x="89" y="8"/>
                    </a:cubicBezTo>
                    <a:cubicBezTo>
                      <a:pt x="89" y="12"/>
                      <a:pt x="85" y="15"/>
                      <a:pt x="81" y="15"/>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246">
                <a:extLst>
                  <a:ext uri="{FF2B5EF4-FFF2-40B4-BE49-F238E27FC236}">
                    <a16:creationId xmlns:a16="http://schemas.microsoft.com/office/drawing/2014/main" id="{6B6419E0-0959-8798-BB7C-6DDA515A5DD9}"/>
                  </a:ext>
                </a:extLst>
              </p:cNvPr>
              <p:cNvSpPr>
                <a:spLocks/>
              </p:cNvSpPr>
              <p:nvPr/>
            </p:nvSpPr>
            <p:spPr bwMode="auto">
              <a:xfrm>
                <a:off x="1346360" y="5109130"/>
                <a:ext cx="118538" cy="18594"/>
              </a:xfrm>
              <a:custGeom>
                <a:avLst/>
                <a:gdLst>
                  <a:gd name="T0" fmla="*/ 81 w 89"/>
                  <a:gd name="T1" fmla="*/ 15 h 15"/>
                  <a:gd name="T2" fmla="*/ 7 w 89"/>
                  <a:gd name="T3" fmla="*/ 15 h 15"/>
                  <a:gd name="T4" fmla="*/ 0 w 89"/>
                  <a:gd name="T5" fmla="*/ 7 h 15"/>
                  <a:gd name="T6" fmla="*/ 7 w 89"/>
                  <a:gd name="T7" fmla="*/ 0 h 15"/>
                  <a:gd name="T8" fmla="*/ 81 w 89"/>
                  <a:gd name="T9" fmla="*/ 0 h 15"/>
                  <a:gd name="T10" fmla="*/ 89 w 89"/>
                  <a:gd name="T11" fmla="*/ 7 h 15"/>
                  <a:gd name="T12" fmla="*/ 81 w 8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89" h="15">
                    <a:moveTo>
                      <a:pt x="81" y="15"/>
                    </a:moveTo>
                    <a:lnTo>
                      <a:pt x="7" y="15"/>
                    </a:lnTo>
                    <a:cubicBezTo>
                      <a:pt x="3" y="15"/>
                      <a:pt x="0" y="11"/>
                      <a:pt x="0" y="7"/>
                    </a:cubicBezTo>
                    <a:cubicBezTo>
                      <a:pt x="0" y="3"/>
                      <a:pt x="3" y="0"/>
                      <a:pt x="7" y="0"/>
                    </a:cubicBezTo>
                    <a:lnTo>
                      <a:pt x="81" y="0"/>
                    </a:lnTo>
                    <a:cubicBezTo>
                      <a:pt x="85" y="0"/>
                      <a:pt x="89" y="3"/>
                      <a:pt x="89" y="7"/>
                    </a:cubicBezTo>
                    <a:cubicBezTo>
                      <a:pt x="89" y="11"/>
                      <a:pt x="85" y="15"/>
                      <a:pt x="81" y="15"/>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81" name="Service2" descr="{&quot;Key&quot;:&quot;POWER_USER_SHAPE_ICON&quot;,&quot;Value&quot;:&quot;POWER_USER_SHAPE_ICON_STYLE_1&quot;}">
            <a:extLst>
              <a:ext uri="{FF2B5EF4-FFF2-40B4-BE49-F238E27FC236}">
                <a16:creationId xmlns:a16="http://schemas.microsoft.com/office/drawing/2014/main" id="{8A846B23-348A-FA0D-BD26-27E162797D76}"/>
              </a:ext>
            </a:extLst>
          </p:cNvPr>
          <p:cNvGrpSpPr>
            <a:grpSpLocks noChangeAspect="1"/>
          </p:cNvGrpSpPr>
          <p:nvPr>
            <p:custDataLst>
              <p:tags r:id="rId5"/>
            </p:custDataLst>
          </p:nvPr>
        </p:nvGrpSpPr>
        <p:grpSpPr>
          <a:xfrm>
            <a:off x="4791526" y="3003886"/>
            <a:ext cx="372425" cy="399195"/>
            <a:chOff x="4356100" y="1658938"/>
            <a:chExt cx="750888" cy="804863"/>
          </a:xfrm>
        </p:grpSpPr>
        <p:sp>
          <p:nvSpPr>
            <p:cNvPr id="182" name="Freeform 124">
              <a:extLst>
                <a:ext uri="{FF2B5EF4-FFF2-40B4-BE49-F238E27FC236}">
                  <a16:creationId xmlns:a16="http://schemas.microsoft.com/office/drawing/2014/main" id="{49FAD1F9-8A56-F273-C8F1-35A611387DCC}"/>
                </a:ext>
              </a:extLst>
            </p:cNvPr>
            <p:cNvSpPr>
              <a:spLocks/>
            </p:cNvSpPr>
            <p:nvPr/>
          </p:nvSpPr>
          <p:spPr bwMode="auto">
            <a:xfrm>
              <a:off x="4356100" y="2259013"/>
              <a:ext cx="342900" cy="204788"/>
            </a:xfrm>
            <a:custGeom>
              <a:avLst/>
              <a:gdLst>
                <a:gd name="T0" fmla="*/ 101 w 457"/>
                <a:gd name="T1" fmla="*/ 168 h 271"/>
                <a:gd name="T2" fmla="*/ 101 w 457"/>
                <a:gd name="T3" fmla="*/ 271 h 271"/>
                <a:gd name="T4" fmla="*/ 0 w 457"/>
                <a:gd name="T5" fmla="*/ 271 h 271"/>
                <a:gd name="T6" fmla="*/ 0 w 457"/>
                <a:gd name="T7" fmla="*/ 153 h 271"/>
                <a:gd name="T8" fmla="*/ 158 w 457"/>
                <a:gd name="T9" fmla="*/ 0 h 271"/>
                <a:gd name="T10" fmla="*/ 229 w 457"/>
                <a:gd name="T11" fmla="*/ 63 h 271"/>
                <a:gd name="T12" fmla="*/ 300 w 457"/>
                <a:gd name="T13" fmla="*/ 0 h 271"/>
                <a:gd name="T14" fmla="*/ 457 w 457"/>
                <a:gd name="T15" fmla="*/ 153 h 271"/>
                <a:gd name="T16" fmla="*/ 457 w 457"/>
                <a:gd name="T17" fmla="*/ 271 h 271"/>
                <a:gd name="T18" fmla="*/ 356 w 457"/>
                <a:gd name="T19" fmla="*/ 271 h 271"/>
                <a:gd name="T20" fmla="*/ 356 w 457"/>
                <a:gd name="T21" fmla="*/ 16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7" h="271">
                  <a:moveTo>
                    <a:pt x="101" y="168"/>
                  </a:moveTo>
                  <a:lnTo>
                    <a:pt x="101" y="271"/>
                  </a:lnTo>
                  <a:lnTo>
                    <a:pt x="0" y="271"/>
                  </a:lnTo>
                  <a:lnTo>
                    <a:pt x="0" y="153"/>
                  </a:lnTo>
                  <a:cubicBezTo>
                    <a:pt x="0" y="67"/>
                    <a:pt x="73" y="13"/>
                    <a:pt x="158" y="0"/>
                  </a:cubicBezTo>
                  <a:lnTo>
                    <a:pt x="229" y="63"/>
                  </a:lnTo>
                  <a:lnTo>
                    <a:pt x="300" y="0"/>
                  </a:lnTo>
                  <a:cubicBezTo>
                    <a:pt x="388" y="13"/>
                    <a:pt x="457" y="66"/>
                    <a:pt x="457" y="153"/>
                  </a:cubicBezTo>
                  <a:lnTo>
                    <a:pt x="457" y="271"/>
                  </a:lnTo>
                  <a:lnTo>
                    <a:pt x="356" y="271"/>
                  </a:lnTo>
                  <a:lnTo>
                    <a:pt x="356" y="168"/>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Oval 125">
              <a:extLst>
                <a:ext uri="{FF2B5EF4-FFF2-40B4-BE49-F238E27FC236}">
                  <a16:creationId xmlns:a16="http://schemas.microsoft.com/office/drawing/2014/main" id="{3DEC5F50-18DA-299D-01B3-F90867CDDF7B}"/>
                </a:ext>
              </a:extLst>
            </p:cNvPr>
            <p:cNvSpPr>
              <a:spLocks noChangeArrowheads="1"/>
            </p:cNvSpPr>
            <p:nvPr/>
          </p:nvSpPr>
          <p:spPr bwMode="auto">
            <a:xfrm>
              <a:off x="4432300" y="2024063"/>
              <a:ext cx="190500" cy="190500"/>
            </a:xfrm>
            <a:prstGeom prst="ellipse">
              <a:avLst/>
            </a:prstGeom>
            <a:noFill/>
            <a:ln w="95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126">
              <a:extLst>
                <a:ext uri="{FF2B5EF4-FFF2-40B4-BE49-F238E27FC236}">
                  <a16:creationId xmlns:a16="http://schemas.microsoft.com/office/drawing/2014/main" id="{B25A8343-C966-CDC7-0782-87674527AC67}"/>
                </a:ext>
              </a:extLst>
            </p:cNvPr>
            <p:cNvSpPr>
              <a:spLocks/>
            </p:cNvSpPr>
            <p:nvPr/>
          </p:nvSpPr>
          <p:spPr bwMode="auto">
            <a:xfrm>
              <a:off x="4691063" y="2217738"/>
              <a:ext cx="149225" cy="127000"/>
            </a:xfrm>
            <a:custGeom>
              <a:avLst/>
              <a:gdLst>
                <a:gd name="T0" fmla="*/ 0 w 200"/>
                <a:gd name="T1" fmla="*/ 0 h 169"/>
                <a:gd name="T2" fmla="*/ 200 w 200"/>
                <a:gd name="T3" fmla="*/ 169 h 169"/>
              </a:gdLst>
              <a:ahLst/>
              <a:cxnLst>
                <a:cxn ang="0">
                  <a:pos x="T0" y="T1"/>
                </a:cxn>
                <a:cxn ang="0">
                  <a:pos x="T2" y="T3"/>
                </a:cxn>
              </a:cxnLst>
              <a:rect l="0" t="0" r="r" b="b"/>
              <a:pathLst>
                <a:path w="200" h="169">
                  <a:moveTo>
                    <a:pt x="0" y="0"/>
                  </a:moveTo>
                  <a:cubicBezTo>
                    <a:pt x="33" y="89"/>
                    <a:pt x="129" y="145"/>
                    <a:pt x="200" y="169"/>
                  </a:cubicBez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127">
              <a:extLst>
                <a:ext uri="{FF2B5EF4-FFF2-40B4-BE49-F238E27FC236}">
                  <a16:creationId xmlns:a16="http://schemas.microsoft.com/office/drawing/2014/main" id="{D2CC3F82-1799-B01D-911B-B7FA9C131BC9}"/>
                </a:ext>
              </a:extLst>
            </p:cNvPr>
            <p:cNvSpPr>
              <a:spLocks/>
            </p:cNvSpPr>
            <p:nvPr/>
          </p:nvSpPr>
          <p:spPr bwMode="auto">
            <a:xfrm>
              <a:off x="4768850" y="2181225"/>
              <a:ext cx="338138" cy="282575"/>
            </a:xfrm>
            <a:custGeom>
              <a:avLst/>
              <a:gdLst>
                <a:gd name="T0" fmla="*/ 331 w 450"/>
                <a:gd name="T1" fmla="*/ 288 h 375"/>
                <a:gd name="T2" fmla="*/ 339 w 450"/>
                <a:gd name="T3" fmla="*/ 375 h 375"/>
                <a:gd name="T4" fmla="*/ 450 w 450"/>
                <a:gd name="T5" fmla="*/ 375 h 375"/>
                <a:gd name="T6" fmla="*/ 449 w 450"/>
                <a:gd name="T7" fmla="*/ 271 h 375"/>
                <a:gd name="T8" fmla="*/ 312 w 450"/>
                <a:gd name="T9" fmla="*/ 109 h 375"/>
                <a:gd name="T10" fmla="*/ 235 w 450"/>
                <a:gd name="T11" fmla="*/ 166 h 375"/>
                <a:gd name="T12" fmla="*/ 167 w 450"/>
                <a:gd name="T13" fmla="*/ 95 h 375"/>
                <a:gd name="T14" fmla="*/ 0 w 450"/>
                <a:gd name="T15" fmla="*/ 0 h 3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0" h="375">
                  <a:moveTo>
                    <a:pt x="331" y="288"/>
                  </a:moveTo>
                  <a:lnTo>
                    <a:pt x="339" y="375"/>
                  </a:lnTo>
                  <a:lnTo>
                    <a:pt x="450" y="375"/>
                  </a:lnTo>
                  <a:lnTo>
                    <a:pt x="449" y="271"/>
                  </a:lnTo>
                  <a:cubicBezTo>
                    <a:pt x="446" y="170"/>
                    <a:pt x="401" y="125"/>
                    <a:pt x="312" y="109"/>
                  </a:cubicBezTo>
                  <a:lnTo>
                    <a:pt x="235" y="166"/>
                  </a:lnTo>
                  <a:lnTo>
                    <a:pt x="167" y="95"/>
                  </a:lnTo>
                  <a:cubicBezTo>
                    <a:pt x="111" y="87"/>
                    <a:pt x="35" y="47"/>
                    <a:pt x="0" y="0"/>
                  </a:cubicBez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128">
              <a:extLst>
                <a:ext uri="{FF2B5EF4-FFF2-40B4-BE49-F238E27FC236}">
                  <a16:creationId xmlns:a16="http://schemas.microsoft.com/office/drawing/2014/main" id="{A6E77E58-6F00-8F08-DA5D-D310C7C2A927}"/>
                </a:ext>
              </a:extLst>
            </p:cNvPr>
            <p:cNvSpPr>
              <a:spLocks/>
            </p:cNvSpPr>
            <p:nvPr/>
          </p:nvSpPr>
          <p:spPr bwMode="auto">
            <a:xfrm>
              <a:off x="4662488" y="2101850"/>
              <a:ext cx="114300" cy="117475"/>
            </a:xfrm>
            <a:custGeom>
              <a:avLst/>
              <a:gdLst>
                <a:gd name="T0" fmla="*/ 59 w 151"/>
                <a:gd name="T1" fmla="*/ 155 h 157"/>
                <a:gd name="T2" fmla="*/ 145 w 151"/>
                <a:gd name="T3" fmla="*/ 91 h 157"/>
                <a:gd name="T4" fmla="*/ 97 w 151"/>
                <a:gd name="T5" fmla="*/ 4 h 157"/>
                <a:gd name="T6" fmla="*/ 64 w 151"/>
                <a:gd name="T7" fmla="*/ 0 h 157"/>
                <a:gd name="T8" fmla="*/ 10 w 151"/>
                <a:gd name="T9" fmla="*/ 70 h 157"/>
                <a:gd name="T10" fmla="*/ 10 w 151"/>
                <a:gd name="T11" fmla="*/ 138 h 157"/>
                <a:gd name="T12" fmla="*/ 59 w 151"/>
                <a:gd name="T13" fmla="*/ 155 h 157"/>
              </a:gdLst>
              <a:ahLst/>
              <a:cxnLst>
                <a:cxn ang="0">
                  <a:pos x="T0" y="T1"/>
                </a:cxn>
                <a:cxn ang="0">
                  <a:pos x="T2" y="T3"/>
                </a:cxn>
                <a:cxn ang="0">
                  <a:pos x="T4" y="T5"/>
                </a:cxn>
                <a:cxn ang="0">
                  <a:pos x="T6" y="T7"/>
                </a:cxn>
                <a:cxn ang="0">
                  <a:pos x="T8" y="T9"/>
                </a:cxn>
                <a:cxn ang="0">
                  <a:pos x="T10" y="T11"/>
                </a:cxn>
                <a:cxn ang="0">
                  <a:pos x="T12" y="T13"/>
                </a:cxn>
              </a:cxnLst>
              <a:rect l="0" t="0" r="r" b="b"/>
              <a:pathLst>
                <a:path w="151" h="157">
                  <a:moveTo>
                    <a:pt x="59" y="155"/>
                  </a:moveTo>
                  <a:cubicBezTo>
                    <a:pt x="100" y="155"/>
                    <a:pt x="138" y="132"/>
                    <a:pt x="145" y="91"/>
                  </a:cubicBezTo>
                  <a:cubicBezTo>
                    <a:pt x="151" y="52"/>
                    <a:pt x="128" y="14"/>
                    <a:pt x="97" y="4"/>
                  </a:cubicBezTo>
                  <a:cubicBezTo>
                    <a:pt x="83" y="0"/>
                    <a:pt x="76" y="0"/>
                    <a:pt x="64" y="0"/>
                  </a:cubicBezTo>
                  <a:cubicBezTo>
                    <a:pt x="21" y="0"/>
                    <a:pt x="17" y="28"/>
                    <a:pt x="10" y="70"/>
                  </a:cubicBezTo>
                  <a:cubicBezTo>
                    <a:pt x="5" y="97"/>
                    <a:pt x="0" y="123"/>
                    <a:pt x="10" y="138"/>
                  </a:cubicBezTo>
                  <a:cubicBezTo>
                    <a:pt x="22" y="157"/>
                    <a:pt x="46" y="155"/>
                    <a:pt x="59" y="155"/>
                  </a:cubicBezTo>
                  <a:close/>
                </a:path>
              </a:pathLst>
            </a:custGeom>
            <a:noFill/>
            <a:ln w="95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Oval 129">
              <a:extLst>
                <a:ext uri="{FF2B5EF4-FFF2-40B4-BE49-F238E27FC236}">
                  <a16:creationId xmlns:a16="http://schemas.microsoft.com/office/drawing/2014/main" id="{A2E14549-3D58-C17B-009F-8BAADAE446F0}"/>
                </a:ext>
              </a:extLst>
            </p:cNvPr>
            <p:cNvSpPr>
              <a:spLocks noChangeArrowheads="1"/>
            </p:cNvSpPr>
            <p:nvPr/>
          </p:nvSpPr>
          <p:spPr bwMode="auto">
            <a:xfrm>
              <a:off x="4872038" y="2020888"/>
              <a:ext cx="192088" cy="192088"/>
            </a:xfrm>
            <a:prstGeom prst="ellipse">
              <a:avLst/>
            </a:prstGeom>
            <a:noFill/>
            <a:ln w="95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130">
              <a:extLst>
                <a:ext uri="{FF2B5EF4-FFF2-40B4-BE49-F238E27FC236}">
                  <a16:creationId xmlns:a16="http://schemas.microsoft.com/office/drawing/2014/main" id="{BDC347F7-51FF-503E-6D2E-E384FF157033}"/>
                </a:ext>
              </a:extLst>
            </p:cNvPr>
            <p:cNvSpPr>
              <a:spLocks/>
            </p:cNvSpPr>
            <p:nvPr/>
          </p:nvSpPr>
          <p:spPr bwMode="auto">
            <a:xfrm>
              <a:off x="4511675" y="1774825"/>
              <a:ext cx="119063" cy="107950"/>
            </a:xfrm>
            <a:custGeom>
              <a:avLst/>
              <a:gdLst>
                <a:gd name="T0" fmla="*/ 0 w 159"/>
                <a:gd name="T1" fmla="*/ 143 h 143"/>
                <a:gd name="T2" fmla="*/ 159 w 159"/>
                <a:gd name="T3" fmla="*/ 0 h 143"/>
              </a:gdLst>
              <a:ahLst/>
              <a:cxnLst>
                <a:cxn ang="0">
                  <a:pos x="T0" y="T1"/>
                </a:cxn>
                <a:cxn ang="0">
                  <a:pos x="T2" y="T3"/>
                </a:cxn>
              </a:cxnLst>
              <a:rect l="0" t="0" r="r" b="b"/>
              <a:pathLst>
                <a:path w="159" h="143">
                  <a:moveTo>
                    <a:pt x="0" y="143"/>
                  </a:moveTo>
                  <a:cubicBezTo>
                    <a:pt x="39" y="81"/>
                    <a:pt x="94" y="32"/>
                    <a:pt x="159" y="0"/>
                  </a:cubicBez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131">
              <a:extLst>
                <a:ext uri="{FF2B5EF4-FFF2-40B4-BE49-F238E27FC236}">
                  <a16:creationId xmlns:a16="http://schemas.microsoft.com/office/drawing/2014/main" id="{3E8CD9E7-352C-383B-EAEB-E3CC77CAC879}"/>
                </a:ext>
              </a:extLst>
            </p:cNvPr>
            <p:cNvSpPr>
              <a:spLocks/>
            </p:cNvSpPr>
            <p:nvPr/>
          </p:nvSpPr>
          <p:spPr bwMode="auto">
            <a:xfrm>
              <a:off x="4418013" y="1693863"/>
              <a:ext cx="638175" cy="309563"/>
            </a:xfrm>
            <a:custGeom>
              <a:avLst/>
              <a:gdLst>
                <a:gd name="T0" fmla="*/ 425 w 849"/>
                <a:gd name="T1" fmla="*/ 0 h 413"/>
                <a:gd name="T2" fmla="*/ 1 w 849"/>
                <a:gd name="T3" fmla="*/ 396 h 413"/>
                <a:gd name="T4" fmla="*/ 10 w 849"/>
                <a:gd name="T5" fmla="*/ 411 h 413"/>
                <a:gd name="T6" fmla="*/ 27 w 849"/>
                <a:gd name="T7" fmla="*/ 406 h 413"/>
                <a:gd name="T8" fmla="*/ 152 w 849"/>
                <a:gd name="T9" fmla="*/ 346 h 413"/>
                <a:gd name="T10" fmla="*/ 277 w 849"/>
                <a:gd name="T11" fmla="*/ 406 h 413"/>
                <a:gd name="T12" fmla="*/ 288 w 849"/>
                <a:gd name="T13" fmla="*/ 411 h 413"/>
                <a:gd name="T14" fmla="*/ 300 w 849"/>
                <a:gd name="T15" fmla="*/ 406 h 413"/>
                <a:gd name="T16" fmla="*/ 425 w 849"/>
                <a:gd name="T17" fmla="*/ 346 h 413"/>
                <a:gd name="T18" fmla="*/ 550 w 849"/>
                <a:gd name="T19" fmla="*/ 406 h 413"/>
                <a:gd name="T20" fmla="*/ 561 w 849"/>
                <a:gd name="T21" fmla="*/ 412 h 413"/>
                <a:gd name="T22" fmla="*/ 573 w 849"/>
                <a:gd name="T23" fmla="*/ 406 h 413"/>
                <a:gd name="T24" fmla="*/ 698 w 849"/>
                <a:gd name="T25" fmla="*/ 346 h 413"/>
                <a:gd name="T26" fmla="*/ 823 w 849"/>
                <a:gd name="T27" fmla="*/ 406 h 413"/>
                <a:gd name="T28" fmla="*/ 840 w 849"/>
                <a:gd name="T29" fmla="*/ 411 h 413"/>
                <a:gd name="T30" fmla="*/ 849 w 849"/>
                <a:gd name="T31" fmla="*/ 396 h 413"/>
                <a:gd name="T32" fmla="*/ 425 w 849"/>
                <a:gd name="T33"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9" h="413">
                  <a:moveTo>
                    <a:pt x="425" y="0"/>
                  </a:moveTo>
                  <a:cubicBezTo>
                    <a:pt x="198" y="0"/>
                    <a:pt x="15" y="178"/>
                    <a:pt x="1" y="396"/>
                  </a:cubicBezTo>
                  <a:cubicBezTo>
                    <a:pt x="0" y="402"/>
                    <a:pt x="4" y="409"/>
                    <a:pt x="10" y="411"/>
                  </a:cubicBezTo>
                  <a:cubicBezTo>
                    <a:pt x="18" y="413"/>
                    <a:pt x="24" y="409"/>
                    <a:pt x="27" y="406"/>
                  </a:cubicBezTo>
                  <a:cubicBezTo>
                    <a:pt x="58" y="368"/>
                    <a:pt x="103" y="346"/>
                    <a:pt x="152" y="346"/>
                  </a:cubicBezTo>
                  <a:cubicBezTo>
                    <a:pt x="201" y="346"/>
                    <a:pt x="246" y="368"/>
                    <a:pt x="277" y="406"/>
                  </a:cubicBezTo>
                  <a:cubicBezTo>
                    <a:pt x="280" y="410"/>
                    <a:pt x="284" y="411"/>
                    <a:pt x="288" y="411"/>
                  </a:cubicBezTo>
                  <a:cubicBezTo>
                    <a:pt x="293" y="411"/>
                    <a:pt x="297" y="410"/>
                    <a:pt x="300" y="406"/>
                  </a:cubicBezTo>
                  <a:cubicBezTo>
                    <a:pt x="331" y="368"/>
                    <a:pt x="376" y="346"/>
                    <a:pt x="425" y="346"/>
                  </a:cubicBezTo>
                  <a:cubicBezTo>
                    <a:pt x="474" y="346"/>
                    <a:pt x="519" y="368"/>
                    <a:pt x="550" y="406"/>
                  </a:cubicBezTo>
                  <a:cubicBezTo>
                    <a:pt x="553" y="410"/>
                    <a:pt x="557" y="412"/>
                    <a:pt x="561" y="412"/>
                  </a:cubicBezTo>
                  <a:cubicBezTo>
                    <a:pt x="566" y="412"/>
                    <a:pt x="570" y="410"/>
                    <a:pt x="573" y="406"/>
                  </a:cubicBezTo>
                  <a:cubicBezTo>
                    <a:pt x="603" y="368"/>
                    <a:pt x="649" y="346"/>
                    <a:pt x="698" y="346"/>
                  </a:cubicBezTo>
                  <a:cubicBezTo>
                    <a:pt x="746" y="346"/>
                    <a:pt x="792" y="368"/>
                    <a:pt x="823" y="406"/>
                  </a:cubicBezTo>
                  <a:cubicBezTo>
                    <a:pt x="827" y="412"/>
                    <a:pt x="836" y="412"/>
                    <a:pt x="840" y="411"/>
                  </a:cubicBezTo>
                  <a:cubicBezTo>
                    <a:pt x="845" y="408"/>
                    <a:pt x="849" y="402"/>
                    <a:pt x="849" y="396"/>
                  </a:cubicBezTo>
                  <a:cubicBezTo>
                    <a:pt x="835" y="183"/>
                    <a:pt x="651" y="0"/>
                    <a:pt x="425" y="0"/>
                  </a:cubicBezTo>
                  <a:close/>
                </a:path>
              </a:pathLst>
            </a:custGeom>
            <a:noFill/>
            <a:ln w="95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Line 132">
              <a:extLst>
                <a:ext uri="{FF2B5EF4-FFF2-40B4-BE49-F238E27FC236}">
                  <a16:creationId xmlns:a16="http://schemas.microsoft.com/office/drawing/2014/main" id="{6C2AF2C3-661F-FF13-96D9-83B4D5005073}"/>
                </a:ext>
              </a:extLst>
            </p:cNvPr>
            <p:cNvSpPr>
              <a:spLocks noChangeShapeType="1"/>
            </p:cNvSpPr>
            <p:nvPr/>
          </p:nvSpPr>
          <p:spPr bwMode="auto">
            <a:xfrm flipV="1">
              <a:off x="4737100" y="1658938"/>
              <a:ext cx="0" cy="31750"/>
            </a:xfrm>
            <a:prstGeom prst="line">
              <a:avLst/>
            </a:prstGeom>
            <a:noFill/>
            <a:ln w="952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Line 133">
              <a:extLst>
                <a:ext uri="{FF2B5EF4-FFF2-40B4-BE49-F238E27FC236}">
                  <a16:creationId xmlns:a16="http://schemas.microsoft.com/office/drawing/2014/main" id="{D3C84A45-C030-9A28-5E29-EB89A9A060B9}"/>
                </a:ext>
              </a:extLst>
            </p:cNvPr>
            <p:cNvSpPr>
              <a:spLocks noChangeShapeType="1"/>
            </p:cNvSpPr>
            <p:nvPr/>
          </p:nvSpPr>
          <p:spPr bwMode="auto">
            <a:xfrm>
              <a:off x="4737100" y="1954213"/>
              <a:ext cx="0" cy="150813"/>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Line 134">
              <a:extLst>
                <a:ext uri="{FF2B5EF4-FFF2-40B4-BE49-F238E27FC236}">
                  <a16:creationId xmlns:a16="http://schemas.microsoft.com/office/drawing/2014/main" id="{DC5D20E2-C952-85E5-97FC-68B1AE2C2FC3}"/>
                </a:ext>
              </a:extLst>
            </p:cNvPr>
            <p:cNvSpPr>
              <a:spLocks noChangeShapeType="1"/>
            </p:cNvSpPr>
            <p:nvPr/>
          </p:nvSpPr>
          <p:spPr bwMode="auto">
            <a:xfrm>
              <a:off x="4432300" y="2463800"/>
              <a:ext cx="190500" cy="0"/>
            </a:xfrm>
            <a:prstGeom prst="line">
              <a:avLst/>
            </a:prstGeom>
            <a:noFill/>
            <a:ln w="952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Freeform 135">
              <a:extLst>
                <a:ext uri="{FF2B5EF4-FFF2-40B4-BE49-F238E27FC236}">
                  <a16:creationId xmlns:a16="http://schemas.microsoft.com/office/drawing/2014/main" id="{E89C4953-AF18-695B-32B8-14A204131308}"/>
                </a:ext>
              </a:extLst>
            </p:cNvPr>
            <p:cNvSpPr>
              <a:spLocks/>
            </p:cNvSpPr>
            <p:nvPr/>
          </p:nvSpPr>
          <p:spPr bwMode="auto">
            <a:xfrm>
              <a:off x="4840288" y="2346325"/>
              <a:ext cx="182563" cy="117475"/>
            </a:xfrm>
            <a:custGeom>
              <a:avLst/>
              <a:gdLst>
                <a:gd name="T0" fmla="*/ 0 w 243"/>
                <a:gd name="T1" fmla="*/ 0 h 156"/>
                <a:gd name="T2" fmla="*/ 0 w 243"/>
                <a:gd name="T3" fmla="*/ 156 h 156"/>
                <a:gd name="T4" fmla="*/ 243 w 243"/>
                <a:gd name="T5" fmla="*/ 156 h 156"/>
              </a:gdLst>
              <a:ahLst/>
              <a:cxnLst>
                <a:cxn ang="0">
                  <a:pos x="T0" y="T1"/>
                </a:cxn>
                <a:cxn ang="0">
                  <a:pos x="T2" y="T3"/>
                </a:cxn>
                <a:cxn ang="0">
                  <a:pos x="T4" y="T5"/>
                </a:cxn>
              </a:cxnLst>
              <a:rect l="0" t="0" r="r" b="b"/>
              <a:pathLst>
                <a:path w="243" h="156">
                  <a:moveTo>
                    <a:pt x="0" y="0"/>
                  </a:moveTo>
                  <a:lnTo>
                    <a:pt x="0" y="156"/>
                  </a:lnTo>
                  <a:lnTo>
                    <a:pt x="243" y="156"/>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94" name="Environment" descr="{&quot;Key&quot;:&quot;POWER_USER_SHAPE_ICON&quot;,&quot;Value&quot;:&quot;POWER_USER_SHAPE_ICON_STYLE_1&quot;}">
            <a:extLst>
              <a:ext uri="{FF2B5EF4-FFF2-40B4-BE49-F238E27FC236}">
                <a16:creationId xmlns:a16="http://schemas.microsoft.com/office/drawing/2014/main" id="{9441E4AE-F28D-5C02-3635-29AA247FA30D}"/>
              </a:ext>
            </a:extLst>
          </p:cNvPr>
          <p:cNvGrpSpPr>
            <a:grpSpLocks noChangeAspect="1"/>
          </p:cNvGrpSpPr>
          <p:nvPr/>
        </p:nvGrpSpPr>
        <p:grpSpPr>
          <a:xfrm>
            <a:off x="4791722" y="3613908"/>
            <a:ext cx="308883" cy="399195"/>
            <a:chOff x="437764" y="3651399"/>
            <a:chExt cx="629443" cy="813482"/>
          </a:xfrm>
        </p:grpSpPr>
        <p:grpSp>
          <p:nvGrpSpPr>
            <p:cNvPr id="195" name="Globe5" descr="{&quot;Key&quot;:&quot;POWER_USER_SHAPE_ICON&quot;,&quot;Value&quot;:&quot;POWER_USER_SHAPE_ICON_STYLE_1&quot;}">
              <a:extLst>
                <a:ext uri="{FF2B5EF4-FFF2-40B4-BE49-F238E27FC236}">
                  <a16:creationId xmlns:a16="http://schemas.microsoft.com/office/drawing/2014/main" id="{436AAE14-CB61-8E99-50A7-E487F5E394A1}"/>
                </a:ext>
              </a:extLst>
            </p:cNvPr>
            <p:cNvGrpSpPr>
              <a:grpSpLocks noChangeAspect="1"/>
            </p:cNvGrpSpPr>
            <p:nvPr/>
          </p:nvGrpSpPr>
          <p:grpSpPr>
            <a:xfrm>
              <a:off x="602377" y="3651399"/>
              <a:ext cx="394447" cy="473142"/>
              <a:chOff x="7132638" y="1668463"/>
              <a:chExt cx="644525" cy="773112"/>
            </a:xfrm>
          </p:grpSpPr>
          <p:sp>
            <p:nvSpPr>
              <p:cNvPr id="200" name="Oval 100">
                <a:extLst>
                  <a:ext uri="{FF2B5EF4-FFF2-40B4-BE49-F238E27FC236}">
                    <a16:creationId xmlns:a16="http://schemas.microsoft.com/office/drawing/2014/main" id="{60B53DE5-124A-B44A-E503-7FAF8F9B21EF}"/>
                  </a:ext>
                </a:extLst>
              </p:cNvPr>
              <p:cNvSpPr>
                <a:spLocks noChangeArrowheads="1"/>
              </p:cNvSpPr>
              <p:nvPr/>
            </p:nvSpPr>
            <p:spPr bwMode="auto">
              <a:xfrm>
                <a:off x="7132638" y="1708150"/>
                <a:ext cx="584200" cy="584200"/>
              </a:xfrm>
              <a:prstGeom prst="ellipse">
                <a:avLst/>
              </a:prstGeom>
              <a:noFill/>
              <a:ln w="95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Freeform 101">
                <a:extLst>
                  <a:ext uri="{FF2B5EF4-FFF2-40B4-BE49-F238E27FC236}">
                    <a16:creationId xmlns:a16="http://schemas.microsoft.com/office/drawing/2014/main" id="{9EEB8623-E6A0-B468-D43D-03D6B39B68C6}"/>
                  </a:ext>
                </a:extLst>
              </p:cNvPr>
              <p:cNvSpPr>
                <a:spLocks/>
              </p:cNvSpPr>
              <p:nvPr/>
            </p:nvSpPr>
            <p:spPr bwMode="auto">
              <a:xfrm>
                <a:off x="7288213" y="1668463"/>
                <a:ext cx="488950" cy="684213"/>
              </a:xfrm>
              <a:custGeom>
                <a:avLst/>
                <a:gdLst>
                  <a:gd name="T0" fmla="*/ 0 w 653"/>
                  <a:gd name="T1" fmla="*/ 873 h 910"/>
                  <a:gd name="T2" fmla="*/ 183 w 653"/>
                  <a:gd name="T3" fmla="*/ 910 h 910"/>
                  <a:gd name="T4" fmla="*/ 653 w 653"/>
                  <a:gd name="T5" fmla="*/ 440 h 910"/>
                  <a:gd name="T6" fmla="*/ 348 w 653"/>
                  <a:gd name="T7" fmla="*/ 0 h 910"/>
                </a:gdLst>
                <a:ahLst/>
                <a:cxnLst>
                  <a:cxn ang="0">
                    <a:pos x="T0" y="T1"/>
                  </a:cxn>
                  <a:cxn ang="0">
                    <a:pos x="T2" y="T3"/>
                  </a:cxn>
                  <a:cxn ang="0">
                    <a:pos x="T4" y="T5"/>
                  </a:cxn>
                  <a:cxn ang="0">
                    <a:pos x="T6" y="T7"/>
                  </a:cxn>
                </a:cxnLst>
                <a:rect l="0" t="0" r="r" b="b"/>
                <a:pathLst>
                  <a:path w="653" h="910">
                    <a:moveTo>
                      <a:pt x="0" y="873"/>
                    </a:moveTo>
                    <a:cubicBezTo>
                      <a:pt x="56" y="897"/>
                      <a:pt x="118" y="910"/>
                      <a:pt x="183" y="910"/>
                    </a:cubicBezTo>
                    <a:cubicBezTo>
                      <a:pt x="442" y="910"/>
                      <a:pt x="653" y="700"/>
                      <a:pt x="653" y="440"/>
                    </a:cubicBezTo>
                    <a:cubicBezTo>
                      <a:pt x="653" y="239"/>
                      <a:pt x="526" y="67"/>
                      <a:pt x="348" y="0"/>
                    </a:cubicBez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Freeform 102">
                <a:extLst>
                  <a:ext uri="{FF2B5EF4-FFF2-40B4-BE49-F238E27FC236}">
                    <a16:creationId xmlns:a16="http://schemas.microsoft.com/office/drawing/2014/main" id="{BE1F50E2-EAF4-FC92-ABFA-57A9087FE149}"/>
                  </a:ext>
                </a:extLst>
              </p:cNvPr>
              <p:cNvSpPr>
                <a:spLocks/>
              </p:cNvSpPr>
              <p:nvPr/>
            </p:nvSpPr>
            <p:spPr bwMode="auto">
              <a:xfrm>
                <a:off x="7542213" y="1803400"/>
                <a:ext cx="134938" cy="341313"/>
              </a:xfrm>
              <a:custGeom>
                <a:avLst/>
                <a:gdLst>
                  <a:gd name="T0" fmla="*/ 131 w 179"/>
                  <a:gd name="T1" fmla="*/ 0 h 454"/>
                  <a:gd name="T2" fmla="*/ 0 w 179"/>
                  <a:gd name="T3" fmla="*/ 192 h 454"/>
                  <a:gd name="T4" fmla="*/ 13 w 179"/>
                  <a:gd name="T5" fmla="*/ 252 h 454"/>
                  <a:gd name="T6" fmla="*/ 56 w 179"/>
                  <a:gd name="T7" fmla="*/ 305 h 454"/>
                  <a:gd name="T8" fmla="*/ 117 w 179"/>
                  <a:gd name="T9" fmla="*/ 331 h 454"/>
                  <a:gd name="T10" fmla="*/ 137 w 179"/>
                  <a:gd name="T11" fmla="*/ 425 h 454"/>
                  <a:gd name="T12" fmla="*/ 179 w 179"/>
                  <a:gd name="T13" fmla="*/ 454 h 454"/>
                </a:gdLst>
                <a:ahLst/>
                <a:cxnLst>
                  <a:cxn ang="0">
                    <a:pos x="T0" y="T1"/>
                  </a:cxn>
                  <a:cxn ang="0">
                    <a:pos x="T2" y="T3"/>
                  </a:cxn>
                  <a:cxn ang="0">
                    <a:pos x="T4" y="T5"/>
                  </a:cxn>
                  <a:cxn ang="0">
                    <a:pos x="T6" y="T7"/>
                  </a:cxn>
                  <a:cxn ang="0">
                    <a:pos x="T8" y="T9"/>
                  </a:cxn>
                  <a:cxn ang="0">
                    <a:pos x="T10" y="T11"/>
                  </a:cxn>
                  <a:cxn ang="0">
                    <a:pos x="T12" y="T13"/>
                  </a:cxn>
                </a:cxnLst>
                <a:rect l="0" t="0" r="r" b="b"/>
                <a:pathLst>
                  <a:path w="179" h="454">
                    <a:moveTo>
                      <a:pt x="131" y="0"/>
                    </a:moveTo>
                    <a:lnTo>
                      <a:pt x="0" y="192"/>
                    </a:lnTo>
                    <a:lnTo>
                      <a:pt x="13" y="252"/>
                    </a:lnTo>
                    <a:lnTo>
                      <a:pt x="56" y="305"/>
                    </a:lnTo>
                    <a:lnTo>
                      <a:pt x="117" y="331"/>
                    </a:lnTo>
                    <a:lnTo>
                      <a:pt x="137" y="425"/>
                    </a:lnTo>
                    <a:lnTo>
                      <a:pt x="179" y="454"/>
                    </a:lnTo>
                  </a:path>
                </a:pathLst>
              </a:custGeom>
              <a:noFill/>
              <a:ln w="95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Freeform 103">
                <a:extLst>
                  <a:ext uri="{FF2B5EF4-FFF2-40B4-BE49-F238E27FC236}">
                    <a16:creationId xmlns:a16="http://schemas.microsoft.com/office/drawing/2014/main" id="{ED812F6D-3E04-F2C9-723D-86943A59AE71}"/>
                  </a:ext>
                </a:extLst>
              </p:cNvPr>
              <p:cNvSpPr>
                <a:spLocks/>
              </p:cNvSpPr>
              <p:nvPr/>
            </p:nvSpPr>
            <p:spPr bwMode="auto">
              <a:xfrm>
                <a:off x="7186613" y="1763713"/>
                <a:ext cx="407988" cy="438150"/>
              </a:xfrm>
              <a:custGeom>
                <a:avLst/>
                <a:gdLst>
                  <a:gd name="T0" fmla="*/ 0 w 545"/>
                  <a:gd name="T1" fmla="*/ 91 h 584"/>
                  <a:gd name="T2" fmla="*/ 26 w 545"/>
                  <a:gd name="T3" fmla="*/ 144 h 584"/>
                  <a:gd name="T4" fmla="*/ 46 w 545"/>
                  <a:gd name="T5" fmla="*/ 223 h 584"/>
                  <a:gd name="T6" fmla="*/ 89 w 545"/>
                  <a:gd name="T7" fmla="*/ 286 h 584"/>
                  <a:gd name="T8" fmla="*/ 153 w 545"/>
                  <a:gd name="T9" fmla="*/ 332 h 584"/>
                  <a:gd name="T10" fmla="*/ 190 w 545"/>
                  <a:gd name="T11" fmla="*/ 439 h 584"/>
                  <a:gd name="T12" fmla="*/ 293 w 545"/>
                  <a:gd name="T13" fmla="*/ 584 h 584"/>
                  <a:gd name="T14" fmla="*/ 328 w 545"/>
                  <a:gd name="T15" fmla="*/ 584 h 584"/>
                  <a:gd name="T16" fmla="*/ 385 w 545"/>
                  <a:gd name="T17" fmla="*/ 401 h 584"/>
                  <a:gd name="T18" fmla="*/ 366 w 545"/>
                  <a:gd name="T19" fmla="*/ 350 h 584"/>
                  <a:gd name="T20" fmla="*/ 189 w 545"/>
                  <a:gd name="T21" fmla="*/ 299 h 584"/>
                  <a:gd name="T22" fmla="*/ 151 w 545"/>
                  <a:gd name="T23" fmla="*/ 249 h 584"/>
                  <a:gd name="T24" fmla="*/ 265 w 545"/>
                  <a:gd name="T25" fmla="*/ 232 h 584"/>
                  <a:gd name="T26" fmla="*/ 288 w 545"/>
                  <a:gd name="T27" fmla="*/ 180 h 584"/>
                  <a:gd name="T28" fmla="*/ 358 w 545"/>
                  <a:gd name="T29" fmla="*/ 131 h 584"/>
                  <a:gd name="T30" fmla="*/ 341 w 545"/>
                  <a:gd name="T31" fmla="*/ 65 h 584"/>
                  <a:gd name="T32" fmla="*/ 320 w 545"/>
                  <a:gd name="T33" fmla="*/ 44 h 584"/>
                  <a:gd name="T34" fmla="*/ 383 w 545"/>
                  <a:gd name="T35" fmla="*/ 21 h 584"/>
                  <a:gd name="T36" fmla="*/ 394 w 545"/>
                  <a:gd name="T37" fmla="*/ 79 h 584"/>
                  <a:gd name="T38" fmla="*/ 424 w 545"/>
                  <a:gd name="T39" fmla="*/ 79 h 584"/>
                  <a:gd name="T40" fmla="*/ 545 w 545"/>
                  <a:gd name="T41"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5" h="584">
                    <a:moveTo>
                      <a:pt x="0" y="91"/>
                    </a:moveTo>
                    <a:lnTo>
                      <a:pt x="26" y="144"/>
                    </a:lnTo>
                    <a:lnTo>
                      <a:pt x="46" y="223"/>
                    </a:lnTo>
                    <a:lnTo>
                      <a:pt x="89" y="286"/>
                    </a:lnTo>
                    <a:lnTo>
                      <a:pt x="153" y="332"/>
                    </a:lnTo>
                    <a:lnTo>
                      <a:pt x="190" y="439"/>
                    </a:lnTo>
                    <a:lnTo>
                      <a:pt x="293" y="584"/>
                    </a:lnTo>
                    <a:lnTo>
                      <a:pt x="328" y="584"/>
                    </a:lnTo>
                    <a:lnTo>
                      <a:pt x="385" y="401"/>
                    </a:lnTo>
                    <a:lnTo>
                      <a:pt x="366" y="350"/>
                    </a:lnTo>
                    <a:lnTo>
                      <a:pt x="189" y="299"/>
                    </a:lnTo>
                    <a:lnTo>
                      <a:pt x="151" y="249"/>
                    </a:lnTo>
                    <a:lnTo>
                      <a:pt x="265" y="232"/>
                    </a:lnTo>
                    <a:lnTo>
                      <a:pt x="288" y="180"/>
                    </a:lnTo>
                    <a:lnTo>
                      <a:pt x="358" y="131"/>
                    </a:lnTo>
                    <a:lnTo>
                      <a:pt x="341" y="65"/>
                    </a:lnTo>
                    <a:lnTo>
                      <a:pt x="320" y="44"/>
                    </a:lnTo>
                    <a:lnTo>
                      <a:pt x="383" y="21"/>
                    </a:lnTo>
                    <a:lnTo>
                      <a:pt x="394" y="79"/>
                    </a:lnTo>
                    <a:lnTo>
                      <a:pt x="424" y="79"/>
                    </a:lnTo>
                    <a:lnTo>
                      <a:pt x="545" y="0"/>
                    </a:lnTo>
                  </a:path>
                </a:pathLst>
              </a:custGeom>
              <a:noFill/>
              <a:ln w="95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Freeform 104">
                <a:extLst>
                  <a:ext uri="{FF2B5EF4-FFF2-40B4-BE49-F238E27FC236}">
                    <a16:creationId xmlns:a16="http://schemas.microsoft.com/office/drawing/2014/main" id="{ECABA6FF-6FBC-986B-39F7-895AF95F2801}"/>
                  </a:ext>
                </a:extLst>
              </p:cNvPr>
              <p:cNvSpPr>
                <a:spLocks/>
              </p:cNvSpPr>
              <p:nvPr/>
            </p:nvSpPr>
            <p:spPr bwMode="auto">
              <a:xfrm>
                <a:off x="7310438" y="2352675"/>
                <a:ext cx="228600" cy="88900"/>
              </a:xfrm>
              <a:custGeom>
                <a:avLst/>
                <a:gdLst>
                  <a:gd name="T0" fmla="*/ 153 w 305"/>
                  <a:gd name="T1" fmla="*/ 0 h 117"/>
                  <a:gd name="T2" fmla="*/ 0 w 305"/>
                  <a:gd name="T3" fmla="*/ 117 h 117"/>
                  <a:gd name="T4" fmla="*/ 305 w 305"/>
                  <a:gd name="T5" fmla="*/ 117 h 117"/>
                  <a:gd name="T6" fmla="*/ 153 w 305"/>
                  <a:gd name="T7" fmla="*/ 0 h 117"/>
                </a:gdLst>
                <a:ahLst/>
                <a:cxnLst>
                  <a:cxn ang="0">
                    <a:pos x="T0" y="T1"/>
                  </a:cxn>
                  <a:cxn ang="0">
                    <a:pos x="T2" y="T3"/>
                  </a:cxn>
                  <a:cxn ang="0">
                    <a:pos x="T4" y="T5"/>
                  </a:cxn>
                  <a:cxn ang="0">
                    <a:pos x="T6" y="T7"/>
                  </a:cxn>
                </a:cxnLst>
                <a:rect l="0" t="0" r="r" b="b"/>
                <a:pathLst>
                  <a:path w="305" h="117">
                    <a:moveTo>
                      <a:pt x="153" y="0"/>
                    </a:moveTo>
                    <a:cubicBezTo>
                      <a:pt x="80" y="0"/>
                      <a:pt x="19" y="50"/>
                      <a:pt x="0" y="117"/>
                    </a:cubicBezTo>
                    <a:lnTo>
                      <a:pt x="305" y="117"/>
                    </a:lnTo>
                    <a:cubicBezTo>
                      <a:pt x="287" y="50"/>
                      <a:pt x="226" y="0"/>
                      <a:pt x="153" y="0"/>
                    </a:cubicBez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 name="Line 105">
                <a:extLst>
                  <a:ext uri="{FF2B5EF4-FFF2-40B4-BE49-F238E27FC236}">
                    <a16:creationId xmlns:a16="http://schemas.microsoft.com/office/drawing/2014/main" id="{F2FB5E92-5179-DA48-7995-5390BD949B28}"/>
                  </a:ext>
                </a:extLst>
              </p:cNvPr>
              <p:cNvSpPr>
                <a:spLocks noChangeShapeType="1"/>
              </p:cNvSpPr>
              <p:nvPr/>
            </p:nvSpPr>
            <p:spPr bwMode="auto">
              <a:xfrm>
                <a:off x="7359650" y="1816100"/>
                <a:ext cx="0" cy="0"/>
              </a:xfrm>
              <a:prstGeom prst="line">
                <a:avLst/>
              </a:prstGeom>
              <a:noFill/>
              <a:ln w="952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 name="Line 106">
                <a:extLst>
                  <a:ext uri="{FF2B5EF4-FFF2-40B4-BE49-F238E27FC236}">
                    <a16:creationId xmlns:a16="http://schemas.microsoft.com/office/drawing/2014/main" id="{5F64C8FD-AA1A-E17B-FD7A-174580F729FA}"/>
                  </a:ext>
                </a:extLst>
              </p:cNvPr>
              <p:cNvSpPr>
                <a:spLocks noChangeShapeType="1"/>
              </p:cNvSpPr>
              <p:nvPr/>
            </p:nvSpPr>
            <p:spPr bwMode="auto">
              <a:xfrm>
                <a:off x="7278688" y="1882775"/>
                <a:ext cx="1588" cy="0"/>
              </a:xfrm>
              <a:prstGeom prst="line">
                <a:avLst/>
              </a:prstGeom>
              <a:noFill/>
              <a:ln w="952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 name="Line 107">
                <a:extLst>
                  <a:ext uri="{FF2B5EF4-FFF2-40B4-BE49-F238E27FC236}">
                    <a16:creationId xmlns:a16="http://schemas.microsoft.com/office/drawing/2014/main" id="{C0D386AD-0966-9F64-A71A-604D34E7BDC6}"/>
                  </a:ext>
                </a:extLst>
              </p:cNvPr>
              <p:cNvSpPr>
                <a:spLocks noChangeShapeType="1"/>
              </p:cNvSpPr>
              <p:nvPr/>
            </p:nvSpPr>
            <p:spPr bwMode="auto">
              <a:xfrm>
                <a:off x="7664450" y="1998663"/>
                <a:ext cx="0" cy="0"/>
              </a:xfrm>
              <a:prstGeom prst="line">
                <a:avLst/>
              </a:prstGeom>
              <a:noFill/>
              <a:ln w="952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 name="Line 108">
                <a:extLst>
                  <a:ext uri="{FF2B5EF4-FFF2-40B4-BE49-F238E27FC236}">
                    <a16:creationId xmlns:a16="http://schemas.microsoft.com/office/drawing/2014/main" id="{024001E6-047A-6FA7-68D7-91C9B8383FC0}"/>
                  </a:ext>
                </a:extLst>
              </p:cNvPr>
              <p:cNvSpPr>
                <a:spLocks noChangeShapeType="1"/>
              </p:cNvSpPr>
              <p:nvPr/>
            </p:nvSpPr>
            <p:spPr bwMode="auto">
              <a:xfrm>
                <a:off x="7408863" y="2092325"/>
                <a:ext cx="1588" cy="0"/>
              </a:xfrm>
              <a:prstGeom prst="line">
                <a:avLst/>
              </a:prstGeom>
              <a:noFill/>
              <a:ln w="952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96" name="Group 3156">
              <a:extLst>
                <a:ext uri="{FF2B5EF4-FFF2-40B4-BE49-F238E27FC236}">
                  <a16:creationId xmlns:a16="http://schemas.microsoft.com/office/drawing/2014/main" id="{B3988E9E-8A17-2D1C-9B4B-BDE7A4AFE76E}"/>
                </a:ext>
              </a:extLst>
            </p:cNvPr>
            <p:cNvGrpSpPr>
              <a:grpSpLocks noChangeAspect="1"/>
            </p:cNvGrpSpPr>
            <p:nvPr/>
          </p:nvGrpSpPr>
          <p:grpSpPr>
            <a:xfrm>
              <a:off x="437764" y="4133888"/>
              <a:ext cx="629443" cy="330993"/>
              <a:chOff x="4326733" y="4103688"/>
              <a:chExt cx="629443" cy="330993"/>
            </a:xfrm>
          </p:grpSpPr>
          <p:sp>
            <p:nvSpPr>
              <p:cNvPr id="197" name="Freeform 990">
                <a:extLst>
                  <a:ext uri="{FF2B5EF4-FFF2-40B4-BE49-F238E27FC236}">
                    <a16:creationId xmlns:a16="http://schemas.microsoft.com/office/drawing/2014/main" id="{AFA43D66-4FB3-B396-451C-3AB426F0BE8B}"/>
                  </a:ext>
                </a:extLst>
              </p:cNvPr>
              <p:cNvSpPr>
                <a:spLocks/>
              </p:cNvSpPr>
              <p:nvPr/>
            </p:nvSpPr>
            <p:spPr bwMode="auto">
              <a:xfrm>
                <a:off x="4495801" y="4103688"/>
                <a:ext cx="460375" cy="234950"/>
              </a:xfrm>
              <a:custGeom>
                <a:avLst/>
                <a:gdLst>
                  <a:gd name="T0" fmla="*/ 503 w 908"/>
                  <a:gd name="T1" fmla="*/ 224 h 462"/>
                  <a:gd name="T2" fmla="*/ 709 w 908"/>
                  <a:gd name="T3" fmla="*/ 64 h 462"/>
                  <a:gd name="T4" fmla="*/ 908 w 908"/>
                  <a:gd name="T5" fmla="*/ 80 h 462"/>
                  <a:gd name="T6" fmla="*/ 513 w 908"/>
                  <a:gd name="T7" fmla="*/ 462 h 462"/>
                  <a:gd name="T8" fmla="*/ 0 w 908"/>
                  <a:gd name="T9" fmla="*/ 462 h 462"/>
                </a:gdLst>
                <a:ahLst/>
                <a:cxnLst>
                  <a:cxn ang="0">
                    <a:pos x="T0" y="T1"/>
                  </a:cxn>
                  <a:cxn ang="0">
                    <a:pos x="T2" y="T3"/>
                  </a:cxn>
                  <a:cxn ang="0">
                    <a:pos x="T4" y="T5"/>
                  </a:cxn>
                  <a:cxn ang="0">
                    <a:pos x="T6" y="T7"/>
                  </a:cxn>
                  <a:cxn ang="0">
                    <a:pos x="T8" y="T9"/>
                  </a:cxn>
                </a:cxnLst>
                <a:rect l="0" t="0" r="r" b="b"/>
                <a:pathLst>
                  <a:path w="908" h="462">
                    <a:moveTo>
                      <a:pt x="503" y="224"/>
                    </a:moveTo>
                    <a:cubicBezTo>
                      <a:pt x="503" y="224"/>
                      <a:pt x="630" y="125"/>
                      <a:pt x="709" y="64"/>
                    </a:cubicBezTo>
                    <a:cubicBezTo>
                      <a:pt x="792" y="0"/>
                      <a:pt x="856" y="27"/>
                      <a:pt x="908" y="80"/>
                    </a:cubicBezTo>
                    <a:lnTo>
                      <a:pt x="513" y="462"/>
                    </a:lnTo>
                    <a:lnTo>
                      <a:pt x="0" y="462"/>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Freeform 991">
                <a:extLst>
                  <a:ext uri="{FF2B5EF4-FFF2-40B4-BE49-F238E27FC236}">
                    <a16:creationId xmlns:a16="http://schemas.microsoft.com/office/drawing/2014/main" id="{A9FDD2D3-110A-FF58-3E39-EE3AEC0325F9}"/>
                  </a:ext>
                </a:extLst>
              </p:cNvPr>
              <p:cNvSpPr>
                <a:spLocks/>
              </p:cNvSpPr>
              <p:nvPr/>
            </p:nvSpPr>
            <p:spPr bwMode="auto">
              <a:xfrm>
                <a:off x="4398963" y="4162425"/>
                <a:ext cx="360363" cy="93663"/>
              </a:xfrm>
              <a:custGeom>
                <a:avLst/>
                <a:gdLst>
                  <a:gd name="T0" fmla="*/ 0 w 710"/>
                  <a:gd name="T1" fmla="*/ 173 h 186"/>
                  <a:gd name="T2" fmla="*/ 270 w 710"/>
                  <a:gd name="T3" fmla="*/ 0 h 186"/>
                  <a:gd name="T4" fmla="*/ 462 w 710"/>
                  <a:gd name="T5" fmla="*/ 57 h 186"/>
                  <a:gd name="T6" fmla="*/ 609 w 710"/>
                  <a:gd name="T7" fmla="*/ 57 h 186"/>
                  <a:gd name="T8" fmla="*/ 710 w 710"/>
                  <a:gd name="T9" fmla="*/ 186 h 186"/>
                  <a:gd name="T10" fmla="*/ 401 w 710"/>
                  <a:gd name="T11" fmla="*/ 186 h 186"/>
                </a:gdLst>
                <a:ahLst/>
                <a:cxnLst>
                  <a:cxn ang="0">
                    <a:pos x="T0" y="T1"/>
                  </a:cxn>
                  <a:cxn ang="0">
                    <a:pos x="T2" y="T3"/>
                  </a:cxn>
                  <a:cxn ang="0">
                    <a:pos x="T4" y="T5"/>
                  </a:cxn>
                  <a:cxn ang="0">
                    <a:pos x="T6" y="T7"/>
                  </a:cxn>
                  <a:cxn ang="0">
                    <a:pos x="T8" y="T9"/>
                  </a:cxn>
                  <a:cxn ang="0">
                    <a:pos x="T10" y="T11"/>
                  </a:cxn>
                </a:cxnLst>
                <a:rect l="0" t="0" r="r" b="b"/>
                <a:pathLst>
                  <a:path w="710" h="186">
                    <a:moveTo>
                      <a:pt x="0" y="173"/>
                    </a:moveTo>
                    <a:cubicBezTo>
                      <a:pt x="97" y="48"/>
                      <a:pt x="174" y="0"/>
                      <a:pt x="270" y="0"/>
                    </a:cubicBezTo>
                    <a:cubicBezTo>
                      <a:pt x="350" y="0"/>
                      <a:pt x="393" y="10"/>
                      <a:pt x="462" y="57"/>
                    </a:cubicBezTo>
                    <a:lnTo>
                      <a:pt x="609" y="57"/>
                    </a:lnTo>
                    <a:cubicBezTo>
                      <a:pt x="632" y="57"/>
                      <a:pt x="710" y="68"/>
                      <a:pt x="710" y="186"/>
                    </a:cubicBezTo>
                    <a:lnTo>
                      <a:pt x="401" y="186"/>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Freeform 994">
                <a:extLst>
                  <a:ext uri="{FF2B5EF4-FFF2-40B4-BE49-F238E27FC236}">
                    <a16:creationId xmlns:a16="http://schemas.microsoft.com/office/drawing/2014/main" id="{2BD1AB62-E805-26CA-7D11-C8A2DC01BC48}"/>
                  </a:ext>
                </a:extLst>
              </p:cNvPr>
              <p:cNvSpPr>
                <a:spLocks/>
              </p:cNvSpPr>
              <p:nvPr/>
            </p:nvSpPr>
            <p:spPr bwMode="auto">
              <a:xfrm>
                <a:off x="4326733" y="4239418"/>
                <a:ext cx="190500" cy="195263"/>
              </a:xfrm>
              <a:custGeom>
                <a:avLst/>
                <a:gdLst>
                  <a:gd name="T0" fmla="*/ 0 w 373"/>
                  <a:gd name="T1" fmla="*/ 83 h 384"/>
                  <a:gd name="T2" fmla="*/ 80 w 373"/>
                  <a:gd name="T3" fmla="*/ 0 h 384"/>
                  <a:gd name="T4" fmla="*/ 373 w 373"/>
                  <a:gd name="T5" fmla="*/ 302 h 384"/>
                  <a:gd name="T6" fmla="*/ 293 w 373"/>
                  <a:gd name="T7" fmla="*/ 384 h 384"/>
                </a:gdLst>
                <a:ahLst/>
                <a:cxnLst>
                  <a:cxn ang="0">
                    <a:pos x="T0" y="T1"/>
                  </a:cxn>
                  <a:cxn ang="0">
                    <a:pos x="T2" y="T3"/>
                  </a:cxn>
                  <a:cxn ang="0">
                    <a:pos x="T4" y="T5"/>
                  </a:cxn>
                  <a:cxn ang="0">
                    <a:pos x="T6" y="T7"/>
                  </a:cxn>
                </a:cxnLst>
                <a:rect l="0" t="0" r="r" b="b"/>
                <a:pathLst>
                  <a:path w="373" h="384">
                    <a:moveTo>
                      <a:pt x="0" y="83"/>
                    </a:moveTo>
                    <a:lnTo>
                      <a:pt x="80" y="0"/>
                    </a:lnTo>
                    <a:lnTo>
                      <a:pt x="373" y="302"/>
                    </a:lnTo>
                    <a:lnTo>
                      <a:pt x="293" y="384"/>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09" name="Road_Junction2" descr="{&quot;Key&quot;:&quot;POWER_USER_SHAPE_ICON&quot;,&quot;Value&quot;:&quot;POWER_USER_SHAPE_ICON_STYLE_1&quot;}">
            <a:extLst>
              <a:ext uri="{FF2B5EF4-FFF2-40B4-BE49-F238E27FC236}">
                <a16:creationId xmlns:a16="http://schemas.microsoft.com/office/drawing/2014/main" id="{D0206BE3-27CE-E733-DD46-229C9BB79D20}"/>
              </a:ext>
            </a:extLst>
          </p:cNvPr>
          <p:cNvGrpSpPr>
            <a:grpSpLocks noChangeAspect="1"/>
          </p:cNvGrpSpPr>
          <p:nvPr/>
        </p:nvGrpSpPr>
        <p:grpSpPr>
          <a:xfrm>
            <a:off x="4756997" y="4143921"/>
            <a:ext cx="392387" cy="385888"/>
            <a:chOff x="4335463" y="1676400"/>
            <a:chExt cx="766762" cy="754063"/>
          </a:xfrm>
        </p:grpSpPr>
        <p:sp>
          <p:nvSpPr>
            <p:cNvPr id="210" name="Freeform 222">
              <a:extLst>
                <a:ext uri="{FF2B5EF4-FFF2-40B4-BE49-F238E27FC236}">
                  <a16:creationId xmlns:a16="http://schemas.microsoft.com/office/drawing/2014/main" id="{F72CC38E-E7C2-00B9-0386-7F67C36B6A2A}"/>
                </a:ext>
              </a:extLst>
            </p:cNvPr>
            <p:cNvSpPr>
              <a:spLocks/>
            </p:cNvSpPr>
            <p:nvPr/>
          </p:nvSpPr>
          <p:spPr bwMode="auto">
            <a:xfrm>
              <a:off x="4335463" y="2078038"/>
              <a:ext cx="757238" cy="352425"/>
            </a:xfrm>
            <a:custGeom>
              <a:avLst/>
              <a:gdLst>
                <a:gd name="T0" fmla="*/ 0 w 1008"/>
                <a:gd name="T1" fmla="*/ 0 h 469"/>
                <a:gd name="T2" fmla="*/ 547 w 1008"/>
                <a:gd name="T3" fmla="*/ 0 h 469"/>
                <a:gd name="T4" fmla="*/ 674 w 1008"/>
                <a:gd name="T5" fmla="*/ 127 h 469"/>
                <a:gd name="T6" fmla="*/ 547 w 1008"/>
                <a:gd name="T7" fmla="*/ 254 h 469"/>
                <a:gd name="T8" fmla="*/ 420 w 1008"/>
                <a:gd name="T9" fmla="*/ 127 h 469"/>
                <a:gd name="T10" fmla="*/ 420 w 1008"/>
                <a:gd name="T11" fmla="*/ 0 h 469"/>
                <a:gd name="T12" fmla="*/ 204 w 1008"/>
                <a:gd name="T13" fmla="*/ 0 h 469"/>
                <a:gd name="T14" fmla="*/ 204 w 1008"/>
                <a:gd name="T15" fmla="*/ 127 h 469"/>
                <a:gd name="T16" fmla="*/ 547 w 1008"/>
                <a:gd name="T17" fmla="*/ 469 h 469"/>
                <a:gd name="T18" fmla="*/ 889 w 1008"/>
                <a:gd name="T19" fmla="*/ 127 h 469"/>
                <a:gd name="T20" fmla="*/ 864 w 1008"/>
                <a:gd name="T21" fmla="*/ 0 h 469"/>
                <a:gd name="T22" fmla="*/ 1008 w 1008"/>
                <a:gd name="T23"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8" h="469">
                  <a:moveTo>
                    <a:pt x="0" y="0"/>
                  </a:moveTo>
                  <a:lnTo>
                    <a:pt x="547" y="0"/>
                  </a:lnTo>
                  <a:cubicBezTo>
                    <a:pt x="617" y="0"/>
                    <a:pt x="674" y="57"/>
                    <a:pt x="674" y="127"/>
                  </a:cubicBezTo>
                  <a:cubicBezTo>
                    <a:pt x="674" y="197"/>
                    <a:pt x="617" y="254"/>
                    <a:pt x="547" y="254"/>
                  </a:cubicBezTo>
                  <a:cubicBezTo>
                    <a:pt x="477" y="254"/>
                    <a:pt x="420" y="197"/>
                    <a:pt x="420" y="127"/>
                  </a:cubicBezTo>
                  <a:lnTo>
                    <a:pt x="420" y="0"/>
                  </a:lnTo>
                  <a:lnTo>
                    <a:pt x="204" y="0"/>
                  </a:lnTo>
                  <a:lnTo>
                    <a:pt x="204" y="127"/>
                  </a:lnTo>
                  <a:cubicBezTo>
                    <a:pt x="204" y="316"/>
                    <a:pt x="358" y="469"/>
                    <a:pt x="547" y="469"/>
                  </a:cubicBezTo>
                  <a:cubicBezTo>
                    <a:pt x="735" y="469"/>
                    <a:pt x="889" y="316"/>
                    <a:pt x="889" y="127"/>
                  </a:cubicBezTo>
                  <a:cubicBezTo>
                    <a:pt x="889" y="82"/>
                    <a:pt x="880" y="39"/>
                    <a:pt x="864" y="0"/>
                  </a:cubicBezTo>
                  <a:lnTo>
                    <a:pt x="1008" y="0"/>
                  </a:lnTo>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 name="Line 223">
              <a:extLst>
                <a:ext uri="{FF2B5EF4-FFF2-40B4-BE49-F238E27FC236}">
                  <a16:creationId xmlns:a16="http://schemas.microsoft.com/office/drawing/2014/main" id="{7A30CD7B-2F1C-CA56-DB0D-6FFB91FFA0C5}"/>
                </a:ext>
              </a:extLst>
            </p:cNvPr>
            <p:cNvSpPr>
              <a:spLocks noChangeShapeType="1"/>
            </p:cNvSpPr>
            <p:nvPr/>
          </p:nvSpPr>
          <p:spPr bwMode="auto">
            <a:xfrm flipH="1">
              <a:off x="4335463" y="1916113"/>
              <a:ext cx="757238" cy="0"/>
            </a:xfrm>
            <a:prstGeom prst="line">
              <a:avLst/>
            </a:prstGeom>
            <a:noFill/>
            <a:ln w="127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Freeform 224">
              <a:extLst>
                <a:ext uri="{FF2B5EF4-FFF2-40B4-BE49-F238E27FC236}">
                  <a16:creationId xmlns:a16="http://schemas.microsoft.com/office/drawing/2014/main" id="{44213C9C-701B-2D69-7D56-D2DFD3C88AA0}"/>
                </a:ext>
              </a:extLst>
            </p:cNvPr>
            <p:cNvSpPr>
              <a:spLocks/>
            </p:cNvSpPr>
            <p:nvPr/>
          </p:nvSpPr>
          <p:spPr bwMode="auto">
            <a:xfrm>
              <a:off x="4489450" y="1676400"/>
              <a:ext cx="161925" cy="239713"/>
            </a:xfrm>
            <a:custGeom>
              <a:avLst/>
              <a:gdLst>
                <a:gd name="T0" fmla="*/ 0 w 215"/>
                <a:gd name="T1" fmla="*/ 0 h 318"/>
                <a:gd name="T2" fmla="*/ 0 w 215"/>
                <a:gd name="T3" fmla="*/ 318 h 318"/>
                <a:gd name="T4" fmla="*/ 215 w 215"/>
                <a:gd name="T5" fmla="*/ 318 h 318"/>
                <a:gd name="T6" fmla="*/ 215 w 215"/>
                <a:gd name="T7" fmla="*/ 0 h 318"/>
              </a:gdLst>
              <a:ahLst/>
              <a:cxnLst>
                <a:cxn ang="0">
                  <a:pos x="T0" y="T1"/>
                </a:cxn>
                <a:cxn ang="0">
                  <a:pos x="T2" y="T3"/>
                </a:cxn>
                <a:cxn ang="0">
                  <a:pos x="T4" y="T5"/>
                </a:cxn>
                <a:cxn ang="0">
                  <a:pos x="T6" y="T7"/>
                </a:cxn>
              </a:cxnLst>
              <a:rect l="0" t="0" r="r" b="b"/>
              <a:pathLst>
                <a:path w="215" h="318">
                  <a:moveTo>
                    <a:pt x="0" y="0"/>
                  </a:moveTo>
                  <a:lnTo>
                    <a:pt x="0" y="318"/>
                  </a:lnTo>
                  <a:lnTo>
                    <a:pt x="215" y="318"/>
                  </a:lnTo>
                  <a:lnTo>
                    <a:pt x="215" y="0"/>
                  </a:lnTo>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Line 225">
              <a:extLst>
                <a:ext uri="{FF2B5EF4-FFF2-40B4-BE49-F238E27FC236}">
                  <a16:creationId xmlns:a16="http://schemas.microsoft.com/office/drawing/2014/main" id="{D82090DD-1F15-C040-4616-9B2ADF1D9BA9}"/>
                </a:ext>
              </a:extLst>
            </p:cNvPr>
            <p:cNvSpPr>
              <a:spLocks noChangeShapeType="1"/>
            </p:cNvSpPr>
            <p:nvPr/>
          </p:nvSpPr>
          <p:spPr bwMode="auto">
            <a:xfrm flipH="1">
              <a:off x="5051425" y="1997075"/>
              <a:ext cx="50800" cy="0"/>
            </a:xfrm>
            <a:prstGeom prst="line">
              <a:avLst/>
            </a:prstGeom>
            <a:noFill/>
            <a:ln w="127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Line 226">
              <a:extLst>
                <a:ext uri="{FF2B5EF4-FFF2-40B4-BE49-F238E27FC236}">
                  <a16:creationId xmlns:a16="http://schemas.microsoft.com/office/drawing/2014/main" id="{EDC84FDA-CAA5-1C93-6D84-3E1ACDF0EF2E}"/>
                </a:ext>
              </a:extLst>
            </p:cNvPr>
            <p:cNvSpPr>
              <a:spLocks noChangeShapeType="1"/>
            </p:cNvSpPr>
            <p:nvPr/>
          </p:nvSpPr>
          <p:spPr bwMode="auto">
            <a:xfrm flipH="1">
              <a:off x="4924425" y="1997075"/>
              <a:ext cx="50800" cy="0"/>
            </a:xfrm>
            <a:prstGeom prst="line">
              <a:avLst/>
            </a:prstGeom>
            <a:noFill/>
            <a:ln w="127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Line 227">
              <a:extLst>
                <a:ext uri="{FF2B5EF4-FFF2-40B4-BE49-F238E27FC236}">
                  <a16:creationId xmlns:a16="http://schemas.microsoft.com/office/drawing/2014/main" id="{1F528D65-DEE4-686B-A7C6-362725D46FB3}"/>
                </a:ext>
              </a:extLst>
            </p:cNvPr>
            <p:cNvSpPr>
              <a:spLocks noChangeShapeType="1"/>
            </p:cNvSpPr>
            <p:nvPr/>
          </p:nvSpPr>
          <p:spPr bwMode="auto">
            <a:xfrm flipV="1">
              <a:off x="4570413" y="1812925"/>
              <a:ext cx="0" cy="46038"/>
            </a:xfrm>
            <a:prstGeom prst="line">
              <a:avLst/>
            </a:prstGeom>
            <a:noFill/>
            <a:ln w="127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Line 228">
              <a:extLst>
                <a:ext uri="{FF2B5EF4-FFF2-40B4-BE49-F238E27FC236}">
                  <a16:creationId xmlns:a16="http://schemas.microsoft.com/office/drawing/2014/main" id="{54A56623-5C58-D3ED-4ABD-6A9CC99D47A3}"/>
                </a:ext>
              </a:extLst>
            </p:cNvPr>
            <p:cNvSpPr>
              <a:spLocks noChangeShapeType="1"/>
            </p:cNvSpPr>
            <p:nvPr/>
          </p:nvSpPr>
          <p:spPr bwMode="auto">
            <a:xfrm flipV="1">
              <a:off x="4570413" y="1695450"/>
              <a:ext cx="0" cy="46038"/>
            </a:xfrm>
            <a:prstGeom prst="line">
              <a:avLst/>
            </a:prstGeom>
            <a:noFill/>
            <a:ln w="127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Line 229">
              <a:extLst>
                <a:ext uri="{FF2B5EF4-FFF2-40B4-BE49-F238E27FC236}">
                  <a16:creationId xmlns:a16="http://schemas.microsoft.com/office/drawing/2014/main" id="{4EDF68CF-227F-B600-763B-8F97718B1565}"/>
                </a:ext>
              </a:extLst>
            </p:cNvPr>
            <p:cNvSpPr>
              <a:spLocks noChangeShapeType="1"/>
            </p:cNvSpPr>
            <p:nvPr/>
          </p:nvSpPr>
          <p:spPr bwMode="auto">
            <a:xfrm>
              <a:off x="4335463" y="1997075"/>
              <a:ext cx="52388" cy="0"/>
            </a:xfrm>
            <a:prstGeom prst="line">
              <a:avLst/>
            </a:prstGeom>
            <a:noFill/>
            <a:ln w="127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Line 230">
              <a:extLst>
                <a:ext uri="{FF2B5EF4-FFF2-40B4-BE49-F238E27FC236}">
                  <a16:creationId xmlns:a16="http://schemas.microsoft.com/office/drawing/2014/main" id="{2E3A1ADE-0A45-3EA6-EC9A-87F3C2A13B08}"/>
                </a:ext>
              </a:extLst>
            </p:cNvPr>
            <p:cNvSpPr>
              <a:spLocks noChangeShapeType="1"/>
            </p:cNvSpPr>
            <p:nvPr/>
          </p:nvSpPr>
          <p:spPr bwMode="auto">
            <a:xfrm>
              <a:off x="4465638" y="1997075"/>
              <a:ext cx="52388" cy="0"/>
            </a:xfrm>
            <a:prstGeom prst="line">
              <a:avLst/>
            </a:prstGeom>
            <a:noFill/>
            <a:ln w="127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Line 231">
              <a:extLst>
                <a:ext uri="{FF2B5EF4-FFF2-40B4-BE49-F238E27FC236}">
                  <a16:creationId xmlns:a16="http://schemas.microsoft.com/office/drawing/2014/main" id="{BBCF1071-E87A-D30F-2A99-C68C93A16107}"/>
                </a:ext>
              </a:extLst>
            </p:cNvPr>
            <p:cNvSpPr>
              <a:spLocks noChangeShapeType="1"/>
            </p:cNvSpPr>
            <p:nvPr/>
          </p:nvSpPr>
          <p:spPr bwMode="auto">
            <a:xfrm>
              <a:off x="4595813" y="1997075"/>
              <a:ext cx="50800" cy="0"/>
            </a:xfrm>
            <a:prstGeom prst="line">
              <a:avLst/>
            </a:prstGeom>
            <a:noFill/>
            <a:ln w="127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Freeform 232">
              <a:extLst>
                <a:ext uri="{FF2B5EF4-FFF2-40B4-BE49-F238E27FC236}">
                  <a16:creationId xmlns:a16="http://schemas.microsoft.com/office/drawing/2014/main" id="{DA7EE629-913E-AD24-43AC-B6FCF1EF8A94}"/>
                </a:ext>
              </a:extLst>
            </p:cNvPr>
            <p:cNvSpPr>
              <a:spLocks/>
            </p:cNvSpPr>
            <p:nvPr/>
          </p:nvSpPr>
          <p:spPr bwMode="auto">
            <a:xfrm>
              <a:off x="4725988" y="1997075"/>
              <a:ext cx="50800" cy="1588"/>
            </a:xfrm>
            <a:custGeom>
              <a:avLst/>
              <a:gdLst>
                <a:gd name="T0" fmla="*/ 0 w 69"/>
                <a:gd name="T1" fmla="*/ 0 h 4"/>
                <a:gd name="T2" fmla="*/ 34 w 69"/>
                <a:gd name="T3" fmla="*/ 1 h 4"/>
                <a:gd name="T4" fmla="*/ 58 w 69"/>
                <a:gd name="T5" fmla="*/ 2 h 4"/>
                <a:gd name="T6" fmla="*/ 69 w 69"/>
                <a:gd name="T7" fmla="*/ 4 h 4"/>
              </a:gdLst>
              <a:ahLst/>
              <a:cxnLst>
                <a:cxn ang="0">
                  <a:pos x="T0" y="T1"/>
                </a:cxn>
                <a:cxn ang="0">
                  <a:pos x="T2" y="T3"/>
                </a:cxn>
                <a:cxn ang="0">
                  <a:pos x="T4" y="T5"/>
                </a:cxn>
                <a:cxn ang="0">
                  <a:pos x="T6" y="T7"/>
                </a:cxn>
              </a:cxnLst>
              <a:rect l="0" t="0" r="r" b="b"/>
              <a:pathLst>
                <a:path w="69" h="4">
                  <a:moveTo>
                    <a:pt x="0" y="0"/>
                  </a:moveTo>
                  <a:cubicBezTo>
                    <a:pt x="0" y="0"/>
                    <a:pt x="17" y="0"/>
                    <a:pt x="34" y="1"/>
                  </a:cubicBezTo>
                  <a:cubicBezTo>
                    <a:pt x="43" y="1"/>
                    <a:pt x="52" y="1"/>
                    <a:pt x="58" y="2"/>
                  </a:cubicBezTo>
                  <a:cubicBezTo>
                    <a:pt x="64" y="3"/>
                    <a:pt x="69" y="4"/>
                    <a:pt x="69" y="4"/>
                  </a:cubicBezTo>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Freeform 233">
              <a:extLst>
                <a:ext uri="{FF2B5EF4-FFF2-40B4-BE49-F238E27FC236}">
                  <a16:creationId xmlns:a16="http://schemas.microsoft.com/office/drawing/2014/main" id="{EFA4235B-0B2B-84CB-2133-157063E34B7F}"/>
                </a:ext>
              </a:extLst>
            </p:cNvPr>
            <p:cNvSpPr>
              <a:spLocks/>
            </p:cNvSpPr>
            <p:nvPr/>
          </p:nvSpPr>
          <p:spPr bwMode="auto">
            <a:xfrm>
              <a:off x="4848225" y="2028825"/>
              <a:ext cx="36513" cy="36513"/>
            </a:xfrm>
            <a:custGeom>
              <a:avLst/>
              <a:gdLst>
                <a:gd name="T0" fmla="*/ 0 w 49"/>
                <a:gd name="T1" fmla="*/ 0 h 47"/>
                <a:gd name="T2" fmla="*/ 26 w 49"/>
                <a:gd name="T3" fmla="*/ 22 h 47"/>
                <a:gd name="T4" fmla="*/ 49 w 49"/>
                <a:gd name="T5" fmla="*/ 47 h 47"/>
              </a:gdLst>
              <a:ahLst/>
              <a:cxnLst>
                <a:cxn ang="0">
                  <a:pos x="T0" y="T1"/>
                </a:cxn>
                <a:cxn ang="0">
                  <a:pos x="T2" y="T3"/>
                </a:cxn>
                <a:cxn ang="0">
                  <a:pos x="T4" y="T5"/>
                </a:cxn>
              </a:cxnLst>
              <a:rect l="0" t="0" r="r" b="b"/>
              <a:pathLst>
                <a:path w="49" h="47">
                  <a:moveTo>
                    <a:pt x="0" y="0"/>
                  </a:moveTo>
                  <a:cubicBezTo>
                    <a:pt x="0" y="0"/>
                    <a:pt x="13" y="11"/>
                    <a:pt x="26" y="22"/>
                  </a:cubicBezTo>
                  <a:cubicBezTo>
                    <a:pt x="38" y="35"/>
                    <a:pt x="49" y="47"/>
                    <a:pt x="49" y="47"/>
                  </a:cubicBezTo>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2" name="Freeform 234">
              <a:extLst>
                <a:ext uri="{FF2B5EF4-FFF2-40B4-BE49-F238E27FC236}">
                  <a16:creationId xmlns:a16="http://schemas.microsoft.com/office/drawing/2014/main" id="{35DB003A-AE26-1F86-37FA-1F693AC5CC42}"/>
                </a:ext>
              </a:extLst>
            </p:cNvPr>
            <p:cNvSpPr>
              <a:spLocks/>
            </p:cNvSpPr>
            <p:nvPr/>
          </p:nvSpPr>
          <p:spPr bwMode="auto">
            <a:xfrm>
              <a:off x="4918075" y="2135188"/>
              <a:ext cx="4763" cy="50800"/>
            </a:xfrm>
            <a:custGeom>
              <a:avLst/>
              <a:gdLst>
                <a:gd name="T0" fmla="*/ 0 w 6"/>
                <a:gd name="T1" fmla="*/ 0 h 68"/>
                <a:gd name="T2" fmla="*/ 2 w 6"/>
                <a:gd name="T3" fmla="*/ 10 h 68"/>
                <a:gd name="T4" fmla="*/ 5 w 6"/>
                <a:gd name="T5" fmla="*/ 34 h 68"/>
                <a:gd name="T6" fmla="*/ 5 w 6"/>
                <a:gd name="T7" fmla="*/ 58 h 68"/>
                <a:gd name="T8" fmla="*/ 5 w 6"/>
                <a:gd name="T9" fmla="*/ 68 h 68"/>
              </a:gdLst>
              <a:ahLst/>
              <a:cxnLst>
                <a:cxn ang="0">
                  <a:pos x="T0" y="T1"/>
                </a:cxn>
                <a:cxn ang="0">
                  <a:pos x="T2" y="T3"/>
                </a:cxn>
                <a:cxn ang="0">
                  <a:pos x="T4" y="T5"/>
                </a:cxn>
                <a:cxn ang="0">
                  <a:pos x="T6" y="T7"/>
                </a:cxn>
                <a:cxn ang="0">
                  <a:pos x="T8" y="T9"/>
                </a:cxn>
              </a:cxnLst>
              <a:rect l="0" t="0" r="r" b="b"/>
              <a:pathLst>
                <a:path w="6" h="68">
                  <a:moveTo>
                    <a:pt x="0" y="0"/>
                  </a:moveTo>
                  <a:cubicBezTo>
                    <a:pt x="0" y="0"/>
                    <a:pt x="1" y="4"/>
                    <a:pt x="2" y="10"/>
                  </a:cubicBezTo>
                  <a:cubicBezTo>
                    <a:pt x="3" y="17"/>
                    <a:pt x="5" y="25"/>
                    <a:pt x="5" y="34"/>
                  </a:cubicBezTo>
                  <a:cubicBezTo>
                    <a:pt x="5" y="42"/>
                    <a:pt x="6" y="51"/>
                    <a:pt x="5" y="58"/>
                  </a:cubicBezTo>
                  <a:cubicBezTo>
                    <a:pt x="5" y="64"/>
                    <a:pt x="5" y="68"/>
                    <a:pt x="5" y="68"/>
                  </a:cubicBezTo>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Freeform 235">
              <a:extLst>
                <a:ext uri="{FF2B5EF4-FFF2-40B4-BE49-F238E27FC236}">
                  <a16:creationId xmlns:a16="http://schemas.microsoft.com/office/drawing/2014/main" id="{903A87D3-A5F5-437B-4363-E6C895421E02}"/>
                </a:ext>
              </a:extLst>
            </p:cNvPr>
            <p:cNvSpPr>
              <a:spLocks/>
            </p:cNvSpPr>
            <p:nvPr/>
          </p:nvSpPr>
          <p:spPr bwMode="auto">
            <a:xfrm>
              <a:off x="4867275" y="2260600"/>
              <a:ext cx="31750" cy="41275"/>
            </a:xfrm>
            <a:custGeom>
              <a:avLst/>
              <a:gdLst>
                <a:gd name="T0" fmla="*/ 42 w 42"/>
                <a:gd name="T1" fmla="*/ 0 h 54"/>
                <a:gd name="T2" fmla="*/ 23 w 42"/>
                <a:gd name="T3" fmla="*/ 28 h 54"/>
                <a:gd name="T4" fmla="*/ 0 w 42"/>
                <a:gd name="T5" fmla="*/ 54 h 54"/>
              </a:gdLst>
              <a:ahLst/>
              <a:cxnLst>
                <a:cxn ang="0">
                  <a:pos x="T0" y="T1"/>
                </a:cxn>
                <a:cxn ang="0">
                  <a:pos x="T2" y="T3"/>
                </a:cxn>
                <a:cxn ang="0">
                  <a:pos x="T4" y="T5"/>
                </a:cxn>
              </a:cxnLst>
              <a:rect l="0" t="0" r="r" b="b"/>
              <a:pathLst>
                <a:path w="42" h="54">
                  <a:moveTo>
                    <a:pt x="42" y="0"/>
                  </a:moveTo>
                  <a:cubicBezTo>
                    <a:pt x="42" y="0"/>
                    <a:pt x="33" y="14"/>
                    <a:pt x="23" y="28"/>
                  </a:cubicBezTo>
                  <a:cubicBezTo>
                    <a:pt x="11" y="41"/>
                    <a:pt x="0" y="54"/>
                    <a:pt x="0" y="54"/>
                  </a:cubicBezTo>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Freeform 236">
              <a:extLst>
                <a:ext uri="{FF2B5EF4-FFF2-40B4-BE49-F238E27FC236}">
                  <a16:creationId xmlns:a16="http://schemas.microsoft.com/office/drawing/2014/main" id="{3A730285-3F54-C46E-CFC3-78B1CB341111}"/>
                </a:ext>
              </a:extLst>
            </p:cNvPr>
            <p:cNvSpPr>
              <a:spLocks/>
            </p:cNvSpPr>
            <p:nvPr/>
          </p:nvSpPr>
          <p:spPr bwMode="auto">
            <a:xfrm>
              <a:off x="4749800" y="2341563"/>
              <a:ext cx="50800" cy="7938"/>
            </a:xfrm>
            <a:custGeom>
              <a:avLst/>
              <a:gdLst>
                <a:gd name="T0" fmla="*/ 68 w 68"/>
                <a:gd name="T1" fmla="*/ 0 h 12"/>
                <a:gd name="T2" fmla="*/ 34 w 68"/>
                <a:gd name="T3" fmla="*/ 8 h 12"/>
                <a:gd name="T4" fmla="*/ 0 w 68"/>
                <a:gd name="T5" fmla="*/ 12 h 12"/>
              </a:gdLst>
              <a:ahLst/>
              <a:cxnLst>
                <a:cxn ang="0">
                  <a:pos x="T0" y="T1"/>
                </a:cxn>
                <a:cxn ang="0">
                  <a:pos x="T2" y="T3"/>
                </a:cxn>
                <a:cxn ang="0">
                  <a:pos x="T4" y="T5"/>
                </a:cxn>
              </a:cxnLst>
              <a:rect l="0" t="0" r="r" b="b"/>
              <a:pathLst>
                <a:path w="68" h="12">
                  <a:moveTo>
                    <a:pt x="68" y="0"/>
                  </a:moveTo>
                  <a:cubicBezTo>
                    <a:pt x="68" y="0"/>
                    <a:pt x="51" y="4"/>
                    <a:pt x="34" y="8"/>
                  </a:cubicBezTo>
                  <a:cubicBezTo>
                    <a:pt x="17" y="10"/>
                    <a:pt x="0" y="12"/>
                    <a:pt x="0" y="12"/>
                  </a:cubicBezTo>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Freeform 237">
              <a:extLst>
                <a:ext uri="{FF2B5EF4-FFF2-40B4-BE49-F238E27FC236}">
                  <a16:creationId xmlns:a16="http://schemas.microsoft.com/office/drawing/2014/main" id="{D5A360E7-6B3C-B0A6-95F0-9570FD4A2D67}"/>
                </a:ext>
              </a:extLst>
            </p:cNvPr>
            <p:cNvSpPr>
              <a:spLocks/>
            </p:cNvSpPr>
            <p:nvPr/>
          </p:nvSpPr>
          <p:spPr bwMode="auto">
            <a:xfrm>
              <a:off x="4629150" y="2306638"/>
              <a:ext cx="44450" cy="26988"/>
            </a:xfrm>
            <a:custGeom>
              <a:avLst/>
              <a:gdLst>
                <a:gd name="T0" fmla="*/ 58 w 58"/>
                <a:gd name="T1" fmla="*/ 37 h 37"/>
                <a:gd name="T2" fmla="*/ 28 w 58"/>
                <a:gd name="T3" fmla="*/ 20 h 37"/>
                <a:gd name="T4" fmla="*/ 0 w 58"/>
                <a:gd name="T5" fmla="*/ 0 h 37"/>
              </a:gdLst>
              <a:ahLst/>
              <a:cxnLst>
                <a:cxn ang="0">
                  <a:pos x="T0" y="T1"/>
                </a:cxn>
                <a:cxn ang="0">
                  <a:pos x="T2" y="T3"/>
                </a:cxn>
                <a:cxn ang="0">
                  <a:pos x="T4" y="T5"/>
                </a:cxn>
              </a:cxnLst>
              <a:rect l="0" t="0" r="r" b="b"/>
              <a:pathLst>
                <a:path w="58" h="37">
                  <a:moveTo>
                    <a:pt x="58" y="37"/>
                  </a:moveTo>
                  <a:cubicBezTo>
                    <a:pt x="58" y="37"/>
                    <a:pt x="43" y="29"/>
                    <a:pt x="28" y="20"/>
                  </a:cubicBezTo>
                  <a:cubicBezTo>
                    <a:pt x="14" y="10"/>
                    <a:pt x="0" y="0"/>
                    <a:pt x="0" y="0"/>
                  </a:cubicBezTo>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238">
              <a:extLst>
                <a:ext uri="{FF2B5EF4-FFF2-40B4-BE49-F238E27FC236}">
                  <a16:creationId xmlns:a16="http://schemas.microsoft.com/office/drawing/2014/main" id="{C62DE675-BD0B-127A-7887-3A4456E6FD21}"/>
                </a:ext>
              </a:extLst>
            </p:cNvPr>
            <p:cNvSpPr>
              <a:spLocks/>
            </p:cNvSpPr>
            <p:nvPr/>
          </p:nvSpPr>
          <p:spPr bwMode="auto">
            <a:xfrm>
              <a:off x="4570413" y="2193925"/>
              <a:ext cx="14288" cy="49213"/>
            </a:xfrm>
            <a:custGeom>
              <a:avLst/>
              <a:gdLst>
                <a:gd name="T0" fmla="*/ 18 w 18"/>
                <a:gd name="T1" fmla="*/ 66 h 66"/>
                <a:gd name="T2" fmla="*/ 7 w 18"/>
                <a:gd name="T3" fmla="*/ 34 h 66"/>
                <a:gd name="T4" fmla="*/ 0 w 18"/>
                <a:gd name="T5" fmla="*/ 0 h 66"/>
              </a:gdLst>
              <a:ahLst/>
              <a:cxnLst>
                <a:cxn ang="0">
                  <a:pos x="T0" y="T1"/>
                </a:cxn>
                <a:cxn ang="0">
                  <a:pos x="T2" y="T3"/>
                </a:cxn>
                <a:cxn ang="0">
                  <a:pos x="T4" y="T5"/>
                </a:cxn>
              </a:cxnLst>
              <a:rect l="0" t="0" r="r" b="b"/>
              <a:pathLst>
                <a:path w="18" h="66">
                  <a:moveTo>
                    <a:pt x="18" y="66"/>
                  </a:moveTo>
                  <a:cubicBezTo>
                    <a:pt x="18" y="66"/>
                    <a:pt x="13" y="50"/>
                    <a:pt x="7" y="34"/>
                  </a:cubicBezTo>
                  <a:cubicBezTo>
                    <a:pt x="4" y="17"/>
                    <a:pt x="0" y="0"/>
                    <a:pt x="0" y="0"/>
                  </a:cubicBezTo>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Line 239">
              <a:extLst>
                <a:ext uri="{FF2B5EF4-FFF2-40B4-BE49-F238E27FC236}">
                  <a16:creationId xmlns:a16="http://schemas.microsoft.com/office/drawing/2014/main" id="{F6D60FDD-2E9F-81A1-D9CD-A4126D799F4C}"/>
                </a:ext>
              </a:extLst>
            </p:cNvPr>
            <p:cNvSpPr>
              <a:spLocks noChangeShapeType="1"/>
            </p:cNvSpPr>
            <p:nvPr/>
          </p:nvSpPr>
          <p:spPr bwMode="auto">
            <a:xfrm flipV="1">
              <a:off x="4570413" y="2078038"/>
              <a:ext cx="0" cy="36513"/>
            </a:xfrm>
            <a:prstGeom prst="line">
              <a:avLst/>
            </a:prstGeom>
            <a:noFill/>
            <a:ln w="127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28" name="Textfeld 227">
            <a:extLst>
              <a:ext uri="{FF2B5EF4-FFF2-40B4-BE49-F238E27FC236}">
                <a16:creationId xmlns:a16="http://schemas.microsoft.com/office/drawing/2014/main" id="{3B733991-1E68-8B09-A848-B0554A93872D}"/>
              </a:ext>
            </a:extLst>
          </p:cNvPr>
          <p:cNvSpPr txBox="1"/>
          <p:nvPr/>
        </p:nvSpPr>
        <p:spPr>
          <a:xfrm>
            <a:off x="5271403" y="2456991"/>
            <a:ext cx="3656693" cy="461665"/>
          </a:xfrm>
          <a:prstGeom prst="rect">
            <a:avLst/>
          </a:prstGeom>
          <a:noFill/>
        </p:spPr>
        <p:txBody>
          <a:bodyPr wrap="square" rtlCol="0">
            <a:spAutoFit/>
          </a:bodyPr>
          <a:lstStyle/>
          <a:p>
            <a:r>
              <a:rPr lang="en-US" sz="1200" b="1"/>
              <a:t>Provide</a:t>
            </a:r>
            <a:r>
              <a:rPr lang="en-US" sz="1200"/>
              <a:t> detailed </a:t>
            </a:r>
            <a:r>
              <a:rPr lang="en-US" sz="1200" b="1"/>
              <a:t>disclosure</a:t>
            </a:r>
            <a:r>
              <a:rPr lang="en-US" sz="1200"/>
              <a:t> of driver </a:t>
            </a:r>
            <a:r>
              <a:rPr lang="en-US" sz="1200" b="1"/>
              <a:t>pay</a:t>
            </a:r>
            <a:r>
              <a:rPr lang="en-US" sz="1200"/>
              <a:t> in various forms, including </a:t>
            </a:r>
            <a:r>
              <a:rPr lang="en-US" sz="1200" b="1"/>
              <a:t>base rates </a:t>
            </a:r>
            <a:r>
              <a:rPr lang="en-US" sz="1200"/>
              <a:t>and </a:t>
            </a:r>
            <a:r>
              <a:rPr lang="en-US" sz="1200" b="1"/>
              <a:t>bonusses</a:t>
            </a:r>
          </a:p>
        </p:txBody>
      </p:sp>
      <p:sp>
        <p:nvSpPr>
          <p:cNvPr id="229" name="Textfeld 228">
            <a:extLst>
              <a:ext uri="{FF2B5EF4-FFF2-40B4-BE49-F238E27FC236}">
                <a16:creationId xmlns:a16="http://schemas.microsoft.com/office/drawing/2014/main" id="{81CE18AF-9026-BC0D-ED75-25BE5E450603}"/>
              </a:ext>
            </a:extLst>
          </p:cNvPr>
          <p:cNvSpPr txBox="1"/>
          <p:nvPr/>
        </p:nvSpPr>
        <p:spPr>
          <a:xfrm>
            <a:off x="5271067" y="2926361"/>
            <a:ext cx="3656693" cy="646331"/>
          </a:xfrm>
          <a:prstGeom prst="rect">
            <a:avLst/>
          </a:prstGeom>
          <a:noFill/>
        </p:spPr>
        <p:txBody>
          <a:bodyPr wrap="square" rtlCol="0">
            <a:spAutoFit/>
          </a:bodyPr>
          <a:lstStyle/>
          <a:p>
            <a:r>
              <a:rPr lang="en-US" sz="1200" b="1"/>
              <a:t>Enhance</a:t>
            </a:r>
            <a:r>
              <a:rPr lang="en-US" sz="1200"/>
              <a:t> the </a:t>
            </a:r>
            <a:r>
              <a:rPr lang="en-US" sz="1200" b="1"/>
              <a:t>communication</a:t>
            </a:r>
            <a:r>
              <a:rPr lang="en-US" sz="1200"/>
              <a:t> of </a:t>
            </a:r>
            <a:r>
              <a:rPr lang="en-US" sz="1200" b="1"/>
              <a:t>health insurance benefits</a:t>
            </a:r>
            <a:r>
              <a:rPr lang="en-US" sz="1200"/>
              <a:t> and </a:t>
            </a:r>
            <a:r>
              <a:rPr lang="en-US" sz="1200" b="1"/>
              <a:t>educational support </a:t>
            </a:r>
            <a:r>
              <a:rPr lang="en-US" sz="1200"/>
              <a:t>to differentiate from </a:t>
            </a:r>
            <a:r>
              <a:rPr lang="en-US" sz="1200" b="1"/>
              <a:t>gig-model competitors</a:t>
            </a:r>
          </a:p>
        </p:txBody>
      </p:sp>
      <p:sp>
        <p:nvSpPr>
          <p:cNvPr id="230" name="Textfeld 229">
            <a:extLst>
              <a:ext uri="{FF2B5EF4-FFF2-40B4-BE49-F238E27FC236}">
                <a16:creationId xmlns:a16="http://schemas.microsoft.com/office/drawing/2014/main" id="{B917BD95-AAE9-5A63-D15B-30B2DC850BC2}"/>
              </a:ext>
            </a:extLst>
          </p:cNvPr>
          <p:cNvSpPr txBox="1"/>
          <p:nvPr/>
        </p:nvSpPr>
        <p:spPr>
          <a:xfrm>
            <a:off x="5269178" y="3581713"/>
            <a:ext cx="3656693" cy="461665"/>
          </a:xfrm>
          <a:prstGeom prst="rect">
            <a:avLst/>
          </a:prstGeom>
          <a:noFill/>
        </p:spPr>
        <p:txBody>
          <a:bodyPr wrap="square" rtlCol="0">
            <a:spAutoFit/>
          </a:bodyPr>
          <a:lstStyle/>
          <a:p>
            <a:r>
              <a:rPr lang="en-US" sz="1200" b="1"/>
              <a:t>Publish</a:t>
            </a:r>
            <a:r>
              <a:rPr lang="en-US" sz="1200"/>
              <a:t> comprehensive </a:t>
            </a:r>
            <a:r>
              <a:rPr lang="en-US" sz="1200" b="1"/>
              <a:t>environmental impact analyses </a:t>
            </a:r>
            <a:r>
              <a:rPr lang="en-US" sz="1200"/>
              <a:t>on top of the </a:t>
            </a:r>
            <a:r>
              <a:rPr lang="en-US" sz="1200" b="1"/>
              <a:t>ESG-Reporting</a:t>
            </a:r>
          </a:p>
        </p:txBody>
      </p:sp>
      <p:sp>
        <p:nvSpPr>
          <p:cNvPr id="231" name="Textfeld 230">
            <a:extLst>
              <a:ext uri="{FF2B5EF4-FFF2-40B4-BE49-F238E27FC236}">
                <a16:creationId xmlns:a16="http://schemas.microsoft.com/office/drawing/2014/main" id="{DDD29DCC-71C4-A4A2-6E3E-8B64DD8D727E}"/>
              </a:ext>
            </a:extLst>
          </p:cNvPr>
          <p:cNvSpPr txBox="1"/>
          <p:nvPr/>
        </p:nvSpPr>
        <p:spPr>
          <a:xfrm>
            <a:off x="5261845" y="4113461"/>
            <a:ext cx="3656693" cy="461665"/>
          </a:xfrm>
          <a:prstGeom prst="rect">
            <a:avLst/>
          </a:prstGeom>
          <a:noFill/>
        </p:spPr>
        <p:txBody>
          <a:bodyPr wrap="square" rtlCol="0">
            <a:spAutoFit/>
          </a:bodyPr>
          <a:lstStyle/>
          <a:p>
            <a:r>
              <a:rPr lang="en-US" sz="1200" b="1"/>
              <a:t>Put</a:t>
            </a:r>
            <a:r>
              <a:rPr lang="en-US" sz="1200"/>
              <a:t> a </a:t>
            </a:r>
            <a:r>
              <a:rPr lang="en-US" sz="1200" b="1"/>
              <a:t>stronger focus </a:t>
            </a:r>
            <a:r>
              <a:rPr lang="en-US" sz="1200"/>
              <a:t>on the </a:t>
            </a:r>
            <a:r>
              <a:rPr lang="en-US" sz="1200" b="1"/>
              <a:t>collaboration</a:t>
            </a:r>
            <a:r>
              <a:rPr lang="en-US" sz="1200"/>
              <a:t> with </a:t>
            </a:r>
            <a:r>
              <a:rPr lang="en-US" sz="1200" b="1"/>
              <a:t>city planners </a:t>
            </a:r>
            <a:r>
              <a:rPr lang="en-US" sz="1200"/>
              <a:t>to </a:t>
            </a:r>
            <a:r>
              <a:rPr lang="en-US" sz="1200" b="1"/>
              <a:t>reduce congestion in urban environments</a:t>
            </a:r>
          </a:p>
        </p:txBody>
      </p:sp>
      <p:cxnSp>
        <p:nvCxnSpPr>
          <p:cNvPr id="232" name="Gerader Verbinder 231">
            <a:extLst>
              <a:ext uri="{FF2B5EF4-FFF2-40B4-BE49-F238E27FC236}">
                <a16:creationId xmlns:a16="http://schemas.microsoft.com/office/drawing/2014/main" id="{4DCDD7E2-067C-9737-1478-63E4E1C05701}"/>
              </a:ext>
            </a:extLst>
          </p:cNvPr>
          <p:cNvCxnSpPr>
            <a:cxnSpLocks/>
          </p:cNvCxnSpPr>
          <p:nvPr/>
        </p:nvCxnSpPr>
        <p:spPr>
          <a:xfrm flipH="1">
            <a:off x="5000178" y="4706089"/>
            <a:ext cx="3521104" cy="0"/>
          </a:xfrm>
          <a:prstGeom prst="line">
            <a:avLst/>
          </a:prstGeom>
        </p:spPr>
        <p:style>
          <a:lnRef idx="1">
            <a:schemeClr val="accent2"/>
          </a:lnRef>
          <a:fillRef idx="0">
            <a:schemeClr val="accent2"/>
          </a:fillRef>
          <a:effectRef idx="0">
            <a:schemeClr val="accent2"/>
          </a:effectRef>
          <a:fontRef idx="minor">
            <a:schemeClr val="tx1"/>
          </a:fontRef>
        </p:style>
      </p:cxnSp>
      <p:sp>
        <p:nvSpPr>
          <p:cNvPr id="233" name="Pfeil: nach unten 232">
            <a:extLst>
              <a:ext uri="{FF2B5EF4-FFF2-40B4-BE49-F238E27FC236}">
                <a16:creationId xmlns:a16="http://schemas.microsoft.com/office/drawing/2014/main" id="{140ED91E-2191-C2B8-7508-3BC56556B6FD}"/>
              </a:ext>
            </a:extLst>
          </p:cNvPr>
          <p:cNvSpPr/>
          <p:nvPr/>
        </p:nvSpPr>
        <p:spPr>
          <a:xfrm>
            <a:off x="6636544" y="4590159"/>
            <a:ext cx="248371" cy="294491"/>
          </a:xfrm>
          <a:prstGeom prst="downArrow">
            <a:avLst/>
          </a:prstGeom>
          <a:solidFill>
            <a:schemeClr val="accent2">
              <a:lumMod val="20000"/>
              <a:lumOff val="8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34" name="Like" descr="{&quot;Key&quot;:&quot;POWER_USER_SHAPE_ICON&quot;,&quot;Value&quot;:&quot;POWER_USER_SHAPE_ICON_STYLE_1&quot;}">
            <a:extLst>
              <a:ext uri="{FF2B5EF4-FFF2-40B4-BE49-F238E27FC236}">
                <a16:creationId xmlns:a16="http://schemas.microsoft.com/office/drawing/2014/main" id="{EC45E454-FE50-E3A3-93DD-46226D51003C}"/>
              </a:ext>
            </a:extLst>
          </p:cNvPr>
          <p:cNvSpPr>
            <a:spLocks noChangeAspect="1" noEditPoints="1"/>
          </p:cNvSpPr>
          <p:nvPr>
            <p:custDataLst>
              <p:tags r:id="rId6"/>
            </p:custDataLst>
          </p:nvPr>
        </p:nvSpPr>
        <p:spPr bwMode="auto">
          <a:xfrm>
            <a:off x="4805346" y="5022771"/>
            <a:ext cx="298313" cy="312082"/>
          </a:xfrm>
          <a:custGeom>
            <a:avLst/>
            <a:gdLst>
              <a:gd name="T0" fmla="*/ 0 w 18355"/>
              <a:gd name="T1" fmla="*/ 10698 h 19176"/>
              <a:gd name="T2" fmla="*/ 742 w 18355"/>
              <a:gd name="T3" fmla="*/ 9956 h 19176"/>
              <a:gd name="T4" fmla="*/ 3063 w 18355"/>
              <a:gd name="T5" fmla="*/ 9956 h 19176"/>
              <a:gd name="T6" fmla="*/ 3805 w 18355"/>
              <a:gd name="T7" fmla="*/ 10698 h 19176"/>
              <a:gd name="T8" fmla="*/ 3805 w 18355"/>
              <a:gd name="T9" fmla="*/ 17937 h 19176"/>
              <a:gd name="T10" fmla="*/ 3063 w 18355"/>
              <a:gd name="T11" fmla="*/ 18679 h 19176"/>
              <a:gd name="T12" fmla="*/ 742 w 18355"/>
              <a:gd name="T13" fmla="*/ 18679 h 19176"/>
              <a:gd name="T14" fmla="*/ 0 w 18355"/>
              <a:gd name="T15" fmla="*/ 17937 h 19176"/>
              <a:gd name="T16" fmla="*/ 0 w 18355"/>
              <a:gd name="T17" fmla="*/ 10698 h 19176"/>
              <a:gd name="T18" fmla="*/ 10840 w 18355"/>
              <a:gd name="T19" fmla="*/ 92 h 19176"/>
              <a:gd name="T20" fmla="*/ 13072 w 18355"/>
              <a:gd name="T21" fmla="*/ 2026 h 19176"/>
              <a:gd name="T22" fmla="*/ 12337 w 18355"/>
              <a:gd name="T23" fmla="*/ 5373 h 19176"/>
              <a:gd name="T24" fmla="*/ 11729 w 18355"/>
              <a:gd name="T25" fmla="*/ 7584 h 19176"/>
              <a:gd name="T26" fmla="*/ 13683 w 18355"/>
              <a:gd name="T27" fmla="*/ 7624 h 19176"/>
              <a:gd name="T28" fmla="*/ 16822 w 18355"/>
              <a:gd name="T29" fmla="*/ 7828 h 19176"/>
              <a:gd name="T30" fmla="*/ 18138 w 18355"/>
              <a:gd name="T31" fmla="*/ 9606 h 19176"/>
              <a:gd name="T32" fmla="*/ 17763 w 18355"/>
              <a:gd name="T33" fmla="*/ 11473 h 19176"/>
              <a:gd name="T34" fmla="*/ 17482 w 18355"/>
              <a:gd name="T35" fmla="*/ 13229 h 19176"/>
              <a:gd name="T36" fmla="*/ 17588 w 18355"/>
              <a:gd name="T37" fmla="*/ 15339 h 19176"/>
              <a:gd name="T38" fmla="*/ 16648 w 18355"/>
              <a:gd name="T39" fmla="*/ 17031 h 19176"/>
              <a:gd name="T40" fmla="*/ 15433 w 18355"/>
              <a:gd name="T41" fmla="*/ 18694 h 19176"/>
              <a:gd name="T42" fmla="*/ 12293 w 18355"/>
              <a:gd name="T43" fmla="*/ 19075 h 19176"/>
              <a:gd name="T44" fmla="*/ 7061 w 18355"/>
              <a:gd name="T45" fmla="*/ 18594 h 19176"/>
              <a:gd name="T46" fmla="*/ 4593 w 18355"/>
              <a:gd name="T47" fmla="*/ 18133 h 19176"/>
              <a:gd name="T48" fmla="*/ 4569 w 18355"/>
              <a:gd name="T49" fmla="*/ 10352 h 19176"/>
              <a:gd name="T50" fmla="*/ 6184 w 18355"/>
              <a:gd name="T51" fmla="*/ 9421 h 19176"/>
              <a:gd name="T52" fmla="*/ 8014 w 18355"/>
              <a:gd name="T53" fmla="*/ 5820 h 19176"/>
              <a:gd name="T54" fmla="*/ 9930 w 18355"/>
              <a:gd name="T55" fmla="*/ 3631 h 19176"/>
              <a:gd name="T56" fmla="*/ 10549 w 18355"/>
              <a:gd name="T57" fmla="*/ 314 h 19176"/>
              <a:gd name="T58" fmla="*/ 10839 w 18355"/>
              <a:gd name="T59" fmla="*/ 92 h 19176"/>
              <a:gd name="T60" fmla="*/ 10840 w 18355"/>
              <a:gd name="T61" fmla="*/ 92 h 19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55" h="19176">
                <a:moveTo>
                  <a:pt x="0" y="10698"/>
                </a:moveTo>
                <a:cubicBezTo>
                  <a:pt x="0" y="10288"/>
                  <a:pt x="332" y="9956"/>
                  <a:pt x="742" y="9956"/>
                </a:cubicBezTo>
                <a:lnTo>
                  <a:pt x="3063" y="9956"/>
                </a:lnTo>
                <a:cubicBezTo>
                  <a:pt x="3473" y="9956"/>
                  <a:pt x="3805" y="10288"/>
                  <a:pt x="3805" y="10698"/>
                </a:cubicBezTo>
                <a:lnTo>
                  <a:pt x="3805" y="17937"/>
                </a:lnTo>
                <a:cubicBezTo>
                  <a:pt x="3805" y="18347"/>
                  <a:pt x="3473" y="18679"/>
                  <a:pt x="3063" y="18679"/>
                </a:cubicBezTo>
                <a:lnTo>
                  <a:pt x="742" y="18679"/>
                </a:lnTo>
                <a:cubicBezTo>
                  <a:pt x="332" y="18679"/>
                  <a:pt x="0" y="18347"/>
                  <a:pt x="0" y="17937"/>
                </a:cubicBezTo>
                <a:lnTo>
                  <a:pt x="0" y="10698"/>
                </a:lnTo>
                <a:close/>
                <a:moveTo>
                  <a:pt x="10840" y="92"/>
                </a:moveTo>
                <a:cubicBezTo>
                  <a:pt x="11958" y="0"/>
                  <a:pt x="12945" y="940"/>
                  <a:pt x="13072" y="2026"/>
                </a:cubicBezTo>
                <a:cubicBezTo>
                  <a:pt x="13300" y="3194"/>
                  <a:pt x="12920" y="4369"/>
                  <a:pt x="12337" y="5373"/>
                </a:cubicBezTo>
                <a:cubicBezTo>
                  <a:pt x="12027" y="6063"/>
                  <a:pt x="11561" y="6798"/>
                  <a:pt x="11729" y="7584"/>
                </a:cubicBezTo>
                <a:cubicBezTo>
                  <a:pt x="12314" y="7745"/>
                  <a:pt x="13043" y="7564"/>
                  <a:pt x="13683" y="7624"/>
                </a:cubicBezTo>
                <a:cubicBezTo>
                  <a:pt x="14728" y="7649"/>
                  <a:pt x="15799" y="7579"/>
                  <a:pt x="16822" y="7828"/>
                </a:cubicBezTo>
                <a:cubicBezTo>
                  <a:pt x="17509" y="8150"/>
                  <a:pt x="17959" y="8889"/>
                  <a:pt x="18138" y="9606"/>
                </a:cubicBezTo>
                <a:cubicBezTo>
                  <a:pt x="18095" y="10265"/>
                  <a:pt x="17082" y="10804"/>
                  <a:pt x="17763" y="11473"/>
                </a:cubicBezTo>
                <a:cubicBezTo>
                  <a:pt x="18355" y="12055"/>
                  <a:pt x="18034" y="12765"/>
                  <a:pt x="17482" y="13229"/>
                </a:cubicBezTo>
                <a:cubicBezTo>
                  <a:pt x="16974" y="13913"/>
                  <a:pt x="18112" y="14638"/>
                  <a:pt x="17588" y="15339"/>
                </a:cubicBezTo>
                <a:cubicBezTo>
                  <a:pt x="17208" y="15869"/>
                  <a:pt x="16454" y="16264"/>
                  <a:pt x="16648" y="17031"/>
                </a:cubicBezTo>
                <a:cubicBezTo>
                  <a:pt x="16737" y="17802"/>
                  <a:pt x="15981" y="18300"/>
                  <a:pt x="15433" y="18694"/>
                </a:cubicBezTo>
                <a:cubicBezTo>
                  <a:pt x="14469" y="19176"/>
                  <a:pt x="13339" y="19050"/>
                  <a:pt x="12293" y="19075"/>
                </a:cubicBezTo>
                <a:cubicBezTo>
                  <a:pt x="10541" y="19020"/>
                  <a:pt x="8775" y="18998"/>
                  <a:pt x="7061" y="18594"/>
                </a:cubicBezTo>
                <a:cubicBezTo>
                  <a:pt x="6239" y="18438"/>
                  <a:pt x="5413" y="18300"/>
                  <a:pt x="4593" y="18133"/>
                </a:cubicBezTo>
                <a:lnTo>
                  <a:pt x="4569" y="10352"/>
                </a:lnTo>
                <a:cubicBezTo>
                  <a:pt x="5261" y="10450"/>
                  <a:pt x="5818" y="9955"/>
                  <a:pt x="6184" y="9421"/>
                </a:cubicBezTo>
                <a:cubicBezTo>
                  <a:pt x="6994" y="8330"/>
                  <a:pt x="7434" y="7033"/>
                  <a:pt x="8014" y="5820"/>
                </a:cubicBezTo>
                <a:cubicBezTo>
                  <a:pt x="8556" y="5003"/>
                  <a:pt x="9613" y="4619"/>
                  <a:pt x="9930" y="3631"/>
                </a:cubicBezTo>
                <a:cubicBezTo>
                  <a:pt x="10381" y="2585"/>
                  <a:pt x="10429" y="1430"/>
                  <a:pt x="10549" y="314"/>
                </a:cubicBezTo>
                <a:cubicBezTo>
                  <a:pt x="10498" y="170"/>
                  <a:pt x="10943" y="88"/>
                  <a:pt x="10839" y="92"/>
                </a:cubicBezTo>
                <a:lnTo>
                  <a:pt x="10840" y="92"/>
                </a:lnTo>
                <a:close/>
              </a:path>
            </a:pathLst>
          </a:custGeom>
          <a:noFill/>
          <a:ln w="12700">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35" name="Capital2" descr="{&quot;Key&quot;:&quot;POWER_USER_SHAPE_ICON&quot;,&quot;Value&quot;:&quot;POWER_USER_SHAPE_ICON_STYLE_1&quot;}">
            <a:extLst>
              <a:ext uri="{FF2B5EF4-FFF2-40B4-BE49-F238E27FC236}">
                <a16:creationId xmlns:a16="http://schemas.microsoft.com/office/drawing/2014/main" id="{10DB6AFB-D491-F72C-6FDA-06A49D7D370A}"/>
              </a:ext>
            </a:extLst>
          </p:cNvPr>
          <p:cNvGrpSpPr>
            <a:grpSpLocks noChangeAspect="1"/>
          </p:cNvGrpSpPr>
          <p:nvPr/>
        </p:nvGrpSpPr>
        <p:grpSpPr>
          <a:xfrm>
            <a:off x="4813086" y="5503096"/>
            <a:ext cx="207673" cy="312082"/>
            <a:chOff x="5561013" y="1997076"/>
            <a:chExt cx="287338" cy="431800"/>
          </a:xfrm>
          <a:solidFill>
            <a:schemeClr val="accent2"/>
          </a:solidFill>
        </p:grpSpPr>
        <p:sp>
          <p:nvSpPr>
            <p:cNvPr id="236" name="Freeform 535">
              <a:extLst>
                <a:ext uri="{FF2B5EF4-FFF2-40B4-BE49-F238E27FC236}">
                  <a16:creationId xmlns:a16="http://schemas.microsoft.com/office/drawing/2014/main" id="{DFDFB3AB-367F-CA7D-08AE-D324487DD4F1}"/>
                </a:ext>
              </a:extLst>
            </p:cNvPr>
            <p:cNvSpPr>
              <a:spLocks noEditPoints="1"/>
            </p:cNvSpPr>
            <p:nvPr/>
          </p:nvSpPr>
          <p:spPr bwMode="auto">
            <a:xfrm>
              <a:off x="5616576" y="2200276"/>
              <a:ext cx="231775" cy="228600"/>
            </a:xfrm>
            <a:custGeom>
              <a:avLst/>
              <a:gdLst>
                <a:gd name="T0" fmla="*/ 75 w 305"/>
                <a:gd name="T1" fmla="*/ 17 h 301"/>
                <a:gd name="T2" fmla="*/ 16 w 305"/>
                <a:gd name="T3" fmla="*/ 148 h 301"/>
                <a:gd name="T4" fmla="*/ 152 w 305"/>
                <a:gd name="T5" fmla="*/ 284 h 301"/>
                <a:gd name="T6" fmla="*/ 289 w 305"/>
                <a:gd name="T7" fmla="*/ 148 h 301"/>
                <a:gd name="T8" fmla="*/ 230 w 305"/>
                <a:gd name="T9" fmla="*/ 17 h 301"/>
                <a:gd name="T10" fmla="*/ 75 w 305"/>
                <a:gd name="T11" fmla="*/ 17 h 301"/>
                <a:gd name="T12" fmla="*/ 152 w 305"/>
                <a:gd name="T13" fmla="*/ 301 h 301"/>
                <a:gd name="T14" fmla="*/ 0 w 305"/>
                <a:gd name="T15" fmla="*/ 148 h 301"/>
                <a:gd name="T16" fmla="*/ 66 w 305"/>
                <a:gd name="T17" fmla="*/ 2 h 301"/>
                <a:gd name="T18" fmla="*/ 68 w 305"/>
                <a:gd name="T19" fmla="*/ 0 h 301"/>
                <a:gd name="T20" fmla="*/ 236 w 305"/>
                <a:gd name="T21" fmla="*/ 0 h 301"/>
                <a:gd name="T22" fmla="*/ 239 w 305"/>
                <a:gd name="T23" fmla="*/ 2 h 301"/>
                <a:gd name="T24" fmla="*/ 305 w 305"/>
                <a:gd name="T25" fmla="*/ 148 h 301"/>
                <a:gd name="T26" fmla="*/ 152 w 305"/>
                <a:gd name="T27"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5" h="301">
                  <a:moveTo>
                    <a:pt x="75" y="17"/>
                  </a:moveTo>
                  <a:cubicBezTo>
                    <a:pt x="39" y="50"/>
                    <a:pt x="16" y="101"/>
                    <a:pt x="16" y="148"/>
                  </a:cubicBezTo>
                  <a:cubicBezTo>
                    <a:pt x="16" y="223"/>
                    <a:pt x="77" y="284"/>
                    <a:pt x="152" y="284"/>
                  </a:cubicBezTo>
                  <a:cubicBezTo>
                    <a:pt x="227" y="284"/>
                    <a:pt x="289" y="223"/>
                    <a:pt x="289" y="148"/>
                  </a:cubicBezTo>
                  <a:cubicBezTo>
                    <a:pt x="289" y="101"/>
                    <a:pt x="266" y="50"/>
                    <a:pt x="230" y="17"/>
                  </a:cubicBezTo>
                  <a:lnTo>
                    <a:pt x="75" y="17"/>
                  </a:lnTo>
                  <a:close/>
                  <a:moveTo>
                    <a:pt x="152" y="301"/>
                  </a:moveTo>
                  <a:cubicBezTo>
                    <a:pt x="68" y="301"/>
                    <a:pt x="0" y="232"/>
                    <a:pt x="0" y="148"/>
                  </a:cubicBezTo>
                  <a:cubicBezTo>
                    <a:pt x="0" y="95"/>
                    <a:pt x="26" y="38"/>
                    <a:pt x="66" y="2"/>
                  </a:cubicBezTo>
                  <a:lnTo>
                    <a:pt x="68" y="0"/>
                  </a:lnTo>
                  <a:lnTo>
                    <a:pt x="236" y="0"/>
                  </a:lnTo>
                  <a:lnTo>
                    <a:pt x="239" y="2"/>
                  </a:lnTo>
                  <a:cubicBezTo>
                    <a:pt x="279" y="38"/>
                    <a:pt x="305" y="95"/>
                    <a:pt x="305" y="148"/>
                  </a:cubicBezTo>
                  <a:cubicBezTo>
                    <a:pt x="305" y="232"/>
                    <a:pt x="237" y="301"/>
                    <a:pt x="152" y="301"/>
                  </a:cubicBezTo>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Freeform 536">
              <a:extLst>
                <a:ext uri="{FF2B5EF4-FFF2-40B4-BE49-F238E27FC236}">
                  <a16:creationId xmlns:a16="http://schemas.microsoft.com/office/drawing/2014/main" id="{10BCAB8E-4536-E892-7DA6-F0F8AD7223E1}"/>
                </a:ext>
              </a:extLst>
            </p:cNvPr>
            <p:cNvSpPr>
              <a:spLocks noEditPoints="1"/>
            </p:cNvSpPr>
            <p:nvPr/>
          </p:nvSpPr>
          <p:spPr bwMode="auto">
            <a:xfrm>
              <a:off x="5672138" y="1997076"/>
              <a:ext cx="120650" cy="73025"/>
            </a:xfrm>
            <a:custGeom>
              <a:avLst/>
              <a:gdLst>
                <a:gd name="T0" fmla="*/ 47 w 157"/>
                <a:gd name="T1" fmla="*/ 79 h 96"/>
                <a:gd name="T2" fmla="*/ 110 w 157"/>
                <a:gd name="T3" fmla="*/ 79 h 96"/>
                <a:gd name="T4" fmla="*/ 133 w 157"/>
                <a:gd name="T5" fmla="*/ 17 h 96"/>
                <a:gd name="T6" fmla="*/ 24 w 157"/>
                <a:gd name="T7" fmla="*/ 17 h 96"/>
                <a:gd name="T8" fmla="*/ 47 w 157"/>
                <a:gd name="T9" fmla="*/ 79 h 96"/>
                <a:gd name="T10" fmla="*/ 122 w 157"/>
                <a:gd name="T11" fmla="*/ 96 h 96"/>
                <a:gd name="T12" fmla="*/ 35 w 157"/>
                <a:gd name="T13" fmla="*/ 96 h 96"/>
                <a:gd name="T14" fmla="*/ 0 w 157"/>
                <a:gd name="T15" fmla="*/ 0 h 96"/>
                <a:gd name="T16" fmla="*/ 157 w 157"/>
                <a:gd name="T17" fmla="*/ 0 h 96"/>
                <a:gd name="T18" fmla="*/ 122 w 157"/>
                <a:gd name="T1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6">
                  <a:moveTo>
                    <a:pt x="47" y="79"/>
                  </a:moveTo>
                  <a:lnTo>
                    <a:pt x="110" y="79"/>
                  </a:lnTo>
                  <a:lnTo>
                    <a:pt x="133" y="17"/>
                  </a:lnTo>
                  <a:lnTo>
                    <a:pt x="24" y="17"/>
                  </a:lnTo>
                  <a:lnTo>
                    <a:pt x="47" y="79"/>
                  </a:lnTo>
                  <a:close/>
                  <a:moveTo>
                    <a:pt x="122" y="96"/>
                  </a:moveTo>
                  <a:lnTo>
                    <a:pt x="35" y="96"/>
                  </a:lnTo>
                  <a:lnTo>
                    <a:pt x="0" y="0"/>
                  </a:lnTo>
                  <a:lnTo>
                    <a:pt x="157" y="0"/>
                  </a:lnTo>
                  <a:lnTo>
                    <a:pt x="122" y="96"/>
                  </a:lnTo>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Freeform 537">
              <a:extLst>
                <a:ext uri="{FF2B5EF4-FFF2-40B4-BE49-F238E27FC236}">
                  <a16:creationId xmlns:a16="http://schemas.microsoft.com/office/drawing/2014/main" id="{7D288AE6-A512-3B59-9B2D-E33C553F1F5B}"/>
                </a:ext>
              </a:extLst>
            </p:cNvPr>
            <p:cNvSpPr>
              <a:spLocks/>
            </p:cNvSpPr>
            <p:nvPr/>
          </p:nvSpPr>
          <p:spPr bwMode="auto">
            <a:xfrm>
              <a:off x="5605463" y="2020889"/>
              <a:ext cx="82550" cy="42863"/>
            </a:xfrm>
            <a:custGeom>
              <a:avLst/>
              <a:gdLst>
                <a:gd name="T0" fmla="*/ 36 w 107"/>
                <a:gd name="T1" fmla="*/ 55 h 55"/>
                <a:gd name="T2" fmla="*/ 0 w 107"/>
                <a:gd name="T3" fmla="*/ 55 h 55"/>
                <a:gd name="T4" fmla="*/ 0 w 107"/>
                <a:gd name="T5" fmla="*/ 38 h 55"/>
                <a:gd name="T6" fmla="*/ 36 w 107"/>
                <a:gd name="T7" fmla="*/ 38 h 55"/>
                <a:gd name="T8" fmla="*/ 45 w 107"/>
                <a:gd name="T9" fmla="*/ 34 h 55"/>
                <a:gd name="T10" fmla="*/ 52 w 107"/>
                <a:gd name="T11" fmla="*/ 26 h 55"/>
                <a:gd name="T12" fmla="*/ 107 w 107"/>
                <a:gd name="T13" fmla="*/ 0 h 55"/>
                <a:gd name="T14" fmla="*/ 107 w 107"/>
                <a:gd name="T15" fmla="*/ 17 h 55"/>
                <a:gd name="T16" fmla="*/ 65 w 107"/>
                <a:gd name="T17" fmla="*/ 36 h 55"/>
                <a:gd name="T18" fmla="*/ 57 w 107"/>
                <a:gd name="T19" fmla="*/ 45 h 55"/>
                <a:gd name="T20" fmla="*/ 36 w 107"/>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 h="55">
                  <a:moveTo>
                    <a:pt x="36" y="55"/>
                  </a:moveTo>
                  <a:lnTo>
                    <a:pt x="0" y="55"/>
                  </a:lnTo>
                  <a:lnTo>
                    <a:pt x="0" y="38"/>
                  </a:lnTo>
                  <a:lnTo>
                    <a:pt x="36" y="38"/>
                  </a:lnTo>
                  <a:cubicBezTo>
                    <a:pt x="39" y="38"/>
                    <a:pt x="43" y="37"/>
                    <a:pt x="45" y="34"/>
                  </a:cubicBezTo>
                  <a:lnTo>
                    <a:pt x="52" y="26"/>
                  </a:lnTo>
                  <a:cubicBezTo>
                    <a:pt x="68" y="4"/>
                    <a:pt x="90" y="0"/>
                    <a:pt x="107" y="0"/>
                  </a:cubicBezTo>
                  <a:lnTo>
                    <a:pt x="107" y="17"/>
                  </a:lnTo>
                  <a:cubicBezTo>
                    <a:pt x="93" y="17"/>
                    <a:pt x="77" y="20"/>
                    <a:pt x="65" y="36"/>
                  </a:cubicBezTo>
                  <a:lnTo>
                    <a:pt x="57" y="45"/>
                  </a:lnTo>
                  <a:cubicBezTo>
                    <a:pt x="52" y="51"/>
                    <a:pt x="44" y="55"/>
                    <a:pt x="36" y="55"/>
                  </a:cubicBezTo>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Freeform 538">
              <a:extLst>
                <a:ext uri="{FF2B5EF4-FFF2-40B4-BE49-F238E27FC236}">
                  <a16:creationId xmlns:a16="http://schemas.microsoft.com/office/drawing/2014/main" id="{E5E4A50B-E934-356A-EC41-38F4AE449270}"/>
                </a:ext>
              </a:extLst>
            </p:cNvPr>
            <p:cNvSpPr>
              <a:spLocks/>
            </p:cNvSpPr>
            <p:nvPr/>
          </p:nvSpPr>
          <p:spPr bwMode="auto">
            <a:xfrm>
              <a:off x="5605463" y="2174876"/>
              <a:ext cx="111125" cy="36513"/>
            </a:xfrm>
            <a:custGeom>
              <a:avLst/>
              <a:gdLst>
                <a:gd name="T0" fmla="*/ 145 w 146"/>
                <a:gd name="T1" fmla="*/ 49 h 49"/>
                <a:gd name="T2" fmla="*/ 86 w 146"/>
                <a:gd name="T3" fmla="*/ 48 h 49"/>
                <a:gd name="T4" fmla="*/ 63 w 146"/>
                <a:gd name="T5" fmla="*/ 40 h 49"/>
                <a:gd name="T6" fmla="*/ 35 w 146"/>
                <a:gd name="T7" fmla="*/ 19 h 49"/>
                <a:gd name="T8" fmla="*/ 26 w 146"/>
                <a:gd name="T9" fmla="*/ 16 h 49"/>
                <a:gd name="T10" fmla="*/ 0 w 146"/>
                <a:gd name="T11" fmla="*/ 16 h 49"/>
                <a:gd name="T12" fmla="*/ 0 w 146"/>
                <a:gd name="T13" fmla="*/ 0 h 49"/>
                <a:gd name="T14" fmla="*/ 26 w 146"/>
                <a:gd name="T15" fmla="*/ 0 h 49"/>
                <a:gd name="T16" fmla="*/ 45 w 146"/>
                <a:gd name="T17" fmla="*/ 6 h 49"/>
                <a:gd name="T18" fmla="*/ 73 w 146"/>
                <a:gd name="T19" fmla="*/ 27 h 49"/>
                <a:gd name="T20" fmla="*/ 86 w 146"/>
                <a:gd name="T21" fmla="*/ 31 h 49"/>
                <a:gd name="T22" fmla="*/ 146 w 146"/>
                <a:gd name="T23" fmla="*/ 32 h 49"/>
                <a:gd name="T24" fmla="*/ 145 w 146"/>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49">
                  <a:moveTo>
                    <a:pt x="145" y="49"/>
                  </a:moveTo>
                  <a:lnTo>
                    <a:pt x="86" y="48"/>
                  </a:lnTo>
                  <a:cubicBezTo>
                    <a:pt x="77" y="48"/>
                    <a:pt x="69" y="45"/>
                    <a:pt x="63" y="40"/>
                  </a:cubicBezTo>
                  <a:lnTo>
                    <a:pt x="35" y="19"/>
                  </a:lnTo>
                  <a:cubicBezTo>
                    <a:pt x="32" y="17"/>
                    <a:pt x="29" y="16"/>
                    <a:pt x="26" y="16"/>
                  </a:cubicBezTo>
                  <a:lnTo>
                    <a:pt x="0" y="16"/>
                  </a:lnTo>
                  <a:lnTo>
                    <a:pt x="0" y="0"/>
                  </a:lnTo>
                  <a:lnTo>
                    <a:pt x="26" y="0"/>
                  </a:lnTo>
                  <a:cubicBezTo>
                    <a:pt x="33" y="0"/>
                    <a:pt x="39" y="2"/>
                    <a:pt x="45" y="6"/>
                  </a:cubicBezTo>
                  <a:lnTo>
                    <a:pt x="73" y="27"/>
                  </a:lnTo>
                  <a:cubicBezTo>
                    <a:pt x="77" y="30"/>
                    <a:pt x="81" y="31"/>
                    <a:pt x="86" y="31"/>
                  </a:cubicBezTo>
                  <a:lnTo>
                    <a:pt x="146" y="32"/>
                  </a:lnTo>
                  <a:lnTo>
                    <a:pt x="145" y="49"/>
                  </a:lnTo>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Freeform 539">
              <a:extLst>
                <a:ext uri="{FF2B5EF4-FFF2-40B4-BE49-F238E27FC236}">
                  <a16:creationId xmlns:a16="http://schemas.microsoft.com/office/drawing/2014/main" id="{9A583BE5-C5C2-164B-EF9D-27630F744066}"/>
                </a:ext>
              </a:extLst>
            </p:cNvPr>
            <p:cNvSpPr>
              <a:spLocks/>
            </p:cNvSpPr>
            <p:nvPr/>
          </p:nvSpPr>
          <p:spPr bwMode="auto">
            <a:xfrm>
              <a:off x="5561013" y="2041526"/>
              <a:ext cx="50800" cy="160338"/>
            </a:xfrm>
            <a:custGeom>
              <a:avLst/>
              <a:gdLst>
                <a:gd name="T0" fmla="*/ 32 w 32"/>
                <a:gd name="T1" fmla="*/ 101 h 101"/>
                <a:gd name="T2" fmla="*/ 0 w 32"/>
                <a:gd name="T3" fmla="*/ 101 h 101"/>
                <a:gd name="T4" fmla="*/ 0 w 32"/>
                <a:gd name="T5" fmla="*/ 93 h 101"/>
                <a:gd name="T6" fmla="*/ 24 w 32"/>
                <a:gd name="T7" fmla="*/ 93 h 101"/>
                <a:gd name="T8" fmla="*/ 24 w 32"/>
                <a:gd name="T9" fmla="*/ 8 h 101"/>
                <a:gd name="T10" fmla="*/ 0 w 32"/>
                <a:gd name="T11" fmla="*/ 8 h 101"/>
                <a:gd name="T12" fmla="*/ 0 w 32"/>
                <a:gd name="T13" fmla="*/ 0 h 101"/>
                <a:gd name="T14" fmla="*/ 32 w 32"/>
                <a:gd name="T15" fmla="*/ 0 h 101"/>
                <a:gd name="T16" fmla="*/ 32 w 32"/>
                <a:gd name="T1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01">
                  <a:moveTo>
                    <a:pt x="32" y="101"/>
                  </a:moveTo>
                  <a:lnTo>
                    <a:pt x="0" y="101"/>
                  </a:lnTo>
                  <a:lnTo>
                    <a:pt x="0" y="93"/>
                  </a:lnTo>
                  <a:lnTo>
                    <a:pt x="24" y="93"/>
                  </a:lnTo>
                  <a:lnTo>
                    <a:pt x="24" y="8"/>
                  </a:lnTo>
                  <a:lnTo>
                    <a:pt x="0" y="8"/>
                  </a:lnTo>
                  <a:lnTo>
                    <a:pt x="0" y="0"/>
                  </a:lnTo>
                  <a:lnTo>
                    <a:pt x="32" y="0"/>
                  </a:lnTo>
                  <a:lnTo>
                    <a:pt x="32" y="101"/>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Freeform 540">
              <a:extLst>
                <a:ext uri="{FF2B5EF4-FFF2-40B4-BE49-F238E27FC236}">
                  <a16:creationId xmlns:a16="http://schemas.microsoft.com/office/drawing/2014/main" id="{2126ECBD-EAFE-6796-86A5-5CD7A10946D5}"/>
                </a:ext>
              </a:extLst>
            </p:cNvPr>
            <p:cNvSpPr>
              <a:spLocks/>
            </p:cNvSpPr>
            <p:nvPr/>
          </p:nvSpPr>
          <p:spPr bwMode="auto">
            <a:xfrm>
              <a:off x="5692776" y="2057401"/>
              <a:ext cx="139700" cy="153988"/>
            </a:xfrm>
            <a:custGeom>
              <a:avLst/>
              <a:gdLst>
                <a:gd name="T0" fmla="*/ 135 w 184"/>
                <a:gd name="T1" fmla="*/ 202 h 202"/>
                <a:gd name="T2" fmla="*/ 32 w 184"/>
                <a:gd name="T3" fmla="*/ 202 h 202"/>
                <a:gd name="T4" fmla="*/ 32 w 184"/>
                <a:gd name="T5" fmla="*/ 185 h 202"/>
                <a:gd name="T6" fmla="*/ 135 w 184"/>
                <a:gd name="T7" fmla="*/ 185 h 202"/>
                <a:gd name="T8" fmla="*/ 149 w 184"/>
                <a:gd name="T9" fmla="*/ 171 h 202"/>
                <a:gd name="T10" fmla="*/ 135 w 184"/>
                <a:gd name="T11" fmla="*/ 156 h 202"/>
                <a:gd name="T12" fmla="*/ 125 w 184"/>
                <a:gd name="T13" fmla="*/ 156 h 202"/>
                <a:gd name="T14" fmla="*/ 117 w 184"/>
                <a:gd name="T15" fmla="*/ 147 h 202"/>
                <a:gd name="T16" fmla="*/ 125 w 184"/>
                <a:gd name="T17" fmla="*/ 139 h 202"/>
                <a:gd name="T18" fmla="*/ 145 w 184"/>
                <a:gd name="T19" fmla="*/ 139 h 202"/>
                <a:gd name="T20" fmla="*/ 159 w 184"/>
                <a:gd name="T21" fmla="*/ 124 h 202"/>
                <a:gd name="T22" fmla="*/ 145 w 184"/>
                <a:gd name="T23" fmla="*/ 109 h 202"/>
                <a:gd name="T24" fmla="*/ 135 w 184"/>
                <a:gd name="T25" fmla="*/ 109 h 202"/>
                <a:gd name="T26" fmla="*/ 126 w 184"/>
                <a:gd name="T27" fmla="*/ 101 h 202"/>
                <a:gd name="T28" fmla="*/ 135 w 184"/>
                <a:gd name="T29" fmla="*/ 93 h 202"/>
                <a:gd name="T30" fmla="*/ 152 w 184"/>
                <a:gd name="T31" fmla="*/ 93 h 202"/>
                <a:gd name="T32" fmla="*/ 167 w 184"/>
                <a:gd name="T33" fmla="*/ 78 h 202"/>
                <a:gd name="T34" fmla="*/ 152 w 184"/>
                <a:gd name="T35" fmla="*/ 63 h 202"/>
                <a:gd name="T36" fmla="*/ 142 w 184"/>
                <a:gd name="T37" fmla="*/ 63 h 202"/>
                <a:gd name="T38" fmla="*/ 134 w 184"/>
                <a:gd name="T39" fmla="*/ 55 h 202"/>
                <a:gd name="T40" fmla="*/ 142 w 184"/>
                <a:gd name="T41" fmla="*/ 46 h 202"/>
                <a:gd name="T42" fmla="*/ 147 w 184"/>
                <a:gd name="T43" fmla="*/ 46 h 202"/>
                <a:gd name="T44" fmla="*/ 161 w 184"/>
                <a:gd name="T45" fmla="*/ 32 h 202"/>
                <a:gd name="T46" fmla="*/ 147 w 184"/>
                <a:gd name="T47" fmla="*/ 17 h 202"/>
                <a:gd name="T48" fmla="*/ 0 w 184"/>
                <a:gd name="T49" fmla="*/ 17 h 202"/>
                <a:gd name="T50" fmla="*/ 0 w 184"/>
                <a:gd name="T51" fmla="*/ 0 h 202"/>
                <a:gd name="T52" fmla="*/ 147 w 184"/>
                <a:gd name="T53" fmla="*/ 0 h 202"/>
                <a:gd name="T54" fmla="*/ 178 w 184"/>
                <a:gd name="T55" fmla="*/ 31 h 202"/>
                <a:gd name="T56" fmla="*/ 170 w 184"/>
                <a:gd name="T57" fmla="*/ 52 h 202"/>
                <a:gd name="T58" fmla="*/ 184 w 184"/>
                <a:gd name="T59" fmla="*/ 77 h 202"/>
                <a:gd name="T60" fmla="*/ 169 w 184"/>
                <a:gd name="T61" fmla="*/ 104 h 202"/>
                <a:gd name="T62" fmla="*/ 176 w 184"/>
                <a:gd name="T63" fmla="*/ 124 h 202"/>
                <a:gd name="T64" fmla="*/ 160 w 184"/>
                <a:gd name="T65" fmla="*/ 152 h 202"/>
                <a:gd name="T66" fmla="*/ 166 w 184"/>
                <a:gd name="T67" fmla="*/ 170 h 202"/>
                <a:gd name="T68" fmla="*/ 135 w 184"/>
                <a:gd name="T69"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202">
                  <a:moveTo>
                    <a:pt x="135" y="202"/>
                  </a:moveTo>
                  <a:lnTo>
                    <a:pt x="32" y="202"/>
                  </a:lnTo>
                  <a:lnTo>
                    <a:pt x="32" y="185"/>
                  </a:lnTo>
                  <a:lnTo>
                    <a:pt x="135" y="185"/>
                  </a:lnTo>
                  <a:cubicBezTo>
                    <a:pt x="143" y="185"/>
                    <a:pt x="149" y="179"/>
                    <a:pt x="149" y="171"/>
                  </a:cubicBezTo>
                  <a:cubicBezTo>
                    <a:pt x="149" y="162"/>
                    <a:pt x="143" y="156"/>
                    <a:pt x="135" y="156"/>
                  </a:cubicBezTo>
                  <a:lnTo>
                    <a:pt x="125" y="156"/>
                  </a:lnTo>
                  <a:cubicBezTo>
                    <a:pt x="120" y="156"/>
                    <a:pt x="117" y="152"/>
                    <a:pt x="117" y="147"/>
                  </a:cubicBezTo>
                  <a:cubicBezTo>
                    <a:pt x="117" y="143"/>
                    <a:pt x="120" y="139"/>
                    <a:pt x="125" y="139"/>
                  </a:cubicBezTo>
                  <a:lnTo>
                    <a:pt x="145" y="139"/>
                  </a:lnTo>
                  <a:cubicBezTo>
                    <a:pt x="153" y="139"/>
                    <a:pt x="159" y="132"/>
                    <a:pt x="159" y="124"/>
                  </a:cubicBezTo>
                  <a:cubicBezTo>
                    <a:pt x="159" y="116"/>
                    <a:pt x="153" y="109"/>
                    <a:pt x="145" y="109"/>
                  </a:cubicBezTo>
                  <a:lnTo>
                    <a:pt x="135" y="109"/>
                  </a:lnTo>
                  <a:cubicBezTo>
                    <a:pt x="130" y="109"/>
                    <a:pt x="126" y="106"/>
                    <a:pt x="126" y="101"/>
                  </a:cubicBezTo>
                  <a:cubicBezTo>
                    <a:pt x="126" y="96"/>
                    <a:pt x="130" y="93"/>
                    <a:pt x="135" y="93"/>
                  </a:cubicBezTo>
                  <a:lnTo>
                    <a:pt x="152" y="93"/>
                  </a:lnTo>
                  <a:cubicBezTo>
                    <a:pt x="160" y="93"/>
                    <a:pt x="167" y="86"/>
                    <a:pt x="167" y="78"/>
                  </a:cubicBezTo>
                  <a:cubicBezTo>
                    <a:pt x="167" y="69"/>
                    <a:pt x="160" y="63"/>
                    <a:pt x="152" y="63"/>
                  </a:cubicBezTo>
                  <a:lnTo>
                    <a:pt x="142" y="63"/>
                  </a:lnTo>
                  <a:cubicBezTo>
                    <a:pt x="138" y="63"/>
                    <a:pt x="134" y="59"/>
                    <a:pt x="134" y="55"/>
                  </a:cubicBezTo>
                  <a:cubicBezTo>
                    <a:pt x="134" y="50"/>
                    <a:pt x="138" y="46"/>
                    <a:pt x="142" y="46"/>
                  </a:cubicBezTo>
                  <a:lnTo>
                    <a:pt x="147" y="46"/>
                  </a:lnTo>
                  <a:cubicBezTo>
                    <a:pt x="155" y="46"/>
                    <a:pt x="161" y="40"/>
                    <a:pt x="161" y="32"/>
                  </a:cubicBezTo>
                  <a:cubicBezTo>
                    <a:pt x="161" y="23"/>
                    <a:pt x="155" y="17"/>
                    <a:pt x="147" y="17"/>
                  </a:cubicBezTo>
                  <a:lnTo>
                    <a:pt x="0" y="17"/>
                  </a:lnTo>
                  <a:lnTo>
                    <a:pt x="0" y="0"/>
                  </a:lnTo>
                  <a:lnTo>
                    <a:pt x="147" y="0"/>
                  </a:lnTo>
                  <a:cubicBezTo>
                    <a:pt x="164" y="0"/>
                    <a:pt x="178" y="14"/>
                    <a:pt x="178" y="31"/>
                  </a:cubicBezTo>
                  <a:cubicBezTo>
                    <a:pt x="178" y="39"/>
                    <a:pt x="175" y="46"/>
                    <a:pt x="170" y="52"/>
                  </a:cubicBezTo>
                  <a:cubicBezTo>
                    <a:pt x="178" y="58"/>
                    <a:pt x="184" y="67"/>
                    <a:pt x="184" y="77"/>
                  </a:cubicBezTo>
                  <a:cubicBezTo>
                    <a:pt x="184" y="89"/>
                    <a:pt x="178" y="99"/>
                    <a:pt x="169" y="104"/>
                  </a:cubicBezTo>
                  <a:cubicBezTo>
                    <a:pt x="173" y="110"/>
                    <a:pt x="176" y="116"/>
                    <a:pt x="176" y="124"/>
                  </a:cubicBezTo>
                  <a:cubicBezTo>
                    <a:pt x="176" y="136"/>
                    <a:pt x="170" y="146"/>
                    <a:pt x="160" y="152"/>
                  </a:cubicBezTo>
                  <a:cubicBezTo>
                    <a:pt x="164" y="157"/>
                    <a:pt x="166" y="163"/>
                    <a:pt x="166" y="170"/>
                  </a:cubicBezTo>
                  <a:cubicBezTo>
                    <a:pt x="166" y="188"/>
                    <a:pt x="152" y="202"/>
                    <a:pt x="135" y="202"/>
                  </a:cubicBezTo>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Rectangle 541">
              <a:extLst>
                <a:ext uri="{FF2B5EF4-FFF2-40B4-BE49-F238E27FC236}">
                  <a16:creationId xmlns:a16="http://schemas.microsoft.com/office/drawing/2014/main" id="{3DEAF909-AAAA-B27A-B554-314AC4A45C57}"/>
                </a:ext>
              </a:extLst>
            </p:cNvPr>
            <p:cNvSpPr>
              <a:spLocks noChangeArrowheads="1"/>
            </p:cNvSpPr>
            <p:nvPr/>
          </p:nvSpPr>
          <p:spPr bwMode="auto">
            <a:xfrm>
              <a:off x="5561013" y="2152651"/>
              <a:ext cx="17463" cy="14288"/>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3" name="Freeform 542">
              <a:extLst>
                <a:ext uri="{FF2B5EF4-FFF2-40B4-BE49-F238E27FC236}">
                  <a16:creationId xmlns:a16="http://schemas.microsoft.com/office/drawing/2014/main" id="{909190ED-BB2D-A0DE-7D87-527C5C11BB46}"/>
                </a:ext>
              </a:extLst>
            </p:cNvPr>
            <p:cNvSpPr>
              <a:spLocks/>
            </p:cNvSpPr>
            <p:nvPr/>
          </p:nvSpPr>
          <p:spPr bwMode="auto">
            <a:xfrm>
              <a:off x="5699126" y="2259014"/>
              <a:ext cx="65088" cy="100013"/>
            </a:xfrm>
            <a:custGeom>
              <a:avLst/>
              <a:gdLst>
                <a:gd name="T0" fmla="*/ 42 w 85"/>
                <a:gd name="T1" fmla="*/ 131 h 131"/>
                <a:gd name="T2" fmla="*/ 0 w 85"/>
                <a:gd name="T3" fmla="*/ 94 h 131"/>
                <a:gd name="T4" fmla="*/ 17 w 85"/>
                <a:gd name="T5" fmla="*/ 94 h 131"/>
                <a:gd name="T6" fmla="*/ 42 w 85"/>
                <a:gd name="T7" fmla="*/ 114 h 131"/>
                <a:gd name="T8" fmla="*/ 68 w 85"/>
                <a:gd name="T9" fmla="*/ 94 h 131"/>
                <a:gd name="T10" fmla="*/ 42 w 85"/>
                <a:gd name="T11" fmla="*/ 74 h 131"/>
                <a:gd name="T12" fmla="*/ 0 w 85"/>
                <a:gd name="T13" fmla="*/ 37 h 131"/>
                <a:gd name="T14" fmla="*/ 42 w 85"/>
                <a:gd name="T15" fmla="*/ 0 h 131"/>
                <a:gd name="T16" fmla="*/ 85 w 85"/>
                <a:gd name="T17" fmla="*/ 37 h 131"/>
                <a:gd name="T18" fmla="*/ 68 w 85"/>
                <a:gd name="T19" fmla="*/ 37 h 131"/>
                <a:gd name="T20" fmla="*/ 42 w 85"/>
                <a:gd name="T21" fmla="*/ 17 h 131"/>
                <a:gd name="T22" fmla="*/ 17 w 85"/>
                <a:gd name="T23" fmla="*/ 37 h 131"/>
                <a:gd name="T24" fmla="*/ 42 w 85"/>
                <a:gd name="T25" fmla="*/ 57 h 131"/>
                <a:gd name="T26" fmla="*/ 85 w 85"/>
                <a:gd name="T27" fmla="*/ 94 h 131"/>
                <a:gd name="T28" fmla="*/ 42 w 85"/>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1">
                  <a:moveTo>
                    <a:pt x="42" y="131"/>
                  </a:moveTo>
                  <a:cubicBezTo>
                    <a:pt x="19" y="131"/>
                    <a:pt x="0" y="114"/>
                    <a:pt x="0" y="94"/>
                  </a:cubicBezTo>
                  <a:lnTo>
                    <a:pt x="17" y="94"/>
                  </a:lnTo>
                  <a:cubicBezTo>
                    <a:pt x="17" y="105"/>
                    <a:pt x="28" y="114"/>
                    <a:pt x="42" y="114"/>
                  </a:cubicBezTo>
                  <a:cubicBezTo>
                    <a:pt x="57" y="114"/>
                    <a:pt x="68" y="105"/>
                    <a:pt x="68" y="94"/>
                  </a:cubicBezTo>
                  <a:cubicBezTo>
                    <a:pt x="68" y="82"/>
                    <a:pt x="58" y="74"/>
                    <a:pt x="42" y="74"/>
                  </a:cubicBezTo>
                  <a:cubicBezTo>
                    <a:pt x="13" y="74"/>
                    <a:pt x="0" y="55"/>
                    <a:pt x="0" y="37"/>
                  </a:cubicBezTo>
                  <a:cubicBezTo>
                    <a:pt x="0" y="17"/>
                    <a:pt x="19" y="0"/>
                    <a:pt x="42" y="0"/>
                  </a:cubicBezTo>
                  <a:cubicBezTo>
                    <a:pt x="66" y="0"/>
                    <a:pt x="85" y="17"/>
                    <a:pt x="85" y="37"/>
                  </a:cubicBezTo>
                  <a:lnTo>
                    <a:pt x="68" y="37"/>
                  </a:lnTo>
                  <a:cubicBezTo>
                    <a:pt x="68" y="26"/>
                    <a:pt x="57" y="17"/>
                    <a:pt x="42" y="17"/>
                  </a:cubicBezTo>
                  <a:cubicBezTo>
                    <a:pt x="28" y="17"/>
                    <a:pt x="17" y="26"/>
                    <a:pt x="17" y="37"/>
                  </a:cubicBezTo>
                  <a:cubicBezTo>
                    <a:pt x="17" y="50"/>
                    <a:pt x="26" y="57"/>
                    <a:pt x="42" y="57"/>
                  </a:cubicBezTo>
                  <a:cubicBezTo>
                    <a:pt x="67" y="57"/>
                    <a:pt x="85" y="72"/>
                    <a:pt x="85" y="94"/>
                  </a:cubicBezTo>
                  <a:cubicBezTo>
                    <a:pt x="85" y="114"/>
                    <a:pt x="66" y="131"/>
                    <a:pt x="42" y="131"/>
                  </a:cubicBez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4" name="Rectangle 543">
              <a:extLst>
                <a:ext uri="{FF2B5EF4-FFF2-40B4-BE49-F238E27FC236}">
                  <a16:creationId xmlns:a16="http://schemas.microsoft.com/office/drawing/2014/main" id="{23438F14-A64C-636D-FAA3-D2CF51F9720B}"/>
                </a:ext>
              </a:extLst>
            </p:cNvPr>
            <p:cNvSpPr>
              <a:spLocks noChangeArrowheads="1"/>
            </p:cNvSpPr>
            <p:nvPr/>
          </p:nvSpPr>
          <p:spPr bwMode="auto">
            <a:xfrm>
              <a:off x="5726113" y="2246314"/>
              <a:ext cx="12700" cy="14288"/>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 name="Rectangle 544">
              <a:extLst>
                <a:ext uri="{FF2B5EF4-FFF2-40B4-BE49-F238E27FC236}">
                  <a16:creationId xmlns:a16="http://schemas.microsoft.com/office/drawing/2014/main" id="{6BF59371-8C60-1BE5-98D3-96462F7119F0}"/>
                </a:ext>
              </a:extLst>
            </p:cNvPr>
            <p:cNvSpPr>
              <a:spLocks noChangeArrowheads="1"/>
            </p:cNvSpPr>
            <p:nvPr/>
          </p:nvSpPr>
          <p:spPr bwMode="auto">
            <a:xfrm>
              <a:off x="5726113" y="2355851"/>
              <a:ext cx="12700" cy="15875"/>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6" name="Gavel2" descr="{&quot;Key&quot;:&quot;POWER_USER_SHAPE_ICON&quot;,&quot;Value&quot;:&quot;POWER_USER_SHAPE_ICON_STYLE_1&quot;}">
            <a:extLst>
              <a:ext uri="{FF2B5EF4-FFF2-40B4-BE49-F238E27FC236}">
                <a16:creationId xmlns:a16="http://schemas.microsoft.com/office/drawing/2014/main" id="{F228B83F-C125-B074-E4E7-F4630087177F}"/>
              </a:ext>
            </a:extLst>
          </p:cNvPr>
          <p:cNvGrpSpPr>
            <a:grpSpLocks noChangeAspect="1"/>
          </p:cNvGrpSpPr>
          <p:nvPr>
            <p:custDataLst>
              <p:tags r:id="rId7"/>
            </p:custDataLst>
          </p:nvPr>
        </p:nvGrpSpPr>
        <p:grpSpPr>
          <a:xfrm>
            <a:off x="4750956" y="5917097"/>
            <a:ext cx="305420" cy="270471"/>
            <a:chOff x="1362075" y="1120776"/>
            <a:chExt cx="319088" cy="282575"/>
          </a:xfrm>
          <a:solidFill>
            <a:schemeClr val="accent3"/>
          </a:solidFill>
        </p:grpSpPr>
        <p:sp>
          <p:nvSpPr>
            <p:cNvPr id="247" name="Freeform 743">
              <a:extLst>
                <a:ext uri="{FF2B5EF4-FFF2-40B4-BE49-F238E27FC236}">
                  <a16:creationId xmlns:a16="http://schemas.microsoft.com/office/drawing/2014/main" id="{E8262DA1-4C74-3BCE-1078-FADEC2A3DD66}"/>
                </a:ext>
              </a:extLst>
            </p:cNvPr>
            <p:cNvSpPr>
              <a:spLocks noEditPoints="1"/>
            </p:cNvSpPr>
            <p:nvPr/>
          </p:nvSpPr>
          <p:spPr bwMode="auto">
            <a:xfrm>
              <a:off x="1362075" y="1189038"/>
              <a:ext cx="180975" cy="41275"/>
            </a:xfrm>
            <a:custGeom>
              <a:avLst/>
              <a:gdLst>
                <a:gd name="T0" fmla="*/ 33 w 298"/>
                <a:gd name="T1" fmla="*/ 17 h 68"/>
                <a:gd name="T2" fmla="*/ 16 w 298"/>
                <a:gd name="T3" fmla="*/ 34 h 68"/>
                <a:gd name="T4" fmla="*/ 21 w 298"/>
                <a:gd name="T5" fmla="*/ 46 h 68"/>
                <a:gd name="T6" fmla="*/ 33 w 298"/>
                <a:gd name="T7" fmla="*/ 51 h 68"/>
                <a:gd name="T8" fmla="*/ 281 w 298"/>
                <a:gd name="T9" fmla="*/ 51 h 68"/>
                <a:gd name="T10" fmla="*/ 281 w 298"/>
                <a:gd name="T11" fmla="*/ 17 h 68"/>
                <a:gd name="T12" fmla="*/ 33 w 298"/>
                <a:gd name="T13" fmla="*/ 17 h 68"/>
                <a:gd name="T14" fmla="*/ 298 w 298"/>
                <a:gd name="T15" fmla="*/ 68 h 68"/>
                <a:gd name="T16" fmla="*/ 33 w 298"/>
                <a:gd name="T17" fmla="*/ 68 h 68"/>
                <a:gd name="T18" fmla="*/ 9 w 298"/>
                <a:gd name="T19" fmla="*/ 58 h 68"/>
                <a:gd name="T20" fmla="*/ 0 w 298"/>
                <a:gd name="T21" fmla="*/ 34 h 68"/>
                <a:gd name="T22" fmla="*/ 33 w 298"/>
                <a:gd name="T23" fmla="*/ 0 h 68"/>
                <a:gd name="T24" fmla="*/ 298 w 298"/>
                <a:gd name="T25" fmla="*/ 0 h 68"/>
                <a:gd name="T26" fmla="*/ 298 w 298"/>
                <a:gd name="T2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68">
                  <a:moveTo>
                    <a:pt x="33" y="17"/>
                  </a:moveTo>
                  <a:cubicBezTo>
                    <a:pt x="24" y="17"/>
                    <a:pt x="17" y="25"/>
                    <a:pt x="16" y="34"/>
                  </a:cubicBezTo>
                  <a:cubicBezTo>
                    <a:pt x="16" y="38"/>
                    <a:pt x="18" y="43"/>
                    <a:pt x="21" y="46"/>
                  </a:cubicBezTo>
                  <a:cubicBezTo>
                    <a:pt x="25" y="49"/>
                    <a:pt x="29" y="51"/>
                    <a:pt x="33" y="51"/>
                  </a:cubicBezTo>
                  <a:lnTo>
                    <a:pt x="281" y="51"/>
                  </a:lnTo>
                  <a:lnTo>
                    <a:pt x="281" y="17"/>
                  </a:lnTo>
                  <a:lnTo>
                    <a:pt x="33" y="17"/>
                  </a:lnTo>
                  <a:close/>
                  <a:moveTo>
                    <a:pt x="298" y="68"/>
                  </a:moveTo>
                  <a:lnTo>
                    <a:pt x="33" y="68"/>
                  </a:lnTo>
                  <a:cubicBezTo>
                    <a:pt x="24" y="68"/>
                    <a:pt x="16" y="64"/>
                    <a:pt x="9" y="58"/>
                  </a:cubicBezTo>
                  <a:cubicBezTo>
                    <a:pt x="3" y="51"/>
                    <a:pt x="0" y="43"/>
                    <a:pt x="0" y="34"/>
                  </a:cubicBezTo>
                  <a:cubicBezTo>
                    <a:pt x="0" y="15"/>
                    <a:pt x="15" y="0"/>
                    <a:pt x="33" y="0"/>
                  </a:cubicBezTo>
                  <a:lnTo>
                    <a:pt x="298" y="0"/>
                  </a:lnTo>
                  <a:lnTo>
                    <a:pt x="298" y="68"/>
                  </a:lnTo>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8" name="Freeform 744">
              <a:extLst>
                <a:ext uri="{FF2B5EF4-FFF2-40B4-BE49-F238E27FC236}">
                  <a16:creationId xmlns:a16="http://schemas.microsoft.com/office/drawing/2014/main" id="{974134B1-BFCB-2135-6BDC-5C2E1C48094B}"/>
                </a:ext>
              </a:extLst>
            </p:cNvPr>
            <p:cNvSpPr>
              <a:spLocks noEditPoints="1"/>
            </p:cNvSpPr>
            <p:nvPr/>
          </p:nvSpPr>
          <p:spPr bwMode="auto">
            <a:xfrm>
              <a:off x="1531937" y="1152526"/>
              <a:ext cx="106363" cy="115888"/>
            </a:xfrm>
            <a:custGeom>
              <a:avLst/>
              <a:gdLst>
                <a:gd name="T0" fmla="*/ 17 w 174"/>
                <a:gd name="T1" fmla="*/ 176 h 192"/>
                <a:gd name="T2" fmla="*/ 157 w 174"/>
                <a:gd name="T3" fmla="*/ 176 h 192"/>
                <a:gd name="T4" fmla="*/ 157 w 174"/>
                <a:gd name="T5" fmla="*/ 17 h 192"/>
                <a:gd name="T6" fmla="*/ 17 w 174"/>
                <a:gd name="T7" fmla="*/ 17 h 192"/>
                <a:gd name="T8" fmla="*/ 17 w 174"/>
                <a:gd name="T9" fmla="*/ 176 h 192"/>
                <a:gd name="T10" fmla="*/ 174 w 174"/>
                <a:gd name="T11" fmla="*/ 192 h 192"/>
                <a:gd name="T12" fmla="*/ 0 w 174"/>
                <a:gd name="T13" fmla="*/ 192 h 192"/>
                <a:gd name="T14" fmla="*/ 0 w 174"/>
                <a:gd name="T15" fmla="*/ 0 h 192"/>
                <a:gd name="T16" fmla="*/ 174 w 174"/>
                <a:gd name="T17" fmla="*/ 0 h 192"/>
                <a:gd name="T18" fmla="*/ 174 w 174"/>
                <a:gd name="T1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192">
                  <a:moveTo>
                    <a:pt x="17" y="176"/>
                  </a:moveTo>
                  <a:lnTo>
                    <a:pt x="157" y="176"/>
                  </a:lnTo>
                  <a:lnTo>
                    <a:pt x="157" y="17"/>
                  </a:lnTo>
                  <a:lnTo>
                    <a:pt x="17" y="17"/>
                  </a:lnTo>
                  <a:lnTo>
                    <a:pt x="17" y="176"/>
                  </a:lnTo>
                  <a:close/>
                  <a:moveTo>
                    <a:pt x="174" y="192"/>
                  </a:moveTo>
                  <a:lnTo>
                    <a:pt x="0" y="192"/>
                  </a:lnTo>
                  <a:lnTo>
                    <a:pt x="0" y="0"/>
                  </a:lnTo>
                  <a:lnTo>
                    <a:pt x="174" y="0"/>
                  </a:lnTo>
                  <a:lnTo>
                    <a:pt x="174" y="19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9" name="Freeform 745">
              <a:extLst>
                <a:ext uri="{FF2B5EF4-FFF2-40B4-BE49-F238E27FC236}">
                  <a16:creationId xmlns:a16="http://schemas.microsoft.com/office/drawing/2014/main" id="{AD5EDC73-A3AA-4052-88FE-00A517D685D3}"/>
                </a:ext>
              </a:extLst>
            </p:cNvPr>
            <p:cNvSpPr>
              <a:spLocks noEditPoints="1"/>
            </p:cNvSpPr>
            <p:nvPr/>
          </p:nvSpPr>
          <p:spPr bwMode="auto">
            <a:xfrm>
              <a:off x="1522412" y="1120776"/>
              <a:ext cx="127000" cy="41275"/>
            </a:xfrm>
            <a:custGeom>
              <a:avLst/>
              <a:gdLst>
                <a:gd name="T0" fmla="*/ 17 w 208"/>
                <a:gd name="T1" fmla="*/ 51 h 68"/>
                <a:gd name="T2" fmla="*/ 191 w 208"/>
                <a:gd name="T3" fmla="*/ 51 h 68"/>
                <a:gd name="T4" fmla="*/ 191 w 208"/>
                <a:gd name="T5" fmla="*/ 17 h 68"/>
                <a:gd name="T6" fmla="*/ 17 w 208"/>
                <a:gd name="T7" fmla="*/ 17 h 68"/>
                <a:gd name="T8" fmla="*/ 17 w 208"/>
                <a:gd name="T9" fmla="*/ 51 h 68"/>
                <a:gd name="T10" fmla="*/ 208 w 208"/>
                <a:gd name="T11" fmla="*/ 68 h 68"/>
                <a:gd name="T12" fmla="*/ 0 w 208"/>
                <a:gd name="T13" fmla="*/ 68 h 68"/>
                <a:gd name="T14" fmla="*/ 0 w 208"/>
                <a:gd name="T15" fmla="*/ 0 h 68"/>
                <a:gd name="T16" fmla="*/ 208 w 208"/>
                <a:gd name="T17" fmla="*/ 0 h 68"/>
                <a:gd name="T18" fmla="*/ 208 w 20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68">
                  <a:moveTo>
                    <a:pt x="17" y="51"/>
                  </a:moveTo>
                  <a:lnTo>
                    <a:pt x="191" y="51"/>
                  </a:lnTo>
                  <a:lnTo>
                    <a:pt x="191" y="17"/>
                  </a:lnTo>
                  <a:lnTo>
                    <a:pt x="17" y="17"/>
                  </a:lnTo>
                  <a:lnTo>
                    <a:pt x="17" y="51"/>
                  </a:lnTo>
                  <a:close/>
                  <a:moveTo>
                    <a:pt x="208" y="68"/>
                  </a:moveTo>
                  <a:lnTo>
                    <a:pt x="0" y="68"/>
                  </a:lnTo>
                  <a:lnTo>
                    <a:pt x="0" y="0"/>
                  </a:lnTo>
                  <a:lnTo>
                    <a:pt x="208" y="0"/>
                  </a:lnTo>
                  <a:lnTo>
                    <a:pt x="208" y="6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Freeform 746">
              <a:extLst>
                <a:ext uri="{FF2B5EF4-FFF2-40B4-BE49-F238E27FC236}">
                  <a16:creationId xmlns:a16="http://schemas.microsoft.com/office/drawing/2014/main" id="{BE28E92A-C15A-F640-26F6-7B84EF7EA581}"/>
                </a:ext>
              </a:extLst>
            </p:cNvPr>
            <p:cNvSpPr>
              <a:spLocks noEditPoints="1"/>
            </p:cNvSpPr>
            <p:nvPr/>
          </p:nvSpPr>
          <p:spPr bwMode="auto">
            <a:xfrm>
              <a:off x="1522412" y="1258888"/>
              <a:ext cx="127000" cy="41275"/>
            </a:xfrm>
            <a:custGeom>
              <a:avLst/>
              <a:gdLst>
                <a:gd name="T0" fmla="*/ 17 w 208"/>
                <a:gd name="T1" fmla="*/ 50 h 67"/>
                <a:gd name="T2" fmla="*/ 191 w 208"/>
                <a:gd name="T3" fmla="*/ 50 h 67"/>
                <a:gd name="T4" fmla="*/ 191 w 208"/>
                <a:gd name="T5" fmla="*/ 16 h 67"/>
                <a:gd name="T6" fmla="*/ 17 w 208"/>
                <a:gd name="T7" fmla="*/ 16 h 67"/>
                <a:gd name="T8" fmla="*/ 17 w 208"/>
                <a:gd name="T9" fmla="*/ 50 h 67"/>
                <a:gd name="T10" fmla="*/ 208 w 208"/>
                <a:gd name="T11" fmla="*/ 67 h 67"/>
                <a:gd name="T12" fmla="*/ 0 w 208"/>
                <a:gd name="T13" fmla="*/ 67 h 67"/>
                <a:gd name="T14" fmla="*/ 0 w 208"/>
                <a:gd name="T15" fmla="*/ 0 h 67"/>
                <a:gd name="T16" fmla="*/ 208 w 208"/>
                <a:gd name="T17" fmla="*/ 0 h 67"/>
                <a:gd name="T18" fmla="*/ 208 w 208"/>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67">
                  <a:moveTo>
                    <a:pt x="17" y="50"/>
                  </a:moveTo>
                  <a:lnTo>
                    <a:pt x="191" y="50"/>
                  </a:lnTo>
                  <a:lnTo>
                    <a:pt x="191" y="16"/>
                  </a:lnTo>
                  <a:lnTo>
                    <a:pt x="17" y="16"/>
                  </a:lnTo>
                  <a:lnTo>
                    <a:pt x="17" y="50"/>
                  </a:lnTo>
                  <a:close/>
                  <a:moveTo>
                    <a:pt x="208" y="67"/>
                  </a:moveTo>
                  <a:lnTo>
                    <a:pt x="0" y="67"/>
                  </a:lnTo>
                  <a:lnTo>
                    <a:pt x="0" y="0"/>
                  </a:lnTo>
                  <a:lnTo>
                    <a:pt x="208" y="0"/>
                  </a:lnTo>
                  <a:lnTo>
                    <a:pt x="208" y="67"/>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Freeform 747">
              <a:extLst>
                <a:ext uri="{FF2B5EF4-FFF2-40B4-BE49-F238E27FC236}">
                  <a16:creationId xmlns:a16="http://schemas.microsoft.com/office/drawing/2014/main" id="{B40843EA-7AD3-455C-DA80-2B26E271F8D3}"/>
                </a:ext>
              </a:extLst>
            </p:cNvPr>
            <p:cNvSpPr>
              <a:spLocks noEditPoints="1"/>
            </p:cNvSpPr>
            <p:nvPr/>
          </p:nvSpPr>
          <p:spPr bwMode="auto">
            <a:xfrm>
              <a:off x="1522412" y="1330326"/>
              <a:ext cx="127000" cy="42863"/>
            </a:xfrm>
            <a:custGeom>
              <a:avLst/>
              <a:gdLst>
                <a:gd name="T0" fmla="*/ 17 w 208"/>
                <a:gd name="T1" fmla="*/ 51 h 68"/>
                <a:gd name="T2" fmla="*/ 191 w 208"/>
                <a:gd name="T3" fmla="*/ 51 h 68"/>
                <a:gd name="T4" fmla="*/ 191 w 208"/>
                <a:gd name="T5" fmla="*/ 17 h 68"/>
                <a:gd name="T6" fmla="*/ 17 w 208"/>
                <a:gd name="T7" fmla="*/ 17 h 68"/>
                <a:gd name="T8" fmla="*/ 17 w 208"/>
                <a:gd name="T9" fmla="*/ 51 h 68"/>
                <a:gd name="T10" fmla="*/ 208 w 208"/>
                <a:gd name="T11" fmla="*/ 68 h 68"/>
                <a:gd name="T12" fmla="*/ 0 w 208"/>
                <a:gd name="T13" fmla="*/ 68 h 68"/>
                <a:gd name="T14" fmla="*/ 0 w 208"/>
                <a:gd name="T15" fmla="*/ 0 h 68"/>
                <a:gd name="T16" fmla="*/ 208 w 208"/>
                <a:gd name="T17" fmla="*/ 0 h 68"/>
                <a:gd name="T18" fmla="*/ 208 w 20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68">
                  <a:moveTo>
                    <a:pt x="17" y="51"/>
                  </a:moveTo>
                  <a:lnTo>
                    <a:pt x="191" y="51"/>
                  </a:lnTo>
                  <a:lnTo>
                    <a:pt x="191" y="17"/>
                  </a:lnTo>
                  <a:lnTo>
                    <a:pt x="17" y="17"/>
                  </a:lnTo>
                  <a:lnTo>
                    <a:pt x="17" y="51"/>
                  </a:lnTo>
                  <a:close/>
                  <a:moveTo>
                    <a:pt x="208" y="68"/>
                  </a:moveTo>
                  <a:lnTo>
                    <a:pt x="0" y="68"/>
                  </a:lnTo>
                  <a:lnTo>
                    <a:pt x="0" y="0"/>
                  </a:lnTo>
                  <a:lnTo>
                    <a:pt x="208" y="0"/>
                  </a:lnTo>
                  <a:lnTo>
                    <a:pt x="208" y="6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2" name="Freeform 748">
              <a:extLst>
                <a:ext uri="{FF2B5EF4-FFF2-40B4-BE49-F238E27FC236}">
                  <a16:creationId xmlns:a16="http://schemas.microsoft.com/office/drawing/2014/main" id="{03FF2E49-1D29-D568-E65A-5EA885B34206}"/>
                </a:ext>
              </a:extLst>
            </p:cNvPr>
            <p:cNvSpPr>
              <a:spLocks noEditPoints="1"/>
            </p:cNvSpPr>
            <p:nvPr/>
          </p:nvSpPr>
          <p:spPr bwMode="auto">
            <a:xfrm>
              <a:off x="1503362" y="1362076"/>
              <a:ext cx="165100" cy="41275"/>
            </a:xfrm>
            <a:custGeom>
              <a:avLst/>
              <a:gdLst>
                <a:gd name="T0" fmla="*/ 16 w 272"/>
                <a:gd name="T1" fmla="*/ 51 h 67"/>
                <a:gd name="T2" fmla="*/ 255 w 272"/>
                <a:gd name="T3" fmla="*/ 51 h 67"/>
                <a:gd name="T4" fmla="*/ 255 w 272"/>
                <a:gd name="T5" fmla="*/ 17 h 67"/>
                <a:gd name="T6" fmla="*/ 16 w 272"/>
                <a:gd name="T7" fmla="*/ 17 h 67"/>
                <a:gd name="T8" fmla="*/ 16 w 272"/>
                <a:gd name="T9" fmla="*/ 51 h 67"/>
                <a:gd name="T10" fmla="*/ 272 w 272"/>
                <a:gd name="T11" fmla="*/ 67 h 67"/>
                <a:gd name="T12" fmla="*/ 0 w 272"/>
                <a:gd name="T13" fmla="*/ 67 h 67"/>
                <a:gd name="T14" fmla="*/ 0 w 272"/>
                <a:gd name="T15" fmla="*/ 0 h 67"/>
                <a:gd name="T16" fmla="*/ 272 w 272"/>
                <a:gd name="T17" fmla="*/ 0 h 67"/>
                <a:gd name="T18" fmla="*/ 272 w 272"/>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 h="67">
                  <a:moveTo>
                    <a:pt x="16" y="51"/>
                  </a:moveTo>
                  <a:lnTo>
                    <a:pt x="255" y="51"/>
                  </a:lnTo>
                  <a:lnTo>
                    <a:pt x="255" y="17"/>
                  </a:lnTo>
                  <a:lnTo>
                    <a:pt x="16" y="17"/>
                  </a:lnTo>
                  <a:lnTo>
                    <a:pt x="16" y="51"/>
                  </a:lnTo>
                  <a:close/>
                  <a:moveTo>
                    <a:pt x="272" y="67"/>
                  </a:moveTo>
                  <a:lnTo>
                    <a:pt x="0" y="67"/>
                  </a:lnTo>
                  <a:lnTo>
                    <a:pt x="0" y="0"/>
                  </a:lnTo>
                  <a:lnTo>
                    <a:pt x="272" y="0"/>
                  </a:lnTo>
                  <a:lnTo>
                    <a:pt x="272" y="67"/>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3" name="Rectangle 749">
              <a:extLst>
                <a:ext uri="{FF2B5EF4-FFF2-40B4-BE49-F238E27FC236}">
                  <a16:creationId xmlns:a16="http://schemas.microsoft.com/office/drawing/2014/main" id="{FA584C26-5D76-4101-553E-567FA6EF7401}"/>
                </a:ext>
              </a:extLst>
            </p:cNvPr>
            <p:cNvSpPr>
              <a:spLocks noChangeArrowheads="1"/>
            </p:cNvSpPr>
            <p:nvPr/>
          </p:nvSpPr>
          <p:spPr bwMode="auto">
            <a:xfrm>
              <a:off x="1670050" y="1309688"/>
              <a:ext cx="11113" cy="9525"/>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4" name="Freeform 750">
              <a:extLst>
                <a:ext uri="{FF2B5EF4-FFF2-40B4-BE49-F238E27FC236}">
                  <a16:creationId xmlns:a16="http://schemas.microsoft.com/office/drawing/2014/main" id="{6BD0DDB1-C44E-9863-11C5-5F75FCA61B4B}"/>
                </a:ext>
              </a:extLst>
            </p:cNvPr>
            <p:cNvSpPr>
              <a:spLocks/>
            </p:cNvSpPr>
            <p:nvPr/>
          </p:nvSpPr>
          <p:spPr bwMode="auto">
            <a:xfrm>
              <a:off x="1660525" y="1328738"/>
              <a:ext cx="15875" cy="15875"/>
            </a:xfrm>
            <a:custGeom>
              <a:avLst/>
              <a:gdLst>
                <a:gd name="T0" fmla="*/ 5 w 10"/>
                <a:gd name="T1" fmla="*/ 10 h 10"/>
                <a:gd name="T2" fmla="*/ 0 w 10"/>
                <a:gd name="T3" fmla="*/ 5 h 10"/>
                <a:gd name="T4" fmla="*/ 4 w 10"/>
                <a:gd name="T5" fmla="*/ 0 h 10"/>
                <a:gd name="T6" fmla="*/ 10 w 10"/>
                <a:gd name="T7" fmla="*/ 6 h 10"/>
                <a:gd name="T8" fmla="*/ 5 w 10"/>
                <a:gd name="T9" fmla="*/ 10 h 10"/>
              </a:gdLst>
              <a:ahLst/>
              <a:cxnLst>
                <a:cxn ang="0">
                  <a:pos x="T0" y="T1"/>
                </a:cxn>
                <a:cxn ang="0">
                  <a:pos x="T2" y="T3"/>
                </a:cxn>
                <a:cxn ang="0">
                  <a:pos x="T4" y="T5"/>
                </a:cxn>
                <a:cxn ang="0">
                  <a:pos x="T6" y="T7"/>
                </a:cxn>
                <a:cxn ang="0">
                  <a:pos x="T8" y="T9"/>
                </a:cxn>
              </a:cxnLst>
              <a:rect l="0" t="0" r="r" b="b"/>
              <a:pathLst>
                <a:path w="10" h="10">
                  <a:moveTo>
                    <a:pt x="5" y="10"/>
                  </a:moveTo>
                  <a:lnTo>
                    <a:pt x="0" y="5"/>
                  </a:lnTo>
                  <a:lnTo>
                    <a:pt x="4" y="0"/>
                  </a:lnTo>
                  <a:lnTo>
                    <a:pt x="10" y="6"/>
                  </a:lnTo>
                  <a:lnTo>
                    <a:pt x="5" y="1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5" name="Freeform 751">
              <a:extLst>
                <a:ext uri="{FF2B5EF4-FFF2-40B4-BE49-F238E27FC236}">
                  <a16:creationId xmlns:a16="http://schemas.microsoft.com/office/drawing/2014/main" id="{D5C7F62C-C560-FF9C-301C-2D0564A19F59}"/>
                </a:ext>
              </a:extLst>
            </p:cNvPr>
            <p:cNvSpPr>
              <a:spLocks/>
            </p:cNvSpPr>
            <p:nvPr/>
          </p:nvSpPr>
          <p:spPr bwMode="auto">
            <a:xfrm>
              <a:off x="1660525" y="1282701"/>
              <a:ext cx="15875" cy="15875"/>
            </a:xfrm>
            <a:custGeom>
              <a:avLst/>
              <a:gdLst>
                <a:gd name="T0" fmla="*/ 4 w 10"/>
                <a:gd name="T1" fmla="*/ 10 h 10"/>
                <a:gd name="T2" fmla="*/ 0 w 10"/>
                <a:gd name="T3" fmla="*/ 6 h 10"/>
                <a:gd name="T4" fmla="*/ 5 w 10"/>
                <a:gd name="T5" fmla="*/ 0 h 10"/>
                <a:gd name="T6" fmla="*/ 10 w 10"/>
                <a:gd name="T7" fmla="*/ 5 h 10"/>
                <a:gd name="T8" fmla="*/ 4 w 10"/>
                <a:gd name="T9" fmla="*/ 10 h 10"/>
              </a:gdLst>
              <a:ahLst/>
              <a:cxnLst>
                <a:cxn ang="0">
                  <a:pos x="T0" y="T1"/>
                </a:cxn>
                <a:cxn ang="0">
                  <a:pos x="T2" y="T3"/>
                </a:cxn>
                <a:cxn ang="0">
                  <a:pos x="T4" y="T5"/>
                </a:cxn>
                <a:cxn ang="0">
                  <a:pos x="T6" y="T7"/>
                </a:cxn>
                <a:cxn ang="0">
                  <a:pos x="T8" y="T9"/>
                </a:cxn>
              </a:cxnLst>
              <a:rect l="0" t="0" r="r" b="b"/>
              <a:pathLst>
                <a:path w="10" h="10">
                  <a:moveTo>
                    <a:pt x="4" y="10"/>
                  </a:moveTo>
                  <a:lnTo>
                    <a:pt x="0" y="6"/>
                  </a:lnTo>
                  <a:lnTo>
                    <a:pt x="5" y="0"/>
                  </a:lnTo>
                  <a:lnTo>
                    <a:pt x="10" y="5"/>
                  </a:lnTo>
                  <a:lnTo>
                    <a:pt x="4" y="1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6" name="Rectangle 752">
              <a:extLst>
                <a:ext uri="{FF2B5EF4-FFF2-40B4-BE49-F238E27FC236}">
                  <a16:creationId xmlns:a16="http://schemas.microsoft.com/office/drawing/2014/main" id="{39668FCF-BB9F-DC29-36D0-C085F6C83E28}"/>
                </a:ext>
              </a:extLst>
            </p:cNvPr>
            <p:cNvSpPr>
              <a:spLocks noChangeArrowheads="1"/>
            </p:cNvSpPr>
            <p:nvPr/>
          </p:nvSpPr>
          <p:spPr bwMode="auto">
            <a:xfrm>
              <a:off x="1362075" y="1393826"/>
              <a:ext cx="319088" cy="9525"/>
            </a:xfrm>
            <a:prstGeom prst="rect">
              <a:avLst/>
            </a:prstGeom>
            <a:grpFill/>
            <a:ln w="635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8" name="Textfeld 257">
            <a:extLst>
              <a:ext uri="{FF2B5EF4-FFF2-40B4-BE49-F238E27FC236}">
                <a16:creationId xmlns:a16="http://schemas.microsoft.com/office/drawing/2014/main" id="{4EFF1E46-1044-37E6-045E-D55941047CB4}"/>
              </a:ext>
            </a:extLst>
          </p:cNvPr>
          <p:cNvSpPr txBox="1"/>
          <p:nvPr/>
        </p:nvSpPr>
        <p:spPr>
          <a:xfrm>
            <a:off x="623687" y="3836044"/>
            <a:ext cx="1464035" cy="261610"/>
          </a:xfrm>
          <a:prstGeom prst="rect">
            <a:avLst/>
          </a:prstGeom>
          <a:noFill/>
        </p:spPr>
        <p:txBody>
          <a:bodyPr wrap="square" rtlCol="0">
            <a:spAutoFit/>
          </a:bodyPr>
          <a:lstStyle/>
          <a:p>
            <a:pPr algn="ctr"/>
            <a:r>
              <a:rPr lang="en-US" sz="1050"/>
              <a:t>Based on Goleman</a:t>
            </a:r>
          </a:p>
        </p:txBody>
      </p:sp>
      <p:sp>
        <p:nvSpPr>
          <p:cNvPr id="259" name="Textfeld 258">
            <a:extLst>
              <a:ext uri="{FF2B5EF4-FFF2-40B4-BE49-F238E27FC236}">
                <a16:creationId xmlns:a16="http://schemas.microsoft.com/office/drawing/2014/main" id="{58911851-AFA4-3F36-6407-A8915D2EFD28}"/>
              </a:ext>
            </a:extLst>
          </p:cNvPr>
          <p:cNvSpPr txBox="1"/>
          <p:nvPr/>
        </p:nvSpPr>
        <p:spPr>
          <a:xfrm>
            <a:off x="5156210" y="4774219"/>
            <a:ext cx="1240905" cy="276999"/>
          </a:xfrm>
          <a:prstGeom prst="rect">
            <a:avLst/>
          </a:prstGeom>
          <a:noFill/>
        </p:spPr>
        <p:txBody>
          <a:bodyPr wrap="square" rtlCol="0">
            <a:spAutoFit/>
          </a:bodyPr>
          <a:lstStyle/>
          <a:p>
            <a:pPr algn="ctr"/>
            <a:r>
              <a:rPr lang="en-US" sz="1200" b="1"/>
              <a:t>can improve</a:t>
            </a:r>
          </a:p>
        </p:txBody>
      </p:sp>
      <p:sp>
        <p:nvSpPr>
          <p:cNvPr id="260" name="Textfeld 259">
            <a:extLst>
              <a:ext uri="{FF2B5EF4-FFF2-40B4-BE49-F238E27FC236}">
                <a16:creationId xmlns:a16="http://schemas.microsoft.com/office/drawing/2014/main" id="{90A07640-9692-5717-064E-A3927988E693}"/>
              </a:ext>
            </a:extLst>
          </p:cNvPr>
          <p:cNvSpPr txBox="1"/>
          <p:nvPr/>
        </p:nvSpPr>
        <p:spPr>
          <a:xfrm>
            <a:off x="5183846" y="5053705"/>
            <a:ext cx="1356824" cy="276999"/>
          </a:xfrm>
          <a:prstGeom prst="rect">
            <a:avLst/>
          </a:prstGeom>
          <a:noFill/>
        </p:spPr>
        <p:txBody>
          <a:bodyPr wrap="square" rtlCol="0">
            <a:spAutoFit/>
          </a:bodyPr>
          <a:lstStyle/>
          <a:p>
            <a:r>
              <a:rPr lang="en-US" sz="1200" b="1"/>
              <a:t>Brand Perception</a:t>
            </a:r>
          </a:p>
        </p:txBody>
      </p:sp>
      <p:sp>
        <p:nvSpPr>
          <p:cNvPr id="261" name="Textfeld 260">
            <a:extLst>
              <a:ext uri="{FF2B5EF4-FFF2-40B4-BE49-F238E27FC236}">
                <a16:creationId xmlns:a16="http://schemas.microsoft.com/office/drawing/2014/main" id="{0B10472E-90D8-9AA7-807E-01C618DB9F52}"/>
              </a:ext>
            </a:extLst>
          </p:cNvPr>
          <p:cNvSpPr txBox="1"/>
          <p:nvPr/>
        </p:nvSpPr>
        <p:spPr>
          <a:xfrm>
            <a:off x="5133591" y="5514578"/>
            <a:ext cx="1876780" cy="276999"/>
          </a:xfrm>
          <a:prstGeom prst="rect">
            <a:avLst/>
          </a:prstGeom>
          <a:noFill/>
        </p:spPr>
        <p:txBody>
          <a:bodyPr wrap="square" rtlCol="0">
            <a:spAutoFit/>
          </a:bodyPr>
          <a:lstStyle/>
          <a:p>
            <a:r>
              <a:rPr lang="en-US" sz="1200" b="1"/>
              <a:t>Investor attractiveness</a:t>
            </a:r>
          </a:p>
        </p:txBody>
      </p:sp>
      <p:sp>
        <p:nvSpPr>
          <p:cNvPr id="262" name="Textfeld 261">
            <a:extLst>
              <a:ext uri="{FF2B5EF4-FFF2-40B4-BE49-F238E27FC236}">
                <a16:creationId xmlns:a16="http://schemas.microsoft.com/office/drawing/2014/main" id="{4B1D0E6D-09D3-2FB6-3D3C-8E5D2429C66F}"/>
              </a:ext>
            </a:extLst>
          </p:cNvPr>
          <p:cNvSpPr txBox="1"/>
          <p:nvPr/>
        </p:nvSpPr>
        <p:spPr>
          <a:xfrm>
            <a:off x="5136385" y="5914550"/>
            <a:ext cx="1876780" cy="276999"/>
          </a:xfrm>
          <a:prstGeom prst="rect">
            <a:avLst/>
          </a:prstGeom>
          <a:noFill/>
        </p:spPr>
        <p:txBody>
          <a:bodyPr wrap="square" rtlCol="0">
            <a:spAutoFit/>
          </a:bodyPr>
          <a:lstStyle/>
          <a:p>
            <a:r>
              <a:rPr lang="en-US" sz="1200" b="1"/>
              <a:t>Regulatory Compliance</a:t>
            </a:r>
          </a:p>
        </p:txBody>
      </p:sp>
      <p:sp>
        <p:nvSpPr>
          <p:cNvPr id="263" name="TextBox 7 - 1">
            <a:extLst>
              <a:ext uri="{FF2B5EF4-FFF2-40B4-BE49-F238E27FC236}">
                <a16:creationId xmlns:a16="http://schemas.microsoft.com/office/drawing/2014/main" id="{1F736F98-DD6F-018D-C6FB-E4FFE2DE5F4D}"/>
              </a:ext>
            </a:extLst>
          </p:cNvPr>
          <p:cNvSpPr txBox="1"/>
          <p:nvPr/>
        </p:nvSpPr>
        <p:spPr>
          <a:xfrm>
            <a:off x="6898777" y="4985116"/>
            <a:ext cx="2538000" cy="461665"/>
          </a:xfrm>
          <a:prstGeom prst="rect">
            <a:avLst/>
          </a:prstGeom>
          <a:noFill/>
        </p:spPr>
        <p:txBody>
          <a:bodyPr wrap="square" rtlCol="0" anchor="ctr">
            <a:spAutoFit/>
          </a:bodyPr>
          <a:lstStyle/>
          <a:p>
            <a:r>
              <a:rPr lang="en-US" sz="1200"/>
              <a:t>Ubers brand as socially and environmentally responsible</a:t>
            </a:r>
          </a:p>
        </p:txBody>
      </p:sp>
      <p:sp>
        <p:nvSpPr>
          <p:cNvPr id="264" name="TextBox 7 - 1">
            <a:extLst>
              <a:ext uri="{FF2B5EF4-FFF2-40B4-BE49-F238E27FC236}">
                <a16:creationId xmlns:a16="http://schemas.microsoft.com/office/drawing/2014/main" id="{09980DB1-DC81-E2E5-FE79-3EA4A34732E5}"/>
              </a:ext>
            </a:extLst>
          </p:cNvPr>
          <p:cNvSpPr txBox="1"/>
          <p:nvPr/>
        </p:nvSpPr>
        <p:spPr>
          <a:xfrm>
            <a:off x="6901051" y="5407949"/>
            <a:ext cx="2017487" cy="461665"/>
          </a:xfrm>
          <a:prstGeom prst="rect">
            <a:avLst/>
          </a:prstGeom>
          <a:noFill/>
        </p:spPr>
        <p:txBody>
          <a:bodyPr wrap="square" rtlCol="0" anchor="ctr">
            <a:spAutoFit/>
          </a:bodyPr>
          <a:lstStyle/>
          <a:p>
            <a:r>
              <a:rPr lang="en-US" sz="1200"/>
              <a:t>ESG-Ratings for socially responsible investors</a:t>
            </a:r>
          </a:p>
        </p:txBody>
      </p:sp>
      <p:sp>
        <p:nvSpPr>
          <p:cNvPr id="265" name="TextBox 7 - 1">
            <a:extLst>
              <a:ext uri="{FF2B5EF4-FFF2-40B4-BE49-F238E27FC236}">
                <a16:creationId xmlns:a16="http://schemas.microsoft.com/office/drawing/2014/main" id="{F006B415-39D0-2498-5DCB-34F417F601E6}"/>
              </a:ext>
            </a:extLst>
          </p:cNvPr>
          <p:cNvSpPr txBox="1"/>
          <p:nvPr/>
        </p:nvSpPr>
        <p:spPr>
          <a:xfrm>
            <a:off x="6895641" y="5815178"/>
            <a:ext cx="2017487" cy="461665"/>
          </a:xfrm>
          <a:prstGeom prst="rect">
            <a:avLst/>
          </a:prstGeom>
          <a:noFill/>
        </p:spPr>
        <p:txBody>
          <a:bodyPr wrap="square" rtlCol="0" anchor="ctr">
            <a:spAutoFit/>
          </a:bodyPr>
          <a:lstStyle/>
          <a:p>
            <a:r>
              <a:rPr lang="en-US" sz="1200"/>
              <a:t>commitment to societal and environmental concerns</a:t>
            </a:r>
          </a:p>
        </p:txBody>
      </p:sp>
    </p:spTree>
    <p:extLst>
      <p:ext uri="{BB962C8B-B14F-4D97-AF65-F5344CB8AC3E}">
        <p14:creationId xmlns:p14="http://schemas.microsoft.com/office/powerpoint/2010/main" val="1306429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335C369-7509-3FCF-C0AC-FFCEA536A445}"/>
              </a:ext>
            </a:extLst>
          </p:cNvPr>
          <p:cNvGraphicFramePr>
            <a:graphicFrameLocks noChangeAspect="1"/>
          </p:cNvGraphicFramePr>
          <p:nvPr>
            <p:custDataLst>
              <p:tags r:id="rId1"/>
            </p:custDataLst>
            <p:extLst>
              <p:ext uri="{D42A27DB-BD31-4B8C-83A1-F6EECF244321}">
                <p14:modId xmlns:p14="http://schemas.microsoft.com/office/powerpoint/2010/main" val="325556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9" name="think-cell data - do not delete" hidden="1">
                        <a:extLst>
                          <a:ext uri="{FF2B5EF4-FFF2-40B4-BE49-F238E27FC236}">
                            <a16:creationId xmlns:a16="http://schemas.microsoft.com/office/drawing/2014/main" id="{7335C369-7509-3FCF-C0AC-FFCEA536A4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EDEC28-EC37-E8F8-1CB3-905B8EAABB6E}"/>
              </a:ext>
            </a:extLst>
          </p:cNvPr>
          <p:cNvSpPr>
            <a:spLocks noGrp="1"/>
          </p:cNvSpPr>
          <p:nvPr>
            <p:ph type="title"/>
          </p:nvPr>
        </p:nvSpPr>
        <p:spPr/>
        <p:txBody>
          <a:bodyPr vert="horz"/>
          <a:lstStyle/>
          <a:p>
            <a:r>
              <a:rPr lang="en-US"/>
              <a:t>Mit der SWOT-</a:t>
            </a:r>
            <a:r>
              <a:rPr lang="en-US" err="1"/>
              <a:t>Analyse</a:t>
            </a:r>
            <a:r>
              <a:rPr lang="en-US"/>
              <a:t> </a:t>
            </a:r>
            <a:r>
              <a:rPr lang="en-US" err="1"/>
              <a:t>kann</a:t>
            </a:r>
            <a:r>
              <a:rPr lang="en-US"/>
              <a:t> Ubers </a:t>
            </a:r>
            <a:r>
              <a:rPr lang="en-US" err="1"/>
              <a:t>Geschäftsmodell</a:t>
            </a:r>
            <a:r>
              <a:rPr lang="en-US"/>
              <a:t> </a:t>
            </a:r>
            <a:r>
              <a:rPr lang="en-US" err="1"/>
              <a:t>bewertet</a:t>
            </a:r>
            <a:r>
              <a:rPr lang="en-US"/>
              <a:t> </a:t>
            </a:r>
            <a:r>
              <a:rPr lang="en-US" err="1"/>
              <a:t>werden</a:t>
            </a:r>
            <a:endParaRPr lang="en-US"/>
          </a:p>
        </p:txBody>
      </p:sp>
      <p:graphicFrame>
        <p:nvGraphicFramePr>
          <p:cNvPr id="8" name="Inhaltsplatzhalter 7">
            <a:extLst>
              <a:ext uri="{FF2B5EF4-FFF2-40B4-BE49-F238E27FC236}">
                <a16:creationId xmlns:a16="http://schemas.microsoft.com/office/drawing/2014/main" id="{0D21B8E5-ADC4-227E-E83E-FB6B7858D219}"/>
              </a:ext>
            </a:extLst>
          </p:cNvPr>
          <p:cNvGraphicFramePr>
            <a:graphicFrameLocks noGrp="1"/>
          </p:cNvGraphicFramePr>
          <p:nvPr>
            <p:ph idx="1"/>
            <p:extLst>
              <p:ext uri="{D42A27DB-BD31-4B8C-83A1-F6EECF244321}">
                <p14:modId xmlns:p14="http://schemas.microsoft.com/office/powerpoint/2010/main" val="2300809749"/>
              </p:ext>
            </p:extLst>
          </p:nvPr>
        </p:nvGraphicFramePr>
        <p:xfrm>
          <a:off x="360363" y="1989138"/>
          <a:ext cx="8567737" cy="442753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Foliennummernplatzhalter 3">
            <a:extLst>
              <a:ext uri="{FF2B5EF4-FFF2-40B4-BE49-F238E27FC236}">
                <a16:creationId xmlns:a16="http://schemas.microsoft.com/office/drawing/2014/main" id="{568EB3CB-343C-0AFA-E29A-81293C204280}"/>
              </a:ext>
            </a:extLst>
          </p:cNvPr>
          <p:cNvSpPr>
            <a:spLocks noGrp="1"/>
          </p:cNvSpPr>
          <p:nvPr>
            <p:ph type="sldNum" sz="quarter" idx="4"/>
          </p:nvPr>
        </p:nvSpPr>
        <p:spPr/>
        <p:txBody>
          <a:bodyPr/>
          <a:lstStyle/>
          <a:p>
            <a:fld id="{BAF04893-69FB-435D-AB2E-CA259D85B32F}" type="slidenum">
              <a:rPr lang="en-US" smtClean="0"/>
              <a:pPr/>
              <a:t>9</a:t>
            </a:fld>
            <a:endParaRPr lang="en-US"/>
          </a:p>
        </p:txBody>
      </p:sp>
      <p:sp>
        <p:nvSpPr>
          <p:cNvPr id="5" name="Inhaltsplatzhalter 4">
            <a:extLst>
              <a:ext uri="{FF2B5EF4-FFF2-40B4-BE49-F238E27FC236}">
                <a16:creationId xmlns:a16="http://schemas.microsoft.com/office/drawing/2014/main" id="{CE5DBCB8-1C68-A633-A2FB-2801D86EA6A3}"/>
              </a:ext>
            </a:extLst>
          </p:cNvPr>
          <p:cNvSpPr>
            <a:spLocks noGrp="1"/>
          </p:cNvSpPr>
          <p:nvPr>
            <p:ph idx="10"/>
          </p:nvPr>
        </p:nvSpPr>
        <p:spPr/>
        <p:txBody>
          <a:bodyPr/>
          <a:lstStyle/>
          <a:p>
            <a:r>
              <a:rPr lang="en-US" err="1"/>
              <a:t>Bewertung</a:t>
            </a:r>
            <a:r>
              <a:rPr lang="en-US"/>
              <a:t> von Ubers </a:t>
            </a:r>
            <a:r>
              <a:rPr lang="en-US" err="1"/>
              <a:t>Geschäftsmodell</a:t>
            </a:r>
            <a:r>
              <a:rPr lang="en-US"/>
              <a:t> </a:t>
            </a:r>
            <a:r>
              <a:rPr lang="en-US" err="1"/>
              <a:t>anhand</a:t>
            </a:r>
            <a:r>
              <a:rPr lang="en-US"/>
              <a:t> </a:t>
            </a:r>
            <a:r>
              <a:rPr lang="en-US" err="1"/>
              <a:t>strategischer</a:t>
            </a:r>
            <a:r>
              <a:rPr lang="en-US"/>
              <a:t> </a:t>
            </a:r>
            <a:r>
              <a:rPr lang="en-US" err="1"/>
              <a:t>Methoden</a:t>
            </a:r>
            <a:endParaRPr lang="en-US"/>
          </a:p>
        </p:txBody>
      </p:sp>
      <p:sp>
        <p:nvSpPr>
          <p:cNvPr id="6" name="Inhaltsplatzhalter 5">
            <a:extLst>
              <a:ext uri="{FF2B5EF4-FFF2-40B4-BE49-F238E27FC236}">
                <a16:creationId xmlns:a16="http://schemas.microsoft.com/office/drawing/2014/main" id="{D55C1C27-B75F-BEC3-2020-A202B2999909}"/>
              </a:ext>
            </a:extLst>
          </p:cNvPr>
          <p:cNvSpPr>
            <a:spLocks noGrp="1"/>
          </p:cNvSpPr>
          <p:nvPr>
            <p:ph idx="11"/>
          </p:nvPr>
        </p:nvSpPr>
        <p:spPr/>
        <p:txBody>
          <a:bodyPr/>
          <a:lstStyle/>
          <a:p>
            <a:endParaRPr lang="en-US"/>
          </a:p>
        </p:txBody>
      </p:sp>
      <p:sp>
        <p:nvSpPr>
          <p:cNvPr id="7" name="Inhaltsplatzhalter 6">
            <a:extLst>
              <a:ext uri="{FF2B5EF4-FFF2-40B4-BE49-F238E27FC236}">
                <a16:creationId xmlns:a16="http://schemas.microsoft.com/office/drawing/2014/main" id="{2C23F3FA-77C2-9687-A32D-EC0CB439F132}"/>
              </a:ext>
            </a:extLst>
          </p:cNvPr>
          <p:cNvSpPr>
            <a:spLocks noGrp="1"/>
          </p:cNvSpPr>
          <p:nvPr>
            <p:ph idx="12"/>
          </p:nvPr>
        </p:nvSpPr>
        <p:spPr/>
        <p:txBody>
          <a:bodyPr/>
          <a:lstStyle/>
          <a:p>
            <a:endParaRPr lang="en-US"/>
          </a:p>
        </p:txBody>
      </p:sp>
    </p:spTree>
    <p:extLst>
      <p:ext uri="{BB962C8B-B14F-4D97-AF65-F5344CB8AC3E}">
        <p14:creationId xmlns:p14="http://schemas.microsoft.com/office/powerpoint/2010/main" val="289618078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FD615A3-2335-50D6-E753-6860EEE234B7}"/>
              </a:ext>
            </a:extLst>
          </p:cNvPr>
          <p:cNvGraphicFramePr>
            <a:graphicFrameLocks noChangeAspect="1"/>
          </p:cNvGraphicFramePr>
          <p:nvPr>
            <p:custDataLst>
              <p:tags r:id="rId1"/>
            </p:custDataLst>
            <p:extLst>
              <p:ext uri="{D42A27DB-BD31-4B8C-83A1-F6EECF244321}">
                <p14:modId xmlns:p14="http://schemas.microsoft.com/office/powerpoint/2010/main" val="542735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4" name="think-cell data - do not delete" hidden="1">
                        <a:extLst>
                          <a:ext uri="{FF2B5EF4-FFF2-40B4-BE49-F238E27FC236}">
                            <a16:creationId xmlns:a16="http://schemas.microsoft.com/office/drawing/2014/main" id="{BFD615A3-2335-50D6-E753-6860EEE234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2D65226-42BA-4127-2AAA-561630E0985C}"/>
              </a:ext>
            </a:extLst>
          </p:cNvPr>
          <p:cNvSpPr>
            <a:spLocks noGrp="1"/>
          </p:cNvSpPr>
          <p:nvPr>
            <p:ph type="title"/>
          </p:nvPr>
        </p:nvSpPr>
        <p:spPr>
          <a:xfrm>
            <a:off x="360000" y="1980000"/>
            <a:ext cx="8550000" cy="692497"/>
          </a:xfrm>
        </p:spPr>
        <p:txBody>
          <a:bodyPr vert="horz"/>
          <a:lstStyle/>
          <a:p>
            <a:r>
              <a:rPr lang="en-US"/>
              <a:t>Frage 6: Stakeholder Anhang</a:t>
            </a:r>
          </a:p>
        </p:txBody>
      </p:sp>
      <p:sp>
        <p:nvSpPr>
          <p:cNvPr id="3" name="Textplatzhalter 2">
            <a:extLst>
              <a:ext uri="{FF2B5EF4-FFF2-40B4-BE49-F238E27FC236}">
                <a16:creationId xmlns:a16="http://schemas.microsoft.com/office/drawing/2014/main" id="{4D2392A8-4AA4-3D9A-F991-CCE602E37FBC}"/>
              </a:ext>
            </a:extLst>
          </p:cNvPr>
          <p:cNvSpPr>
            <a:spLocks noGrp="1"/>
          </p:cNvSpPr>
          <p:nvPr>
            <p:ph type="body" idx="1"/>
          </p:nvPr>
        </p:nvSpPr>
        <p:spPr/>
        <p:txBody>
          <a:bodyPr/>
          <a:lstStyle/>
          <a:p>
            <a:r>
              <a:rPr lang="en-US"/>
              <a:t>Kevin Clausen</a:t>
            </a:r>
          </a:p>
        </p:txBody>
      </p:sp>
    </p:spTree>
    <p:extLst>
      <p:ext uri="{BB962C8B-B14F-4D97-AF65-F5344CB8AC3E}">
        <p14:creationId xmlns:p14="http://schemas.microsoft.com/office/powerpoint/2010/main" val="63783313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6C070C1-DF5C-75C3-8F35-E33F9C0988E4}"/>
              </a:ext>
            </a:extLst>
          </p:cNvPr>
          <p:cNvGraphicFramePr>
            <a:graphicFrameLocks noChangeAspect="1"/>
          </p:cNvGraphicFramePr>
          <p:nvPr>
            <p:custDataLst>
              <p:tags r:id="rId2"/>
            </p:custDataLst>
            <p:extLst>
              <p:ext uri="{D42A27DB-BD31-4B8C-83A1-F6EECF244321}">
                <p14:modId xmlns:p14="http://schemas.microsoft.com/office/powerpoint/2010/main" val="4243426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2" name="think-cell data - do not delete" hidden="1">
                        <a:extLst>
                          <a:ext uri="{FF2B5EF4-FFF2-40B4-BE49-F238E27FC236}">
                            <a16:creationId xmlns:a16="http://schemas.microsoft.com/office/drawing/2014/main" id="{B6C070C1-DF5C-75C3-8F35-E33F9C0988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itle 1"/>
          <p:cNvSpPr>
            <a:spLocks noGrp="1"/>
          </p:cNvSpPr>
          <p:nvPr>
            <p:ph type="title"/>
          </p:nvPr>
        </p:nvSpPr>
        <p:spPr/>
        <p:txBody>
          <a:bodyPr vert="horz">
            <a:noAutofit/>
          </a:bodyPr>
          <a:lstStyle/>
          <a:p>
            <a:r>
              <a:rPr lang="en-US"/>
              <a:t>Uber must manage a big and diverse group of Stakeholders that all have different interests and influences on Ubers Operations</a:t>
            </a:r>
          </a:p>
        </p:txBody>
      </p:sp>
      <p:sp>
        <p:nvSpPr>
          <p:cNvPr id="4" name="Inhaltsplatzhalter 3">
            <a:extLst>
              <a:ext uri="{FF2B5EF4-FFF2-40B4-BE49-F238E27FC236}">
                <a16:creationId xmlns:a16="http://schemas.microsoft.com/office/drawing/2014/main" id="{436FD285-8719-0F24-D86E-9D4E632D374B}"/>
              </a:ext>
            </a:extLst>
          </p:cNvPr>
          <p:cNvSpPr>
            <a:spLocks noGrp="1"/>
          </p:cNvSpPr>
          <p:nvPr>
            <p:ph idx="10"/>
          </p:nvPr>
        </p:nvSpPr>
        <p:spPr/>
        <p:txBody>
          <a:bodyPr/>
          <a:lstStyle/>
          <a:p>
            <a:r>
              <a:rPr lang="en-US"/>
              <a:t>Stakeholder Analysis</a:t>
            </a:r>
          </a:p>
        </p:txBody>
      </p:sp>
      <p:sp>
        <p:nvSpPr>
          <p:cNvPr id="5" name="Inhaltsplatzhalter 4">
            <a:extLst>
              <a:ext uri="{FF2B5EF4-FFF2-40B4-BE49-F238E27FC236}">
                <a16:creationId xmlns:a16="http://schemas.microsoft.com/office/drawing/2014/main" id="{850D7861-5FC2-4606-C8D6-86E4FE58F428}"/>
              </a:ext>
            </a:extLst>
          </p:cNvPr>
          <p:cNvSpPr>
            <a:spLocks noGrp="1"/>
          </p:cNvSpPr>
          <p:nvPr>
            <p:ph idx="11"/>
          </p:nvPr>
        </p:nvSpPr>
        <p:spPr/>
        <p:txBody>
          <a:bodyPr/>
          <a:lstStyle/>
          <a:p>
            <a:r>
              <a:rPr lang="en-US"/>
              <a:t>Own Representation</a:t>
            </a:r>
          </a:p>
        </p:txBody>
      </p:sp>
      <p:sp>
        <p:nvSpPr>
          <p:cNvPr id="6" name="Inhaltsplatzhalter 5">
            <a:extLst>
              <a:ext uri="{FF2B5EF4-FFF2-40B4-BE49-F238E27FC236}">
                <a16:creationId xmlns:a16="http://schemas.microsoft.com/office/drawing/2014/main" id="{FD7EFBF9-2CFB-4A68-0D46-23E5F4EE23A2}"/>
              </a:ext>
            </a:extLst>
          </p:cNvPr>
          <p:cNvSpPr>
            <a:spLocks noGrp="1"/>
          </p:cNvSpPr>
          <p:nvPr>
            <p:ph idx="12"/>
          </p:nvPr>
        </p:nvSpPr>
        <p:spPr/>
        <p:txBody>
          <a:bodyPr/>
          <a:lstStyle/>
          <a:p>
            <a:r>
              <a:rPr lang="en-US"/>
              <a:t>Stakeholder</a:t>
            </a:r>
          </a:p>
        </p:txBody>
      </p:sp>
      <p:sp>
        <p:nvSpPr>
          <p:cNvPr id="15" name="Double flèche horizontale 8"/>
          <p:cNvSpPr/>
          <p:nvPr/>
        </p:nvSpPr>
        <p:spPr>
          <a:xfrm>
            <a:off x="1020264" y="5419103"/>
            <a:ext cx="7317000" cy="86400"/>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kern="0">
              <a:solidFill>
                <a:schemeClr val="tx1"/>
              </a:solidFill>
            </a:endParaRPr>
          </a:p>
        </p:txBody>
      </p:sp>
      <p:sp>
        <p:nvSpPr>
          <p:cNvPr id="16" name="Double flèche horizontale 9"/>
          <p:cNvSpPr/>
          <p:nvPr/>
        </p:nvSpPr>
        <p:spPr>
          <a:xfrm rot="5400000">
            <a:off x="-675423" y="3734435"/>
            <a:ext cx="3198011" cy="85410"/>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kern="0">
              <a:solidFill>
                <a:schemeClr val="tx1"/>
              </a:solidFill>
            </a:endParaRPr>
          </a:p>
        </p:txBody>
      </p:sp>
      <p:sp>
        <p:nvSpPr>
          <p:cNvPr id="17" name="ShapeNameChangedByPowerUser2"/>
          <p:cNvSpPr txBox="1"/>
          <p:nvPr/>
        </p:nvSpPr>
        <p:spPr>
          <a:xfrm>
            <a:off x="602551" y="1896694"/>
            <a:ext cx="468398" cy="276999"/>
          </a:xfrm>
          <a:prstGeom prst="rect">
            <a:avLst/>
          </a:prstGeom>
          <a:noFill/>
        </p:spPr>
        <p:txBody>
          <a:bodyPr wrap="none" rtlCol="0">
            <a:spAutoFit/>
          </a:bodyPr>
          <a:lstStyle/>
          <a:p>
            <a:pPr defTabSz="685800">
              <a:defRPr/>
            </a:pPr>
            <a:r>
              <a:rPr lang="en-US" sz="1200" kern="0"/>
              <a:t>High</a:t>
            </a:r>
          </a:p>
        </p:txBody>
      </p:sp>
      <p:sp>
        <p:nvSpPr>
          <p:cNvPr id="18" name="ZoneTexte 11"/>
          <p:cNvSpPr txBox="1"/>
          <p:nvPr/>
        </p:nvSpPr>
        <p:spPr>
          <a:xfrm>
            <a:off x="8329111" y="5333716"/>
            <a:ext cx="468398" cy="276999"/>
          </a:xfrm>
          <a:prstGeom prst="rect">
            <a:avLst/>
          </a:prstGeom>
          <a:noFill/>
        </p:spPr>
        <p:txBody>
          <a:bodyPr wrap="none" rtlCol="0">
            <a:spAutoFit/>
          </a:bodyPr>
          <a:lstStyle/>
          <a:p>
            <a:pPr defTabSz="685800">
              <a:defRPr/>
            </a:pPr>
            <a:r>
              <a:rPr lang="en-US" sz="1200" kern="0"/>
              <a:t>High</a:t>
            </a:r>
          </a:p>
        </p:txBody>
      </p:sp>
      <p:sp>
        <p:nvSpPr>
          <p:cNvPr id="20" name="ShapeNameChangedByPowerUser1"/>
          <p:cNvSpPr txBox="1"/>
          <p:nvPr/>
        </p:nvSpPr>
        <p:spPr>
          <a:xfrm>
            <a:off x="634147" y="5333716"/>
            <a:ext cx="441146" cy="276999"/>
          </a:xfrm>
          <a:prstGeom prst="rect">
            <a:avLst/>
          </a:prstGeom>
          <a:noFill/>
        </p:spPr>
        <p:txBody>
          <a:bodyPr wrap="none" rtlCol="0">
            <a:spAutoFit/>
          </a:bodyPr>
          <a:lstStyle/>
          <a:p>
            <a:pPr defTabSz="685800">
              <a:defRPr/>
            </a:pPr>
            <a:r>
              <a:rPr lang="en-US" sz="1200" kern="0"/>
              <a:t>Low</a:t>
            </a:r>
          </a:p>
        </p:txBody>
      </p:sp>
      <p:sp>
        <p:nvSpPr>
          <p:cNvPr id="21" name="ZoneTexte 14"/>
          <p:cNvSpPr txBox="1"/>
          <p:nvPr/>
        </p:nvSpPr>
        <p:spPr>
          <a:xfrm rot="10800000">
            <a:off x="576242" y="3225937"/>
            <a:ext cx="369332" cy="672620"/>
          </a:xfrm>
          <a:prstGeom prst="rect">
            <a:avLst/>
          </a:prstGeom>
          <a:noFill/>
        </p:spPr>
        <p:txBody>
          <a:bodyPr vert="eaVert" wrap="none" rtlCol="0">
            <a:spAutoFit/>
          </a:bodyPr>
          <a:lstStyle/>
          <a:p>
            <a:pPr defTabSz="685800">
              <a:defRPr/>
            </a:pPr>
            <a:r>
              <a:rPr lang="en-US" sz="1200" kern="0"/>
              <a:t>Influence</a:t>
            </a:r>
          </a:p>
        </p:txBody>
      </p:sp>
      <p:sp>
        <p:nvSpPr>
          <p:cNvPr id="21507" name="ShapeNameChangedByPowerUser1"/>
          <p:cNvSpPr txBox="1"/>
          <p:nvPr/>
        </p:nvSpPr>
        <p:spPr>
          <a:xfrm>
            <a:off x="3833096" y="5518382"/>
            <a:ext cx="1621903" cy="184666"/>
          </a:xfrm>
          <a:prstGeom prst="rect">
            <a:avLst/>
          </a:prstGeom>
          <a:solidFill>
            <a:schemeClr val="lt1"/>
          </a:solidFill>
        </p:spPr>
        <p:txBody>
          <a:bodyPr wrap="square" lIns="0" tIns="0" rIns="0" bIns="0" rtlCol="0" anchor="ctr">
            <a:spAutoFit/>
          </a:bodyPr>
          <a:lstStyle/>
          <a:p>
            <a:pPr algn="ctr" defTabSz="685800">
              <a:defRPr/>
            </a:pPr>
            <a:r>
              <a:rPr lang="en-US" sz="1200" kern="0"/>
              <a:t>interest</a:t>
            </a:r>
          </a:p>
        </p:txBody>
      </p:sp>
      <p:cxnSp>
        <p:nvCxnSpPr>
          <p:cNvPr id="8" name="Gerader Verbinder 7">
            <a:extLst>
              <a:ext uri="{FF2B5EF4-FFF2-40B4-BE49-F238E27FC236}">
                <a16:creationId xmlns:a16="http://schemas.microsoft.com/office/drawing/2014/main" id="{A235F376-A86C-A422-BA7B-1BB5AAA7C52F}"/>
              </a:ext>
            </a:extLst>
          </p:cNvPr>
          <p:cNvCxnSpPr>
            <a:cxnSpLocks/>
            <a:stCxn id="15" idx="1"/>
          </p:cNvCxnSpPr>
          <p:nvPr/>
        </p:nvCxnSpPr>
        <p:spPr>
          <a:xfrm flipV="1">
            <a:off x="4678764" y="2173693"/>
            <a:ext cx="0" cy="3267010"/>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22" name="Gerader Verbinder 21">
            <a:extLst>
              <a:ext uri="{FF2B5EF4-FFF2-40B4-BE49-F238E27FC236}">
                <a16:creationId xmlns:a16="http://schemas.microsoft.com/office/drawing/2014/main" id="{AB2AA1B1-4A75-E9FB-563F-4E46A85A0790}"/>
              </a:ext>
            </a:extLst>
          </p:cNvPr>
          <p:cNvCxnSpPr>
            <a:cxnSpLocks/>
            <a:stCxn id="21" idx="1"/>
          </p:cNvCxnSpPr>
          <p:nvPr/>
        </p:nvCxnSpPr>
        <p:spPr>
          <a:xfrm>
            <a:off x="945574" y="3562247"/>
            <a:ext cx="7391690" cy="0"/>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26" name="Ellipse 25">
            <a:extLst>
              <a:ext uri="{FF2B5EF4-FFF2-40B4-BE49-F238E27FC236}">
                <a16:creationId xmlns:a16="http://schemas.microsoft.com/office/drawing/2014/main" id="{48AA74FE-9881-12D5-415B-0260B25FD681}"/>
              </a:ext>
            </a:extLst>
          </p:cNvPr>
          <p:cNvSpPr/>
          <p:nvPr/>
        </p:nvSpPr>
        <p:spPr>
          <a:xfrm>
            <a:off x="6972208" y="2478485"/>
            <a:ext cx="1290915" cy="494615"/>
          </a:xfrm>
          <a:prstGeom prst="ellipse">
            <a:avLst/>
          </a:prstGeom>
          <a:solidFill>
            <a:schemeClr val="tx1"/>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200" b="1"/>
              <a:t>Customer - Riders</a:t>
            </a:r>
          </a:p>
        </p:txBody>
      </p:sp>
      <p:sp>
        <p:nvSpPr>
          <p:cNvPr id="27" name="Ellipse 26">
            <a:extLst>
              <a:ext uri="{FF2B5EF4-FFF2-40B4-BE49-F238E27FC236}">
                <a16:creationId xmlns:a16="http://schemas.microsoft.com/office/drawing/2014/main" id="{A36D2477-F16F-11DF-D87E-20A8CF186576}"/>
              </a:ext>
            </a:extLst>
          </p:cNvPr>
          <p:cNvSpPr/>
          <p:nvPr/>
        </p:nvSpPr>
        <p:spPr>
          <a:xfrm>
            <a:off x="6193374" y="2108005"/>
            <a:ext cx="1290915" cy="494615"/>
          </a:xfrm>
          <a:prstGeom prst="ellipse">
            <a:avLst/>
          </a:prstGeom>
          <a:solidFill>
            <a:schemeClr val="tx1"/>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050" b="1"/>
              <a:t>Customers – Business Clients</a:t>
            </a:r>
          </a:p>
        </p:txBody>
      </p:sp>
      <p:sp>
        <p:nvSpPr>
          <p:cNvPr id="28" name="Ellipse 27">
            <a:extLst>
              <a:ext uri="{FF2B5EF4-FFF2-40B4-BE49-F238E27FC236}">
                <a16:creationId xmlns:a16="http://schemas.microsoft.com/office/drawing/2014/main" id="{24901390-780D-B698-F738-1696B9A072C1}"/>
              </a:ext>
            </a:extLst>
          </p:cNvPr>
          <p:cNvSpPr/>
          <p:nvPr/>
        </p:nvSpPr>
        <p:spPr>
          <a:xfrm>
            <a:off x="6084388" y="3428092"/>
            <a:ext cx="1572221" cy="634852"/>
          </a:xfrm>
          <a:prstGeom prst="ellipse">
            <a:avLst/>
          </a:prstGeom>
          <a:solidFill>
            <a:schemeClr val="tx1"/>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200" b="1"/>
              <a:t>Investors &amp; Shareholders</a:t>
            </a:r>
          </a:p>
        </p:txBody>
      </p:sp>
      <p:sp>
        <p:nvSpPr>
          <p:cNvPr id="33" name="Ellipse 32">
            <a:extLst>
              <a:ext uri="{FF2B5EF4-FFF2-40B4-BE49-F238E27FC236}">
                <a16:creationId xmlns:a16="http://schemas.microsoft.com/office/drawing/2014/main" id="{5C2D6FFA-64CF-44FB-70D3-1507B2F9F1A6}"/>
              </a:ext>
            </a:extLst>
          </p:cNvPr>
          <p:cNvSpPr/>
          <p:nvPr/>
        </p:nvSpPr>
        <p:spPr>
          <a:xfrm>
            <a:off x="7238962" y="2029560"/>
            <a:ext cx="1290915" cy="494615"/>
          </a:xfrm>
          <a:prstGeom prst="ellipse">
            <a:avLst/>
          </a:prstGeom>
          <a:solidFill>
            <a:schemeClr val="tx1"/>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200" b="1"/>
              <a:t>Employees &amp; Drivers</a:t>
            </a:r>
          </a:p>
        </p:txBody>
      </p:sp>
      <p:sp>
        <p:nvSpPr>
          <p:cNvPr id="35" name="Ellipse 34">
            <a:extLst>
              <a:ext uri="{FF2B5EF4-FFF2-40B4-BE49-F238E27FC236}">
                <a16:creationId xmlns:a16="http://schemas.microsoft.com/office/drawing/2014/main" id="{203673B3-8A47-B9F1-6A8D-F249DEA33B4C}"/>
              </a:ext>
            </a:extLst>
          </p:cNvPr>
          <p:cNvSpPr/>
          <p:nvPr/>
        </p:nvSpPr>
        <p:spPr>
          <a:xfrm>
            <a:off x="1935645" y="3314939"/>
            <a:ext cx="1290915" cy="494615"/>
          </a:xfrm>
          <a:prstGeom prst="ellipse">
            <a:avLst/>
          </a:prstGeom>
          <a:solidFill>
            <a:schemeClr val="tx1"/>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100" b="1"/>
              <a:t>Competitors</a:t>
            </a:r>
          </a:p>
        </p:txBody>
      </p:sp>
      <p:sp>
        <p:nvSpPr>
          <p:cNvPr id="37" name="Ellipse 36">
            <a:extLst>
              <a:ext uri="{FF2B5EF4-FFF2-40B4-BE49-F238E27FC236}">
                <a16:creationId xmlns:a16="http://schemas.microsoft.com/office/drawing/2014/main" id="{6815D38C-8118-C2BF-881A-E8B2130DE4A5}"/>
              </a:ext>
            </a:extLst>
          </p:cNvPr>
          <p:cNvSpPr/>
          <p:nvPr/>
        </p:nvSpPr>
        <p:spPr>
          <a:xfrm>
            <a:off x="6972207" y="4277892"/>
            <a:ext cx="1290915" cy="494615"/>
          </a:xfrm>
          <a:prstGeom prst="ellipse">
            <a:avLst/>
          </a:prstGeom>
          <a:solidFill>
            <a:schemeClr val="tx1"/>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200" b="1"/>
              <a:t>Community &amp; Society</a:t>
            </a:r>
          </a:p>
        </p:txBody>
      </p:sp>
      <p:sp>
        <p:nvSpPr>
          <p:cNvPr id="38" name="Ellipse 37">
            <a:extLst>
              <a:ext uri="{FF2B5EF4-FFF2-40B4-BE49-F238E27FC236}">
                <a16:creationId xmlns:a16="http://schemas.microsoft.com/office/drawing/2014/main" id="{9F65461B-8759-F749-741A-269F602DEE8B}"/>
              </a:ext>
            </a:extLst>
          </p:cNvPr>
          <p:cNvSpPr/>
          <p:nvPr/>
        </p:nvSpPr>
        <p:spPr>
          <a:xfrm>
            <a:off x="4033306" y="2108004"/>
            <a:ext cx="1290915" cy="494615"/>
          </a:xfrm>
          <a:prstGeom prst="ellipse">
            <a:avLst/>
          </a:prstGeom>
          <a:solidFill>
            <a:schemeClr val="tx1"/>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200" b="1"/>
              <a:t>Regulatory Bodies</a:t>
            </a:r>
          </a:p>
        </p:txBody>
      </p:sp>
      <p:sp>
        <p:nvSpPr>
          <p:cNvPr id="39" name="Ellipse 38">
            <a:extLst>
              <a:ext uri="{FF2B5EF4-FFF2-40B4-BE49-F238E27FC236}">
                <a16:creationId xmlns:a16="http://schemas.microsoft.com/office/drawing/2014/main" id="{59BDB455-B748-73AD-5CA2-C1628FFA442F}"/>
              </a:ext>
            </a:extLst>
          </p:cNvPr>
          <p:cNvSpPr/>
          <p:nvPr/>
        </p:nvSpPr>
        <p:spPr>
          <a:xfrm>
            <a:off x="3990664" y="2998994"/>
            <a:ext cx="1356447" cy="494615"/>
          </a:xfrm>
          <a:prstGeom prst="ellipse">
            <a:avLst/>
          </a:prstGeom>
          <a:solidFill>
            <a:schemeClr val="tx1"/>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200" b="1"/>
              <a:t>Media and Public</a:t>
            </a:r>
          </a:p>
        </p:txBody>
      </p:sp>
      <p:sp>
        <p:nvSpPr>
          <p:cNvPr id="40" name="Ellipse 39">
            <a:extLst>
              <a:ext uri="{FF2B5EF4-FFF2-40B4-BE49-F238E27FC236}">
                <a16:creationId xmlns:a16="http://schemas.microsoft.com/office/drawing/2014/main" id="{15C8C774-F781-A34D-4FCC-134CE6041B9E}"/>
              </a:ext>
            </a:extLst>
          </p:cNvPr>
          <p:cNvSpPr/>
          <p:nvPr/>
        </p:nvSpPr>
        <p:spPr>
          <a:xfrm>
            <a:off x="4668888" y="3753909"/>
            <a:ext cx="1572221" cy="494615"/>
          </a:xfrm>
          <a:prstGeom prst="ellipse">
            <a:avLst/>
          </a:prstGeom>
          <a:solidFill>
            <a:schemeClr val="tx1"/>
          </a:solidFill>
          <a:ln>
            <a:solidFill>
              <a:schemeClr val="tx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200" b="1"/>
              <a:t>Business partners</a:t>
            </a:r>
          </a:p>
        </p:txBody>
      </p:sp>
    </p:spTree>
    <p:custDataLst>
      <p:tags r:id="rId1"/>
    </p:custDataLst>
    <p:extLst>
      <p:ext uri="{BB962C8B-B14F-4D97-AF65-F5344CB8AC3E}">
        <p14:creationId xmlns:p14="http://schemas.microsoft.com/office/powerpoint/2010/main" val="557450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C37B34E-0E3A-C9FB-FAB2-6DF3C5E4DB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9" name="think-cell data - do not delete" hidden="1">
                        <a:extLst>
                          <a:ext uri="{FF2B5EF4-FFF2-40B4-BE49-F238E27FC236}">
                            <a16:creationId xmlns:a16="http://schemas.microsoft.com/office/drawing/2014/main" id="{BC37B34E-0E3A-C9FB-FAB2-6DF3C5E4DB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E3573472-8904-A0E9-77F1-4810859DA35C}"/>
              </a:ext>
            </a:extLst>
          </p:cNvPr>
          <p:cNvSpPr/>
          <p:nvPr/>
        </p:nvSpPr>
        <p:spPr>
          <a:xfrm>
            <a:off x="6264481" y="2053568"/>
            <a:ext cx="2663619" cy="3890706"/>
          </a:xfrm>
          <a:prstGeom prst="rect">
            <a:avLst/>
          </a:prstGeom>
          <a:noFill/>
          <a:ln>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16" name="Rechteck 15">
            <a:extLst>
              <a:ext uri="{FF2B5EF4-FFF2-40B4-BE49-F238E27FC236}">
                <a16:creationId xmlns:a16="http://schemas.microsoft.com/office/drawing/2014/main" id="{22023733-3994-D35A-61B5-0FE35A7DA6E1}"/>
              </a:ext>
            </a:extLst>
          </p:cNvPr>
          <p:cNvSpPr/>
          <p:nvPr/>
        </p:nvSpPr>
        <p:spPr>
          <a:xfrm>
            <a:off x="3312239" y="2052148"/>
            <a:ext cx="2663619" cy="3892126"/>
          </a:xfrm>
          <a:prstGeom prst="rect">
            <a:avLst/>
          </a:prstGeom>
          <a:noFill/>
          <a:ln>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10" name="Rechteck 9">
            <a:extLst>
              <a:ext uri="{FF2B5EF4-FFF2-40B4-BE49-F238E27FC236}">
                <a16:creationId xmlns:a16="http://schemas.microsoft.com/office/drawing/2014/main" id="{4CB95A16-3F24-DC2A-43D1-1440597D6AD7}"/>
              </a:ext>
            </a:extLst>
          </p:cNvPr>
          <p:cNvSpPr/>
          <p:nvPr/>
        </p:nvSpPr>
        <p:spPr>
          <a:xfrm>
            <a:off x="359997" y="2053568"/>
            <a:ext cx="2663619" cy="3892126"/>
          </a:xfrm>
          <a:prstGeom prst="rect">
            <a:avLst/>
          </a:prstGeom>
          <a:noFill/>
          <a:ln>
            <a:solidFill>
              <a:schemeClr val="tx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C8A0FE02-F397-AAFE-898D-181CDFBCB696}"/>
              </a:ext>
            </a:extLst>
          </p:cNvPr>
          <p:cNvSpPr>
            <a:spLocks noGrp="1"/>
          </p:cNvSpPr>
          <p:nvPr>
            <p:ph type="title"/>
          </p:nvPr>
        </p:nvSpPr>
        <p:spPr/>
        <p:txBody>
          <a:bodyPr vert="horz"/>
          <a:lstStyle/>
          <a:p>
            <a:r>
              <a:rPr lang="en-US"/>
              <a:t>Uber implements ESG into its communication to further highlight their mission of providing sustainable and reliable transport</a:t>
            </a:r>
          </a:p>
        </p:txBody>
      </p:sp>
      <p:sp>
        <p:nvSpPr>
          <p:cNvPr id="4" name="Foliennummernplatzhalter 3">
            <a:extLst>
              <a:ext uri="{FF2B5EF4-FFF2-40B4-BE49-F238E27FC236}">
                <a16:creationId xmlns:a16="http://schemas.microsoft.com/office/drawing/2014/main" id="{11896CE6-8D05-808D-3AF9-D77BE3BC271E}"/>
              </a:ext>
            </a:extLst>
          </p:cNvPr>
          <p:cNvSpPr>
            <a:spLocks noGrp="1"/>
          </p:cNvSpPr>
          <p:nvPr>
            <p:ph type="sldNum" sz="quarter" idx="4"/>
          </p:nvPr>
        </p:nvSpPr>
        <p:spPr/>
        <p:txBody>
          <a:bodyPr/>
          <a:lstStyle/>
          <a:p>
            <a:fld id="{BAF04893-69FB-435D-AB2E-CA259D85B32F}" type="slidenum">
              <a:rPr lang="en-US" smtClean="0"/>
              <a:pPr/>
              <a:t>92</a:t>
            </a:fld>
            <a:endParaRPr lang="en-US"/>
          </a:p>
        </p:txBody>
      </p:sp>
      <p:sp>
        <p:nvSpPr>
          <p:cNvPr id="5" name="Inhaltsplatzhalter 4">
            <a:extLst>
              <a:ext uri="{FF2B5EF4-FFF2-40B4-BE49-F238E27FC236}">
                <a16:creationId xmlns:a16="http://schemas.microsoft.com/office/drawing/2014/main" id="{FCE2ABA5-D261-FCE8-2B4C-67D8F6F4CE97}"/>
              </a:ext>
            </a:extLst>
          </p:cNvPr>
          <p:cNvSpPr>
            <a:spLocks noGrp="1"/>
          </p:cNvSpPr>
          <p:nvPr>
            <p:ph idx="10"/>
          </p:nvPr>
        </p:nvSpPr>
        <p:spPr/>
        <p:txBody>
          <a:bodyPr/>
          <a:lstStyle/>
          <a:p>
            <a:r>
              <a:rPr lang="en-US"/>
              <a:t>ESG-Communication </a:t>
            </a:r>
          </a:p>
        </p:txBody>
      </p:sp>
      <p:sp>
        <p:nvSpPr>
          <p:cNvPr id="6" name="Inhaltsplatzhalter 5">
            <a:extLst>
              <a:ext uri="{FF2B5EF4-FFF2-40B4-BE49-F238E27FC236}">
                <a16:creationId xmlns:a16="http://schemas.microsoft.com/office/drawing/2014/main" id="{6AFCEF6B-4988-3446-8E8B-3303F5E6402F}"/>
              </a:ext>
            </a:extLst>
          </p:cNvPr>
          <p:cNvSpPr>
            <a:spLocks noGrp="1"/>
          </p:cNvSpPr>
          <p:nvPr>
            <p:ph idx="11"/>
          </p:nvPr>
        </p:nvSpPr>
        <p:spPr/>
        <p:txBody>
          <a:bodyPr/>
          <a:lstStyle/>
          <a:p>
            <a:r>
              <a:rPr lang="en-US"/>
              <a:t>ESG-Report, Annual Report</a:t>
            </a:r>
          </a:p>
        </p:txBody>
      </p:sp>
      <p:sp>
        <p:nvSpPr>
          <p:cNvPr id="7" name="Inhaltsplatzhalter 6">
            <a:extLst>
              <a:ext uri="{FF2B5EF4-FFF2-40B4-BE49-F238E27FC236}">
                <a16:creationId xmlns:a16="http://schemas.microsoft.com/office/drawing/2014/main" id="{9CBD7700-C7CD-8D5A-83B6-5786BCACF77D}"/>
              </a:ext>
            </a:extLst>
          </p:cNvPr>
          <p:cNvSpPr>
            <a:spLocks noGrp="1"/>
          </p:cNvSpPr>
          <p:nvPr>
            <p:ph idx="12"/>
          </p:nvPr>
        </p:nvSpPr>
        <p:spPr/>
        <p:txBody>
          <a:bodyPr/>
          <a:lstStyle/>
          <a:p>
            <a:r>
              <a:rPr lang="en-US"/>
              <a:t>Stakeholder</a:t>
            </a:r>
          </a:p>
        </p:txBody>
      </p:sp>
      <p:sp>
        <p:nvSpPr>
          <p:cNvPr id="8" name="Textfeld 7">
            <a:extLst>
              <a:ext uri="{FF2B5EF4-FFF2-40B4-BE49-F238E27FC236}">
                <a16:creationId xmlns:a16="http://schemas.microsoft.com/office/drawing/2014/main" id="{96A2183E-B7A8-7EFD-ACEC-A1CD31C567B5}"/>
              </a:ext>
            </a:extLst>
          </p:cNvPr>
          <p:cNvSpPr txBox="1"/>
          <p:nvPr/>
        </p:nvSpPr>
        <p:spPr>
          <a:xfrm>
            <a:off x="466510" y="2715932"/>
            <a:ext cx="2557105" cy="830997"/>
          </a:xfrm>
          <a:prstGeom prst="rect">
            <a:avLst/>
          </a:prstGeom>
          <a:noFill/>
        </p:spPr>
        <p:txBody>
          <a:bodyPr wrap="square" rtlCol="0">
            <a:spAutoFit/>
          </a:bodyPr>
          <a:lstStyle/>
          <a:p>
            <a:r>
              <a:rPr lang="en-US" sz="1200"/>
              <a:t>Uber increasingly communicates about its efforts in reducing carbon emissions, transitioning to EVs, and promoting sustainable urban mobility</a:t>
            </a:r>
          </a:p>
        </p:txBody>
      </p:sp>
      <p:sp>
        <p:nvSpPr>
          <p:cNvPr id="18" name="Textfeld 17">
            <a:extLst>
              <a:ext uri="{FF2B5EF4-FFF2-40B4-BE49-F238E27FC236}">
                <a16:creationId xmlns:a16="http://schemas.microsoft.com/office/drawing/2014/main" id="{C6F1AED4-07FB-6256-27CE-05132DF5B78C}"/>
              </a:ext>
            </a:extLst>
          </p:cNvPr>
          <p:cNvSpPr txBox="1"/>
          <p:nvPr/>
        </p:nvSpPr>
        <p:spPr>
          <a:xfrm>
            <a:off x="359997" y="2438933"/>
            <a:ext cx="2663620" cy="276999"/>
          </a:xfrm>
          <a:prstGeom prst="rect">
            <a:avLst/>
          </a:prstGeom>
          <a:noFill/>
        </p:spPr>
        <p:txBody>
          <a:bodyPr wrap="square" rtlCol="0">
            <a:spAutoFit/>
          </a:bodyPr>
          <a:lstStyle/>
          <a:p>
            <a:r>
              <a:rPr lang="en-US" sz="1200" b="1"/>
              <a:t>Communication Focus</a:t>
            </a:r>
          </a:p>
        </p:txBody>
      </p:sp>
      <p:sp>
        <p:nvSpPr>
          <p:cNvPr id="19" name="Textfeld 18">
            <a:extLst>
              <a:ext uri="{FF2B5EF4-FFF2-40B4-BE49-F238E27FC236}">
                <a16:creationId xmlns:a16="http://schemas.microsoft.com/office/drawing/2014/main" id="{9008BF11-23D9-DAD3-1A0F-D7C1C1D1B416}"/>
              </a:ext>
            </a:extLst>
          </p:cNvPr>
          <p:cNvSpPr txBox="1"/>
          <p:nvPr/>
        </p:nvSpPr>
        <p:spPr>
          <a:xfrm>
            <a:off x="359997" y="3550993"/>
            <a:ext cx="2663620" cy="276999"/>
          </a:xfrm>
          <a:prstGeom prst="rect">
            <a:avLst/>
          </a:prstGeom>
          <a:noFill/>
        </p:spPr>
        <p:txBody>
          <a:bodyPr wrap="square" rtlCol="0">
            <a:spAutoFit/>
          </a:bodyPr>
          <a:lstStyle/>
          <a:p>
            <a:r>
              <a:rPr lang="en-US" sz="1200" b="1"/>
              <a:t>Impact on Strategy</a:t>
            </a:r>
          </a:p>
        </p:txBody>
      </p:sp>
      <p:sp>
        <p:nvSpPr>
          <p:cNvPr id="20" name="Textfeld 19">
            <a:extLst>
              <a:ext uri="{FF2B5EF4-FFF2-40B4-BE49-F238E27FC236}">
                <a16:creationId xmlns:a16="http://schemas.microsoft.com/office/drawing/2014/main" id="{2B4BD477-DC19-3B6B-C70F-6AF8C7014F08}"/>
              </a:ext>
            </a:extLst>
          </p:cNvPr>
          <p:cNvSpPr txBox="1"/>
          <p:nvPr/>
        </p:nvSpPr>
        <p:spPr>
          <a:xfrm>
            <a:off x="466510" y="3822447"/>
            <a:ext cx="2557105" cy="1015663"/>
          </a:xfrm>
          <a:prstGeom prst="rect">
            <a:avLst/>
          </a:prstGeom>
          <a:noFill/>
        </p:spPr>
        <p:txBody>
          <a:bodyPr wrap="square" rtlCol="0">
            <a:spAutoFit/>
          </a:bodyPr>
          <a:lstStyle/>
          <a:p>
            <a:r>
              <a:rPr lang="en-US" sz="1200"/>
              <a:t>This aligns Uber with global sustainability trends and appeals to environmentally conscious stakeholders, including customers, investors and regulators</a:t>
            </a:r>
          </a:p>
        </p:txBody>
      </p:sp>
      <p:sp>
        <p:nvSpPr>
          <p:cNvPr id="21" name="Textfeld 20">
            <a:extLst>
              <a:ext uri="{FF2B5EF4-FFF2-40B4-BE49-F238E27FC236}">
                <a16:creationId xmlns:a16="http://schemas.microsoft.com/office/drawing/2014/main" id="{038B02E0-D851-455A-C3B9-60C16383BF07}"/>
              </a:ext>
            </a:extLst>
          </p:cNvPr>
          <p:cNvSpPr txBox="1"/>
          <p:nvPr/>
        </p:nvSpPr>
        <p:spPr>
          <a:xfrm>
            <a:off x="359995" y="4838110"/>
            <a:ext cx="2663620" cy="276999"/>
          </a:xfrm>
          <a:prstGeom prst="rect">
            <a:avLst/>
          </a:prstGeom>
          <a:noFill/>
        </p:spPr>
        <p:txBody>
          <a:bodyPr wrap="square" rtlCol="0">
            <a:spAutoFit/>
          </a:bodyPr>
          <a:lstStyle/>
          <a:p>
            <a:r>
              <a:rPr lang="en-US" sz="1200" b="1" i="0">
                <a:effectLst/>
                <a:latin typeface="Söhne"/>
              </a:rPr>
              <a:t>Challenges</a:t>
            </a:r>
            <a:endParaRPr lang="en-US" sz="1200" b="1"/>
          </a:p>
        </p:txBody>
      </p:sp>
      <p:sp>
        <p:nvSpPr>
          <p:cNvPr id="22" name="Textfeld 21">
            <a:extLst>
              <a:ext uri="{FF2B5EF4-FFF2-40B4-BE49-F238E27FC236}">
                <a16:creationId xmlns:a16="http://schemas.microsoft.com/office/drawing/2014/main" id="{F41290B3-F6B7-8A34-0333-1736FD7E22A7}"/>
              </a:ext>
            </a:extLst>
          </p:cNvPr>
          <p:cNvSpPr txBox="1"/>
          <p:nvPr/>
        </p:nvSpPr>
        <p:spPr>
          <a:xfrm>
            <a:off x="466509" y="5109564"/>
            <a:ext cx="2511980" cy="830997"/>
          </a:xfrm>
          <a:prstGeom prst="rect">
            <a:avLst/>
          </a:prstGeom>
          <a:noFill/>
        </p:spPr>
        <p:txBody>
          <a:bodyPr wrap="square" rtlCol="0">
            <a:spAutoFit/>
          </a:bodyPr>
          <a:lstStyle/>
          <a:p>
            <a:r>
              <a:rPr lang="en-US" sz="1200"/>
              <a:t>Balancing of economic aspects of the model with environmental commitments, require careful messaging</a:t>
            </a:r>
          </a:p>
        </p:txBody>
      </p:sp>
      <p:sp>
        <p:nvSpPr>
          <p:cNvPr id="23" name="Textfeld 22">
            <a:extLst>
              <a:ext uri="{FF2B5EF4-FFF2-40B4-BE49-F238E27FC236}">
                <a16:creationId xmlns:a16="http://schemas.microsoft.com/office/drawing/2014/main" id="{E2358D4E-1676-3DBC-5CCD-E846BAD61416}"/>
              </a:ext>
            </a:extLst>
          </p:cNvPr>
          <p:cNvSpPr txBox="1"/>
          <p:nvPr/>
        </p:nvSpPr>
        <p:spPr>
          <a:xfrm>
            <a:off x="3418753" y="2711957"/>
            <a:ext cx="2557105" cy="646331"/>
          </a:xfrm>
          <a:prstGeom prst="rect">
            <a:avLst/>
          </a:prstGeom>
          <a:noFill/>
        </p:spPr>
        <p:txBody>
          <a:bodyPr wrap="square" rtlCol="0">
            <a:spAutoFit/>
          </a:bodyPr>
          <a:lstStyle/>
          <a:p>
            <a:r>
              <a:rPr lang="en-US" sz="1200"/>
              <a:t>Uber communicates its commitments to driver welfare, diversity and inclusion in the workforce</a:t>
            </a:r>
          </a:p>
        </p:txBody>
      </p:sp>
      <p:sp>
        <p:nvSpPr>
          <p:cNvPr id="24" name="Textfeld 23">
            <a:extLst>
              <a:ext uri="{FF2B5EF4-FFF2-40B4-BE49-F238E27FC236}">
                <a16:creationId xmlns:a16="http://schemas.microsoft.com/office/drawing/2014/main" id="{CC07C104-BB35-B3F5-9FDD-6B8B647F9AE5}"/>
              </a:ext>
            </a:extLst>
          </p:cNvPr>
          <p:cNvSpPr txBox="1"/>
          <p:nvPr/>
        </p:nvSpPr>
        <p:spPr>
          <a:xfrm>
            <a:off x="3312240" y="2434958"/>
            <a:ext cx="2663620" cy="276999"/>
          </a:xfrm>
          <a:prstGeom prst="rect">
            <a:avLst/>
          </a:prstGeom>
          <a:noFill/>
        </p:spPr>
        <p:txBody>
          <a:bodyPr wrap="square" rtlCol="0">
            <a:spAutoFit/>
          </a:bodyPr>
          <a:lstStyle/>
          <a:p>
            <a:r>
              <a:rPr lang="en-US" sz="1200" b="1"/>
              <a:t>Workforce &amp; Diversity Communication</a:t>
            </a:r>
          </a:p>
        </p:txBody>
      </p:sp>
      <p:sp>
        <p:nvSpPr>
          <p:cNvPr id="25" name="Textfeld 24">
            <a:extLst>
              <a:ext uri="{FF2B5EF4-FFF2-40B4-BE49-F238E27FC236}">
                <a16:creationId xmlns:a16="http://schemas.microsoft.com/office/drawing/2014/main" id="{D7B17A7B-35A5-226D-93DE-A4DC53BF157C}"/>
              </a:ext>
            </a:extLst>
          </p:cNvPr>
          <p:cNvSpPr txBox="1"/>
          <p:nvPr/>
        </p:nvSpPr>
        <p:spPr>
          <a:xfrm>
            <a:off x="3312239" y="3550993"/>
            <a:ext cx="2663620" cy="276999"/>
          </a:xfrm>
          <a:prstGeom prst="rect">
            <a:avLst/>
          </a:prstGeom>
          <a:noFill/>
        </p:spPr>
        <p:txBody>
          <a:bodyPr wrap="square" rtlCol="0">
            <a:spAutoFit/>
          </a:bodyPr>
          <a:lstStyle/>
          <a:p>
            <a:r>
              <a:rPr lang="en-US" sz="1200" b="1"/>
              <a:t>Community Impact</a:t>
            </a:r>
          </a:p>
        </p:txBody>
      </p:sp>
      <p:sp>
        <p:nvSpPr>
          <p:cNvPr id="26" name="Textfeld 25">
            <a:extLst>
              <a:ext uri="{FF2B5EF4-FFF2-40B4-BE49-F238E27FC236}">
                <a16:creationId xmlns:a16="http://schemas.microsoft.com/office/drawing/2014/main" id="{8FB12A0A-D6FD-54B8-ED39-1930641AA16F}"/>
              </a:ext>
            </a:extLst>
          </p:cNvPr>
          <p:cNvSpPr txBox="1"/>
          <p:nvPr/>
        </p:nvSpPr>
        <p:spPr>
          <a:xfrm>
            <a:off x="3418752" y="3822447"/>
            <a:ext cx="2557105" cy="830997"/>
          </a:xfrm>
          <a:prstGeom prst="rect">
            <a:avLst/>
          </a:prstGeom>
          <a:noFill/>
        </p:spPr>
        <p:txBody>
          <a:bodyPr wrap="square" rtlCol="0">
            <a:spAutoFit/>
          </a:bodyPr>
          <a:lstStyle/>
          <a:p>
            <a:r>
              <a:rPr lang="en-US" sz="1200"/>
              <a:t>Messages about how it positively contributes to the communities it operates in, through providing safe and accessible transportation</a:t>
            </a:r>
          </a:p>
        </p:txBody>
      </p:sp>
      <p:sp>
        <p:nvSpPr>
          <p:cNvPr id="27" name="Textfeld 26">
            <a:extLst>
              <a:ext uri="{FF2B5EF4-FFF2-40B4-BE49-F238E27FC236}">
                <a16:creationId xmlns:a16="http://schemas.microsoft.com/office/drawing/2014/main" id="{906DD234-1334-A651-8E6E-633B310CF1BA}"/>
              </a:ext>
            </a:extLst>
          </p:cNvPr>
          <p:cNvSpPr txBox="1"/>
          <p:nvPr/>
        </p:nvSpPr>
        <p:spPr>
          <a:xfrm>
            <a:off x="3312237" y="4838110"/>
            <a:ext cx="2663620" cy="276999"/>
          </a:xfrm>
          <a:prstGeom prst="rect">
            <a:avLst/>
          </a:prstGeom>
          <a:noFill/>
        </p:spPr>
        <p:txBody>
          <a:bodyPr wrap="square" rtlCol="0">
            <a:spAutoFit/>
          </a:bodyPr>
          <a:lstStyle/>
          <a:p>
            <a:r>
              <a:rPr lang="en-US" sz="1200" b="1" i="0">
                <a:effectLst/>
                <a:latin typeface="Söhne"/>
              </a:rPr>
              <a:t>Challenges</a:t>
            </a:r>
            <a:endParaRPr lang="en-US" sz="1200" b="1"/>
          </a:p>
        </p:txBody>
      </p:sp>
      <p:sp>
        <p:nvSpPr>
          <p:cNvPr id="28" name="Textfeld 27">
            <a:extLst>
              <a:ext uri="{FF2B5EF4-FFF2-40B4-BE49-F238E27FC236}">
                <a16:creationId xmlns:a16="http://schemas.microsoft.com/office/drawing/2014/main" id="{E145124C-73DF-414D-B34E-D6522318B776}"/>
              </a:ext>
            </a:extLst>
          </p:cNvPr>
          <p:cNvSpPr txBox="1"/>
          <p:nvPr/>
        </p:nvSpPr>
        <p:spPr>
          <a:xfrm>
            <a:off x="3418751" y="5109564"/>
            <a:ext cx="2511980" cy="830997"/>
          </a:xfrm>
          <a:prstGeom prst="rect">
            <a:avLst/>
          </a:prstGeom>
          <a:noFill/>
        </p:spPr>
        <p:txBody>
          <a:bodyPr wrap="square" rtlCol="0">
            <a:spAutoFit/>
          </a:bodyPr>
          <a:lstStyle/>
          <a:p>
            <a:r>
              <a:rPr lang="en-US" sz="1200"/>
              <a:t>Uber must address ongoing concerns about gig worker rights and community impacts, which can be sensitive areas</a:t>
            </a:r>
          </a:p>
        </p:txBody>
      </p:sp>
      <p:sp>
        <p:nvSpPr>
          <p:cNvPr id="29" name="Textfeld 28">
            <a:extLst>
              <a:ext uri="{FF2B5EF4-FFF2-40B4-BE49-F238E27FC236}">
                <a16:creationId xmlns:a16="http://schemas.microsoft.com/office/drawing/2014/main" id="{8B141678-E687-FDB8-C32A-AAF39F205E6C}"/>
              </a:ext>
            </a:extLst>
          </p:cNvPr>
          <p:cNvSpPr txBox="1"/>
          <p:nvPr/>
        </p:nvSpPr>
        <p:spPr>
          <a:xfrm>
            <a:off x="6370996" y="2707982"/>
            <a:ext cx="2557105" cy="830997"/>
          </a:xfrm>
          <a:prstGeom prst="rect">
            <a:avLst/>
          </a:prstGeom>
          <a:noFill/>
        </p:spPr>
        <p:txBody>
          <a:bodyPr wrap="square" rtlCol="0">
            <a:spAutoFit/>
          </a:bodyPr>
          <a:lstStyle/>
          <a:p>
            <a:r>
              <a:rPr lang="en-US" sz="1200"/>
              <a:t>Uber communicates about ethical practices, compliance with laws and governance structures to build trust among investors and regulators</a:t>
            </a:r>
          </a:p>
        </p:txBody>
      </p:sp>
      <p:sp>
        <p:nvSpPr>
          <p:cNvPr id="30" name="Textfeld 29">
            <a:extLst>
              <a:ext uri="{FF2B5EF4-FFF2-40B4-BE49-F238E27FC236}">
                <a16:creationId xmlns:a16="http://schemas.microsoft.com/office/drawing/2014/main" id="{992C763D-BB08-B590-BD83-1B5B31D58B17}"/>
              </a:ext>
            </a:extLst>
          </p:cNvPr>
          <p:cNvSpPr txBox="1"/>
          <p:nvPr/>
        </p:nvSpPr>
        <p:spPr>
          <a:xfrm>
            <a:off x="6264483" y="2430983"/>
            <a:ext cx="2663620" cy="276999"/>
          </a:xfrm>
          <a:prstGeom prst="rect">
            <a:avLst/>
          </a:prstGeom>
          <a:noFill/>
        </p:spPr>
        <p:txBody>
          <a:bodyPr wrap="square" rtlCol="0">
            <a:spAutoFit/>
          </a:bodyPr>
          <a:lstStyle/>
          <a:p>
            <a:r>
              <a:rPr lang="en-US" sz="1200" b="1"/>
              <a:t>Corporate Governance</a:t>
            </a:r>
          </a:p>
        </p:txBody>
      </p:sp>
      <p:sp>
        <p:nvSpPr>
          <p:cNvPr id="31" name="Textfeld 30">
            <a:extLst>
              <a:ext uri="{FF2B5EF4-FFF2-40B4-BE49-F238E27FC236}">
                <a16:creationId xmlns:a16="http://schemas.microsoft.com/office/drawing/2014/main" id="{819BBA6A-B6A0-EE29-0767-89E576D9F9C0}"/>
              </a:ext>
            </a:extLst>
          </p:cNvPr>
          <p:cNvSpPr txBox="1"/>
          <p:nvPr/>
        </p:nvSpPr>
        <p:spPr>
          <a:xfrm>
            <a:off x="6264483" y="3543043"/>
            <a:ext cx="2663620" cy="276999"/>
          </a:xfrm>
          <a:prstGeom prst="rect">
            <a:avLst/>
          </a:prstGeom>
          <a:noFill/>
        </p:spPr>
        <p:txBody>
          <a:bodyPr wrap="square" rtlCol="0">
            <a:spAutoFit/>
          </a:bodyPr>
          <a:lstStyle/>
          <a:p>
            <a:r>
              <a:rPr lang="en-US" sz="1200" b="1" i="0">
                <a:effectLst/>
                <a:latin typeface="Söhne"/>
              </a:rPr>
              <a:t>Transparency and Accountability</a:t>
            </a:r>
            <a:r>
              <a:rPr lang="en-US" sz="1200" b="0" i="0">
                <a:solidFill>
                  <a:srgbClr val="ECECF1"/>
                </a:solidFill>
                <a:effectLst/>
                <a:latin typeface="Söhne"/>
              </a:rPr>
              <a:t>:</a:t>
            </a:r>
            <a:endParaRPr lang="en-US" sz="1200" b="1"/>
          </a:p>
        </p:txBody>
      </p:sp>
      <p:sp>
        <p:nvSpPr>
          <p:cNvPr id="32" name="Textfeld 31">
            <a:extLst>
              <a:ext uri="{FF2B5EF4-FFF2-40B4-BE49-F238E27FC236}">
                <a16:creationId xmlns:a16="http://schemas.microsoft.com/office/drawing/2014/main" id="{F30EE381-B6FF-5B55-43F8-9FE50FF33D6D}"/>
              </a:ext>
            </a:extLst>
          </p:cNvPr>
          <p:cNvSpPr txBox="1"/>
          <p:nvPr/>
        </p:nvSpPr>
        <p:spPr>
          <a:xfrm>
            <a:off x="6370996" y="3814497"/>
            <a:ext cx="2557105" cy="830997"/>
          </a:xfrm>
          <a:prstGeom prst="rect">
            <a:avLst/>
          </a:prstGeom>
          <a:noFill/>
        </p:spPr>
        <p:txBody>
          <a:bodyPr wrap="square" rtlCol="0">
            <a:spAutoFit/>
          </a:bodyPr>
          <a:lstStyle/>
          <a:p>
            <a:r>
              <a:rPr lang="en-US" sz="1200"/>
              <a:t>Ubers communication includes efforts to be transparent about its business practices and accountable in its operations</a:t>
            </a:r>
          </a:p>
        </p:txBody>
      </p:sp>
      <p:sp>
        <p:nvSpPr>
          <p:cNvPr id="33" name="Textfeld 32">
            <a:extLst>
              <a:ext uri="{FF2B5EF4-FFF2-40B4-BE49-F238E27FC236}">
                <a16:creationId xmlns:a16="http://schemas.microsoft.com/office/drawing/2014/main" id="{301ECC39-7282-53D8-EDD9-45432EB51EB2}"/>
              </a:ext>
            </a:extLst>
          </p:cNvPr>
          <p:cNvSpPr txBox="1"/>
          <p:nvPr/>
        </p:nvSpPr>
        <p:spPr>
          <a:xfrm>
            <a:off x="6264481" y="4830160"/>
            <a:ext cx="2663620" cy="276999"/>
          </a:xfrm>
          <a:prstGeom prst="rect">
            <a:avLst/>
          </a:prstGeom>
          <a:noFill/>
        </p:spPr>
        <p:txBody>
          <a:bodyPr wrap="square" rtlCol="0">
            <a:spAutoFit/>
          </a:bodyPr>
          <a:lstStyle/>
          <a:p>
            <a:r>
              <a:rPr lang="en-US" sz="1200" b="1"/>
              <a:t>Challenges</a:t>
            </a:r>
          </a:p>
        </p:txBody>
      </p:sp>
      <p:sp>
        <p:nvSpPr>
          <p:cNvPr id="34" name="Textfeld 33">
            <a:extLst>
              <a:ext uri="{FF2B5EF4-FFF2-40B4-BE49-F238E27FC236}">
                <a16:creationId xmlns:a16="http://schemas.microsoft.com/office/drawing/2014/main" id="{D60CE5DE-2E2C-8D1F-DF0D-F506826046FE}"/>
              </a:ext>
            </a:extLst>
          </p:cNvPr>
          <p:cNvSpPr txBox="1"/>
          <p:nvPr/>
        </p:nvSpPr>
        <p:spPr>
          <a:xfrm>
            <a:off x="6370995" y="5101614"/>
            <a:ext cx="2511980" cy="830997"/>
          </a:xfrm>
          <a:prstGeom prst="rect">
            <a:avLst/>
          </a:prstGeom>
          <a:noFill/>
        </p:spPr>
        <p:txBody>
          <a:bodyPr wrap="square" rtlCol="0">
            <a:spAutoFit/>
          </a:bodyPr>
          <a:lstStyle/>
          <a:p>
            <a:r>
              <a:rPr lang="en-US" sz="1200"/>
              <a:t>Governance issues, related to legal challenges in different markets, require nuanced communication to maintain trust </a:t>
            </a:r>
          </a:p>
        </p:txBody>
      </p:sp>
      <p:sp>
        <p:nvSpPr>
          <p:cNvPr id="35" name="Textfeld 34">
            <a:extLst>
              <a:ext uri="{FF2B5EF4-FFF2-40B4-BE49-F238E27FC236}">
                <a16:creationId xmlns:a16="http://schemas.microsoft.com/office/drawing/2014/main" id="{E8D69AFD-0E3D-B412-3102-D9C1198D86A5}"/>
              </a:ext>
            </a:extLst>
          </p:cNvPr>
          <p:cNvSpPr txBox="1"/>
          <p:nvPr/>
        </p:nvSpPr>
        <p:spPr>
          <a:xfrm>
            <a:off x="359995" y="2095972"/>
            <a:ext cx="2663620" cy="307777"/>
          </a:xfrm>
          <a:prstGeom prst="rect">
            <a:avLst/>
          </a:prstGeom>
          <a:noFill/>
        </p:spPr>
        <p:txBody>
          <a:bodyPr wrap="square" rtlCol="0">
            <a:spAutoFit/>
          </a:bodyPr>
          <a:lstStyle/>
          <a:p>
            <a:r>
              <a:rPr lang="en-US" sz="1400" b="1"/>
              <a:t>Environment</a:t>
            </a:r>
          </a:p>
        </p:txBody>
      </p:sp>
      <p:sp>
        <p:nvSpPr>
          <p:cNvPr id="36" name="Textfeld 35">
            <a:extLst>
              <a:ext uri="{FF2B5EF4-FFF2-40B4-BE49-F238E27FC236}">
                <a16:creationId xmlns:a16="http://schemas.microsoft.com/office/drawing/2014/main" id="{A6DE65E6-5113-1311-54B0-17FA5A0BB1E8}"/>
              </a:ext>
            </a:extLst>
          </p:cNvPr>
          <p:cNvSpPr txBox="1"/>
          <p:nvPr/>
        </p:nvSpPr>
        <p:spPr>
          <a:xfrm>
            <a:off x="3312236" y="2095971"/>
            <a:ext cx="2663620" cy="307777"/>
          </a:xfrm>
          <a:prstGeom prst="rect">
            <a:avLst/>
          </a:prstGeom>
          <a:noFill/>
        </p:spPr>
        <p:txBody>
          <a:bodyPr wrap="square" rtlCol="0">
            <a:spAutoFit/>
          </a:bodyPr>
          <a:lstStyle/>
          <a:p>
            <a:r>
              <a:rPr lang="en-US" sz="1400" b="1"/>
              <a:t>Social</a:t>
            </a:r>
          </a:p>
        </p:txBody>
      </p:sp>
      <p:sp>
        <p:nvSpPr>
          <p:cNvPr id="37" name="Textfeld 36">
            <a:extLst>
              <a:ext uri="{FF2B5EF4-FFF2-40B4-BE49-F238E27FC236}">
                <a16:creationId xmlns:a16="http://schemas.microsoft.com/office/drawing/2014/main" id="{AC28775C-9188-F63D-6F95-A6C8943F1B08}"/>
              </a:ext>
            </a:extLst>
          </p:cNvPr>
          <p:cNvSpPr txBox="1"/>
          <p:nvPr/>
        </p:nvSpPr>
        <p:spPr>
          <a:xfrm>
            <a:off x="6264477" y="2095970"/>
            <a:ext cx="2663620" cy="307777"/>
          </a:xfrm>
          <a:prstGeom prst="rect">
            <a:avLst/>
          </a:prstGeom>
          <a:noFill/>
        </p:spPr>
        <p:txBody>
          <a:bodyPr wrap="square" rtlCol="0">
            <a:spAutoFit/>
          </a:bodyPr>
          <a:lstStyle/>
          <a:p>
            <a:r>
              <a:rPr lang="en-US" sz="1400" b="1"/>
              <a:t>Governance</a:t>
            </a:r>
          </a:p>
        </p:txBody>
      </p:sp>
      <p:sp>
        <p:nvSpPr>
          <p:cNvPr id="38" name="Textfeld 37">
            <a:extLst>
              <a:ext uri="{FF2B5EF4-FFF2-40B4-BE49-F238E27FC236}">
                <a16:creationId xmlns:a16="http://schemas.microsoft.com/office/drawing/2014/main" id="{ABEFC7AC-C771-53F1-16FB-41C72D52BA2C}"/>
              </a:ext>
            </a:extLst>
          </p:cNvPr>
          <p:cNvSpPr txBox="1"/>
          <p:nvPr/>
        </p:nvSpPr>
        <p:spPr>
          <a:xfrm>
            <a:off x="356006" y="5981836"/>
            <a:ext cx="8563379" cy="461665"/>
          </a:xfrm>
          <a:prstGeom prst="rect">
            <a:avLst/>
          </a:prstGeom>
          <a:noFill/>
        </p:spPr>
        <p:txBody>
          <a:bodyPr wrap="square">
            <a:spAutoFit/>
          </a:bodyPr>
          <a:lstStyle/>
          <a:p>
            <a:r>
              <a:rPr lang="en-US" sz="1200"/>
              <a:t>Uber communicates in these areas through different means, like </a:t>
            </a:r>
            <a:r>
              <a:rPr lang="en-US" sz="1200" b="1"/>
              <a:t>integrating ESG factors into its reports</a:t>
            </a:r>
            <a:r>
              <a:rPr lang="en-US" sz="1200"/>
              <a:t> and </a:t>
            </a:r>
            <a:r>
              <a:rPr lang="en-US" sz="1200" b="1"/>
              <a:t>tailoring ESG-related communication </a:t>
            </a:r>
            <a:r>
              <a:rPr lang="en-US" sz="1200"/>
              <a:t>to </a:t>
            </a:r>
            <a:r>
              <a:rPr lang="en-US" sz="1200" b="1"/>
              <a:t>different stakeholders</a:t>
            </a:r>
            <a:r>
              <a:rPr lang="en-US" sz="1200"/>
              <a:t>.</a:t>
            </a:r>
          </a:p>
        </p:txBody>
      </p:sp>
      <p:grpSp>
        <p:nvGrpSpPr>
          <p:cNvPr id="3" name="Environment2" descr="{&quot;Key&quot;:&quot;POWER_USER_SHAPE_ICON&quot;,&quot;Value&quot;:&quot;POWER_USER_SHAPE_ICON_STYLE_1&quot;}">
            <a:extLst>
              <a:ext uri="{FF2B5EF4-FFF2-40B4-BE49-F238E27FC236}">
                <a16:creationId xmlns:a16="http://schemas.microsoft.com/office/drawing/2014/main" id="{B6F34290-F3DA-99AB-5FC2-1A806EC61AB1}"/>
              </a:ext>
            </a:extLst>
          </p:cNvPr>
          <p:cNvGrpSpPr>
            <a:grpSpLocks noChangeAspect="1"/>
          </p:cNvGrpSpPr>
          <p:nvPr/>
        </p:nvGrpSpPr>
        <p:grpSpPr>
          <a:xfrm>
            <a:off x="2643957" y="2113984"/>
            <a:ext cx="308727" cy="386545"/>
            <a:chOff x="7256599" y="5035787"/>
            <a:chExt cx="609601" cy="763258"/>
          </a:xfrm>
        </p:grpSpPr>
        <p:grpSp>
          <p:nvGrpSpPr>
            <p:cNvPr id="11" name="Group 3170">
              <a:extLst>
                <a:ext uri="{FF2B5EF4-FFF2-40B4-BE49-F238E27FC236}">
                  <a16:creationId xmlns:a16="http://schemas.microsoft.com/office/drawing/2014/main" id="{CE11BC95-67E3-037A-6266-2317AED3EA0E}"/>
                </a:ext>
              </a:extLst>
            </p:cNvPr>
            <p:cNvGrpSpPr/>
            <p:nvPr/>
          </p:nvGrpSpPr>
          <p:grpSpPr>
            <a:xfrm>
              <a:off x="7256599" y="5392645"/>
              <a:ext cx="609601" cy="406400"/>
              <a:chOff x="7429283" y="4277567"/>
              <a:chExt cx="609601" cy="406400"/>
            </a:xfrm>
          </p:grpSpPr>
          <p:sp>
            <p:nvSpPr>
              <p:cNvPr id="45" name="Freeform 949">
                <a:extLst>
                  <a:ext uri="{FF2B5EF4-FFF2-40B4-BE49-F238E27FC236}">
                    <a16:creationId xmlns:a16="http://schemas.microsoft.com/office/drawing/2014/main" id="{BD5B48FD-F948-82F7-A61C-1E656892F540}"/>
                  </a:ext>
                </a:extLst>
              </p:cNvPr>
              <p:cNvSpPr>
                <a:spLocks/>
              </p:cNvSpPr>
              <p:nvPr/>
            </p:nvSpPr>
            <p:spPr bwMode="auto">
              <a:xfrm>
                <a:off x="7429283" y="4277567"/>
                <a:ext cx="134938" cy="331788"/>
              </a:xfrm>
              <a:custGeom>
                <a:avLst/>
                <a:gdLst>
                  <a:gd name="T0" fmla="*/ 137 w 267"/>
                  <a:gd name="T1" fmla="*/ 271 h 652"/>
                  <a:gd name="T2" fmla="*/ 112 w 267"/>
                  <a:gd name="T3" fmla="*/ 94 h 652"/>
                  <a:gd name="T4" fmla="*/ 0 w 267"/>
                  <a:gd name="T5" fmla="*/ 0 h 652"/>
                  <a:gd name="T6" fmla="*/ 12 w 267"/>
                  <a:gd name="T7" fmla="*/ 397 h 652"/>
                  <a:gd name="T8" fmla="*/ 267 w 267"/>
                  <a:gd name="T9" fmla="*/ 652 h 652"/>
                </a:gdLst>
                <a:ahLst/>
                <a:cxnLst>
                  <a:cxn ang="0">
                    <a:pos x="T0" y="T1"/>
                  </a:cxn>
                  <a:cxn ang="0">
                    <a:pos x="T2" y="T3"/>
                  </a:cxn>
                  <a:cxn ang="0">
                    <a:pos x="T4" y="T5"/>
                  </a:cxn>
                  <a:cxn ang="0">
                    <a:pos x="T6" y="T7"/>
                  </a:cxn>
                  <a:cxn ang="0">
                    <a:pos x="T8" y="T9"/>
                  </a:cxn>
                </a:cxnLst>
                <a:rect l="0" t="0" r="r" b="b"/>
                <a:pathLst>
                  <a:path w="267" h="652">
                    <a:moveTo>
                      <a:pt x="137" y="271"/>
                    </a:moveTo>
                    <a:cubicBezTo>
                      <a:pt x="137" y="271"/>
                      <a:pt x="122" y="166"/>
                      <a:pt x="112" y="94"/>
                    </a:cubicBezTo>
                    <a:cubicBezTo>
                      <a:pt x="101" y="19"/>
                      <a:pt x="54" y="0"/>
                      <a:pt x="0" y="0"/>
                    </a:cubicBezTo>
                    <a:lnTo>
                      <a:pt x="12" y="397"/>
                    </a:lnTo>
                    <a:lnTo>
                      <a:pt x="267" y="652"/>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950">
                <a:extLst>
                  <a:ext uri="{FF2B5EF4-FFF2-40B4-BE49-F238E27FC236}">
                    <a16:creationId xmlns:a16="http://schemas.microsoft.com/office/drawing/2014/main" id="{AC4F1E46-0FDB-1366-C315-8F9881C140A7}"/>
                  </a:ext>
                </a:extLst>
              </p:cNvPr>
              <p:cNvSpPr>
                <a:spLocks/>
              </p:cNvSpPr>
              <p:nvPr/>
            </p:nvSpPr>
            <p:spPr bwMode="auto">
              <a:xfrm>
                <a:off x="7475321" y="4406154"/>
                <a:ext cx="196850" cy="212725"/>
              </a:xfrm>
              <a:custGeom>
                <a:avLst/>
                <a:gdLst>
                  <a:gd name="T0" fmla="*/ 373 w 386"/>
                  <a:gd name="T1" fmla="*/ 420 h 420"/>
                  <a:gd name="T2" fmla="*/ 320 w 386"/>
                  <a:gd name="T3" fmla="*/ 193 h 420"/>
                  <a:gd name="T4" fmla="*/ 193 w 386"/>
                  <a:gd name="T5" fmla="*/ 123 h 420"/>
                  <a:gd name="T6" fmla="*/ 117 w 386"/>
                  <a:gd name="T7" fmla="*/ 47 h 420"/>
                  <a:gd name="T8" fmla="*/ 0 w 386"/>
                  <a:gd name="T9" fmla="*/ 59 h 420"/>
                  <a:gd name="T10" fmla="*/ 159 w 386"/>
                  <a:gd name="T11" fmla="*/ 219 h 420"/>
                </a:gdLst>
                <a:ahLst/>
                <a:cxnLst>
                  <a:cxn ang="0">
                    <a:pos x="T0" y="T1"/>
                  </a:cxn>
                  <a:cxn ang="0">
                    <a:pos x="T2" y="T3"/>
                  </a:cxn>
                  <a:cxn ang="0">
                    <a:pos x="T4" y="T5"/>
                  </a:cxn>
                  <a:cxn ang="0">
                    <a:pos x="T6" y="T7"/>
                  </a:cxn>
                  <a:cxn ang="0">
                    <a:pos x="T8" y="T9"/>
                  </a:cxn>
                  <a:cxn ang="0">
                    <a:pos x="T10" y="T11"/>
                  </a:cxn>
                </a:cxnLst>
                <a:rect l="0" t="0" r="r" b="b"/>
                <a:pathLst>
                  <a:path w="386" h="420">
                    <a:moveTo>
                      <a:pt x="373" y="420"/>
                    </a:moveTo>
                    <a:cubicBezTo>
                      <a:pt x="386" y="306"/>
                      <a:pt x="370" y="243"/>
                      <a:pt x="320" y="193"/>
                    </a:cubicBezTo>
                    <a:cubicBezTo>
                      <a:pt x="279" y="151"/>
                      <a:pt x="252" y="134"/>
                      <a:pt x="193" y="123"/>
                    </a:cubicBezTo>
                    <a:cubicBezTo>
                      <a:pt x="166" y="95"/>
                      <a:pt x="129" y="59"/>
                      <a:pt x="117" y="47"/>
                    </a:cubicBezTo>
                    <a:cubicBezTo>
                      <a:pt x="105" y="34"/>
                      <a:pt x="59" y="0"/>
                      <a:pt x="0" y="59"/>
                    </a:cubicBezTo>
                    <a:lnTo>
                      <a:pt x="159" y="219"/>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953">
                <a:extLst>
                  <a:ext uri="{FF2B5EF4-FFF2-40B4-BE49-F238E27FC236}">
                    <a16:creationId xmlns:a16="http://schemas.microsoft.com/office/drawing/2014/main" id="{8EDEE7F2-33D0-7EBA-3FDE-96ECF0D47DB2}"/>
                  </a:ext>
                </a:extLst>
              </p:cNvPr>
              <p:cNvSpPr>
                <a:spLocks/>
              </p:cNvSpPr>
              <p:nvPr/>
            </p:nvSpPr>
            <p:spPr bwMode="auto">
              <a:xfrm>
                <a:off x="7522946" y="4623642"/>
                <a:ext cx="173038" cy="60325"/>
              </a:xfrm>
              <a:custGeom>
                <a:avLst/>
                <a:gdLst>
                  <a:gd name="T0" fmla="*/ 340 w 340"/>
                  <a:gd name="T1" fmla="*/ 120 h 120"/>
                  <a:gd name="T2" fmla="*/ 340 w 340"/>
                  <a:gd name="T3" fmla="*/ 0 h 120"/>
                  <a:gd name="T4" fmla="*/ 0 w 340"/>
                  <a:gd name="T5" fmla="*/ 0 h 120"/>
                  <a:gd name="T6" fmla="*/ 0 w 340"/>
                  <a:gd name="T7" fmla="*/ 120 h 120"/>
                </a:gdLst>
                <a:ahLst/>
                <a:cxnLst>
                  <a:cxn ang="0">
                    <a:pos x="T0" y="T1"/>
                  </a:cxn>
                  <a:cxn ang="0">
                    <a:pos x="T2" y="T3"/>
                  </a:cxn>
                  <a:cxn ang="0">
                    <a:pos x="T4" y="T5"/>
                  </a:cxn>
                  <a:cxn ang="0">
                    <a:pos x="T6" y="T7"/>
                  </a:cxn>
                </a:cxnLst>
                <a:rect l="0" t="0" r="r" b="b"/>
                <a:pathLst>
                  <a:path w="340" h="120">
                    <a:moveTo>
                      <a:pt x="340" y="120"/>
                    </a:moveTo>
                    <a:lnTo>
                      <a:pt x="340" y="0"/>
                    </a:lnTo>
                    <a:lnTo>
                      <a:pt x="0" y="0"/>
                    </a:lnTo>
                    <a:lnTo>
                      <a:pt x="0" y="120"/>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954">
                <a:extLst>
                  <a:ext uri="{FF2B5EF4-FFF2-40B4-BE49-F238E27FC236}">
                    <a16:creationId xmlns:a16="http://schemas.microsoft.com/office/drawing/2014/main" id="{8D4BE004-4EA4-9D82-D398-7C5692A4B39D}"/>
                  </a:ext>
                </a:extLst>
              </p:cNvPr>
              <p:cNvSpPr>
                <a:spLocks/>
              </p:cNvSpPr>
              <p:nvPr/>
            </p:nvSpPr>
            <p:spPr bwMode="auto">
              <a:xfrm>
                <a:off x="7903946" y="4277567"/>
                <a:ext cx="134938" cy="331788"/>
              </a:xfrm>
              <a:custGeom>
                <a:avLst/>
                <a:gdLst>
                  <a:gd name="T0" fmla="*/ 131 w 267"/>
                  <a:gd name="T1" fmla="*/ 271 h 652"/>
                  <a:gd name="T2" fmla="*/ 156 w 267"/>
                  <a:gd name="T3" fmla="*/ 94 h 652"/>
                  <a:gd name="T4" fmla="*/ 267 w 267"/>
                  <a:gd name="T5" fmla="*/ 0 h 652"/>
                  <a:gd name="T6" fmla="*/ 255 w 267"/>
                  <a:gd name="T7" fmla="*/ 397 h 652"/>
                  <a:gd name="T8" fmla="*/ 0 w 267"/>
                  <a:gd name="T9" fmla="*/ 652 h 652"/>
                </a:gdLst>
                <a:ahLst/>
                <a:cxnLst>
                  <a:cxn ang="0">
                    <a:pos x="T0" y="T1"/>
                  </a:cxn>
                  <a:cxn ang="0">
                    <a:pos x="T2" y="T3"/>
                  </a:cxn>
                  <a:cxn ang="0">
                    <a:pos x="T4" y="T5"/>
                  </a:cxn>
                  <a:cxn ang="0">
                    <a:pos x="T6" y="T7"/>
                  </a:cxn>
                  <a:cxn ang="0">
                    <a:pos x="T8" y="T9"/>
                  </a:cxn>
                </a:cxnLst>
                <a:rect l="0" t="0" r="r" b="b"/>
                <a:pathLst>
                  <a:path w="267" h="652">
                    <a:moveTo>
                      <a:pt x="131" y="271"/>
                    </a:moveTo>
                    <a:cubicBezTo>
                      <a:pt x="131" y="271"/>
                      <a:pt x="145" y="166"/>
                      <a:pt x="156" y="94"/>
                    </a:cubicBezTo>
                    <a:cubicBezTo>
                      <a:pt x="166" y="19"/>
                      <a:pt x="213" y="0"/>
                      <a:pt x="267" y="0"/>
                    </a:cubicBezTo>
                    <a:lnTo>
                      <a:pt x="255" y="397"/>
                    </a:lnTo>
                    <a:lnTo>
                      <a:pt x="0" y="652"/>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955">
                <a:extLst>
                  <a:ext uri="{FF2B5EF4-FFF2-40B4-BE49-F238E27FC236}">
                    <a16:creationId xmlns:a16="http://schemas.microsoft.com/office/drawing/2014/main" id="{40312D52-E5E9-86ED-DBD1-7CE8C5E50846}"/>
                  </a:ext>
                </a:extLst>
              </p:cNvPr>
              <p:cNvSpPr>
                <a:spLocks/>
              </p:cNvSpPr>
              <p:nvPr/>
            </p:nvSpPr>
            <p:spPr bwMode="auto">
              <a:xfrm>
                <a:off x="7797583" y="4406154"/>
                <a:ext cx="195263" cy="212725"/>
              </a:xfrm>
              <a:custGeom>
                <a:avLst/>
                <a:gdLst>
                  <a:gd name="T0" fmla="*/ 12 w 386"/>
                  <a:gd name="T1" fmla="*/ 420 h 420"/>
                  <a:gd name="T2" fmla="*/ 65 w 386"/>
                  <a:gd name="T3" fmla="*/ 193 h 420"/>
                  <a:gd name="T4" fmla="*/ 193 w 386"/>
                  <a:gd name="T5" fmla="*/ 123 h 420"/>
                  <a:gd name="T6" fmla="*/ 269 w 386"/>
                  <a:gd name="T7" fmla="*/ 47 h 420"/>
                  <a:gd name="T8" fmla="*/ 386 w 386"/>
                  <a:gd name="T9" fmla="*/ 59 h 420"/>
                  <a:gd name="T10" fmla="*/ 226 w 386"/>
                  <a:gd name="T11" fmla="*/ 219 h 420"/>
                </a:gdLst>
                <a:ahLst/>
                <a:cxnLst>
                  <a:cxn ang="0">
                    <a:pos x="T0" y="T1"/>
                  </a:cxn>
                  <a:cxn ang="0">
                    <a:pos x="T2" y="T3"/>
                  </a:cxn>
                  <a:cxn ang="0">
                    <a:pos x="T4" y="T5"/>
                  </a:cxn>
                  <a:cxn ang="0">
                    <a:pos x="T6" y="T7"/>
                  </a:cxn>
                  <a:cxn ang="0">
                    <a:pos x="T8" y="T9"/>
                  </a:cxn>
                  <a:cxn ang="0">
                    <a:pos x="T10" y="T11"/>
                  </a:cxn>
                </a:cxnLst>
                <a:rect l="0" t="0" r="r" b="b"/>
                <a:pathLst>
                  <a:path w="386" h="420">
                    <a:moveTo>
                      <a:pt x="12" y="420"/>
                    </a:moveTo>
                    <a:cubicBezTo>
                      <a:pt x="0" y="306"/>
                      <a:pt x="15" y="243"/>
                      <a:pt x="65" y="193"/>
                    </a:cubicBezTo>
                    <a:cubicBezTo>
                      <a:pt x="106" y="151"/>
                      <a:pt x="133" y="134"/>
                      <a:pt x="193" y="123"/>
                    </a:cubicBezTo>
                    <a:lnTo>
                      <a:pt x="269" y="47"/>
                    </a:lnTo>
                    <a:cubicBezTo>
                      <a:pt x="281" y="34"/>
                      <a:pt x="327" y="0"/>
                      <a:pt x="386" y="59"/>
                    </a:cubicBezTo>
                    <a:lnTo>
                      <a:pt x="226" y="219"/>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958">
                <a:extLst>
                  <a:ext uri="{FF2B5EF4-FFF2-40B4-BE49-F238E27FC236}">
                    <a16:creationId xmlns:a16="http://schemas.microsoft.com/office/drawing/2014/main" id="{CAA79BE8-3863-A351-112B-E069662D774C}"/>
                  </a:ext>
                </a:extLst>
              </p:cNvPr>
              <p:cNvSpPr>
                <a:spLocks/>
              </p:cNvSpPr>
              <p:nvPr/>
            </p:nvSpPr>
            <p:spPr bwMode="auto">
              <a:xfrm>
                <a:off x="7773771" y="4623642"/>
                <a:ext cx="173038" cy="60325"/>
              </a:xfrm>
              <a:custGeom>
                <a:avLst/>
                <a:gdLst>
                  <a:gd name="T0" fmla="*/ 0 w 341"/>
                  <a:gd name="T1" fmla="*/ 120 h 120"/>
                  <a:gd name="T2" fmla="*/ 0 w 341"/>
                  <a:gd name="T3" fmla="*/ 0 h 120"/>
                  <a:gd name="T4" fmla="*/ 341 w 341"/>
                  <a:gd name="T5" fmla="*/ 0 h 120"/>
                  <a:gd name="T6" fmla="*/ 341 w 341"/>
                  <a:gd name="T7" fmla="*/ 120 h 120"/>
                </a:gdLst>
                <a:ahLst/>
                <a:cxnLst>
                  <a:cxn ang="0">
                    <a:pos x="T0" y="T1"/>
                  </a:cxn>
                  <a:cxn ang="0">
                    <a:pos x="T2" y="T3"/>
                  </a:cxn>
                  <a:cxn ang="0">
                    <a:pos x="T4" y="T5"/>
                  </a:cxn>
                  <a:cxn ang="0">
                    <a:pos x="T6" y="T7"/>
                  </a:cxn>
                </a:cxnLst>
                <a:rect l="0" t="0" r="r" b="b"/>
                <a:pathLst>
                  <a:path w="341" h="120">
                    <a:moveTo>
                      <a:pt x="0" y="120"/>
                    </a:moveTo>
                    <a:lnTo>
                      <a:pt x="0" y="0"/>
                    </a:lnTo>
                    <a:lnTo>
                      <a:pt x="341" y="0"/>
                    </a:lnTo>
                    <a:lnTo>
                      <a:pt x="341" y="120"/>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 name="Globe5" descr="{&quot;Key&quot;:&quot;POWER_USER_SHAPE_ICON&quot;,&quot;Value&quot;:&quot;POWER_USER_SHAPE_ICON_STYLE_1&quot;}">
              <a:extLst>
                <a:ext uri="{FF2B5EF4-FFF2-40B4-BE49-F238E27FC236}">
                  <a16:creationId xmlns:a16="http://schemas.microsoft.com/office/drawing/2014/main" id="{AEC62B49-FABD-C76F-3AAA-951C05BE770A}"/>
                </a:ext>
              </a:extLst>
            </p:cNvPr>
            <p:cNvGrpSpPr>
              <a:grpSpLocks noChangeAspect="1"/>
            </p:cNvGrpSpPr>
            <p:nvPr/>
          </p:nvGrpSpPr>
          <p:grpSpPr>
            <a:xfrm>
              <a:off x="7364176" y="5035787"/>
              <a:ext cx="394447" cy="473142"/>
              <a:chOff x="7132638" y="1668463"/>
              <a:chExt cx="644525" cy="773112"/>
            </a:xfrm>
          </p:grpSpPr>
          <p:sp>
            <p:nvSpPr>
              <p:cNvPr id="13" name="Oval 100">
                <a:extLst>
                  <a:ext uri="{FF2B5EF4-FFF2-40B4-BE49-F238E27FC236}">
                    <a16:creationId xmlns:a16="http://schemas.microsoft.com/office/drawing/2014/main" id="{E5BEC35F-3143-1E56-955A-D4BC2A64B653}"/>
                  </a:ext>
                </a:extLst>
              </p:cNvPr>
              <p:cNvSpPr>
                <a:spLocks noChangeArrowheads="1"/>
              </p:cNvSpPr>
              <p:nvPr/>
            </p:nvSpPr>
            <p:spPr bwMode="auto">
              <a:xfrm>
                <a:off x="7132638" y="1708150"/>
                <a:ext cx="584200" cy="584200"/>
              </a:xfrm>
              <a:prstGeom prst="ellipse">
                <a:avLst/>
              </a:prstGeom>
              <a:noFill/>
              <a:ln w="190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01">
                <a:extLst>
                  <a:ext uri="{FF2B5EF4-FFF2-40B4-BE49-F238E27FC236}">
                    <a16:creationId xmlns:a16="http://schemas.microsoft.com/office/drawing/2014/main" id="{D7129847-2163-0693-3A27-BD490969FB76}"/>
                  </a:ext>
                </a:extLst>
              </p:cNvPr>
              <p:cNvSpPr>
                <a:spLocks/>
              </p:cNvSpPr>
              <p:nvPr/>
            </p:nvSpPr>
            <p:spPr bwMode="auto">
              <a:xfrm>
                <a:off x="7288213" y="1668463"/>
                <a:ext cx="488950" cy="684213"/>
              </a:xfrm>
              <a:custGeom>
                <a:avLst/>
                <a:gdLst>
                  <a:gd name="T0" fmla="*/ 0 w 653"/>
                  <a:gd name="T1" fmla="*/ 873 h 910"/>
                  <a:gd name="T2" fmla="*/ 183 w 653"/>
                  <a:gd name="T3" fmla="*/ 910 h 910"/>
                  <a:gd name="T4" fmla="*/ 653 w 653"/>
                  <a:gd name="T5" fmla="*/ 440 h 910"/>
                  <a:gd name="T6" fmla="*/ 348 w 653"/>
                  <a:gd name="T7" fmla="*/ 0 h 910"/>
                </a:gdLst>
                <a:ahLst/>
                <a:cxnLst>
                  <a:cxn ang="0">
                    <a:pos x="T0" y="T1"/>
                  </a:cxn>
                  <a:cxn ang="0">
                    <a:pos x="T2" y="T3"/>
                  </a:cxn>
                  <a:cxn ang="0">
                    <a:pos x="T4" y="T5"/>
                  </a:cxn>
                  <a:cxn ang="0">
                    <a:pos x="T6" y="T7"/>
                  </a:cxn>
                </a:cxnLst>
                <a:rect l="0" t="0" r="r" b="b"/>
                <a:pathLst>
                  <a:path w="653" h="910">
                    <a:moveTo>
                      <a:pt x="0" y="873"/>
                    </a:moveTo>
                    <a:cubicBezTo>
                      <a:pt x="56" y="897"/>
                      <a:pt x="118" y="910"/>
                      <a:pt x="183" y="910"/>
                    </a:cubicBezTo>
                    <a:cubicBezTo>
                      <a:pt x="442" y="910"/>
                      <a:pt x="653" y="700"/>
                      <a:pt x="653" y="440"/>
                    </a:cubicBezTo>
                    <a:cubicBezTo>
                      <a:pt x="653" y="239"/>
                      <a:pt x="526" y="67"/>
                      <a:pt x="348" y="0"/>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02">
                <a:extLst>
                  <a:ext uri="{FF2B5EF4-FFF2-40B4-BE49-F238E27FC236}">
                    <a16:creationId xmlns:a16="http://schemas.microsoft.com/office/drawing/2014/main" id="{136962FA-55E3-EC3B-7F58-FE02B8914DDC}"/>
                  </a:ext>
                </a:extLst>
              </p:cNvPr>
              <p:cNvSpPr>
                <a:spLocks/>
              </p:cNvSpPr>
              <p:nvPr/>
            </p:nvSpPr>
            <p:spPr bwMode="auto">
              <a:xfrm>
                <a:off x="7542213" y="1803400"/>
                <a:ext cx="134938" cy="341313"/>
              </a:xfrm>
              <a:custGeom>
                <a:avLst/>
                <a:gdLst>
                  <a:gd name="T0" fmla="*/ 131 w 179"/>
                  <a:gd name="T1" fmla="*/ 0 h 454"/>
                  <a:gd name="T2" fmla="*/ 0 w 179"/>
                  <a:gd name="T3" fmla="*/ 192 h 454"/>
                  <a:gd name="T4" fmla="*/ 13 w 179"/>
                  <a:gd name="T5" fmla="*/ 252 h 454"/>
                  <a:gd name="T6" fmla="*/ 56 w 179"/>
                  <a:gd name="T7" fmla="*/ 305 h 454"/>
                  <a:gd name="T8" fmla="*/ 117 w 179"/>
                  <a:gd name="T9" fmla="*/ 331 h 454"/>
                  <a:gd name="T10" fmla="*/ 137 w 179"/>
                  <a:gd name="T11" fmla="*/ 425 h 454"/>
                  <a:gd name="T12" fmla="*/ 179 w 179"/>
                  <a:gd name="T13" fmla="*/ 454 h 454"/>
                </a:gdLst>
                <a:ahLst/>
                <a:cxnLst>
                  <a:cxn ang="0">
                    <a:pos x="T0" y="T1"/>
                  </a:cxn>
                  <a:cxn ang="0">
                    <a:pos x="T2" y="T3"/>
                  </a:cxn>
                  <a:cxn ang="0">
                    <a:pos x="T4" y="T5"/>
                  </a:cxn>
                  <a:cxn ang="0">
                    <a:pos x="T6" y="T7"/>
                  </a:cxn>
                  <a:cxn ang="0">
                    <a:pos x="T8" y="T9"/>
                  </a:cxn>
                  <a:cxn ang="0">
                    <a:pos x="T10" y="T11"/>
                  </a:cxn>
                  <a:cxn ang="0">
                    <a:pos x="T12" y="T13"/>
                  </a:cxn>
                </a:cxnLst>
                <a:rect l="0" t="0" r="r" b="b"/>
                <a:pathLst>
                  <a:path w="179" h="454">
                    <a:moveTo>
                      <a:pt x="131" y="0"/>
                    </a:moveTo>
                    <a:lnTo>
                      <a:pt x="0" y="192"/>
                    </a:lnTo>
                    <a:lnTo>
                      <a:pt x="13" y="252"/>
                    </a:lnTo>
                    <a:lnTo>
                      <a:pt x="56" y="305"/>
                    </a:lnTo>
                    <a:lnTo>
                      <a:pt x="117" y="331"/>
                    </a:lnTo>
                    <a:lnTo>
                      <a:pt x="137" y="425"/>
                    </a:lnTo>
                    <a:lnTo>
                      <a:pt x="179" y="454"/>
                    </a:lnTo>
                  </a:path>
                </a:pathLst>
              </a:custGeom>
              <a:noFill/>
              <a:ln w="190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03">
                <a:extLst>
                  <a:ext uri="{FF2B5EF4-FFF2-40B4-BE49-F238E27FC236}">
                    <a16:creationId xmlns:a16="http://schemas.microsoft.com/office/drawing/2014/main" id="{20938168-14F1-15AF-FAC2-A1F01ED287D4}"/>
                  </a:ext>
                </a:extLst>
              </p:cNvPr>
              <p:cNvSpPr>
                <a:spLocks/>
              </p:cNvSpPr>
              <p:nvPr/>
            </p:nvSpPr>
            <p:spPr bwMode="auto">
              <a:xfrm>
                <a:off x="7186613" y="1763713"/>
                <a:ext cx="407988" cy="438150"/>
              </a:xfrm>
              <a:custGeom>
                <a:avLst/>
                <a:gdLst>
                  <a:gd name="T0" fmla="*/ 0 w 545"/>
                  <a:gd name="T1" fmla="*/ 91 h 584"/>
                  <a:gd name="T2" fmla="*/ 26 w 545"/>
                  <a:gd name="T3" fmla="*/ 144 h 584"/>
                  <a:gd name="T4" fmla="*/ 46 w 545"/>
                  <a:gd name="T5" fmla="*/ 223 h 584"/>
                  <a:gd name="T6" fmla="*/ 89 w 545"/>
                  <a:gd name="T7" fmla="*/ 286 h 584"/>
                  <a:gd name="T8" fmla="*/ 153 w 545"/>
                  <a:gd name="T9" fmla="*/ 332 h 584"/>
                  <a:gd name="T10" fmla="*/ 190 w 545"/>
                  <a:gd name="T11" fmla="*/ 439 h 584"/>
                  <a:gd name="T12" fmla="*/ 293 w 545"/>
                  <a:gd name="T13" fmla="*/ 584 h 584"/>
                  <a:gd name="T14" fmla="*/ 328 w 545"/>
                  <a:gd name="T15" fmla="*/ 584 h 584"/>
                  <a:gd name="T16" fmla="*/ 385 w 545"/>
                  <a:gd name="T17" fmla="*/ 401 h 584"/>
                  <a:gd name="T18" fmla="*/ 366 w 545"/>
                  <a:gd name="T19" fmla="*/ 350 h 584"/>
                  <a:gd name="T20" fmla="*/ 189 w 545"/>
                  <a:gd name="T21" fmla="*/ 299 h 584"/>
                  <a:gd name="T22" fmla="*/ 151 w 545"/>
                  <a:gd name="T23" fmla="*/ 249 h 584"/>
                  <a:gd name="T24" fmla="*/ 265 w 545"/>
                  <a:gd name="T25" fmla="*/ 232 h 584"/>
                  <a:gd name="T26" fmla="*/ 288 w 545"/>
                  <a:gd name="T27" fmla="*/ 180 h 584"/>
                  <a:gd name="T28" fmla="*/ 358 w 545"/>
                  <a:gd name="T29" fmla="*/ 131 h 584"/>
                  <a:gd name="T30" fmla="*/ 341 w 545"/>
                  <a:gd name="T31" fmla="*/ 65 h 584"/>
                  <a:gd name="T32" fmla="*/ 320 w 545"/>
                  <a:gd name="T33" fmla="*/ 44 h 584"/>
                  <a:gd name="T34" fmla="*/ 383 w 545"/>
                  <a:gd name="T35" fmla="*/ 21 h 584"/>
                  <a:gd name="T36" fmla="*/ 394 w 545"/>
                  <a:gd name="T37" fmla="*/ 79 h 584"/>
                  <a:gd name="T38" fmla="*/ 424 w 545"/>
                  <a:gd name="T39" fmla="*/ 79 h 584"/>
                  <a:gd name="T40" fmla="*/ 545 w 545"/>
                  <a:gd name="T41"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5" h="584">
                    <a:moveTo>
                      <a:pt x="0" y="91"/>
                    </a:moveTo>
                    <a:lnTo>
                      <a:pt x="26" y="144"/>
                    </a:lnTo>
                    <a:lnTo>
                      <a:pt x="46" y="223"/>
                    </a:lnTo>
                    <a:lnTo>
                      <a:pt x="89" y="286"/>
                    </a:lnTo>
                    <a:lnTo>
                      <a:pt x="153" y="332"/>
                    </a:lnTo>
                    <a:lnTo>
                      <a:pt x="190" y="439"/>
                    </a:lnTo>
                    <a:lnTo>
                      <a:pt x="293" y="584"/>
                    </a:lnTo>
                    <a:lnTo>
                      <a:pt x="328" y="584"/>
                    </a:lnTo>
                    <a:lnTo>
                      <a:pt x="385" y="401"/>
                    </a:lnTo>
                    <a:lnTo>
                      <a:pt x="366" y="350"/>
                    </a:lnTo>
                    <a:lnTo>
                      <a:pt x="189" y="299"/>
                    </a:lnTo>
                    <a:lnTo>
                      <a:pt x="151" y="249"/>
                    </a:lnTo>
                    <a:lnTo>
                      <a:pt x="265" y="232"/>
                    </a:lnTo>
                    <a:lnTo>
                      <a:pt x="288" y="180"/>
                    </a:lnTo>
                    <a:lnTo>
                      <a:pt x="358" y="131"/>
                    </a:lnTo>
                    <a:lnTo>
                      <a:pt x="341" y="65"/>
                    </a:lnTo>
                    <a:lnTo>
                      <a:pt x="320" y="44"/>
                    </a:lnTo>
                    <a:lnTo>
                      <a:pt x="383" y="21"/>
                    </a:lnTo>
                    <a:lnTo>
                      <a:pt x="394" y="79"/>
                    </a:lnTo>
                    <a:lnTo>
                      <a:pt x="424" y="79"/>
                    </a:lnTo>
                    <a:lnTo>
                      <a:pt x="545" y="0"/>
                    </a:lnTo>
                  </a:path>
                </a:pathLst>
              </a:custGeom>
              <a:noFill/>
              <a:ln w="1905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04">
                <a:extLst>
                  <a:ext uri="{FF2B5EF4-FFF2-40B4-BE49-F238E27FC236}">
                    <a16:creationId xmlns:a16="http://schemas.microsoft.com/office/drawing/2014/main" id="{59BA5083-3CD9-0BAD-CBF6-997922068549}"/>
                  </a:ext>
                </a:extLst>
              </p:cNvPr>
              <p:cNvSpPr>
                <a:spLocks/>
              </p:cNvSpPr>
              <p:nvPr/>
            </p:nvSpPr>
            <p:spPr bwMode="auto">
              <a:xfrm>
                <a:off x="7310438" y="2352675"/>
                <a:ext cx="228600" cy="88900"/>
              </a:xfrm>
              <a:custGeom>
                <a:avLst/>
                <a:gdLst>
                  <a:gd name="T0" fmla="*/ 153 w 305"/>
                  <a:gd name="T1" fmla="*/ 0 h 117"/>
                  <a:gd name="T2" fmla="*/ 0 w 305"/>
                  <a:gd name="T3" fmla="*/ 117 h 117"/>
                  <a:gd name="T4" fmla="*/ 305 w 305"/>
                  <a:gd name="T5" fmla="*/ 117 h 117"/>
                  <a:gd name="T6" fmla="*/ 153 w 305"/>
                  <a:gd name="T7" fmla="*/ 0 h 117"/>
                </a:gdLst>
                <a:ahLst/>
                <a:cxnLst>
                  <a:cxn ang="0">
                    <a:pos x="T0" y="T1"/>
                  </a:cxn>
                  <a:cxn ang="0">
                    <a:pos x="T2" y="T3"/>
                  </a:cxn>
                  <a:cxn ang="0">
                    <a:pos x="T4" y="T5"/>
                  </a:cxn>
                  <a:cxn ang="0">
                    <a:pos x="T6" y="T7"/>
                  </a:cxn>
                </a:cxnLst>
                <a:rect l="0" t="0" r="r" b="b"/>
                <a:pathLst>
                  <a:path w="305" h="117">
                    <a:moveTo>
                      <a:pt x="153" y="0"/>
                    </a:moveTo>
                    <a:cubicBezTo>
                      <a:pt x="80" y="0"/>
                      <a:pt x="19" y="50"/>
                      <a:pt x="0" y="117"/>
                    </a:cubicBezTo>
                    <a:lnTo>
                      <a:pt x="305" y="117"/>
                    </a:lnTo>
                    <a:cubicBezTo>
                      <a:pt x="287" y="50"/>
                      <a:pt x="226" y="0"/>
                      <a:pt x="153" y="0"/>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Line 105">
                <a:extLst>
                  <a:ext uri="{FF2B5EF4-FFF2-40B4-BE49-F238E27FC236}">
                    <a16:creationId xmlns:a16="http://schemas.microsoft.com/office/drawing/2014/main" id="{BBFA5B98-170A-C6AB-AB52-421A4BE6AD79}"/>
                  </a:ext>
                </a:extLst>
              </p:cNvPr>
              <p:cNvSpPr>
                <a:spLocks noChangeShapeType="1"/>
              </p:cNvSpPr>
              <p:nvPr/>
            </p:nvSpPr>
            <p:spPr bwMode="auto">
              <a:xfrm>
                <a:off x="7359650" y="1816100"/>
                <a:ext cx="0" cy="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Line 106">
                <a:extLst>
                  <a:ext uri="{FF2B5EF4-FFF2-40B4-BE49-F238E27FC236}">
                    <a16:creationId xmlns:a16="http://schemas.microsoft.com/office/drawing/2014/main" id="{FAC5AD17-4135-ED9A-1FEB-9EA9B629B034}"/>
                  </a:ext>
                </a:extLst>
              </p:cNvPr>
              <p:cNvSpPr>
                <a:spLocks noChangeShapeType="1"/>
              </p:cNvSpPr>
              <p:nvPr/>
            </p:nvSpPr>
            <p:spPr bwMode="auto">
              <a:xfrm>
                <a:off x="7278688" y="1882775"/>
                <a:ext cx="1588" cy="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Line 107">
                <a:extLst>
                  <a:ext uri="{FF2B5EF4-FFF2-40B4-BE49-F238E27FC236}">
                    <a16:creationId xmlns:a16="http://schemas.microsoft.com/office/drawing/2014/main" id="{C15497A0-985E-8BF0-73D1-F31E60732F36}"/>
                  </a:ext>
                </a:extLst>
              </p:cNvPr>
              <p:cNvSpPr>
                <a:spLocks noChangeShapeType="1"/>
              </p:cNvSpPr>
              <p:nvPr/>
            </p:nvSpPr>
            <p:spPr bwMode="auto">
              <a:xfrm>
                <a:off x="7664450" y="1998663"/>
                <a:ext cx="0" cy="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Line 108">
                <a:extLst>
                  <a:ext uri="{FF2B5EF4-FFF2-40B4-BE49-F238E27FC236}">
                    <a16:creationId xmlns:a16="http://schemas.microsoft.com/office/drawing/2014/main" id="{5E1D1C1D-8204-7EA7-2977-427BDD232A35}"/>
                  </a:ext>
                </a:extLst>
              </p:cNvPr>
              <p:cNvSpPr>
                <a:spLocks noChangeShapeType="1"/>
              </p:cNvSpPr>
              <p:nvPr/>
            </p:nvSpPr>
            <p:spPr bwMode="auto">
              <a:xfrm>
                <a:off x="7408863" y="2092325"/>
                <a:ext cx="1588" cy="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1" name="Care5" descr="{&quot;Key&quot;:&quot;POWER_USER_SHAPE_ICON&quot;,&quot;Value&quot;:&quot;POWER_USER_SHAPE_ICON_STYLE_1&quot;}">
            <a:extLst>
              <a:ext uri="{FF2B5EF4-FFF2-40B4-BE49-F238E27FC236}">
                <a16:creationId xmlns:a16="http://schemas.microsoft.com/office/drawing/2014/main" id="{576549CC-0B96-706D-A286-95DB61045CB2}"/>
              </a:ext>
            </a:extLst>
          </p:cNvPr>
          <p:cNvGrpSpPr>
            <a:grpSpLocks noChangeAspect="1"/>
          </p:cNvGrpSpPr>
          <p:nvPr>
            <p:custDataLst>
              <p:tags r:id="rId2"/>
            </p:custDataLst>
          </p:nvPr>
        </p:nvGrpSpPr>
        <p:grpSpPr>
          <a:xfrm>
            <a:off x="5469922" y="2074034"/>
            <a:ext cx="379183" cy="373660"/>
            <a:chOff x="3140075" y="371476"/>
            <a:chExt cx="327026" cy="322263"/>
          </a:xfrm>
          <a:solidFill>
            <a:schemeClr val="accent1"/>
          </a:solidFill>
        </p:grpSpPr>
        <p:sp>
          <p:nvSpPr>
            <p:cNvPr id="52" name="Freeform 131">
              <a:extLst>
                <a:ext uri="{FF2B5EF4-FFF2-40B4-BE49-F238E27FC236}">
                  <a16:creationId xmlns:a16="http://schemas.microsoft.com/office/drawing/2014/main" id="{AB614E3C-0D33-2360-DB6A-F7177AA3EA7A}"/>
                </a:ext>
              </a:extLst>
            </p:cNvPr>
            <p:cNvSpPr>
              <a:spLocks/>
            </p:cNvSpPr>
            <p:nvPr/>
          </p:nvSpPr>
          <p:spPr bwMode="auto">
            <a:xfrm>
              <a:off x="3321050" y="487364"/>
              <a:ext cx="88900" cy="144463"/>
            </a:xfrm>
            <a:custGeom>
              <a:avLst/>
              <a:gdLst>
                <a:gd name="T0" fmla="*/ 16 w 146"/>
                <a:gd name="T1" fmla="*/ 235 h 235"/>
                <a:gd name="T2" fmla="*/ 0 w 146"/>
                <a:gd name="T3" fmla="*/ 235 h 235"/>
                <a:gd name="T4" fmla="*/ 0 w 146"/>
                <a:gd name="T5" fmla="*/ 113 h 235"/>
                <a:gd name="T6" fmla="*/ 19 w 146"/>
                <a:gd name="T7" fmla="*/ 64 h 235"/>
                <a:gd name="T8" fmla="*/ 69 w 146"/>
                <a:gd name="T9" fmla="*/ 13 h 235"/>
                <a:gd name="T10" fmla="*/ 99 w 146"/>
                <a:gd name="T11" fmla="*/ 0 h 235"/>
                <a:gd name="T12" fmla="*/ 100 w 146"/>
                <a:gd name="T13" fmla="*/ 0 h 235"/>
                <a:gd name="T14" fmla="*/ 129 w 146"/>
                <a:gd name="T15" fmla="*/ 12 h 235"/>
                <a:gd name="T16" fmla="*/ 130 w 146"/>
                <a:gd name="T17" fmla="*/ 71 h 235"/>
                <a:gd name="T18" fmla="*/ 95 w 146"/>
                <a:gd name="T19" fmla="*/ 108 h 235"/>
                <a:gd name="T20" fmla="*/ 83 w 146"/>
                <a:gd name="T21" fmla="*/ 97 h 235"/>
                <a:gd name="T22" fmla="*/ 118 w 146"/>
                <a:gd name="T23" fmla="*/ 60 h 235"/>
                <a:gd name="T24" fmla="*/ 118 w 146"/>
                <a:gd name="T25" fmla="*/ 24 h 235"/>
                <a:gd name="T26" fmla="*/ 99 w 146"/>
                <a:gd name="T27" fmla="*/ 16 h 235"/>
                <a:gd name="T28" fmla="*/ 81 w 146"/>
                <a:gd name="T29" fmla="*/ 24 h 235"/>
                <a:gd name="T30" fmla="*/ 31 w 146"/>
                <a:gd name="T31" fmla="*/ 76 h 235"/>
                <a:gd name="T32" fmla="*/ 16 w 146"/>
                <a:gd name="T33" fmla="*/ 113 h 235"/>
                <a:gd name="T34" fmla="*/ 16 w 146"/>
                <a:gd name="T35"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6" h="235">
                  <a:moveTo>
                    <a:pt x="16" y="235"/>
                  </a:moveTo>
                  <a:lnTo>
                    <a:pt x="0" y="235"/>
                  </a:lnTo>
                  <a:lnTo>
                    <a:pt x="0" y="113"/>
                  </a:lnTo>
                  <a:cubicBezTo>
                    <a:pt x="0" y="94"/>
                    <a:pt x="7" y="77"/>
                    <a:pt x="19" y="64"/>
                  </a:cubicBezTo>
                  <a:lnTo>
                    <a:pt x="69" y="13"/>
                  </a:lnTo>
                  <a:cubicBezTo>
                    <a:pt x="77" y="4"/>
                    <a:pt x="88" y="0"/>
                    <a:pt x="99" y="0"/>
                  </a:cubicBezTo>
                  <a:lnTo>
                    <a:pt x="100" y="0"/>
                  </a:lnTo>
                  <a:cubicBezTo>
                    <a:pt x="111" y="0"/>
                    <a:pt x="121" y="4"/>
                    <a:pt x="129" y="12"/>
                  </a:cubicBezTo>
                  <a:cubicBezTo>
                    <a:pt x="146" y="28"/>
                    <a:pt x="146" y="55"/>
                    <a:pt x="130" y="71"/>
                  </a:cubicBezTo>
                  <a:lnTo>
                    <a:pt x="95" y="108"/>
                  </a:lnTo>
                  <a:lnTo>
                    <a:pt x="83" y="97"/>
                  </a:lnTo>
                  <a:lnTo>
                    <a:pt x="118" y="60"/>
                  </a:lnTo>
                  <a:cubicBezTo>
                    <a:pt x="128" y="50"/>
                    <a:pt x="127" y="34"/>
                    <a:pt x="118" y="24"/>
                  </a:cubicBezTo>
                  <a:cubicBezTo>
                    <a:pt x="113" y="19"/>
                    <a:pt x="106" y="16"/>
                    <a:pt x="99" y="16"/>
                  </a:cubicBezTo>
                  <a:cubicBezTo>
                    <a:pt x="92" y="16"/>
                    <a:pt x="86" y="19"/>
                    <a:pt x="81" y="24"/>
                  </a:cubicBezTo>
                  <a:lnTo>
                    <a:pt x="31" y="76"/>
                  </a:lnTo>
                  <a:cubicBezTo>
                    <a:pt x="22" y="86"/>
                    <a:pt x="16" y="99"/>
                    <a:pt x="16" y="113"/>
                  </a:cubicBezTo>
                  <a:lnTo>
                    <a:pt x="16" y="235"/>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32">
              <a:extLst>
                <a:ext uri="{FF2B5EF4-FFF2-40B4-BE49-F238E27FC236}">
                  <a16:creationId xmlns:a16="http://schemas.microsoft.com/office/drawing/2014/main" id="{AAA5D83C-DA7A-2D20-2AA4-6690499B2152}"/>
                </a:ext>
              </a:extLst>
            </p:cNvPr>
            <p:cNvSpPr>
              <a:spLocks/>
            </p:cNvSpPr>
            <p:nvPr/>
          </p:nvSpPr>
          <p:spPr bwMode="auto">
            <a:xfrm>
              <a:off x="3363913" y="401639"/>
              <a:ext cx="103188" cy="230188"/>
            </a:xfrm>
            <a:custGeom>
              <a:avLst/>
              <a:gdLst>
                <a:gd name="T0" fmla="*/ 68 w 169"/>
                <a:gd name="T1" fmla="*/ 377 h 377"/>
                <a:gd name="T2" fmla="*/ 51 w 169"/>
                <a:gd name="T3" fmla="*/ 377 h 377"/>
                <a:gd name="T4" fmla="*/ 51 w 169"/>
                <a:gd name="T5" fmla="*/ 369 h 377"/>
                <a:gd name="T6" fmla="*/ 65 w 169"/>
                <a:gd name="T7" fmla="*/ 320 h 377"/>
                <a:gd name="T8" fmla="*/ 131 w 169"/>
                <a:gd name="T9" fmla="*/ 208 h 377"/>
                <a:gd name="T10" fmla="*/ 153 w 169"/>
                <a:gd name="T11" fmla="*/ 129 h 377"/>
                <a:gd name="T12" fmla="*/ 153 w 169"/>
                <a:gd name="T13" fmla="*/ 36 h 377"/>
                <a:gd name="T14" fmla="*/ 133 w 169"/>
                <a:gd name="T15" fmla="*/ 16 h 377"/>
                <a:gd name="T16" fmla="*/ 113 w 169"/>
                <a:gd name="T17" fmla="*/ 36 h 377"/>
                <a:gd name="T18" fmla="*/ 113 w 169"/>
                <a:gd name="T19" fmla="*/ 117 h 377"/>
                <a:gd name="T20" fmla="*/ 86 w 169"/>
                <a:gd name="T21" fmla="*/ 185 h 377"/>
                <a:gd name="T22" fmla="*/ 12 w 169"/>
                <a:gd name="T23" fmla="*/ 262 h 377"/>
                <a:gd name="T24" fmla="*/ 0 w 169"/>
                <a:gd name="T25" fmla="*/ 250 h 377"/>
                <a:gd name="T26" fmla="*/ 74 w 169"/>
                <a:gd name="T27" fmla="*/ 173 h 377"/>
                <a:gd name="T28" fmla="*/ 97 w 169"/>
                <a:gd name="T29" fmla="*/ 117 h 377"/>
                <a:gd name="T30" fmla="*/ 97 w 169"/>
                <a:gd name="T31" fmla="*/ 36 h 377"/>
                <a:gd name="T32" fmla="*/ 133 w 169"/>
                <a:gd name="T33" fmla="*/ 0 h 377"/>
                <a:gd name="T34" fmla="*/ 169 w 169"/>
                <a:gd name="T35" fmla="*/ 36 h 377"/>
                <a:gd name="T36" fmla="*/ 169 w 169"/>
                <a:gd name="T37" fmla="*/ 129 h 377"/>
                <a:gd name="T38" fmla="*/ 145 w 169"/>
                <a:gd name="T39" fmla="*/ 217 h 377"/>
                <a:gd name="T40" fmla="*/ 79 w 169"/>
                <a:gd name="T41" fmla="*/ 328 h 377"/>
                <a:gd name="T42" fmla="*/ 68 w 169"/>
                <a:gd name="T43" fmla="*/ 369 h 377"/>
                <a:gd name="T44" fmla="*/ 68 w 169"/>
                <a:gd name="T45" fmla="*/ 37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377">
                  <a:moveTo>
                    <a:pt x="68" y="377"/>
                  </a:moveTo>
                  <a:lnTo>
                    <a:pt x="51" y="377"/>
                  </a:lnTo>
                  <a:lnTo>
                    <a:pt x="51" y="369"/>
                  </a:lnTo>
                  <a:cubicBezTo>
                    <a:pt x="51" y="352"/>
                    <a:pt x="56" y="335"/>
                    <a:pt x="65" y="320"/>
                  </a:cubicBezTo>
                  <a:lnTo>
                    <a:pt x="131" y="208"/>
                  </a:lnTo>
                  <a:cubicBezTo>
                    <a:pt x="145" y="184"/>
                    <a:pt x="153" y="157"/>
                    <a:pt x="153" y="129"/>
                  </a:cubicBezTo>
                  <a:lnTo>
                    <a:pt x="153" y="36"/>
                  </a:lnTo>
                  <a:cubicBezTo>
                    <a:pt x="153" y="25"/>
                    <a:pt x="144" y="16"/>
                    <a:pt x="133" y="16"/>
                  </a:cubicBezTo>
                  <a:cubicBezTo>
                    <a:pt x="122" y="16"/>
                    <a:pt x="113" y="25"/>
                    <a:pt x="113" y="36"/>
                  </a:cubicBezTo>
                  <a:lnTo>
                    <a:pt x="113" y="117"/>
                  </a:lnTo>
                  <a:cubicBezTo>
                    <a:pt x="113" y="143"/>
                    <a:pt x="104" y="166"/>
                    <a:pt x="86" y="185"/>
                  </a:cubicBezTo>
                  <a:lnTo>
                    <a:pt x="12" y="262"/>
                  </a:lnTo>
                  <a:lnTo>
                    <a:pt x="0" y="250"/>
                  </a:lnTo>
                  <a:lnTo>
                    <a:pt x="74" y="173"/>
                  </a:lnTo>
                  <a:cubicBezTo>
                    <a:pt x="89" y="158"/>
                    <a:pt x="97" y="138"/>
                    <a:pt x="97" y="117"/>
                  </a:cubicBezTo>
                  <a:lnTo>
                    <a:pt x="97" y="36"/>
                  </a:lnTo>
                  <a:cubicBezTo>
                    <a:pt x="97" y="16"/>
                    <a:pt x="113" y="0"/>
                    <a:pt x="133" y="0"/>
                  </a:cubicBezTo>
                  <a:cubicBezTo>
                    <a:pt x="153" y="0"/>
                    <a:pt x="169" y="16"/>
                    <a:pt x="169" y="36"/>
                  </a:cubicBezTo>
                  <a:lnTo>
                    <a:pt x="169" y="129"/>
                  </a:lnTo>
                  <a:cubicBezTo>
                    <a:pt x="169" y="160"/>
                    <a:pt x="161" y="190"/>
                    <a:pt x="145" y="217"/>
                  </a:cubicBezTo>
                  <a:lnTo>
                    <a:pt x="79" y="328"/>
                  </a:lnTo>
                  <a:cubicBezTo>
                    <a:pt x="72" y="340"/>
                    <a:pt x="68" y="355"/>
                    <a:pt x="68" y="369"/>
                  </a:cubicBezTo>
                  <a:lnTo>
                    <a:pt x="68" y="377"/>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33">
              <a:extLst>
                <a:ext uri="{FF2B5EF4-FFF2-40B4-BE49-F238E27FC236}">
                  <a16:creationId xmlns:a16="http://schemas.microsoft.com/office/drawing/2014/main" id="{0CDE6B9E-C8C5-0B7A-9D22-0740E5B98F5A}"/>
                </a:ext>
              </a:extLst>
            </p:cNvPr>
            <p:cNvSpPr>
              <a:spLocks/>
            </p:cNvSpPr>
            <p:nvPr/>
          </p:nvSpPr>
          <p:spPr bwMode="auto">
            <a:xfrm>
              <a:off x="3397250" y="427039"/>
              <a:ext cx="36513" cy="80963"/>
            </a:xfrm>
            <a:custGeom>
              <a:avLst/>
              <a:gdLst>
                <a:gd name="T0" fmla="*/ 17 w 60"/>
                <a:gd name="T1" fmla="*/ 132 h 132"/>
                <a:gd name="T2" fmla="*/ 0 w 60"/>
                <a:gd name="T3" fmla="*/ 132 h 132"/>
                <a:gd name="T4" fmla="*/ 0 w 60"/>
                <a:gd name="T5" fmla="*/ 32 h 132"/>
                <a:gd name="T6" fmla="*/ 11 w 60"/>
                <a:gd name="T7" fmla="*/ 9 h 132"/>
                <a:gd name="T8" fmla="*/ 43 w 60"/>
                <a:gd name="T9" fmla="*/ 5 h 132"/>
                <a:gd name="T10" fmla="*/ 60 w 60"/>
                <a:gd name="T11" fmla="*/ 32 h 132"/>
                <a:gd name="T12" fmla="*/ 44 w 60"/>
                <a:gd name="T13" fmla="*/ 32 h 132"/>
                <a:gd name="T14" fmla="*/ 36 w 60"/>
                <a:gd name="T15" fmla="*/ 20 h 132"/>
                <a:gd name="T16" fmla="*/ 22 w 60"/>
                <a:gd name="T17" fmla="*/ 22 h 132"/>
                <a:gd name="T18" fmla="*/ 17 w 60"/>
                <a:gd name="T19" fmla="*/ 32 h 132"/>
                <a:gd name="T20" fmla="*/ 17 w 60"/>
                <a:gd name="T2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32">
                  <a:moveTo>
                    <a:pt x="17" y="132"/>
                  </a:moveTo>
                  <a:lnTo>
                    <a:pt x="0" y="132"/>
                  </a:lnTo>
                  <a:lnTo>
                    <a:pt x="0" y="32"/>
                  </a:lnTo>
                  <a:cubicBezTo>
                    <a:pt x="0" y="23"/>
                    <a:pt x="4" y="15"/>
                    <a:pt x="11" y="9"/>
                  </a:cubicBezTo>
                  <a:cubicBezTo>
                    <a:pt x="20" y="2"/>
                    <a:pt x="33" y="0"/>
                    <a:pt x="43" y="5"/>
                  </a:cubicBezTo>
                  <a:cubicBezTo>
                    <a:pt x="54" y="10"/>
                    <a:pt x="60" y="21"/>
                    <a:pt x="60" y="32"/>
                  </a:cubicBezTo>
                  <a:lnTo>
                    <a:pt x="44" y="32"/>
                  </a:lnTo>
                  <a:cubicBezTo>
                    <a:pt x="44" y="27"/>
                    <a:pt x="41" y="23"/>
                    <a:pt x="36" y="20"/>
                  </a:cubicBezTo>
                  <a:cubicBezTo>
                    <a:pt x="31" y="18"/>
                    <a:pt x="26" y="19"/>
                    <a:pt x="22" y="22"/>
                  </a:cubicBezTo>
                  <a:cubicBezTo>
                    <a:pt x="19" y="25"/>
                    <a:pt x="17" y="28"/>
                    <a:pt x="17" y="32"/>
                  </a:cubicBezTo>
                  <a:lnTo>
                    <a:pt x="17" y="132"/>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34">
              <a:extLst>
                <a:ext uri="{FF2B5EF4-FFF2-40B4-BE49-F238E27FC236}">
                  <a16:creationId xmlns:a16="http://schemas.microsoft.com/office/drawing/2014/main" id="{DE0C32C2-A978-BC16-5CE7-11E78238E195}"/>
                </a:ext>
              </a:extLst>
            </p:cNvPr>
            <p:cNvSpPr>
              <a:spLocks/>
            </p:cNvSpPr>
            <p:nvPr/>
          </p:nvSpPr>
          <p:spPr bwMode="auto">
            <a:xfrm>
              <a:off x="3309938" y="623889"/>
              <a:ext cx="107950" cy="69850"/>
            </a:xfrm>
            <a:custGeom>
              <a:avLst/>
              <a:gdLst>
                <a:gd name="T0" fmla="*/ 68 w 68"/>
                <a:gd name="T1" fmla="*/ 44 h 44"/>
                <a:gd name="T2" fmla="*/ 62 w 68"/>
                <a:gd name="T3" fmla="*/ 44 h 44"/>
                <a:gd name="T4" fmla="*/ 62 w 68"/>
                <a:gd name="T5" fmla="*/ 6 h 44"/>
                <a:gd name="T6" fmla="*/ 6 w 68"/>
                <a:gd name="T7" fmla="*/ 6 h 44"/>
                <a:gd name="T8" fmla="*/ 6 w 68"/>
                <a:gd name="T9" fmla="*/ 44 h 44"/>
                <a:gd name="T10" fmla="*/ 0 w 68"/>
                <a:gd name="T11" fmla="*/ 44 h 44"/>
                <a:gd name="T12" fmla="*/ 0 w 68"/>
                <a:gd name="T13" fmla="*/ 0 h 44"/>
                <a:gd name="T14" fmla="*/ 68 w 68"/>
                <a:gd name="T15" fmla="*/ 0 h 44"/>
                <a:gd name="T16" fmla="*/ 68 w 68"/>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4">
                  <a:moveTo>
                    <a:pt x="68" y="44"/>
                  </a:moveTo>
                  <a:lnTo>
                    <a:pt x="62" y="44"/>
                  </a:lnTo>
                  <a:lnTo>
                    <a:pt x="62" y="6"/>
                  </a:lnTo>
                  <a:lnTo>
                    <a:pt x="6" y="6"/>
                  </a:lnTo>
                  <a:lnTo>
                    <a:pt x="6" y="44"/>
                  </a:lnTo>
                  <a:lnTo>
                    <a:pt x="0" y="44"/>
                  </a:lnTo>
                  <a:lnTo>
                    <a:pt x="0" y="0"/>
                  </a:lnTo>
                  <a:lnTo>
                    <a:pt x="68" y="0"/>
                  </a:lnTo>
                  <a:lnTo>
                    <a:pt x="68" y="4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35">
              <a:extLst>
                <a:ext uri="{FF2B5EF4-FFF2-40B4-BE49-F238E27FC236}">
                  <a16:creationId xmlns:a16="http://schemas.microsoft.com/office/drawing/2014/main" id="{ACDCC522-1D2A-0FE5-B723-A0F17C1DA968}"/>
                </a:ext>
              </a:extLst>
            </p:cNvPr>
            <p:cNvSpPr>
              <a:spLocks/>
            </p:cNvSpPr>
            <p:nvPr/>
          </p:nvSpPr>
          <p:spPr bwMode="auto">
            <a:xfrm>
              <a:off x="3198813" y="487364"/>
              <a:ext cx="88900" cy="144463"/>
            </a:xfrm>
            <a:custGeom>
              <a:avLst/>
              <a:gdLst>
                <a:gd name="T0" fmla="*/ 146 w 146"/>
                <a:gd name="T1" fmla="*/ 235 h 235"/>
                <a:gd name="T2" fmla="*/ 129 w 146"/>
                <a:gd name="T3" fmla="*/ 235 h 235"/>
                <a:gd name="T4" fmla="*/ 129 w 146"/>
                <a:gd name="T5" fmla="*/ 113 h 235"/>
                <a:gd name="T6" fmla="*/ 114 w 146"/>
                <a:gd name="T7" fmla="*/ 76 h 235"/>
                <a:gd name="T8" fmla="*/ 65 w 146"/>
                <a:gd name="T9" fmla="*/ 24 h 235"/>
                <a:gd name="T10" fmla="*/ 47 w 146"/>
                <a:gd name="T11" fmla="*/ 16 h 235"/>
                <a:gd name="T12" fmla="*/ 28 w 146"/>
                <a:gd name="T13" fmla="*/ 24 h 235"/>
                <a:gd name="T14" fmla="*/ 28 w 146"/>
                <a:gd name="T15" fmla="*/ 60 h 235"/>
                <a:gd name="T16" fmla="*/ 63 w 146"/>
                <a:gd name="T17" fmla="*/ 97 h 235"/>
                <a:gd name="T18" fmla="*/ 51 w 146"/>
                <a:gd name="T19" fmla="*/ 108 h 235"/>
                <a:gd name="T20" fmla="*/ 16 w 146"/>
                <a:gd name="T21" fmla="*/ 71 h 235"/>
                <a:gd name="T22" fmla="*/ 16 w 146"/>
                <a:gd name="T23" fmla="*/ 12 h 235"/>
                <a:gd name="T24" fmla="*/ 46 w 146"/>
                <a:gd name="T25" fmla="*/ 0 h 235"/>
                <a:gd name="T26" fmla="*/ 47 w 146"/>
                <a:gd name="T27" fmla="*/ 0 h 235"/>
                <a:gd name="T28" fmla="*/ 77 w 146"/>
                <a:gd name="T29" fmla="*/ 13 h 235"/>
                <a:gd name="T30" fmla="*/ 126 w 146"/>
                <a:gd name="T31" fmla="*/ 64 h 235"/>
                <a:gd name="T32" fmla="*/ 146 w 146"/>
                <a:gd name="T33" fmla="*/ 113 h 235"/>
                <a:gd name="T34" fmla="*/ 146 w 146"/>
                <a:gd name="T35"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6" h="235">
                  <a:moveTo>
                    <a:pt x="146" y="235"/>
                  </a:moveTo>
                  <a:lnTo>
                    <a:pt x="129" y="235"/>
                  </a:lnTo>
                  <a:lnTo>
                    <a:pt x="129" y="113"/>
                  </a:lnTo>
                  <a:cubicBezTo>
                    <a:pt x="129" y="99"/>
                    <a:pt x="124" y="86"/>
                    <a:pt x="114" y="76"/>
                  </a:cubicBezTo>
                  <a:lnTo>
                    <a:pt x="65" y="24"/>
                  </a:lnTo>
                  <a:cubicBezTo>
                    <a:pt x="60" y="19"/>
                    <a:pt x="53" y="16"/>
                    <a:pt x="47" y="16"/>
                  </a:cubicBezTo>
                  <a:cubicBezTo>
                    <a:pt x="40" y="16"/>
                    <a:pt x="33" y="19"/>
                    <a:pt x="28" y="24"/>
                  </a:cubicBezTo>
                  <a:cubicBezTo>
                    <a:pt x="18" y="34"/>
                    <a:pt x="18" y="50"/>
                    <a:pt x="28" y="60"/>
                  </a:cubicBezTo>
                  <a:lnTo>
                    <a:pt x="63" y="97"/>
                  </a:lnTo>
                  <a:lnTo>
                    <a:pt x="51" y="108"/>
                  </a:lnTo>
                  <a:lnTo>
                    <a:pt x="16" y="71"/>
                  </a:lnTo>
                  <a:cubicBezTo>
                    <a:pt x="0" y="55"/>
                    <a:pt x="0" y="28"/>
                    <a:pt x="16" y="12"/>
                  </a:cubicBezTo>
                  <a:cubicBezTo>
                    <a:pt x="24" y="4"/>
                    <a:pt x="35" y="0"/>
                    <a:pt x="46" y="0"/>
                  </a:cubicBezTo>
                  <a:lnTo>
                    <a:pt x="47" y="0"/>
                  </a:lnTo>
                  <a:cubicBezTo>
                    <a:pt x="58" y="0"/>
                    <a:pt x="69" y="4"/>
                    <a:pt x="77" y="13"/>
                  </a:cubicBezTo>
                  <a:lnTo>
                    <a:pt x="126" y="64"/>
                  </a:lnTo>
                  <a:cubicBezTo>
                    <a:pt x="139" y="77"/>
                    <a:pt x="146" y="94"/>
                    <a:pt x="146" y="113"/>
                  </a:cubicBezTo>
                  <a:lnTo>
                    <a:pt x="146" y="235"/>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136">
              <a:extLst>
                <a:ext uri="{FF2B5EF4-FFF2-40B4-BE49-F238E27FC236}">
                  <a16:creationId xmlns:a16="http://schemas.microsoft.com/office/drawing/2014/main" id="{4BE6E286-30AE-A0BE-63F0-19B049349B80}"/>
                </a:ext>
              </a:extLst>
            </p:cNvPr>
            <p:cNvSpPr>
              <a:spLocks/>
            </p:cNvSpPr>
            <p:nvPr/>
          </p:nvSpPr>
          <p:spPr bwMode="auto">
            <a:xfrm>
              <a:off x="3140075" y="401639"/>
              <a:ext cx="103188" cy="230188"/>
            </a:xfrm>
            <a:custGeom>
              <a:avLst/>
              <a:gdLst>
                <a:gd name="T0" fmla="*/ 119 w 169"/>
                <a:gd name="T1" fmla="*/ 377 h 377"/>
                <a:gd name="T2" fmla="*/ 102 w 169"/>
                <a:gd name="T3" fmla="*/ 377 h 377"/>
                <a:gd name="T4" fmla="*/ 102 w 169"/>
                <a:gd name="T5" fmla="*/ 369 h 377"/>
                <a:gd name="T6" fmla="*/ 91 w 169"/>
                <a:gd name="T7" fmla="*/ 328 h 377"/>
                <a:gd name="T8" fmla="*/ 24 w 169"/>
                <a:gd name="T9" fmla="*/ 217 h 377"/>
                <a:gd name="T10" fmla="*/ 0 w 169"/>
                <a:gd name="T11" fmla="*/ 129 h 377"/>
                <a:gd name="T12" fmla="*/ 0 w 169"/>
                <a:gd name="T13" fmla="*/ 36 h 377"/>
                <a:gd name="T14" fmla="*/ 37 w 169"/>
                <a:gd name="T15" fmla="*/ 0 h 377"/>
                <a:gd name="T16" fmla="*/ 73 w 169"/>
                <a:gd name="T17" fmla="*/ 36 h 377"/>
                <a:gd name="T18" fmla="*/ 73 w 169"/>
                <a:gd name="T19" fmla="*/ 117 h 377"/>
                <a:gd name="T20" fmla="*/ 95 w 169"/>
                <a:gd name="T21" fmla="*/ 173 h 377"/>
                <a:gd name="T22" fmla="*/ 169 w 169"/>
                <a:gd name="T23" fmla="*/ 250 h 377"/>
                <a:gd name="T24" fmla="*/ 157 w 169"/>
                <a:gd name="T25" fmla="*/ 262 h 377"/>
                <a:gd name="T26" fmla="*/ 83 w 169"/>
                <a:gd name="T27" fmla="*/ 185 h 377"/>
                <a:gd name="T28" fmla="*/ 56 w 169"/>
                <a:gd name="T29" fmla="*/ 117 h 377"/>
                <a:gd name="T30" fmla="*/ 56 w 169"/>
                <a:gd name="T31" fmla="*/ 36 h 377"/>
                <a:gd name="T32" fmla="*/ 37 w 169"/>
                <a:gd name="T33" fmla="*/ 16 h 377"/>
                <a:gd name="T34" fmla="*/ 17 w 169"/>
                <a:gd name="T35" fmla="*/ 36 h 377"/>
                <a:gd name="T36" fmla="*/ 17 w 169"/>
                <a:gd name="T37" fmla="*/ 129 h 377"/>
                <a:gd name="T38" fmla="*/ 39 w 169"/>
                <a:gd name="T39" fmla="*/ 208 h 377"/>
                <a:gd name="T40" fmla="*/ 105 w 169"/>
                <a:gd name="T41" fmla="*/ 320 h 377"/>
                <a:gd name="T42" fmla="*/ 119 w 169"/>
                <a:gd name="T43" fmla="*/ 369 h 377"/>
                <a:gd name="T44" fmla="*/ 119 w 169"/>
                <a:gd name="T45" fmla="*/ 37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377">
                  <a:moveTo>
                    <a:pt x="119" y="377"/>
                  </a:moveTo>
                  <a:lnTo>
                    <a:pt x="102" y="377"/>
                  </a:lnTo>
                  <a:lnTo>
                    <a:pt x="102" y="369"/>
                  </a:lnTo>
                  <a:cubicBezTo>
                    <a:pt x="102" y="355"/>
                    <a:pt x="98" y="340"/>
                    <a:pt x="91" y="328"/>
                  </a:cubicBezTo>
                  <a:lnTo>
                    <a:pt x="24" y="217"/>
                  </a:lnTo>
                  <a:cubicBezTo>
                    <a:pt x="9" y="190"/>
                    <a:pt x="0" y="160"/>
                    <a:pt x="0" y="129"/>
                  </a:cubicBezTo>
                  <a:lnTo>
                    <a:pt x="0" y="36"/>
                  </a:lnTo>
                  <a:cubicBezTo>
                    <a:pt x="0" y="16"/>
                    <a:pt x="17" y="0"/>
                    <a:pt x="37" y="0"/>
                  </a:cubicBezTo>
                  <a:cubicBezTo>
                    <a:pt x="57" y="0"/>
                    <a:pt x="73" y="16"/>
                    <a:pt x="73" y="36"/>
                  </a:cubicBezTo>
                  <a:lnTo>
                    <a:pt x="73" y="117"/>
                  </a:lnTo>
                  <a:cubicBezTo>
                    <a:pt x="73" y="138"/>
                    <a:pt x="81" y="158"/>
                    <a:pt x="95" y="173"/>
                  </a:cubicBezTo>
                  <a:lnTo>
                    <a:pt x="169" y="250"/>
                  </a:lnTo>
                  <a:lnTo>
                    <a:pt x="157" y="262"/>
                  </a:lnTo>
                  <a:lnTo>
                    <a:pt x="83" y="185"/>
                  </a:lnTo>
                  <a:cubicBezTo>
                    <a:pt x="66" y="166"/>
                    <a:pt x="56" y="143"/>
                    <a:pt x="56" y="117"/>
                  </a:cubicBezTo>
                  <a:lnTo>
                    <a:pt x="56" y="36"/>
                  </a:lnTo>
                  <a:cubicBezTo>
                    <a:pt x="56" y="25"/>
                    <a:pt x="47" y="16"/>
                    <a:pt x="37" y="16"/>
                  </a:cubicBezTo>
                  <a:cubicBezTo>
                    <a:pt x="26" y="16"/>
                    <a:pt x="17" y="25"/>
                    <a:pt x="17" y="36"/>
                  </a:cubicBezTo>
                  <a:lnTo>
                    <a:pt x="17" y="129"/>
                  </a:lnTo>
                  <a:cubicBezTo>
                    <a:pt x="17" y="157"/>
                    <a:pt x="24" y="184"/>
                    <a:pt x="39" y="208"/>
                  </a:cubicBezTo>
                  <a:lnTo>
                    <a:pt x="105" y="320"/>
                  </a:lnTo>
                  <a:cubicBezTo>
                    <a:pt x="114" y="335"/>
                    <a:pt x="119" y="352"/>
                    <a:pt x="119" y="369"/>
                  </a:cubicBezTo>
                  <a:lnTo>
                    <a:pt x="119" y="377"/>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37">
              <a:extLst>
                <a:ext uri="{FF2B5EF4-FFF2-40B4-BE49-F238E27FC236}">
                  <a16:creationId xmlns:a16="http://schemas.microsoft.com/office/drawing/2014/main" id="{B69DC1FD-E3CF-CEEB-AFC2-D5BFEF1FECC7}"/>
                </a:ext>
              </a:extLst>
            </p:cNvPr>
            <p:cNvSpPr>
              <a:spLocks/>
            </p:cNvSpPr>
            <p:nvPr/>
          </p:nvSpPr>
          <p:spPr bwMode="auto">
            <a:xfrm>
              <a:off x="3175000" y="427039"/>
              <a:ext cx="36513" cy="80963"/>
            </a:xfrm>
            <a:custGeom>
              <a:avLst/>
              <a:gdLst>
                <a:gd name="T0" fmla="*/ 61 w 61"/>
                <a:gd name="T1" fmla="*/ 132 h 132"/>
                <a:gd name="T2" fmla="*/ 44 w 61"/>
                <a:gd name="T3" fmla="*/ 132 h 132"/>
                <a:gd name="T4" fmla="*/ 44 w 61"/>
                <a:gd name="T5" fmla="*/ 32 h 132"/>
                <a:gd name="T6" fmla="*/ 39 w 61"/>
                <a:gd name="T7" fmla="*/ 22 h 132"/>
                <a:gd name="T8" fmla="*/ 25 w 61"/>
                <a:gd name="T9" fmla="*/ 20 h 132"/>
                <a:gd name="T10" fmla="*/ 17 w 61"/>
                <a:gd name="T11" fmla="*/ 32 h 132"/>
                <a:gd name="T12" fmla="*/ 0 w 61"/>
                <a:gd name="T13" fmla="*/ 32 h 132"/>
                <a:gd name="T14" fmla="*/ 18 w 61"/>
                <a:gd name="T15" fmla="*/ 5 h 132"/>
                <a:gd name="T16" fmla="*/ 50 w 61"/>
                <a:gd name="T17" fmla="*/ 9 h 132"/>
                <a:gd name="T18" fmla="*/ 61 w 61"/>
                <a:gd name="T19" fmla="*/ 32 h 132"/>
                <a:gd name="T20" fmla="*/ 61 w 61"/>
                <a:gd name="T2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132">
                  <a:moveTo>
                    <a:pt x="61" y="132"/>
                  </a:moveTo>
                  <a:lnTo>
                    <a:pt x="44" y="132"/>
                  </a:lnTo>
                  <a:lnTo>
                    <a:pt x="44" y="32"/>
                  </a:lnTo>
                  <a:cubicBezTo>
                    <a:pt x="44" y="28"/>
                    <a:pt x="42" y="25"/>
                    <a:pt x="39" y="22"/>
                  </a:cubicBezTo>
                  <a:cubicBezTo>
                    <a:pt x="35" y="19"/>
                    <a:pt x="30" y="18"/>
                    <a:pt x="25" y="20"/>
                  </a:cubicBezTo>
                  <a:cubicBezTo>
                    <a:pt x="20" y="23"/>
                    <a:pt x="17" y="27"/>
                    <a:pt x="17" y="32"/>
                  </a:cubicBezTo>
                  <a:lnTo>
                    <a:pt x="0" y="32"/>
                  </a:lnTo>
                  <a:cubicBezTo>
                    <a:pt x="0" y="21"/>
                    <a:pt x="7" y="10"/>
                    <a:pt x="18" y="5"/>
                  </a:cubicBezTo>
                  <a:cubicBezTo>
                    <a:pt x="28" y="0"/>
                    <a:pt x="40" y="2"/>
                    <a:pt x="50" y="9"/>
                  </a:cubicBezTo>
                  <a:cubicBezTo>
                    <a:pt x="57" y="15"/>
                    <a:pt x="61" y="23"/>
                    <a:pt x="61" y="32"/>
                  </a:cubicBezTo>
                  <a:lnTo>
                    <a:pt x="61" y="132"/>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38">
              <a:extLst>
                <a:ext uri="{FF2B5EF4-FFF2-40B4-BE49-F238E27FC236}">
                  <a16:creationId xmlns:a16="http://schemas.microsoft.com/office/drawing/2014/main" id="{6DA29500-9C10-CD07-30BF-D04C0D8472CB}"/>
                </a:ext>
              </a:extLst>
            </p:cNvPr>
            <p:cNvSpPr>
              <a:spLocks/>
            </p:cNvSpPr>
            <p:nvPr/>
          </p:nvSpPr>
          <p:spPr bwMode="auto">
            <a:xfrm>
              <a:off x="3190875" y="623889"/>
              <a:ext cx="107950" cy="69850"/>
            </a:xfrm>
            <a:custGeom>
              <a:avLst/>
              <a:gdLst>
                <a:gd name="T0" fmla="*/ 68 w 68"/>
                <a:gd name="T1" fmla="*/ 44 h 44"/>
                <a:gd name="T2" fmla="*/ 62 w 68"/>
                <a:gd name="T3" fmla="*/ 44 h 44"/>
                <a:gd name="T4" fmla="*/ 62 w 68"/>
                <a:gd name="T5" fmla="*/ 6 h 44"/>
                <a:gd name="T6" fmla="*/ 6 w 68"/>
                <a:gd name="T7" fmla="*/ 6 h 44"/>
                <a:gd name="T8" fmla="*/ 6 w 68"/>
                <a:gd name="T9" fmla="*/ 44 h 44"/>
                <a:gd name="T10" fmla="*/ 0 w 68"/>
                <a:gd name="T11" fmla="*/ 44 h 44"/>
                <a:gd name="T12" fmla="*/ 0 w 68"/>
                <a:gd name="T13" fmla="*/ 0 h 44"/>
                <a:gd name="T14" fmla="*/ 68 w 68"/>
                <a:gd name="T15" fmla="*/ 0 h 44"/>
                <a:gd name="T16" fmla="*/ 68 w 68"/>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4">
                  <a:moveTo>
                    <a:pt x="68" y="44"/>
                  </a:moveTo>
                  <a:lnTo>
                    <a:pt x="62" y="44"/>
                  </a:lnTo>
                  <a:lnTo>
                    <a:pt x="62" y="6"/>
                  </a:lnTo>
                  <a:lnTo>
                    <a:pt x="6" y="6"/>
                  </a:lnTo>
                  <a:lnTo>
                    <a:pt x="6" y="44"/>
                  </a:lnTo>
                  <a:lnTo>
                    <a:pt x="0" y="44"/>
                  </a:lnTo>
                  <a:lnTo>
                    <a:pt x="0" y="0"/>
                  </a:lnTo>
                  <a:lnTo>
                    <a:pt x="68" y="0"/>
                  </a:lnTo>
                  <a:lnTo>
                    <a:pt x="68" y="4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39">
              <a:extLst>
                <a:ext uri="{FF2B5EF4-FFF2-40B4-BE49-F238E27FC236}">
                  <a16:creationId xmlns:a16="http://schemas.microsoft.com/office/drawing/2014/main" id="{8C03C026-74BB-873D-1B69-CF9022FE5940}"/>
                </a:ext>
              </a:extLst>
            </p:cNvPr>
            <p:cNvSpPr>
              <a:spLocks noEditPoints="1"/>
            </p:cNvSpPr>
            <p:nvPr/>
          </p:nvSpPr>
          <p:spPr bwMode="auto">
            <a:xfrm>
              <a:off x="3240088" y="371476"/>
              <a:ext cx="128588" cy="122238"/>
            </a:xfrm>
            <a:custGeom>
              <a:avLst/>
              <a:gdLst>
                <a:gd name="T0" fmla="*/ 63 w 210"/>
                <a:gd name="T1" fmla="*/ 23 h 200"/>
                <a:gd name="T2" fmla="*/ 30 w 210"/>
                <a:gd name="T3" fmla="*/ 37 h 200"/>
                <a:gd name="T4" fmla="*/ 17 w 210"/>
                <a:gd name="T5" fmla="*/ 69 h 200"/>
                <a:gd name="T6" fmla="*/ 30 w 210"/>
                <a:gd name="T7" fmla="*/ 102 h 200"/>
                <a:gd name="T8" fmla="*/ 105 w 210"/>
                <a:gd name="T9" fmla="*/ 177 h 200"/>
                <a:gd name="T10" fmla="*/ 179 w 210"/>
                <a:gd name="T11" fmla="*/ 102 h 200"/>
                <a:gd name="T12" fmla="*/ 193 w 210"/>
                <a:gd name="T13" fmla="*/ 69 h 200"/>
                <a:gd name="T14" fmla="*/ 179 w 210"/>
                <a:gd name="T15" fmla="*/ 37 h 200"/>
                <a:gd name="T16" fmla="*/ 114 w 210"/>
                <a:gd name="T17" fmla="*/ 37 h 200"/>
                <a:gd name="T18" fmla="*/ 105 w 210"/>
                <a:gd name="T19" fmla="*/ 45 h 200"/>
                <a:gd name="T20" fmla="*/ 96 w 210"/>
                <a:gd name="T21" fmla="*/ 37 h 200"/>
                <a:gd name="T22" fmla="*/ 63 w 210"/>
                <a:gd name="T23" fmla="*/ 23 h 200"/>
                <a:gd name="T24" fmla="*/ 105 w 210"/>
                <a:gd name="T25" fmla="*/ 200 h 200"/>
                <a:gd name="T26" fmla="*/ 19 w 210"/>
                <a:gd name="T27" fmla="*/ 114 h 200"/>
                <a:gd name="T28" fmla="*/ 0 w 210"/>
                <a:gd name="T29" fmla="*/ 69 h 200"/>
                <a:gd name="T30" fmla="*/ 19 w 210"/>
                <a:gd name="T31" fmla="*/ 25 h 200"/>
                <a:gd name="T32" fmla="*/ 105 w 210"/>
                <a:gd name="T33" fmla="*/ 22 h 200"/>
                <a:gd name="T34" fmla="*/ 191 w 210"/>
                <a:gd name="T35" fmla="*/ 25 h 200"/>
                <a:gd name="T36" fmla="*/ 210 w 210"/>
                <a:gd name="T37" fmla="*/ 69 h 200"/>
                <a:gd name="T38" fmla="*/ 191 w 210"/>
                <a:gd name="T39" fmla="*/ 114 h 200"/>
                <a:gd name="T40" fmla="*/ 105 w 210"/>
                <a:gd name="T4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0" h="200">
                  <a:moveTo>
                    <a:pt x="63" y="23"/>
                  </a:moveTo>
                  <a:cubicBezTo>
                    <a:pt x="51" y="23"/>
                    <a:pt x="39" y="27"/>
                    <a:pt x="30" y="37"/>
                  </a:cubicBezTo>
                  <a:cubicBezTo>
                    <a:pt x="22" y="45"/>
                    <a:pt x="17" y="57"/>
                    <a:pt x="17" y="69"/>
                  </a:cubicBezTo>
                  <a:cubicBezTo>
                    <a:pt x="17" y="82"/>
                    <a:pt x="22" y="93"/>
                    <a:pt x="30" y="102"/>
                  </a:cubicBezTo>
                  <a:lnTo>
                    <a:pt x="105" y="177"/>
                  </a:lnTo>
                  <a:lnTo>
                    <a:pt x="179" y="102"/>
                  </a:lnTo>
                  <a:cubicBezTo>
                    <a:pt x="188" y="93"/>
                    <a:pt x="193" y="82"/>
                    <a:pt x="193" y="69"/>
                  </a:cubicBezTo>
                  <a:cubicBezTo>
                    <a:pt x="193" y="57"/>
                    <a:pt x="188" y="45"/>
                    <a:pt x="179" y="37"/>
                  </a:cubicBezTo>
                  <a:cubicBezTo>
                    <a:pt x="162" y="19"/>
                    <a:pt x="131" y="19"/>
                    <a:pt x="114" y="37"/>
                  </a:cubicBezTo>
                  <a:lnTo>
                    <a:pt x="105" y="45"/>
                  </a:lnTo>
                  <a:lnTo>
                    <a:pt x="96" y="37"/>
                  </a:lnTo>
                  <a:cubicBezTo>
                    <a:pt x="87" y="27"/>
                    <a:pt x="75" y="23"/>
                    <a:pt x="63" y="23"/>
                  </a:cubicBezTo>
                  <a:close/>
                  <a:moveTo>
                    <a:pt x="105" y="200"/>
                  </a:moveTo>
                  <a:lnTo>
                    <a:pt x="19" y="114"/>
                  </a:lnTo>
                  <a:cubicBezTo>
                    <a:pt x="7" y="102"/>
                    <a:pt x="0" y="86"/>
                    <a:pt x="0" y="69"/>
                  </a:cubicBezTo>
                  <a:cubicBezTo>
                    <a:pt x="0" y="53"/>
                    <a:pt x="7" y="37"/>
                    <a:pt x="19" y="25"/>
                  </a:cubicBezTo>
                  <a:cubicBezTo>
                    <a:pt x="42" y="1"/>
                    <a:pt x="80" y="0"/>
                    <a:pt x="105" y="22"/>
                  </a:cubicBezTo>
                  <a:cubicBezTo>
                    <a:pt x="129" y="1"/>
                    <a:pt x="168" y="2"/>
                    <a:pt x="191" y="25"/>
                  </a:cubicBezTo>
                  <a:cubicBezTo>
                    <a:pt x="203" y="37"/>
                    <a:pt x="210" y="53"/>
                    <a:pt x="210" y="69"/>
                  </a:cubicBezTo>
                  <a:cubicBezTo>
                    <a:pt x="210" y="86"/>
                    <a:pt x="203" y="102"/>
                    <a:pt x="191" y="114"/>
                  </a:cubicBezTo>
                  <a:lnTo>
                    <a:pt x="105" y="20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1" name="Leadership2" descr="{&quot;Key&quot;:&quot;POWER_USER_SHAPE_ICON&quot;,&quot;Value&quot;:&quot;POWER_USER_SHAPE_ICON_STYLE_1&quot;}">
            <a:extLst>
              <a:ext uri="{FF2B5EF4-FFF2-40B4-BE49-F238E27FC236}">
                <a16:creationId xmlns:a16="http://schemas.microsoft.com/office/drawing/2014/main" id="{C3502162-80CE-3B51-9FB2-F66B7635A3BF}"/>
              </a:ext>
            </a:extLst>
          </p:cNvPr>
          <p:cNvGrpSpPr>
            <a:grpSpLocks noChangeAspect="1"/>
          </p:cNvGrpSpPr>
          <p:nvPr/>
        </p:nvGrpSpPr>
        <p:grpSpPr>
          <a:xfrm>
            <a:off x="8531885" y="2113397"/>
            <a:ext cx="322922" cy="386545"/>
            <a:chOff x="8493125" y="262966"/>
            <a:chExt cx="558800" cy="668897"/>
          </a:xfrm>
          <a:noFill/>
        </p:grpSpPr>
        <p:sp>
          <p:nvSpPr>
            <p:cNvPr id="62" name="Line 2610">
              <a:extLst>
                <a:ext uri="{FF2B5EF4-FFF2-40B4-BE49-F238E27FC236}">
                  <a16:creationId xmlns:a16="http://schemas.microsoft.com/office/drawing/2014/main" id="{6916D860-11E4-06B7-E315-AD5431EF88A8}"/>
                </a:ext>
              </a:extLst>
            </p:cNvPr>
            <p:cNvSpPr>
              <a:spLocks noChangeShapeType="1"/>
            </p:cNvSpPr>
            <p:nvPr/>
          </p:nvSpPr>
          <p:spPr bwMode="auto">
            <a:xfrm>
              <a:off x="8842375" y="524997"/>
              <a:ext cx="0" cy="396000"/>
            </a:xfrm>
            <a:prstGeom prst="line">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Line 2611">
              <a:extLst>
                <a:ext uri="{FF2B5EF4-FFF2-40B4-BE49-F238E27FC236}">
                  <a16:creationId xmlns:a16="http://schemas.microsoft.com/office/drawing/2014/main" id="{9D805F0B-9754-2FE3-88CD-3C7F332CA290}"/>
                </a:ext>
              </a:extLst>
            </p:cNvPr>
            <p:cNvSpPr>
              <a:spLocks noChangeShapeType="1"/>
            </p:cNvSpPr>
            <p:nvPr/>
          </p:nvSpPr>
          <p:spPr bwMode="auto">
            <a:xfrm>
              <a:off x="8494713" y="931863"/>
              <a:ext cx="452438" cy="0"/>
            </a:xfrm>
            <a:prstGeom prst="line">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Oval 2613">
              <a:extLst>
                <a:ext uri="{FF2B5EF4-FFF2-40B4-BE49-F238E27FC236}">
                  <a16:creationId xmlns:a16="http://schemas.microsoft.com/office/drawing/2014/main" id="{B9248898-1129-0143-52BE-DBE99145E0A0}"/>
                </a:ext>
              </a:extLst>
            </p:cNvPr>
            <p:cNvSpPr>
              <a:spLocks noChangeArrowheads="1"/>
            </p:cNvSpPr>
            <p:nvPr/>
          </p:nvSpPr>
          <p:spPr bwMode="auto">
            <a:xfrm>
              <a:off x="8575675" y="327025"/>
              <a:ext cx="98425" cy="100013"/>
            </a:xfrm>
            <a:prstGeom prst="ellipse">
              <a:avLst/>
            </a:prstGeom>
            <a:grp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Oval 2614">
              <a:extLst>
                <a:ext uri="{FF2B5EF4-FFF2-40B4-BE49-F238E27FC236}">
                  <a16:creationId xmlns:a16="http://schemas.microsoft.com/office/drawing/2014/main" id="{CB4EDCEB-BF2B-7C42-D81A-771CC5DBC598}"/>
                </a:ext>
              </a:extLst>
            </p:cNvPr>
            <p:cNvSpPr>
              <a:spLocks noChangeArrowheads="1"/>
            </p:cNvSpPr>
            <p:nvPr/>
          </p:nvSpPr>
          <p:spPr bwMode="auto">
            <a:xfrm>
              <a:off x="8575675" y="327025"/>
              <a:ext cx="98425" cy="100013"/>
            </a:xfrm>
            <a:prstGeom prst="ellipse">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2615">
              <a:extLst>
                <a:ext uri="{FF2B5EF4-FFF2-40B4-BE49-F238E27FC236}">
                  <a16:creationId xmlns:a16="http://schemas.microsoft.com/office/drawing/2014/main" id="{421A8004-51A2-8BE8-9D5E-044F514984D3}"/>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56 w 356"/>
                <a:gd name="T23" fmla="*/ 0 h 416"/>
                <a:gd name="T24" fmla="*/ 313 w 356"/>
                <a:gd name="T25" fmla="*/ 44 h 416"/>
                <a:gd name="T26" fmla="*/ 192 w 356"/>
                <a:gd name="T27"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56" y="0"/>
                  </a:lnTo>
                  <a:cubicBezTo>
                    <a:pt x="356" y="24"/>
                    <a:pt x="337" y="44"/>
                    <a:pt x="313" y="44"/>
                  </a:cubicBezTo>
                  <a:lnTo>
                    <a:pt x="192" y="44"/>
                  </a:lnTo>
                </a:path>
              </a:pathLst>
            </a:custGeom>
            <a:grp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2616">
              <a:extLst>
                <a:ext uri="{FF2B5EF4-FFF2-40B4-BE49-F238E27FC236}">
                  <a16:creationId xmlns:a16="http://schemas.microsoft.com/office/drawing/2014/main" id="{B1D1DCF2-963C-3FB3-D418-CFD022227B2A}"/>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56 w 356"/>
                <a:gd name="T23" fmla="*/ 0 h 416"/>
                <a:gd name="T24" fmla="*/ 313 w 356"/>
                <a:gd name="T25" fmla="*/ 44 h 416"/>
                <a:gd name="T26" fmla="*/ 192 w 356"/>
                <a:gd name="T27"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56" y="0"/>
                  </a:lnTo>
                  <a:cubicBezTo>
                    <a:pt x="356" y="24"/>
                    <a:pt x="337" y="44"/>
                    <a:pt x="313" y="44"/>
                  </a:cubicBezTo>
                  <a:lnTo>
                    <a:pt x="192" y="44"/>
                  </a:lnTo>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Oval 2617">
              <a:extLst>
                <a:ext uri="{FF2B5EF4-FFF2-40B4-BE49-F238E27FC236}">
                  <a16:creationId xmlns:a16="http://schemas.microsoft.com/office/drawing/2014/main" id="{E979414F-6096-14FA-707D-34E1D9FE3DC0}"/>
                </a:ext>
              </a:extLst>
            </p:cNvPr>
            <p:cNvSpPr>
              <a:spLocks noChangeArrowheads="1"/>
            </p:cNvSpPr>
            <p:nvPr/>
          </p:nvSpPr>
          <p:spPr bwMode="auto">
            <a:xfrm>
              <a:off x="8575675" y="327025"/>
              <a:ext cx="98425" cy="100013"/>
            </a:xfrm>
            <a:prstGeom prst="ellipse">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2618">
              <a:extLst>
                <a:ext uri="{FF2B5EF4-FFF2-40B4-BE49-F238E27FC236}">
                  <a16:creationId xmlns:a16="http://schemas.microsoft.com/office/drawing/2014/main" id="{CB37F2A8-8DCD-D5F4-9F02-5E881C541440}"/>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45 w 356"/>
                <a:gd name="T23" fmla="*/ 0 h 416"/>
                <a:gd name="T24" fmla="*/ 354 w 356"/>
                <a:gd name="T25" fmla="*/ 12 h 416"/>
                <a:gd name="T26" fmla="*/ 313 w 356"/>
                <a:gd name="T27" fmla="*/ 44 h 416"/>
                <a:gd name="T28" fmla="*/ 192 w 356"/>
                <a:gd name="T29"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45" y="0"/>
                  </a:lnTo>
                  <a:cubicBezTo>
                    <a:pt x="351" y="0"/>
                    <a:pt x="356" y="6"/>
                    <a:pt x="354" y="12"/>
                  </a:cubicBezTo>
                  <a:cubicBezTo>
                    <a:pt x="349" y="30"/>
                    <a:pt x="332" y="44"/>
                    <a:pt x="313" y="44"/>
                  </a:cubicBezTo>
                  <a:lnTo>
                    <a:pt x="192" y="44"/>
                  </a:lnTo>
                </a:path>
              </a:pathLst>
            </a:custGeom>
            <a:grp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2619">
              <a:extLst>
                <a:ext uri="{FF2B5EF4-FFF2-40B4-BE49-F238E27FC236}">
                  <a16:creationId xmlns:a16="http://schemas.microsoft.com/office/drawing/2014/main" id="{33740E20-2F8A-E619-A9BF-C8EDEF80649C}"/>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45 w 356"/>
                <a:gd name="T23" fmla="*/ 0 h 416"/>
                <a:gd name="T24" fmla="*/ 354 w 356"/>
                <a:gd name="T25" fmla="*/ 12 h 416"/>
                <a:gd name="T26" fmla="*/ 313 w 356"/>
                <a:gd name="T27" fmla="*/ 44 h 416"/>
                <a:gd name="T28" fmla="*/ 192 w 356"/>
                <a:gd name="T29"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45" y="0"/>
                  </a:lnTo>
                  <a:cubicBezTo>
                    <a:pt x="351" y="0"/>
                    <a:pt x="356" y="6"/>
                    <a:pt x="354" y="12"/>
                  </a:cubicBezTo>
                  <a:cubicBezTo>
                    <a:pt x="349" y="30"/>
                    <a:pt x="332" y="44"/>
                    <a:pt x="313" y="44"/>
                  </a:cubicBezTo>
                  <a:lnTo>
                    <a:pt x="192" y="44"/>
                  </a:lnTo>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Line 2620">
              <a:extLst>
                <a:ext uri="{FF2B5EF4-FFF2-40B4-BE49-F238E27FC236}">
                  <a16:creationId xmlns:a16="http://schemas.microsoft.com/office/drawing/2014/main" id="{2A534DDE-605A-E5C0-A888-A2C758E4301B}"/>
                </a:ext>
              </a:extLst>
            </p:cNvPr>
            <p:cNvSpPr>
              <a:spLocks noChangeShapeType="1"/>
            </p:cNvSpPr>
            <p:nvPr/>
          </p:nvSpPr>
          <p:spPr bwMode="auto">
            <a:xfrm>
              <a:off x="8624888" y="698500"/>
              <a:ext cx="0" cy="225425"/>
            </a:xfrm>
            <a:prstGeom prst="line">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Line 2621">
              <a:extLst>
                <a:ext uri="{FF2B5EF4-FFF2-40B4-BE49-F238E27FC236}">
                  <a16:creationId xmlns:a16="http://schemas.microsoft.com/office/drawing/2014/main" id="{783BBBF9-017F-C850-A93A-9087FD4B9A58}"/>
                </a:ext>
              </a:extLst>
            </p:cNvPr>
            <p:cNvSpPr>
              <a:spLocks noChangeShapeType="1"/>
            </p:cNvSpPr>
            <p:nvPr/>
          </p:nvSpPr>
          <p:spPr bwMode="auto">
            <a:xfrm flipH="1" flipV="1">
              <a:off x="8543925" y="542925"/>
              <a:ext cx="12700" cy="171450"/>
            </a:xfrm>
            <a:prstGeom prst="line">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2622">
              <a:extLst>
                <a:ext uri="{FF2B5EF4-FFF2-40B4-BE49-F238E27FC236}">
                  <a16:creationId xmlns:a16="http://schemas.microsoft.com/office/drawing/2014/main" id="{0A3EE934-6A4D-FF8A-1CE4-B3D006187619}"/>
                </a:ext>
              </a:extLst>
            </p:cNvPr>
            <p:cNvSpPr>
              <a:spLocks noChangeArrowheads="1"/>
            </p:cNvSpPr>
            <p:nvPr/>
          </p:nvSpPr>
          <p:spPr bwMode="auto">
            <a:xfrm>
              <a:off x="8842375" y="298450"/>
              <a:ext cx="104775" cy="98425"/>
            </a:xfrm>
            <a:prstGeom prst="rect">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2623">
              <a:extLst>
                <a:ext uri="{FF2B5EF4-FFF2-40B4-BE49-F238E27FC236}">
                  <a16:creationId xmlns:a16="http://schemas.microsoft.com/office/drawing/2014/main" id="{31718A0D-0D31-0C61-C794-C1EF5B537562}"/>
                </a:ext>
              </a:extLst>
            </p:cNvPr>
            <p:cNvSpPr>
              <a:spLocks/>
            </p:cNvSpPr>
            <p:nvPr/>
          </p:nvSpPr>
          <p:spPr bwMode="auto">
            <a:xfrm>
              <a:off x="8947150" y="336550"/>
              <a:ext cx="104775" cy="96838"/>
            </a:xfrm>
            <a:custGeom>
              <a:avLst/>
              <a:gdLst>
                <a:gd name="T0" fmla="*/ 94 w 94"/>
                <a:gd name="T1" fmla="*/ 87 h 87"/>
                <a:gd name="T2" fmla="*/ 0 w 94"/>
                <a:gd name="T3" fmla="*/ 87 h 87"/>
                <a:gd name="T4" fmla="*/ 0 w 94"/>
                <a:gd name="T5" fmla="*/ 0 h 87"/>
                <a:gd name="T6" fmla="*/ 94 w 94"/>
                <a:gd name="T7" fmla="*/ 0 h 87"/>
                <a:gd name="T8" fmla="*/ 56 w 94"/>
                <a:gd name="T9" fmla="*/ 44 h 87"/>
                <a:gd name="T10" fmla="*/ 94 w 94"/>
                <a:gd name="T11" fmla="*/ 87 h 87"/>
              </a:gdLst>
              <a:ahLst/>
              <a:cxnLst>
                <a:cxn ang="0">
                  <a:pos x="T0" y="T1"/>
                </a:cxn>
                <a:cxn ang="0">
                  <a:pos x="T2" y="T3"/>
                </a:cxn>
                <a:cxn ang="0">
                  <a:pos x="T4" y="T5"/>
                </a:cxn>
                <a:cxn ang="0">
                  <a:pos x="T6" y="T7"/>
                </a:cxn>
                <a:cxn ang="0">
                  <a:pos x="T8" y="T9"/>
                </a:cxn>
                <a:cxn ang="0">
                  <a:pos x="T10" y="T11"/>
                </a:cxn>
              </a:cxnLst>
              <a:rect l="0" t="0" r="r" b="b"/>
              <a:pathLst>
                <a:path w="94" h="87">
                  <a:moveTo>
                    <a:pt x="94" y="87"/>
                  </a:moveTo>
                  <a:lnTo>
                    <a:pt x="0" y="87"/>
                  </a:lnTo>
                  <a:lnTo>
                    <a:pt x="0" y="0"/>
                  </a:lnTo>
                  <a:lnTo>
                    <a:pt x="94" y="0"/>
                  </a:lnTo>
                  <a:lnTo>
                    <a:pt x="56" y="44"/>
                  </a:lnTo>
                  <a:lnTo>
                    <a:pt x="94" y="87"/>
                  </a:lnTo>
                  <a:close/>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Line 2610">
              <a:extLst>
                <a:ext uri="{FF2B5EF4-FFF2-40B4-BE49-F238E27FC236}">
                  <a16:creationId xmlns:a16="http://schemas.microsoft.com/office/drawing/2014/main" id="{43BC011E-CACB-30D9-F310-D962B67C27D5}"/>
                </a:ext>
              </a:extLst>
            </p:cNvPr>
            <p:cNvSpPr>
              <a:spLocks noChangeShapeType="1"/>
            </p:cNvSpPr>
            <p:nvPr/>
          </p:nvSpPr>
          <p:spPr bwMode="auto">
            <a:xfrm>
              <a:off x="8842375" y="262966"/>
              <a:ext cx="0" cy="203760"/>
            </a:xfrm>
            <a:prstGeom prst="line">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61048914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7413AF6-606B-2B87-A383-BC14B48513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08" imgH="408" progId="TCLayout.ActiveDocument.1">
                  <p:embed/>
                </p:oleObj>
              </mc:Choice>
              <mc:Fallback>
                <p:oleObj name="think-cell Folie" r:id="rId6" imgW="408" imgH="408" progId="TCLayout.ActiveDocument.1">
                  <p:embed/>
                  <p:pic>
                    <p:nvPicPr>
                      <p:cNvPr id="8" name="think-cell data - do not delete" hidden="1">
                        <a:extLst>
                          <a:ext uri="{FF2B5EF4-FFF2-40B4-BE49-F238E27FC236}">
                            <a16:creationId xmlns:a16="http://schemas.microsoft.com/office/drawing/2014/main" id="{07413AF6-606B-2B87-A383-BC14B48513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re 2"/>
          <p:cNvSpPr>
            <a:spLocks noGrp="1"/>
          </p:cNvSpPr>
          <p:nvPr>
            <p:ph type="title"/>
          </p:nvPr>
        </p:nvSpPr>
        <p:spPr/>
        <p:txBody>
          <a:bodyPr vert="horz">
            <a:noAutofit/>
          </a:bodyPr>
          <a:lstStyle/>
          <a:p>
            <a:r>
              <a:rPr lang="en-US"/>
              <a:t>Different forms of communication based on the ESG-Goals can have a big impact on the attractiveness and compliance of Uber</a:t>
            </a:r>
          </a:p>
        </p:txBody>
      </p:sp>
      <p:sp>
        <p:nvSpPr>
          <p:cNvPr id="4" name="Inhaltsplatzhalter 3">
            <a:extLst>
              <a:ext uri="{FF2B5EF4-FFF2-40B4-BE49-F238E27FC236}">
                <a16:creationId xmlns:a16="http://schemas.microsoft.com/office/drawing/2014/main" id="{7467BC07-73BC-D70F-1024-47D0849911C0}"/>
              </a:ext>
            </a:extLst>
          </p:cNvPr>
          <p:cNvSpPr>
            <a:spLocks noGrp="1"/>
          </p:cNvSpPr>
          <p:nvPr>
            <p:ph idx="10"/>
          </p:nvPr>
        </p:nvSpPr>
        <p:spPr/>
        <p:txBody>
          <a:bodyPr/>
          <a:lstStyle/>
          <a:p>
            <a:r>
              <a:rPr lang="en-US"/>
              <a:t>Impact on Ubers Reputation</a:t>
            </a:r>
          </a:p>
        </p:txBody>
      </p:sp>
      <p:sp>
        <p:nvSpPr>
          <p:cNvPr id="5" name="Inhaltsplatzhalter 4">
            <a:extLst>
              <a:ext uri="{FF2B5EF4-FFF2-40B4-BE49-F238E27FC236}">
                <a16:creationId xmlns:a16="http://schemas.microsoft.com/office/drawing/2014/main" id="{8AC33134-E36C-08C6-818E-2DE1BA2E6641}"/>
              </a:ext>
            </a:extLst>
          </p:cNvPr>
          <p:cNvSpPr>
            <a:spLocks noGrp="1"/>
          </p:cNvSpPr>
          <p:nvPr>
            <p:ph idx="11"/>
          </p:nvPr>
        </p:nvSpPr>
        <p:spPr/>
        <p:txBody>
          <a:bodyPr/>
          <a:lstStyle/>
          <a:p>
            <a:r>
              <a:rPr lang="en-US"/>
              <a:t>Own Representation</a:t>
            </a:r>
          </a:p>
        </p:txBody>
      </p:sp>
      <p:sp>
        <p:nvSpPr>
          <p:cNvPr id="6" name="Inhaltsplatzhalter 5">
            <a:extLst>
              <a:ext uri="{FF2B5EF4-FFF2-40B4-BE49-F238E27FC236}">
                <a16:creationId xmlns:a16="http://schemas.microsoft.com/office/drawing/2014/main" id="{1FEF047D-5790-D395-CD42-BF7396C785D3}"/>
              </a:ext>
            </a:extLst>
          </p:cNvPr>
          <p:cNvSpPr>
            <a:spLocks noGrp="1"/>
          </p:cNvSpPr>
          <p:nvPr>
            <p:ph idx="12"/>
          </p:nvPr>
        </p:nvSpPr>
        <p:spPr/>
        <p:txBody>
          <a:bodyPr/>
          <a:lstStyle/>
          <a:p>
            <a:r>
              <a:rPr lang="en-US"/>
              <a:t>Stakeholder</a:t>
            </a:r>
          </a:p>
        </p:txBody>
      </p:sp>
      <p:sp>
        <p:nvSpPr>
          <p:cNvPr id="41" name="TextBox 7 - 1"/>
          <p:cNvSpPr txBox="1"/>
          <p:nvPr/>
        </p:nvSpPr>
        <p:spPr>
          <a:xfrm>
            <a:off x="420491" y="4656116"/>
            <a:ext cx="2538000" cy="923330"/>
          </a:xfrm>
          <a:prstGeom prst="rect">
            <a:avLst/>
          </a:prstGeom>
          <a:noFill/>
        </p:spPr>
        <p:txBody>
          <a:bodyPr wrap="square" rtlCol="0" anchor="ctr">
            <a:spAutoFit/>
          </a:bodyPr>
          <a:lstStyle/>
          <a:p>
            <a:pPr algn="ctr"/>
            <a:r>
              <a:rPr lang="en-US" sz="1350"/>
              <a:t>Effective ESG communication can enhance Uber's brand as socially responsible and environmentally conscious..</a:t>
            </a:r>
          </a:p>
        </p:txBody>
      </p:sp>
      <p:sp>
        <p:nvSpPr>
          <p:cNvPr id="42" name="TextBox 7"/>
          <p:cNvSpPr txBox="1"/>
          <p:nvPr/>
        </p:nvSpPr>
        <p:spPr>
          <a:xfrm>
            <a:off x="3303000" y="4656116"/>
            <a:ext cx="2538000" cy="923330"/>
          </a:xfrm>
          <a:prstGeom prst="rect">
            <a:avLst/>
          </a:prstGeom>
          <a:noFill/>
        </p:spPr>
        <p:txBody>
          <a:bodyPr wrap="square" rtlCol="0" anchor="ctr">
            <a:spAutoFit/>
          </a:bodyPr>
          <a:lstStyle/>
          <a:p>
            <a:pPr algn="ctr"/>
            <a:r>
              <a:rPr lang="en-US" sz="1350"/>
              <a:t>Appeals to socially responsible investors and can improve its standing in ESG ratings, impacting investor decisions.</a:t>
            </a:r>
          </a:p>
        </p:txBody>
      </p:sp>
      <p:sp>
        <p:nvSpPr>
          <p:cNvPr id="43" name="TextBox 7 - 2"/>
          <p:cNvSpPr txBox="1"/>
          <p:nvPr/>
        </p:nvSpPr>
        <p:spPr>
          <a:xfrm>
            <a:off x="6185509" y="4656116"/>
            <a:ext cx="2538000" cy="923330"/>
          </a:xfrm>
          <a:prstGeom prst="rect">
            <a:avLst/>
          </a:prstGeom>
          <a:noFill/>
        </p:spPr>
        <p:txBody>
          <a:bodyPr wrap="square" rtlCol="0" anchor="ctr">
            <a:spAutoFit/>
          </a:bodyPr>
          <a:lstStyle/>
          <a:p>
            <a:pPr algn="ctr"/>
            <a:r>
              <a:rPr lang="en-US" sz="1350"/>
              <a:t> Demonstrates to regulators and policymakers Uber’s commitment to societal and environmental concerns</a:t>
            </a:r>
          </a:p>
        </p:txBody>
      </p:sp>
      <p:sp>
        <p:nvSpPr>
          <p:cNvPr id="44" name="ZoneTexte 11">
            <a:extLst>
              <a:ext uri="{FF2B5EF4-FFF2-40B4-BE49-F238E27FC236}">
                <a16:creationId xmlns:a16="http://schemas.microsoft.com/office/drawing/2014/main" id="{74A014B2-D5F4-43AC-89F4-8D11C6BEA7C3}"/>
              </a:ext>
            </a:extLst>
          </p:cNvPr>
          <p:cNvSpPr txBox="1"/>
          <p:nvPr/>
        </p:nvSpPr>
        <p:spPr>
          <a:xfrm>
            <a:off x="978467" y="4096174"/>
            <a:ext cx="1422056" cy="300082"/>
          </a:xfrm>
          <a:prstGeom prst="rect">
            <a:avLst/>
          </a:prstGeom>
          <a:noFill/>
        </p:spPr>
        <p:txBody>
          <a:bodyPr wrap="none" rtlCol="0">
            <a:spAutoFit/>
          </a:bodyPr>
          <a:lstStyle/>
          <a:p>
            <a:pPr algn="ctr"/>
            <a:r>
              <a:rPr lang="en-US" sz="1350" b="1">
                <a:solidFill>
                  <a:schemeClr val="accent1"/>
                </a:solidFill>
              </a:rPr>
              <a:t>Brand Perception</a:t>
            </a:r>
          </a:p>
        </p:txBody>
      </p:sp>
      <p:sp>
        <p:nvSpPr>
          <p:cNvPr id="45" name="ZoneTexte 12">
            <a:extLst>
              <a:ext uri="{FF2B5EF4-FFF2-40B4-BE49-F238E27FC236}">
                <a16:creationId xmlns:a16="http://schemas.microsoft.com/office/drawing/2014/main" id="{EBBCE548-B7DF-4268-9D66-F44618ADD21E}"/>
              </a:ext>
            </a:extLst>
          </p:cNvPr>
          <p:cNvSpPr txBox="1"/>
          <p:nvPr/>
        </p:nvSpPr>
        <p:spPr>
          <a:xfrm>
            <a:off x="3661110" y="4096174"/>
            <a:ext cx="1821781" cy="300082"/>
          </a:xfrm>
          <a:prstGeom prst="rect">
            <a:avLst/>
          </a:prstGeom>
          <a:noFill/>
        </p:spPr>
        <p:txBody>
          <a:bodyPr wrap="none" rtlCol="0">
            <a:spAutoFit/>
          </a:bodyPr>
          <a:lstStyle/>
          <a:p>
            <a:pPr algn="ctr"/>
            <a:r>
              <a:rPr lang="en-US" sz="1350" b="1">
                <a:solidFill>
                  <a:schemeClr val="accent2"/>
                </a:solidFill>
              </a:rPr>
              <a:t>Investor Attractiveness</a:t>
            </a:r>
          </a:p>
        </p:txBody>
      </p:sp>
      <p:sp>
        <p:nvSpPr>
          <p:cNvPr id="46" name="ZoneTexte 13">
            <a:extLst>
              <a:ext uri="{FF2B5EF4-FFF2-40B4-BE49-F238E27FC236}">
                <a16:creationId xmlns:a16="http://schemas.microsoft.com/office/drawing/2014/main" id="{3A6AFEF1-6947-49FC-BED0-7578783C8312}"/>
              </a:ext>
            </a:extLst>
          </p:cNvPr>
          <p:cNvSpPr txBox="1"/>
          <p:nvPr/>
        </p:nvSpPr>
        <p:spPr>
          <a:xfrm>
            <a:off x="6533552" y="4096174"/>
            <a:ext cx="1841915" cy="300082"/>
          </a:xfrm>
          <a:prstGeom prst="rect">
            <a:avLst/>
          </a:prstGeom>
          <a:noFill/>
        </p:spPr>
        <p:txBody>
          <a:bodyPr wrap="none" rtlCol="0">
            <a:spAutoFit/>
          </a:bodyPr>
          <a:lstStyle/>
          <a:p>
            <a:pPr algn="ctr"/>
            <a:r>
              <a:rPr lang="en-US" sz="1350" b="1">
                <a:solidFill>
                  <a:schemeClr val="accent3"/>
                </a:solidFill>
              </a:rPr>
              <a:t>Regulatory Compliance</a:t>
            </a:r>
          </a:p>
        </p:txBody>
      </p:sp>
      <p:cxnSp>
        <p:nvCxnSpPr>
          <p:cNvPr id="65" name="Connecteur droit 5">
            <a:extLst>
              <a:ext uri="{FF2B5EF4-FFF2-40B4-BE49-F238E27FC236}">
                <a16:creationId xmlns:a16="http://schemas.microsoft.com/office/drawing/2014/main" id="{62F79C51-AB18-42D6-90C8-1402EE034DB0}"/>
              </a:ext>
            </a:extLst>
          </p:cNvPr>
          <p:cNvCxnSpPr/>
          <p:nvPr/>
        </p:nvCxnSpPr>
        <p:spPr>
          <a:xfrm>
            <a:off x="3130746" y="3325548"/>
            <a:ext cx="0" cy="2789139"/>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72" name="Connecteur droit 5">
            <a:extLst>
              <a:ext uri="{FF2B5EF4-FFF2-40B4-BE49-F238E27FC236}">
                <a16:creationId xmlns:a16="http://schemas.microsoft.com/office/drawing/2014/main" id="{1DF9FBC0-BE8E-4C99-A277-598238E05D19}"/>
              </a:ext>
            </a:extLst>
          </p:cNvPr>
          <p:cNvCxnSpPr/>
          <p:nvPr/>
        </p:nvCxnSpPr>
        <p:spPr>
          <a:xfrm>
            <a:off x="6013255" y="3325548"/>
            <a:ext cx="0" cy="2789139"/>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F111D800-C56B-C2FF-B089-9F4F21DED8DD}"/>
              </a:ext>
            </a:extLst>
          </p:cNvPr>
          <p:cNvSpPr txBox="1"/>
          <p:nvPr/>
        </p:nvSpPr>
        <p:spPr>
          <a:xfrm>
            <a:off x="364715" y="1982652"/>
            <a:ext cx="8563379" cy="738664"/>
          </a:xfrm>
          <a:prstGeom prst="rect">
            <a:avLst/>
          </a:prstGeom>
          <a:noFill/>
        </p:spPr>
        <p:txBody>
          <a:bodyPr wrap="square">
            <a:spAutoFit/>
          </a:bodyPr>
          <a:lstStyle/>
          <a:p>
            <a:r>
              <a:rPr lang="en-US" sz="1400" b="1"/>
              <a:t>ESG considerations play a significant role in shaping Ubers communication strategy. By effectively addressing environmental, social, and governance issues in its communications, Uber can enhance its appeal to a broader range of stakeholder.</a:t>
            </a:r>
          </a:p>
        </p:txBody>
      </p:sp>
      <p:sp>
        <p:nvSpPr>
          <p:cNvPr id="11" name="Like" descr="{&quot;Key&quot;:&quot;POWER_USER_SHAPE_ICON&quot;,&quot;Value&quot;:&quot;POWER_USER_SHAPE_ICON_STYLE_1&quot;}">
            <a:extLst>
              <a:ext uri="{FF2B5EF4-FFF2-40B4-BE49-F238E27FC236}">
                <a16:creationId xmlns:a16="http://schemas.microsoft.com/office/drawing/2014/main" id="{55FA2D3A-4E02-F762-9A6F-DB11C4E2EB5E}"/>
              </a:ext>
            </a:extLst>
          </p:cNvPr>
          <p:cNvSpPr>
            <a:spLocks noChangeAspect="1" noEditPoints="1"/>
          </p:cNvSpPr>
          <p:nvPr>
            <p:custDataLst>
              <p:tags r:id="rId2"/>
            </p:custDataLst>
          </p:nvPr>
        </p:nvSpPr>
        <p:spPr bwMode="auto">
          <a:xfrm>
            <a:off x="1264577" y="3165015"/>
            <a:ext cx="728380" cy="762000"/>
          </a:xfrm>
          <a:custGeom>
            <a:avLst/>
            <a:gdLst>
              <a:gd name="T0" fmla="*/ 0 w 18355"/>
              <a:gd name="T1" fmla="*/ 10698 h 19176"/>
              <a:gd name="T2" fmla="*/ 742 w 18355"/>
              <a:gd name="T3" fmla="*/ 9956 h 19176"/>
              <a:gd name="T4" fmla="*/ 3063 w 18355"/>
              <a:gd name="T5" fmla="*/ 9956 h 19176"/>
              <a:gd name="T6" fmla="*/ 3805 w 18355"/>
              <a:gd name="T7" fmla="*/ 10698 h 19176"/>
              <a:gd name="T8" fmla="*/ 3805 w 18355"/>
              <a:gd name="T9" fmla="*/ 17937 h 19176"/>
              <a:gd name="T10" fmla="*/ 3063 w 18355"/>
              <a:gd name="T11" fmla="*/ 18679 h 19176"/>
              <a:gd name="T12" fmla="*/ 742 w 18355"/>
              <a:gd name="T13" fmla="*/ 18679 h 19176"/>
              <a:gd name="T14" fmla="*/ 0 w 18355"/>
              <a:gd name="T15" fmla="*/ 17937 h 19176"/>
              <a:gd name="T16" fmla="*/ 0 w 18355"/>
              <a:gd name="T17" fmla="*/ 10698 h 19176"/>
              <a:gd name="T18" fmla="*/ 10840 w 18355"/>
              <a:gd name="T19" fmla="*/ 92 h 19176"/>
              <a:gd name="T20" fmla="*/ 13072 w 18355"/>
              <a:gd name="T21" fmla="*/ 2026 h 19176"/>
              <a:gd name="T22" fmla="*/ 12337 w 18355"/>
              <a:gd name="T23" fmla="*/ 5373 h 19176"/>
              <a:gd name="T24" fmla="*/ 11729 w 18355"/>
              <a:gd name="T25" fmla="*/ 7584 h 19176"/>
              <a:gd name="T26" fmla="*/ 13683 w 18355"/>
              <a:gd name="T27" fmla="*/ 7624 h 19176"/>
              <a:gd name="T28" fmla="*/ 16822 w 18355"/>
              <a:gd name="T29" fmla="*/ 7828 h 19176"/>
              <a:gd name="T30" fmla="*/ 18138 w 18355"/>
              <a:gd name="T31" fmla="*/ 9606 h 19176"/>
              <a:gd name="T32" fmla="*/ 17763 w 18355"/>
              <a:gd name="T33" fmla="*/ 11473 h 19176"/>
              <a:gd name="T34" fmla="*/ 17482 w 18355"/>
              <a:gd name="T35" fmla="*/ 13229 h 19176"/>
              <a:gd name="T36" fmla="*/ 17588 w 18355"/>
              <a:gd name="T37" fmla="*/ 15339 h 19176"/>
              <a:gd name="T38" fmla="*/ 16648 w 18355"/>
              <a:gd name="T39" fmla="*/ 17031 h 19176"/>
              <a:gd name="T40" fmla="*/ 15433 w 18355"/>
              <a:gd name="T41" fmla="*/ 18694 h 19176"/>
              <a:gd name="T42" fmla="*/ 12293 w 18355"/>
              <a:gd name="T43" fmla="*/ 19075 h 19176"/>
              <a:gd name="T44" fmla="*/ 7061 w 18355"/>
              <a:gd name="T45" fmla="*/ 18594 h 19176"/>
              <a:gd name="T46" fmla="*/ 4593 w 18355"/>
              <a:gd name="T47" fmla="*/ 18133 h 19176"/>
              <a:gd name="T48" fmla="*/ 4569 w 18355"/>
              <a:gd name="T49" fmla="*/ 10352 h 19176"/>
              <a:gd name="T50" fmla="*/ 6184 w 18355"/>
              <a:gd name="T51" fmla="*/ 9421 h 19176"/>
              <a:gd name="T52" fmla="*/ 8014 w 18355"/>
              <a:gd name="T53" fmla="*/ 5820 h 19176"/>
              <a:gd name="T54" fmla="*/ 9930 w 18355"/>
              <a:gd name="T55" fmla="*/ 3631 h 19176"/>
              <a:gd name="T56" fmla="*/ 10549 w 18355"/>
              <a:gd name="T57" fmla="*/ 314 h 19176"/>
              <a:gd name="T58" fmla="*/ 10839 w 18355"/>
              <a:gd name="T59" fmla="*/ 92 h 19176"/>
              <a:gd name="T60" fmla="*/ 10840 w 18355"/>
              <a:gd name="T61" fmla="*/ 92 h 19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55" h="19176">
                <a:moveTo>
                  <a:pt x="0" y="10698"/>
                </a:moveTo>
                <a:cubicBezTo>
                  <a:pt x="0" y="10288"/>
                  <a:pt x="332" y="9956"/>
                  <a:pt x="742" y="9956"/>
                </a:cubicBezTo>
                <a:lnTo>
                  <a:pt x="3063" y="9956"/>
                </a:lnTo>
                <a:cubicBezTo>
                  <a:pt x="3473" y="9956"/>
                  <a:pt x="3805" y="10288"/>
                  <a:pt x="3805" y="10698"/>
                </a:cubicBezTo>
                <a:lnTo>
                  <a:pt x="3805" y="17937"/>
                </a:lnTo>
                <a:cubicBezTo>
                  <a:pt x="3805" y="18347"/>
                  <a:pt x="3473" y="18679"/>
                  <a:pt x="3063" y="18679"/>
                </a:cubicBezTo>
                <a:lnTo>
                  <a:pt x="742" y="18679"/>
                </a:lnTo>
                <a:cubicBezTo>
                  <a:pt x="332" y="18679"/>
                  <a:pt x="0" y="18347"/>
                  <a:pt x="0" y="17937"/>
                </a:cubicBezTo>
                <a:lnTo>
                  <a:pt x="0" y="10698"/>
                </a:lnTo>
                <a:close/>
                <a:moveTo>
                  <a:pt x="10840" y="92"/>
                </a:moveTo>
                <a:cubicBezTo>
                  <a:pt x="11958" y="0"/>
                  <a:pt x="12945" y="940"/>
                  <a:pt x="13072" y="2026"/>
                </a:cubicBezTo>
                <a:cubicBezTo>
                  <a:pt x="13300" y="3194"/>
                  <a:pt x="12920" y="4369"/>
                  <a:pt x="12337" y="5373"/>
                </a:cubicBezTo>
                <a:cubicBezTo>
                  <a:pt x="12027" y="6063"/>
                  <a:pt x="11561" y="6798"/>
                  <a:pt x="11729" y="7584"/>
                </a:cubicBezTo>
                <a:cubicBezTo>
                  <a:pt x="12314" y="7745"/>
                  <a:pt x="13043" y="7564"/>
                  <a:pt x="13683" y="7624"/>
                </a:cubicBezTo>
                <a:cubicBezTo>
                  <a:pt x="14728" y="7649"/>
                  <a:pt x="15799" y="7579"/>
                  <a:pt x="16822" y="7828"/>
                </a:cubicBezTo>
                <a:cubicBezTo>
                  <a:pt x="17509" y="8150"/>
                  <a:pt x="17959" y="8889"/>
                  <a:pt x="18138" y="9606"/>
                </a:cubicBezTo>
                <a:cubicBezTo>
                  <a:pt x="18095" y="10265"/>
                  <a:pt x="17082" y="10804"/>
                  <a:pt x="17763" y="11473"/>
                </a:cubicBezTo>
                <a:cubicBezTo>
                  <a:pt x="18355" y="12055"/>
                  <a:pt x="18034" y="12765"/>
                  <a:pt x="17482" y="13229"/>
                </a:cubicBezTo>
                <a:cubicBezTo>
                  <a:pt x="16974" y="13913"/>
                  <a:pt x="18112" y="14638"/>
                  <a:pt x="17588" y="15339"/>
                </a:cubicBezTo>
                <a:cubicBezTo>
                  <a:pt x="17208" y="15869"/>
                  <a:pt x="16454" y="16264"/>
                  <a:pt x="16648" y="17031"/>
                </a:cubicBezTo>
                <a:cubicBezTo>
                  <a:pt x="16737" y="17802"/>
                  <a:pt x="15981" y="18300"/>
                  <a:pt x="15433" y="18694"/>
                </a:cubicBezTo>
                <a:cubicBezTo>
                  <a:pt x="14469" y="19176"/>
                  <a:pt x="13339" y="19050"/>
                  <a:pt x="12293" y="19075"/>
                </a:cubicBezTo>
                <a:cubicBezTo>
                  <a:pt x="10541" y="19020"/>
                  <a:pt x="8775" y="18998"/>
                  <a:pt x="7061" y="18594"/>
                </a:cubicBezTo>
                <a:cubicBezTo>
                  <a:pt x="6239" y="18438"/>
                  <a:pt x="5413" y="18300"/>
                  <a:pt x="4593" y="18133"/>
                </a:cubicBezTo>
                <a:lnTo>
                  <a:pt x="4569" y="10352"/>
                </a:lnTo>
                <a:cubicBezTo>
                  <a:pt x="5261" y="10450"/>
                  <a:pt x="5818" y="9955"/>
                  <a:pt x="6184" y="9421"/>
                </a:cubicBezTo>
                <a:cubicBezTo>
                  <a:pt x="6994" y="8330"/>
                  <a:pt x="7434" y="7033"/>
                  <a:pt x="8014" y="5820"/>
                </a:cubicBezTo>
                <a:cubicBezTo>
                  <a:pt x="8556" y="5003"/>
                  <a:pt x="9613" y="4619"/>
                  <a:pt x="9930" y="3631"/>
                </a:cubicBezTo>
                <a:cubicBezTo>
                  <a:pt x="10381" y="2585"/>
                  <a:pt x="10429" y="1430"/>
                  <a:pt x="10549" y="314"/>
                </a:cubicBezTo>
                <a:cubicBezTo>
                  <a:pt x="10498" y="170"/>
                  <a:pt x="10943" y="88"/>
                  <a:pt x="10839" y="92"/>
                </a:cubicBezTo>
                <a:lnTo>
                  <a:pt x="10840" y="92"/>
                </a:lnTo>
                <a:close/>
              </a:path>
            </a:pathLst>
          </a:custGeom>
          <a:noFill/>
          <a:ln w="19050">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2" name="Capital2" descr="{&quot;Key&quot;:&quot;POWER_USER_SHAPE_ICON&quot;,&quot;Value&quot;:&quot;POWER_USER_SHAPE_ICON_STYLE_1&quot;}">
            <a:extLst>
              <a:ext uri="{FF2B5EF4-FFF2-40B4-BE49-F238E27FC236}">
                <a16:creationId xmlns:a16="http://schemas.microsoft.com/office/drawing/2014/main" id="{E73DEAAD-A5E2-8BB2-3B0C-46AEB12382F2}"/>
              </a:ext>
            </a:extLst>
          </p:cNvPr>
          <p:cNvGrpSpPr>
            <a:grpSpLocks noChangeAspect="1"/>
          </p:cNvGrpSpPr>
          <p:nvPr/>
        </p:nvGrpSpPr>
        <p:grpSpPr>
          <a:xfrm>
            <a:off x="4298810" y="3210310"/>
            <a:ext cx="507067" cy="762000"/>
            <a:chOff x="5561013" y="1997076"/>
            <a:chExt cx="287338" cy="431800"/>
          </a:xfrm>
          <a:solidFill>
            <a:schemeClr val="accent2"/>
          </a:solidFill>
        </p:grpSpPr>
        <p:sp>
          <p:nvSpPr>
            <p:cNvPr id="13" name="Freeform 535">
              <a:extLst>
                <a:ext uri="{FF2B5EF4-FFF2-40B4-BE49-F238E27FC236}">
                  <a16:creationId xmlns:a16="http://schemas.microsoft.com/office/drawing/2014/main" id="{96664462-679E-0A0A-3205-9C0945EF3D0F}"/>
                </a:ext>
              </a:extLst>
            </p:cNvPr>
            <p:cNvSpPr>
              <a:spLocks noEditPoints="1"/>
            </p:cNvSpPr>
            <p:nvPr/>
          </p:nvSpPr>
          <p:spPr bwMode="auto">
            <a:xfrm>
              <a:off x="5616576" y="2200276"/>
              <a:ext cx="231775" cy="228600"/>
            </a:xfrm>
            <a:custGeom>
              <a:avLst/>
              <a:gdLst>
                <a:gd name="T0" fmla="*/ 75 w 305"/>
                <a:gd name="T1" fmla="*/ 17 h 301"/>
                <a:gd name="T2" fmla="*/ 16 w 305"/>
                <a:gd name="T3" fmla="*/ 148 h 301"/>
                <a:gd name="T4" fmla="*/ 152 w 305"/>
                <a:gd name="T5" fmla="*/ 284 h 301"/>
                <a:gd name="T6" fmla="*/ 289 w 305"/>
                <a:gd name="T7" fmla="*/ 148 h 301"/>
                <a:gd name="T8" fmla="*/ 230 w 305"/>
                <a:gd name="T9" fmla="*/ 17 h 301"/>
                <a:gd name="T10" fmla="*/ 75 w 305"/>
                <a:gd name="T11" fmla="*/ 17 h 301"/>
                <a:gd name="T12" fmla="*/ 152 w 305"/>
                <a:gd name="T13" fmla="*/ 301 h 301"/>
                <a:gd name="T14" fmla="*/ 0 w 305"/>
                <a:gd name="T15" fmla="*/ 148 h 301"/>
                <a:gd name="T16" fmla="*/ 66 w 305"/>
                <a:gd name="T17" fmla="*/ 2 h 301"/>
                <a:gd name="T18" fmla="*/ 68 w 305"/>
                <a:gd name="T19" fmla="*/ 0 h 301"/>
                <a:gd name="T20" fmla="*/ 236 w 305"/>
                <a:gd name="T21" fmla="*/ 0 h 301"/>
                <a:gd name="T22" fmla="*/ 239 w 305"/>
                <a:gd name="T23" fmla="*/ 2 h 301"/>
                <a:gd name="T24" fmla="*/ 305 w 305"/>
                <a:gd name="T25" fmla="*/ 148 h 301"/>
                <a:gd name="T26" fmla="*/ 152 w 305"/>
                <a:gd name="T27"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5" h="301">
                  <a:moveTo>
                    <a:pt x="75" y="17"/>
                  </a:moveTo>
                  <a:cubicBezTo>
                    <a:pt x="39" y="50"/>
                    <a:pt x="16" y="101"/>
                    <a:pt x="16" y="148"/>
                  </a:cubicBezTo>
                  <a:cubicBezTo>
                    <a:pt x="16" y="223"/>
                    <a:pt x="77" y="284"/>
                    <a:pt x="152" y="284"/>
                  </a:cubicBezTo>
                  <a:cubicBezTo>
                    <a:pt x="227" y="284"/>
                    <a:pt x="289" y="223"/>
                    <a:pt x="289" y="148"/>
                  </a:cubicBezTo>
                  <a:cubicBezTo>
                    <a:pt x="289" y="101"/>
                    <a:pt x="266" y="50"/>
                    <a:pt x="230" y="17"/>
                  </a:cubicBezTo>
                  <a:lnTo>
                    <a:pt x="75" y="17"/>
                  </a:lnTo>
                  <a:close/>
                  <a:moveTo>
                    <a:pt x="152" y="301"/>
                  </a:moveTo>
                  <a:cubicBezTo>
                    <a:pt x="68" y="301"/>
                    <a:pt x="0" y="232"/>
                    <a:pt x="0" y="148"/>
                  </a:cubicBezTo>
                  <a:cubicBezTo>
                    <a:pt x="0" y="95"/>
                    <a:pt x="26" y="38"/>
                    <a:pt x="66" y="2"/>
                  </a:cubicBezTo>
                  <a:lnTo>
                    <a:pt x="68" y="0"/>
                  </a:lnTo>
                  <a:lnTo>
                    <a:pt x="236" y="0"/>
                  </a:lnTo>
                  <a:lnTo>
                    <a:pt x="239" y="2"/>
                  </a:lnTo>
                  <a:cubicBezTo>
                    <a:pt x="279" y="38"/>
                    <a:pt x="305" y="95"/>
                    <a:pt x="305" y="148"/>
                  </a:cubicBezTo>
                  <a:cubicBezTo>
                    <a:pt x="305" y="232"/>
                    <a:pt x="237" y="301"/>
                    <a:pt x="152" y="30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536">
              <a:extLst>
                <a:ext uri="{FF2B5EF4-FFF2-40B4-BE49-F238E27FC236}">
                  <a16:creationId xmlns:a16="http://schemas.microsoft.com/office/drawing/2014/main" id="{CF67BAE6-F991-8311-1BD0-96AE4073B654}"/>
                </a:ext>
              </a:extLst>
            </p:cNvPr>
            <p:cNvSpPr>
              <a:spLocks noEditPoints="1"/>
            </p:cNvSpPr>
            <p:nvPr/>
          </p:nvSpPr>
          <p:spPr bwMode="auto">
            <a:xfrm>
              <a:off x="5672138" y="1997076"/>
              <a:ext cx="120650" cy="73025"/>
            </a:xfrm>
            <a:custGeom>
              <a:avLst/>
              <a:gdLst>
                <a:gd name="T0" fmla="*/ 47 w 157"/>
                <a:gd name="T1" fmla="*/ 79 h 96"/>
                <a:gd name="T2" fmla="*/ 110 w 157"/>
                <a:gd name="T3" fmla="*/ 79 h 96"/>
                <a:gd name="T4" fmla="*/ 133 w 157"/>
                <a:gd name="T5" fmla="*/ 17 h 96"/>
                <a:gd name="T6" fmla="*/ 24 w 157"/>
                <a:gd name="T7" fmla="*/ 17 h 96"/>
                <a:gd name="T8" fmla="*/ 47 w 157"/>
                <a:gd name="T9" fmla="*/ 79 h 96"/>
                <a:gd name="T10" fmla="*/ 122 w 157"/>
                <a:gd name="T11" fmla="*/ 96 h 96"/>
                <a:gd name="T12" fmla="*/ 35 w 157"/>
                <a:gd name="T13" fmla="*/ 96 h 96"/>
                <a:gd name="T14" fmla="*/ 0 w 157"/>
                <a:gd name="T15" fmla="*/ 0 h 96"/>
                <a:gd name="T16" fmla="*/ 157 w 157"/>
                <a:gd name="T17" fmla="*/ 0 h 96"/>
                <a:gd name="T18" fmla="*/ 122 w 157"/>
                <a:gd name="T1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6">
                  <a:moveTo>
                    <a:pt x="47" y="79"/>
                  </a:moveTo>
                  <a:lnTo>
                    <a:pt x="110" y="79"/>
                  </a:lnTo>
                  <a:lnTo>
                    <a:pt x="133" y="17"/>
                  </a:lnTo>
                  <a:lnTo>
                    <a:pt x="24" y="17"/>
                  </a:lnTo>
                  <a:lnTo>
                    <a:pt x="47" y="79"/>
                  </a:lnTo>
                  <a:close/>
                  <a:moveTo>
                    <a:pt x="122" y="96"/>
                  </a:moveTo>
                  <a:lnTo>
                    <a:pt x="35" y="96"/>
                  </a:lnTo>
                  <a:lnTo>
                    <a:pt x="0" y="0"/>
                  </a:lnTo>
                  <a:lnTo>
                    <a:pt x="157" y="0"/>
                  </a:lnTo>
                  <a:lnTo>
                    <a:pt x="122" y="9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537">
              <a:extLst>
                <a:ext uri="{FF2B5EF4-FFF2-40B4-BE49-F238E27FC236}">
                  <a16:creationId xmlns:a16="http://schemas.microsoft.com/office/drawing/2014/main" id="{10AF6A04-BF80-BDF7-F496-A25316CCCE6C}"/>
                </a:ext>
              </a:extLst>
            </p:cNvPr>
            <p:cNvSpPr>
              <a:spLocks/>
            </p:cNvSpPr>
            <p:nvPr/>
          </p:nvSpPr>
          <p:spPr bwMode="auto">
            <a:xfrm>
              <a:off x="5605463" y="2020889"/>
              <a:ext cx="82550" cy="42863"/>
            </a:xfrm>
            <a:custGeom>
              <a:avLst/>
              <a:gdLst>
                <a:gd name="T0" fmla="*/ 36 w 107"/>
                <a:gd name="T1" fmla="*/ 55 h 55"/>
                <a:gd name="T2" fmla="*/ 0 w 107"/>
                <a:gd name="T3" fmla="*/ 55 h 55"/>
                <a:gd name="T4" fmla="*/ 0 w 107"/>
                <a:gd name="T5" fmla="*/ 38 h 55"/>
                <a:gd name="T6" fmla="*/ 36 w 107"/>
                <a:gd name="T7" fmla="*/ 38 h 55"/>
                <a:gd name="T8" fmla="*/ 45 w 107"/>
                <a:gd name="T9" fmla="*/ 34 h 55"/>
                <a:gd name="T10" fmla="*/ 52 w 107"/>
                <a:gd name="T11" fmla="*/ 26 h 55"/>
                <a:gd name="T12" fmla="*/ 107 w 107"/>
                <a:gd name="T13" fmla="*/ 0 h 55"/>
                <a:gd name="T14" fmla="*/ 107 w 107"/>
                <a:gd name="T15" fmla="*/ 17 h 55"/>
                <a:gd name="T16" fmla="*/ 65 w 107"/>
                <a:gd name="T17" fmla="*/ 36 h 55"/>
                <a:gd name="T18" fmla="*/ 57 w 107"/>
                <a:gd name="T19" fmla="*/ 45 h 55"/>
                <a:gd name="T20" fmla="*/ 36 w 107"/>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 h="55">
                  <a:moveTo>
                    <a:pt x="36" y="55"/>
                  </a:moveTo>
                  <a:lnTo>
                    <a:pt x="0" y="55"/>
                  </a:lnTo>
                  <a:lnTo>
                    <a:pt x="0" y="38"/>
                  </a:lnTo>
                  <a:lnTo>
                    <a:pt x="36" y="38"/>
                  </a:lnTo>
                  <a:cubicBezTo>
                    <a:pt x="39" y="38"/>
                    <a:pt x="43" y="37"/>
                    <a:pt x="45" y="34"/>
                  </a:cubicBezTo>
                  <a:lnTo>
                    <a:pt x="52" y="26"/>
                  </a:lnTo>
                  <a:cubicBezTo>
                    <a:pt x="68" y="4"/>
                    <a:pt x="90" y="0"/>
                    <a:pt x="107" y="0"/>
                  </a:cubicBezTo>
                  <a:lnTo>
                    <a:pt x="107" y="17"/>
                  </a:lnTo>
                  <a:cubicBezTo>
                    <a:pt x="93" y="17"/>
                    <a:pt x="77" y="20"/>
                    <a:pt x="65" y="36"/>
                  </a:cubicBezTo>
                  <a:lnTo>
                    <a:pt x="57" y="45"/>
                  </a:lnTo>
                  <a:cubicBezTo>
                    <a:pt x="52" y="51"/>
                    <a:pt x="44" y="55"/>
                    <a:pt x="36"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538">
              <a:extLst>
                <a:ext uri="{FF2B5EF4-FFF2-40B4-BE49-F238E27FC236}">
                  <a16:creationId xmlns:a16="http://schemas.microsoft.com/office/drawing/2014/main" id="{F0E280C1-67C5-2DDE-8D50-8D9317AD8CB0}"/>
                </a:ext>
              </a:extLst>
            </p:cNvPr>
            <p:cNvSpPr>
              <a:spLocks/>
            </p:cNvSpPr>
            <p:nvPr/>
          </p:nvSpPr>
          <p:spPr bwMode="auto">
            <a:xfrm>
              <a:off x="5605463" y="2174876"/>
              <a:ext cx="111125" cy="36513"/>
            </a:xfrm>
            <a:custGeom>
              <a:avLst/>
              <a:gdLst>
                <a:gd name="T0" fmla="*/ 145 w 146"/>
                <a:gd name="T1" fmla="*/ 49 h 49"/>
                <a:gd name="T2" fmla="*/ 86 w 146"/>
                <a:gd name="T3" fmla="*/ 48 h 49"/>
                <a:gd name="T4" fmla="*/ 63 w 146"/>
                <a:gd name="T5" fmla="*/ 40 h 49"/>
                <a:gd name="T6" fmla="*/ 35 w 146"/>
                <a:gd name="T7" fmla="*/ 19 h 49"/>
                <a:gd name="T8" fmla="*/ 26 w 146"/>
                <a:gd name="T9" fmla="*/ 16 h 49"/>
                <a:gd name="T10" fmla="*/ 0 w 146"/>
                <a:gd name="T11" fmla="*/ 16 h 49"/>
                <a:gd name="T12" fmla="*/ 0 w 146"/>
                <a:gd name="T13" fmla="*/ 0 h 49"/>
                <a:gd name="T14" fmla="*/ 26 w 146"/>
                <a:gd name="T15" fmla="*/ 0 h 49"/>
                <a:gd name="T16" fmla="*/ 45 w 146"/>
                <a:gd name="T17" fmla="*/ 6 h 49"/>
                <a:gd name="T18" fmla="*/ 73 w 146"/>
                <a:gd name="T19" fmla="*/ 27 h 49"/>
                <a:gd name="T20" fmla="*/ 86 w 146"/>
                <a:gd name="T21" fmla="*/ 31 h 49"/>
                <a:gd name="T22" fmla="*/ 146 w 146"/>
                <a:gd name="T23" fmla="*/ 32 h 49"/>
                <a:gd name="T24" fmla="*/ 145 w 146"/>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49">
                  <a:moveTo>
                    <a:pt x="145" y="49"/>
                  </a:moveTo>
                  <a:lnTo>
                    <a:pt x="86" y="48"/>
                  </a:lnTo>
                  <a:cubicBezTo>
                    <a:pt x="77" y="48"/>
                    <a:pt x="69" y="45"/>
                    <a:pt x="63" y="40"/>
                  </a:cubicBezTo>
                  <a:lnTo>
                    <a:pt x="35" y="19"/>
                  </a:lnTo>
                  <a:cubicBezTo>
                    <a:pt x="32" y="17"/>
                    <a:pt x="29" y="16"/>
                    <a:pt x="26" y="16"/>
                  </a:cubicBezTo>
                  <a:lnTo>
                    <a:pt x="0" y="16"/>
                  </a:lnTo>
                  <a:lnTo>
                    <a:pt x="0" y="0"/>
                  </a:lnTo>
                  <a:lnTo>
                    <a:pt x="26" y="0"/>
                  </a:lnTo>
                  <a:cubicBezTo>
                    <a:pt x="33" y="0"/>
                    <a:pt x="39" y="2"/>
                    <a:pt x="45" y="6"/>
                  </a:cubicBezTo>
                  <a:lnTo>
                    <a:pt x="73" y="27"/>
                  </a:lnTo>
                  <a:cubicBezTo>
                    <a:pt x="77" y="30"/>
                    <a:pt x="81" y="31"/>
                    <a:pt x="86" y="31"/>
                  </a:cubicBezTo>
                  <a:lnTo>
                    <a:pt x="146" y="32"/>
                  </a:lnTo>
                  <a:lnTo>
                    <a:pt x="145" y="4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539">
              <a:extLst>
                <a:ext uri="{FF2B5EF4-FFF2-40B4-BE49-F238E27FC236}">
                  <a16:creationId xmlns:a16="http://schemas.microsoft.com/office/drawing/2014/main" id="{B13C7E71-B9E7-65E6-7667-46FAEC59C612}"/>
                </a:ext>
              </a:extLst>
            </p:cNvPr>
            <p:cNvSpPr>
              <a:spLocks/>
            </p:cNvSpPr>
            <p:nvPr/>
          </p:nvSpPr>
          <p:spPr bwMode="auto">
            <a:xfrm>
              <a:off x="5561013" y="2041526"/>
              <a:ext cx="50800" cy="160338"/>
            </a:xfrm>
            <a:custGeom>
              <a:avLst/>
              <a:gdLst>
                <a:gd name="T0" fmla="*/ 32 w 32"/>
                <a:gd name="T1" fmla="*/ 101 h 101"/>
                <a:gd name="T2" fmla="*/ 0 w 32"/>
                <a:gd name="T3" fmla="*/ 101 h 101"/>
                <a:gd name="T4" fmla="*/ 0 w 32"/>
                <a:gd name="T5" fmla="*/ 93 h 101"/>
                <a:gd name="T6" fmla="*/ 24 w 32"/>
                <a:gd name="T7" fmla="*/ 93 h 101"/>
                <a:gd name="T8" fmla="*/ 24 w 32"/>
                <a:gd name="T9" fmla="*/ 8 h 101"/>
                <a:gd name="T10" fmla="*/ 0 w 32"/>
                <a:gd name="T11" fmla="*/ 8 h 101"/>
                <a:gd name="T12" fmla="*/ 0 w 32"/>
                <a:gd name="T13" fmla="*/ 0 h 101"/>
                <a:gd name="T14" fmla="*/ 32 w 32"/>
                <a:gd name="T15" fmla="*/ 0 h 101"/>
                <a:gd name="T16" fmla="*/ 32 w 32"/>
                <a:gd name="T1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01">
                  <a:moveTo>
                    <a:pt x="32" y="101"/>
                  </a:moveTo>
                  <a:lnTo>
                    <a:pt x="0" y="101"/>
                  </a:lnTo>
                  <a:lnTo>
                    <a:pt x="0" y="93"/>
                  </a:lnTo>
                  <a:lnTo>
                    <a:pt x="24" y="93"/>
                  </a:lnTo>
                  <a:lnTo>
                    <a:pt x="24" y="8"/>
                  </a:lnTo>
                  <a:lnTo>
                    <a:pt x="0" y="8"/>
                  </a:lnTo>
                  <a:lnTo>
                    <a:pt x="0" y="0"/>
                  </a:lnTo>
                  <a:lnTo>
                    <a:pt x="32" y="0"/>
                  </a:lnTo>
                  <a:lnTo>
                    <a:pt x="32"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540">
              <a:extLst>
                <a:ext uri="{FF2B5EF4-FFF2-40B4-BE49-F238E27FC236}">
                  <a16:creationId xmlns:a16="http://schemas.microsoft.com/office/drawing/2014/main" id="{FE3B43D3-2310-A495-0D37-D21E9E1E8A45}"/>
                </a:ext>
              </a:extLst>
            </p:cNvPr>
            <p:cNvSpPr>
              <a:spLocks/>
            </p:cNvSpPr>
            <p:nvPr/>
          </p:nvSpPr>
          <p:spPr bwMode="auto">
            <a:xfrm>
              <a:off x="5692776" y="2057401"/>
              <a:ext cx="139700" cy="153988"/>
            </a:xfrm>
            <a:custGeom>
              <a:avLst/>
              <a:gdLst>
                <a:gd name="T0" fmla="*/ 135 w 184"/>
                <a:gd name="T1" fmla="*/ 202 h 202"/>
                <a:gd name="T2" fmla="*/ 32 w 184"/>
                <a:gd name="T3" fmla="*/ 202 h 202"/>
                <a:gd name="T4" fmla="*/ 32 w 184"/>
                <a:gd name="T5" fmla="*/ 185 h 202"/>
                <a:gd name="T6" fmla="*/ 135 w 184"/>
                <a:gd name="T7" fmla="*/ 185 h 202"/>
                <a:gd name="T8" fmla="*/ 149 w 184"/>
                <a:gd name="T9" fmla="*/ 171 h 202"/>
                <a:gd name="T10" fmla="*/ 135 w 184"/>
                <a:gd name="T11" fmla="*/ 156 h 202"/>
                <a:gd name="T12" fmla="*/ 125 w 184"/>
                <a:gd name="T13" fmla="*/ 156 h 202"/>
                <a:gd name="T14" fmla="*/ 117 w 184"/>
                <a:gd name="T15" fmla="*/ 147 h 202"/>
                <a:gd name="T16" fmla="*/ 125 w 184"/>
                <a:gd name="T17" fmla="*/ 139 h 202"/>
                <a:gd name="T18" fmla="*/ 145 w 184"/>
                <a:gd name="T19" fmla="*/ 139 h 202"/>
                <a:gd name="T20" fmla="*/ 159 w 184"/>
                <a:gd name="T21" fmla="*/ 124 h 202"/>
                <a:gd name="T22" fmla="*/ 145 w 184"/>
                <a:gd name="T23" fmla="*/ 109 h 202"/>
                <a:gd name="T24" fmla="*/ 135 w 184"/>
                <a:gd name="T25" fmla="*/ 109 h 202"/>
                <a:gd name="T26" fmla="*/ 126 w 184"/>
                <a:gd name="T27" fmla="*/ 101 h 202"/>
                <a:gd name="T28" fmla="*/ 135 w 184"/>
                <a:gd name="T29" fmla="*/ 93 h 202"/>
                <a:gd name="T30" fmla="*/ 152 w 184"/>
                <a:gd name="T31" fmla="*/ 93 h 202"/>
                <a:gd name="T32" fmla="*/ 167 w 184"/>
                <a:gd name="T33" fmla="*/ 78 h 202"/>
                <a:gd name="T34" fmla="*/ 152 w 184"/>
                <a:gd name="T35" fmla="*/ 63 h 202"/>
                <a:gd name="T36" fmla="*/ 142 w 184"/>
                <a:gd name="T37" fmla="*/ 63 h 202"/>
                <a:gd name="T38" fmla="*/ 134 w 184"/>
                <a:gd name="T39" fmla="*/ 55 h 202"/>
                <a:gd name="T40" fmla="*/ 142 w 184"/>
                <a:gd name="T41" fmla="*/ 46 h 202"/>
                <a:gd name="T42" fmla="*/ 147 w 184"/>
                <a:gd name="T43" fmla="*/ 46 h 202"/>
                <a:gd name="T44" fmla="*/ 161 w 184"/>
                <a:gd name="T45" fmla="*/ 32 h 202"/>
                <a:gd name="T46" fmla="*/ 147 w 184"/>
                <a:gd name="T47" fmla="*/ 17 h 202"/>
                <a:gd name="T48" fmla="*/ 0 w 184"/>
                <a:gd name="T49" fmla="*/ 17 h 202"/>
                <a:gd name="T50" fmla="*/ 0 w 184"/>
                <a:gd name="T51" fmla="*/ 0 h 202"/>
                <a:gd name="T52" fmla="*/ 147 w 184"/>
                <a:gd name="T53" fmla="*/ 0 h 202"/>
                <a:gd name="T54" fmla="*/ 178 w 184"/>
                <a:gd name="T55" fmla="*/ 31 h 202"/>
                <a:gd name="T56" fmla="*/ 170 w 184"/>
                <a:gd name="T57" fmla="*/ 52 h 202"/>
                <a:gd name="T58" fmla="*/ 184 w 184"/>
                <a:gd name="T59" fmla="*/ 77 h 202"/>
                <a:gd name="T60" fmla="*/ 169 w 184"/>
                <a:gd name="T61" fmla="*/ 104 h 202"/>
                <a:gd name="T62" fmla="*/ 176 w 184"/>
                <a:gd name="T63" fmla="*/ 124 h 202"/>
                <a:gd name="T64" fmla="*/ 160 w 184"/>
                <a:gd name="T65" fmla="*/ 152 h 202"/>
                <a:gd name="T66" fmla="*/ 166 w 184"/>
                <a:gd name="T67" fmla="*/ 170 h 202"/>
                <a:gd name="T68" fmla="*/ 135 w 184"/>
                <a:gd name="T69"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202">
                  <a:moveTo>
                    <a:pt x="135" y="202"/>
                  </a:moveTo>
                  <a:lnTo>
                    <a:pt x="32" y="202"/>
                  </a:lnTo>
                  <a:lnTo>
                    <a:pt x="32" y="185"/>
                  </a:lnTo>
                  <a:lnTo>
                    <a:pt x="135" y="185"/>
                  </a:lnTo>
                  <a:cubicBezTo>
                    <a:pt x="143" y="185"/>
                    <a:pt x="149" y="179"/>
                    <a:pt x="149" y="171"/>
                  </a:cubicBezTo>
                  <a:cubicBezTo>
                    <a:pt x="149" y="162"/>
                    <a:pt x="143" y="156"/>
                    <a:pt x="135" y="156"/>
                  </a:cubicBezTo>
                  <a:lnTo>
                    <a:pt x="125" y="156"/>
                  </a:lnTo>
                  <a:cubicBezTo>
                    <a:pt x="120" y="156"/>
                    <a:pt x="117" y="152"/>
                    <a:pt x="117" y="147"/>
                  </a:cubicBezTo>
                  <a:cubicBezTo>
                    <a:pt x="117" y="143"/>
                    <a:pt x="120" y="139"/>
                    <a:pt x="125" y="139"/>
                  </a:cubicBezTo>
                  <a:lnTo>
                    <a:pt x="145" y="139"/>
                  </a:lnTo>
                  <a:cubicBezTo>
                    <a:pt x="153" y="139"/>
                    <a:pt x="159" y="132"/>
                    <a:pt x="159" y="124"/>
                  </a:cubicBezTo>
                  <a:cubicBezTo>
                    <a:pt x="159" y="116"/>
                    <a:pt x="153" y="109"/>
                    <a:pt x="145" y="109"/>
                  </a:cubicBezTo>
                  <a:lnTo>
                    <a:pt x="135" y="109"/>
                  </a:lnTo>
                  <a:cubicBezTo>
                    <a:pt x="130" y="109"/>
                    <a:pt x="126" y="106"/>
                    <a:pt x="126" y="101"/>
                  </a:cubicBezTo>
                  <a:cubicBezTo>
                    <a:pt x="126" y="96"/>
                    <a:pt x="130" y="93"/>
                    <a:pt x="135" y="93"/>
                  </a:cubicBezTo>
                  <a:lnTo>
                    <a:pt x="152" y="93"/>
                  </a:lnTo>
                  <a:cubicBezTo>
                    <a:pt x="160" y="93"/>
                    <a:pt x="167" y="86"/>
                    <a:pt x="167" y="78"/>
                  </a:cubicBezTo>
                  <a:cubicBezTo>
                    <a:pt x="167" y="69"/>
                    <a:pt x="160" y="63"/>
                    <a:pt x="152" y="63"/>
                  </a:cubicBezTo>
                  <a:lnTo>
                    <a:pt x="142" y="63"/>
                  </a:lnTo>
                  <a:cubicBezTo>
                    <a:pt x="138" y="63"/>
                    <a:pt x="134" y="59"/>
                    <a:pt x="134" y="55"/>
                  </a:cubicBezTo>
                  <a:cubicBezTo>
                    <a:pt x="134" y="50"/>
                    <a:pt x="138" y="46"/>
                    <a:pt x="142" y="46"/>
                  </a:cubicBezTo>
                  <a:lnTo>
                    <a:pt x="147" y="46"/>
                  </a:lnTo>
                  <a:cubicBezTo>
                    <a:pt x="155" y="46"/>
                    <a:pt x="161" y="40"/>
                    <a:pt x="161" y="32"/>
                  </a:cubicBezTo>
                  <a:cubicBezTo>
                    <a:pt x="161" y="23"/>
                    <a:pt x="155" y="17"/>
                    <a:pt x="147" y="17"/>
                  </a:cubicBezTo>
                  <a:lnTo>
                    <a:pt x="0" y="17"/>
                  </a:lnTo>
                  <a:lnTo>
                    <a:pt x="0" y="0"/>
                  </a:lnTo>
                  <a:lnTo>
                    <a:pt x="147" y="0"/>
                  </a:lnTo>
                  <a:cubicBezTo>
                    <a:pt x="164" y="0"/>
                    <a:pt x="178" y="14"/>
                    <a:pt x="178" y="31"/>
                  </a:cubicBezTo>
                  <a:cubicBezTo>
                    <a:pt x="178" y="39"/>
                    <a:pt x="175" y="46"/>
                    <a:pt x="170" y="52"/>
                  </a:cubicBezTo>
                  <a:cubicBezTo>
                    <a:pt x="178" y="58"/>
                    <a:pt x="184" y="67"/>
                    <a:pt x="184" y="77"/>
                  </a:cubicBezTo>
                  <a:cubicBezTo>
                    <a:pt x="184" y="89"/>
                    <a:pt x="178" y="99"/>
                    <a:pt x="169" y="104"/>
                  </a:cubicBezTo>
                  <a:cubicBezTo>
                    <a:pt x="173" y="110"/>
                    <a:pt x="176" y="116"/>
                    <a:pt x="176" y="124"/>
                  </a:cubicBezTo>
                  <a:cubicBezTo>
                    <a:pt x="176" y="136"/>
                    <a:pt x="170" y="146"/>
                    <a:pt x="160" y="152"/>
                  </a:cubicBezTo>
                  <a:cubicBezTo>
                    <a:pt x="164" y="157"/>
                    <a:pt x="166" y="163"/>
                    <a:pt x="166" y="170"/>
                  </a:cubicBezTo>
                  <a:cubicBezTo>
                    <a:pt x="166" y="188"/>
                    <a:pt x="152" y="202"/>
                    <a:pt x="135" y="2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541">
              <a:extLst>
                <a:ext uri="{FF2B5EF4-FFF2-40B4-BE49-F238E27FC236}">
                  <a16:creationId xmlns:a16="http://schemas.microsoft.com/office/drawing/2014/main" id="{2B43534A-FF08-A7F3-F57F-2ABC5687AC03}"/>
                </a:ext>
              </a:extLst>
            </p:cNvPr>
            <p:cNvSpPr>
              <a:spLocks noChangeArrowheads="1"/>
            </p:cNvSpPr>
            <p:nvPr/>
          </p:nvSpPr>
          <p:spPr bwMode="auto">
            <a:xfrm>
              <a:off x="5561013" y="2152651"/>
              <a:ext cx="174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542">
              <a:extLst>
                <a:ext uri="{FF2B5EF4-FFF2-40B4-BE49-F238E27FC236}">
                  <a16:creationId xmlns:a16="http://schemas.microsoft.com/office/drawing/2014/main" id="{59A762FC-1C2E-163A-2FF8-DBA942572615}"/>
                </a:ext>
              </a:extLst>
            </p:cNvPr>
            <p:cNvSpPr>
              <a:spLocks/>
            </p:cNvSpPr>
            <p:nvPr/>
          </p:nvSpPr>
          <p:spPr bwMode="auto">
            <a:xfrm>
              <a:off x="5699126" y="2259014"/>
              <a:ext cx="65088" cy="100013"/>
            </a:xfrm>
            <a:custGeom>
              <a:avLst/>
              <a:gdLst>
                <a:gd name="T0" fmla="*/ 42 w 85"/>
                <a:gd name="T1" fmla="*/ 131 h 131"/>
                <a:gd name="T2" fmla="*/ 0 w 85"/>
                <a:gd name="T3" fmla="*/ 94 h 131"/>
                <a:gd name="T4" fmla="*/ 17 w 85"/>
                <a:gd name="T5" fmla="*/ 94 h 131"/>
                <a:gd name="T6" fmla="*/ 42 w 85"/>
                <a:gd name="T7" fmla="*/ 114 h 131"/>
                <a:gd name="T8" fmla="*/ 68 w 85"/>
                <a:gd name="T9" fmla="*/ 94 h 131"/>
                <a:gd name="T10" fmla="*/ 42 w 85"/>
                <a:gd name="T11" fmla="*/ 74 h 131"/>
                <a:gd name="T12" fmla="*/ 0 w 85"/>
                <a:gd name="T13" fmla="*/ 37 h 131"/>
                <a:gd name="T14" fmla="*/ 42 w 85"/>
                <a:gd name="T15" fmla="*/ 0 h 131"/>
                <a:gd name="T16" fmla="*/ 85 w 85"/>
                <a:gd name="T17" fmla="*/ 37 h 131"/>
                <a:gd name="T18" fmla="*/ 68 w 85"/>
                <a:gd name="T19" fmla="*/ 37 h 131"/>
                <a:gd name="T20" fmla="*/ 42 w 85"/>
                <a:gd name="T21" fmla="*/ 17 h 131"/>
                <a:gd name="T22" fmla="*/ 17 w 85"/>
                <a:gd name="T23" fmla="*/ 37 h 131"/>
                <a:gd name="T24" fmla="*/ 42 w 85"/>
                <a:gd name="T25" fmla="*/ 57 h 131"/>
                <a:gd name="T26" fmla="*/ 85 w 85"/>
                <a:gd name="T27" fmla="*/ 94 h 131"/>
                <a:gd name="T28" fmla="*/ 42 w 85"/>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1">
                  <a:moveTo>
                    <a:pt x="42" y="131"/>
                  </a:moveTo>
                  <a:cubicBezTo>
                    <a:pt x="19" y="131"/>
                    <a:pt x="0" y="114"/>
                    <a:pt x="0" y="94"/>
                  </a:cubicBezTo>
                  <a:lnTo>
                    <a:pt x="17" y="94"/>
                  </a:lnTo>
                  <a:cubicBezTo>
                    <a:pt x="17" y="105"/>
                    <a:pt x="28" y="114"/>
                    <a:pt x="42" y="114"/>
                  </a:cubicBezTo>
                  <a:cubicBezTo>
                    <a:pt x="57" y="114"/>
                    <a:pt x="68" y="105"/>
                    <a:pt x="68" y="94"/>
                  </a:cubicBezTo>
                  <a:cubicBezTo>
                    <a:pt x="68" y="82"/>
                    <a:pt x="58" y="74"/>
                    <a:pt x="42" y="74"/>
                  </a:cubicBezTo>
                  <a:cubicBezTo>
                    <a:pt x="13" y="74"/>
                    <a:pt x="0" y="55"/>
                    <a:pt x="0" y="37"/>
                  </a:cubicBezTo>
                  <a:cubicBezTo>
                    <a:pt x="0" y="17"/>
                    <a:pt x="19" y="0"/>
                    <a:pt x="42" y="0"/>
                  </a:cubicBezTo>
                  <a:cubicBezTo>
                    <a:pt x="66" y="0"/>
                    <a:pt x="85" y="17"/>
                    <a:pt x="85" y="37"/>
                  </a:cubicBezTo>
                  <a:lnTo>
                    <a:pt x="68" y="37"/>
                  </a:lnTo>
                  <a:cubicBezTo>
                    <a:pt x="68" y="26"/>
                    <a:pt x="57" y="17"/>
                    <a:pt x="42" y="17"/>
                  </a:cubicBezTo>
                  <a:cubicBezTo>
                    <a:pt x="28" y="17"/>
                    <a:pt x="17" y="26"/>
                    <a:pt x="17" y="37"/>
                  </a:cubicBezTo>
                  <a:cubicBezTo>
                    <a:pt x="17" y="50"/>
                    <a:pt x="26" y="57"/>
                    <a:pt x="42" y="57"/>
                  </a:cubicBezTo>
                  <a:cubicBezTo>
                    <a:pt x="67" y="57"/>
                    <a:pt x="85" y="72"/>
                    <a:pt x="85" y="94"/>
                  </a:cubicBezTo>
                  <a:cubicBezTo>
                    <a:pt x="85" y="114"/>
                    <a:pt x="66" y="131"/>
                    <a:pt x="42"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543">
              <a:extLst>
                <a:ext uri="{FF2B5EF4-FFF2-40B4-BE49-F238E27FC236}">
                  <a16:creationId xmlns:a16="http://schemas.microsoft.com/office/drawing/2014/main" id="{32EC83CF-B1F8-9950-3C68-A9D9EDDBCC5A}"/>
                </a:ext>
              </a:extLst>
            </p:cNvPr>
            <p:cNvSpPr>
              <a:spLocks noChangeArrowheads="1"/>
            </p:cNvSpPr>
            <p:nvPr/>
          </p:nvSpPr>
          <p:spPr bwMode="auto">
            <a:xfrm>
              <a:off x="5726113" y="2246314"/>
              <a:ext cx="12700"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544">
              <a:extLst>
                <a:ext uri="{FF2B5EF4-FFF2-40B4-BE49-F238E27FC236}">
                  <a16:creationId xmlns:a16="http://schemas.microsoft.com/office/drawing/2014/main" id="{BD27E4AC-D663-8DC3-1BB8-13BA21F85B87}"/>
                </a:ext>
              </a:extLst>
            </p:cNvPr>
            <p:cNvSpPr>
              <a:spLocks noChangeArrowheads="1"/>
            </p:cNvSpPr>
            <p:nvPr/>
          </p:nvSpPr>
          <p:spPr bwMode="auto">
            <a:xfrm>
              <a:off x="5726113" y="2355851"/>
              <a:ext cx="127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3" name="Gavel2" descr="{&quot;Key&quot;:&quot;POWER_USER_SHAPE_ICON&quot;,&quot;Value&quot;:&quot;POWER_USER_SHAPE_ICON_STYLE_1&quot;}">
            <a:extLst>
              <a:ext uri="{FF2B5EF4-FFF2-40B4-BE49-F238E27FC236}">
                <a16:creationId xmlns:a16="http://schemas.microsoft.com/office/drawing/2014/main" id="{28AA09E9-FA82-7392-349A-F9F9DB63D550}"/>
              </a:ext>
            </a:extLst>
          </p:cNvPr>
          <p:cNvGrpSpPr>
            <a:grpSpLocks noChangeAspect="1"/>
          </p:cNvGrpSpPr>
          <p:nvPr>
            <p:custDataLst>
              <p:tags r:id="rId3"/>
            </p:custDataLst>
          </p:nvPr>
        </p:nvGrpSpPr>
        <p:grpSpPr>
          <a:xfrm>
            <a:off x="7037833" y="3290018"/>
            <a:ext cx="745734" cy="660400"/>
            <a:chOff x="1362075" y="1120776"/>
            <a:chExt cx="319088" cy="282575"/>
          </a:xfrm>
          <a:solidFill>
            <a:schemeClr val="accent3"/>
          </a:solidFill>
        </p:grpSpPr>
        <p:sp>
          <p:nvSpPr>
            <p:cNvPr id="24" name="Freeform 743">
              <a:extLst>
                <a:ext uri="{FF2B5EF4-FFF2-40B4-BE49-F238E27FC236}">
                  <a16:creationId xmlns:a16="http://schemas.microsoft.com/office/drawing/2014/main" id="{36901ABF-E886-AD80-A584-07C9D746F630}"/>
                </a:ext>
              </a:extLst>
            </p:cNvPr>
            <p:cNvSpPr>
              <a:spLocks noEditPoints="1"/>
            </p:cNvSpPr>
            <p:nvPr/>
          </p:nvSpPr>
          <p:spPr bwMode="auto">
            <a:xfrm>
              <a:off x="1362075" y="1189038"/>
              <a:ext cx="180975" cy="41275"/>
            </a:xfrm>
            <a:custGeom>
              <a:avLst/>
              <a:gdLst>
                <a:gd name="T0" fmla="*/ 33 w 298"/>
                <a:gd name="T1" fmla="*/ 17 h 68"/>
                <a:gd name="T2" fmla="*/ 16 w 298"/>
                <a:gd name="T3" fmla="*/ 34 h 68"/>
                <a:gd name="T4" fmla="*/ 21 w 298"/>
                <a:gd name="T5" fmla="*/ 46 h 68"/>
                <a:gd name="T6" fmla="*/ 33 w 298"/>
                <a:gd name="T7" fmla="*/ 51 h 68"/>
                <a:gd name="T8" fmla="*/ 281 w 298"/>
                <a:gd name="T9" fmla="*/ 51 h 68"/>
                <a:gd name="T10" fmla="*/ 281 w 298"/>
                <a:gd name="T11" fmla="*/ 17 h 68"/>
                <a:gd name="T12" fmla="*/ 33 w 298"/>
                <a:gd name="T13" fmla="*/ 17 h 68"/>
                <a:gd name="T14" fmla="*/ 298 w 298"/>
                <a:gd name="T15" fmla="*/ 68 h 68"/>
                <a:gd name="T16" fmla="*/ 33 w 298"/>
                <a:gd name="T17" fmla="*/ 68 h 68"/>
                <a:gd name="T18" fmla="*/ 9 w 298"/>
                <a:gd name="T19" fmla="*/ 58 h 68"/>
                <a:gd name="T20" fmla="*/ 0 w 298"/>
                <a:gd name="T21" fmla="*/ 34 h 68"/>
                <a:gd name="T22" fmla="*/ 33 w 298"/>
                <a:gd name="T23" fmla="*/ 0 h 68"/>
                <a:gd name="T24" fmla="*/ 298 w 298"/>
                <a:gd name="T25" fmla="*/ 0 h 68"/>
                <a:gd name="T26" fmla="*/ 298 w 298"/>
                <a:gd name="T2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68">
                  <a:moveTo>
                    <a:pt x="33" y="17"/>
                  </a:moveTo>
                  <a:cubicBezTo>
                    <a:pt x="24" y="17"/>
                    <a:pt x="17" y="25"/>
                    <a:pt x="16" y="34"/>
                  </a:cubicBezTo>
                  <a:cubicBezTo>
                    <a:pt x="16" y="38"/>
                    <a:pt x="18" y="43"/>
                    <a:pt x="21" y="46"/>
                  </a:cubicBezTo>
                  <a:cubicBezTo>
                    <a:pt x="25" y="49"/>
                    <a:pt x="29" y="51"/>
                    <a:pt x="33" y="51"/>
                  </a:cubicBezTo>
                  <a:lnTo>
                    <a:pt x="281" y="51"/>
                  </a:lnTo>
                  <a:lnTo>
                    <a:pt x="281" y="17"/>
                  </a:lnTo>
                  <a:lnTo>
                    <a:pt x="33" y="17"/>
                  </a:lnTo>
                  <a:close/>
                  <a:moveTo>
                    <a:pt x="298" y="68"/>
                  </a:moveTo>
                  <a:lnTo>
                    <a:pt x="33" y="68"/>
                  </a:lnTo>
                  <a:cubicBezTo>
                    <a:pt x="24" y="68"/>
                    <a:pt x="16" y="64"/>
                    <a:pt x="9" y="58"/>
                  </a:cubicBezTo>
                  <a:cubicBezTo>
                    <a:pt x="3" y="51"/>
                    <a:pt x="0" y="43"/>
                    <a:pt x="0" y="34"/>
                  </a:cubicBezTo>
                  <a:cubicBezTo>
                    <a:pt x="0" y="15"/>
                    <a:pt x="15" y="0"/>
                    <a:pt x="33" y="0"/>
                  </a:cubicBezTo>
                  <a:lnTo>
                    <a:pt x="298" y="0"/>
                  </a:lnTo>
                  <a:lnTo>
                    <a:pt x="298" y="68"/>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744">
              <a:extLst>
                <a:ext uri="{FF2B5EF4-FFF2-40B4-BE49-F238E27FC236}">
                  <a16:creationId xmlns:a16="http://schemas.microsoft.com/office/drawing/2014/main" id="{97AA3D23-0D12-6EB7-CFC6-0E5F8F690403}"/>
                </a:ext>
              </a:extLst>
            </p:cNvPr>
            <p:cNvSpPr>
              <a:spLocks noEditPoints="1"/>
            </p:cNvSpPr>
            <p:nvPr/>
          </p:nvSpPr>
          <p:spPr bwMode="auto">
            <a:xfrm>
              <a:off x="1531937" y="1152526"/>
              <a:ext cx="106363" cy="115888"/>
            </a:xfrm>
            <a:custGeom>
              <a:avLst/>
              <a:gdLst>
                <a:gd name="T0" fmla="*/ 17 w 174"/>
                <a:gd name="T1" fmla="*/ 176 h 192"/>
                <a:gd name="T2" fmla="*/ 157 w 174"/>
                <a:gd name="T3" fmla="*/ 176 h 192"/>
                <a:gd name="T4" fmla="*/ 157 w 174"/>
                <a:gd name="T5" fmla="*/ 17 h 192"/>
                <a:gd name="T6" fmla="*/ 17 w 174"/>
                <a:gd name="T7" fmla="*/ 17 h 192"/>
                <a:gd name="T8" fmla="*/ 17 w 174"/>
                <a:gd name="T9" fmla="*/ 176 h 192"/>
                <a:gd name="T10" fmla="*/ 174 w 174"/>
                <a:gd name="T11" fmla="*/ 192 h 192"/>
                <a:gd name="T12" fmla="*/ 0 w 174"/>
                <a:gd name="T13" fmla="*/ 192 h 192"/>
                <a:gd name="T14" fmla="*/ 0 w 174"/>
                <a:gd name="T15" fmla="*/ 0 h 192"/>
                <a:gd name="T16" fmla="*/ 174 w 174"/>
                <a:gd name="T17" fmla="*/ 0 h 192"/>
                <a:gd name="T18" fmla="*/ 174 w 174"/>
                <a:gd name="T1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192">
                  <a:moveTo>
                    <a:pt x="17" y="176"/>
                  </a:moveTo>
                  <a:lnTo>
                    <a:pt x="157" y="176"/>
                  </a:lnTo>
                  <a:lnTo>
                    <a:pt x="157" y="17"/>
                  </a:lnTo>
                  <a:lnTo>
                    <a:pt x="17" y="17"/>
                  </a:lnTo>
                  <a:lnTo>
                    <a:pt x="17" y="176"/>
                  </a:lnTo>
                  <a:close/>
                  <a:moveTo>
                    <a:pt x="174" y="192"/>
                  </a:moveTo>
                  <a:lnTo>
                    <a:pt x="0" y="192"/>
                  </a:lnTo>
                  <a:lnTo>
                    <a:pt x="0" y="0"/>
                  </a:lnTo>
                  <a:lnTo>
                    <a:pt x="174" y="0"/>
                  </a:lnTo>
                  <a:lnTo>
                    <a:pt x="174" y="1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745">
              <a:extLst>
                <a:ext uri="{FF2B5EF4-FFF2-40B4-BE49-F238E27FC236}">
                  <a16:creationId xmlns:a16="http://schemas.microsoft.com/office/drawing/2014/main" id="{32A8B989-6C0C-318A-A97D-432FAA1C3F25}"/>
                </a:ext>
              </a:extLst>
            </p:cNvPr>
            <p:cNvSpPr>
              <a:spLocks noEditPoints="1"/>
            </p:cNvSpPr>
            <p:nvPr/>
          </p:nvSpPr>
          <p:spPr bwMode="auto">
            <a:xfrm>
              <a:off x="1522412" y="1120776"/>
              <a:ext cx="127000" cy="41275"/>
            </a:xfrm>
            <a:custGeom>
              <a:avLst/>
              <a:gdLst>
                <a:gd name="T0" fmla="*/ 17 w 208"/>
                <a:gd name="T1" fmla="*/ 51 h 68"/>
                <a:gd name="T2" fmla="*/ 191 w 208"/>
                <a:gd name="T3" fmla="*/ 51 h 68"/>
                <a:gd name="T4" fmla="*/ 191 w 208"/>
                <a:gd name="T5" fmla="*/ 17 h 68"/>
                <a:gd name="T6" fmla="*/ 17 w 208"/>
                <a:gd name="T7" fmla="*/ 17 h 68"/>
                <a:gd name="T8" fmla="*/ 17 w 208"/>
                <a:gd name="T9" fmla="*/ 51 h 68"/>
                <a:gd name="T10" fmla="*/ 208 w 208"/>
                <a:gd name="T11" fmla="*/ 68 h 68"/>
                <a:gd name="T12" fmla="*/ 0 w 208"/>
                <a:gd name="T13" fmla="*/ 68 h 68"/>
                <a:gd name="T14" fmla="*/ 0 w 208"/>
                <a:gd name="T15" fmla="*/ 0 h 68"/>
                <a:gd name="T16" fmla="*/ 208 w 208"/>
                <a:gd name="T17" fmla="*/ 0 h 68"/>
                <a:gd name="T18" fmla="*/ 208 w 20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68">
                  <a:moveTo>
                    <a:pt x="17" y="51"/>
                  </a:moveTo>
                  <a:lnTo>
                    <a:pt x="191" y="51"/>
                  </a:lnTo>
                  <a:lnTo>
                    <a:pt x="191" y="17"/>
                  </a:lnTo>
                  <a:lnTo>
                    <a:pt x="17" y="17"/>
                  </a:lnTo>
                  <a:lnTo>
                    <a:pt x="17" y="51"/>
                  </a:lnTo>
                  <a:close/>
                  <a:moveTo>
                    <a:pt x="208" y="68"/>
                  </a:moveTo>
                  <a:lnTo>
                    <a:pt x="0" y="68"/>
                  </a:lnTo>
                  <a:lnTo>
                    <a:pt x="0" y="0"/>
                  </a:lnTo>
                  <a:lnTo>
                    <a:pt x="208" y="0"/>
                  </a:lnTo>
                  <a:lnTo>
                    <a:pt x="208"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746">
              <a:extLst>
                <a:ext uri="{FF2B5EF4-FFF2-40B4-BE49-F238E27FC236}">
                  <a16:creationId xmlns:a16="http://schemas.microsoft.com/office/drawing/2014/main" id="{C6B60B3F-DAE6-20F7-6379-6461ECE85684}"/>
                </a:ext>
              </a:extLst>
            </p:cNvPr>
            <p:cNvSpPr>
              <a:spLocks noEditPoints="1"/>
            </p:cNvSpPr>
            <p:nvPr/>
          </p:nvSpPr>
          <p:spPr bwMode="auto">
            <a:xfrm>
              <a:off x="1522412" y="1258888"/>
              <a:ext cx="127000" cy="41275"/>
            </a:xfrm>
            <a:custGeom>
              <a:avLst/>
              <a:gdLst>
                <a:gd name="T0" fmla="*/ 17 w 208"/>
                <a:gd name="T1" fmla="*/ 50 h 67"/>
                <a:gd name="T2" fmla="*/ 191 w 208"/>
                <a:gd name="T3" fmla="*/ 50 h 67"/>
                <a:gd name="T4" fmla="*/ 191 w 208"/>
                <a:gd name="T5" fmla="*/ 16 h 67"/>
                <a:gd name="T6" fmla="*/ 17 w 208"/>
                <a:gd name="T7" fmla="*/ 16 h 67"/>
                <a:gd name="T8" fmla="*/ 17 w 208"/>
                <a:gd name="T9" fmla="*/ 50 h 67"/>
                <a:gd name="T10" fmla="*/ 208 w 208"/>
                <a:gd name="T11" fmla="*/ 67 h 67"/>
                <a:gd name="T12" fmla="*/ 0 w 208"/>
                <a:gd name="T13" fmla="*/ 67 h 67"/>
                <a:gd name="T14" fmla="*/ 0 w 208"/>
                <a:gd name="T15" fmla="*/ 0 h 67"/>
                <a:gd name="T16" fmla="*/ 208 w 208"/>
                <a:gd name="T17" fmla="*/ 0 h 67"/>
                <a:gd name="T18" fmla="*/ 208 w 208"/>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67">
                  <a:moveTo>
                    <a:pt x="17" y="50"/>
                  </a:moveTo>
                  <a:lnTo>
                    <a:pt x="191" y="50"/>
                  </a:lnTo>
                  <a:lnTo>
                    <a:pt x="191" y="16"/>
                  </a:lnTo>
                  <a:lnTo>
                    <a:pt x="17" y="16"/>
                  </a:lnTo>
                  <a:lnTo>
                    <a:pt x="17" y="50"/>
                  </a:lnTo>
                  <a:close/>
                  <a:moveTo>
                    <a:pt x="208" y="67"/>
                  </a:moveTo>
                  <a:lnTo>
                    <a:pt x="0" y="67"/>
                  </a:lnTo>
                  <a:lnTo>
                    <a:pt x="0" y="0"/>
                  </a:lnTo>
                  <a:lnTo>
                    <a:pt x="208" y="0"/>
                  </a:lnTo>
                  <a:lnTo>
                    <a:pt x="208"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747">
              <a:extLst>
                <a:ext uri="{FF2B5EF4-FFF2-40B4-BE49-F238E27FC236}">
                  <a16:creationId xmlns:a16="http://schemas.microsoft.com/office/drawing/2014/main" id="{72896BBF-8F8D-2BF8-9420-1110BE692E3D}"/>
                </a:ext>
              </a:extLst>
            </p:cNvPr>
            <p:cNvSpPr>
              <a:spLocks noEditPoints="1"/>
            </p:cNvSpPr>
            <p:nvPr/>
          </p:nvSpPr>
          <p:spPr bwMode="auto">
            <a:xfrm>
              <a:off x="1522412" y="1330326"/>
              <a:ext cx="127000" cy="42863"/>
            </a:xfrm>
            <a:custGeom>
              <a:avLst/>
              <a:gdLst>
                <a:gd name="T0" fmla="*/ 17 w 208"/>
                <a:gd name="T1" fmla="*/ 51 h 68"/>
                <a:gd name="T2" fmla="*/ 191 w 208"/>
                <a:gd name="T3" fmla="*/ 51 h 68"/>
                <a:gd name="T4" fmla="*/ 191 w 208"/>
                <a:gd name="T5" fmla="*/ 17 h 68"/>
                <a:gd name="T6" fmla="*/ 17 w 208"/>
                <a:gd name="T7" fmla="*/ 17 h 68"/>
                <a:gd name="T8" fmla="*/ 17 w 208"/>
                <a:gd name="T9" fmla="*/ 51 h 68"/>
                <a:gd name="T10" fmla="*/ 208 w 208"/>
                <a:gd name="T11" fmla="*/ 68 h 68"/>
                <a:gd name="T12" fmla="*/ 0 w 208"/>
                <a:gd name="T13" fmla="*/ 68 h 68"/>
                <a:gd name="T14" fmla="*/ 0 w 208"/>
                <a:gd name="T15" fmla="*/ 0 h 68"/>
                <a:gd name="T16" fmla="*/ 208 w 208"/>
                <a:gd name="T17" fmla="*/ 0 h 68"/>
                <a:gd name="T18" fmla="*/ 208 w 20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68">
                  <a:moveTo>
                    <a:pt x="17" y="51"/>
                  </a:moveTo>
                  <a:lnTo>
                    <a:pt x="191" y="51"/>
                  </a:lnTo>
                  <a:lnTo>
                    <a:pt x="191" y="17"/>
                  </a:lnTo>
                  <a:lnTo>
                    <a:pt x="17" y="17"/>
                  </a:lnTo>
                  <a:lnTo>
                    <a:pt x="17" y="51"/>
                  </a:lnTo>
                  <a:close/>
                  <a:moveTo>
                    <a:pt x="208" y="68"/>
                  </a:moveTo>
                  <a:lnTo>
                    <a:pt x="0" y="68"/>
                  </a:lnTo>
                  <a:lnTo>
                    <a:pt x="0" y="0"/>
                  </a:lnTo>
                  <a:lnTo>
                    <a:pt x="208" y="0"/>
                  </a:lnTo>
                  <a:lnTo>
                    <a:pt x="208"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748">
              <a:extLst>
                <a:ext uri="{FF2B5EF4-FFF2-40B4-BE49-F238E27FC236}">
                  <a16:creationId xmlns:a16="http://schemas.microsoft.com/office/drawing/2014/main" id="{03A25F9C-A81B-B6EC-C713-BF4264864821}"/>
                </a:ext>
              </a:extLst>
            </p:cNvPr>
            <p:cNvSpPr>
              <a:spLocks noEditPoints="1"/>
            </p:cNvSpPr>
            <p:nvPr/>
          </p:nvSpPr>
          <p:spPr bwMode="auto">
            <a:xfrm>
              <a:off x="1503362" y="1362076"/>
              <a:ext cx="165100" cy="41275"/>
            </a:xfrm>
            <a:custGeom>
              <a:avLst/>
              <a:gdLst>
                <a:gd name="T0" fmla="*/ 16 w 272"/>
                <a:gd name="T1" fmla="*/ 51 h 67"/>
                <a:gd name="T2" fmla="*/ 255 w 272"/>
                <a:gd name="T3" fmla="*/ 51 h 67"/>
                <a:gd name="T4" fmla="*/ 255 w 272"/>
                <a:gd name="T5" fmla="*/ 17 h 67"/>
                <a:gd name="T6" fmla="*/ 16 w 272"/>
                <a:gd name="T7" fmla="*/ 17 h 67"/>
                <a:gd name="T8" fmla="*/ 16 w 272"/>
                <a:gd name="T9" fmla="*/ 51 h 67"/>
                <a:gd name="T10" fmla="*/ 272 w 272"/>
                <a:gd name="T11" fmla="*/ 67 h 67"/>
                <a:gd name="T12" fmla="*/ 0 w 272"/>
                <a:gd name="T13" fmla="*/ 67 h 67"/>
                <a:gd name="T14" fmla="*/ 0 w 272"/>
                <a:gd name="T15" fmla="*/ 0 h 67"/>
                <a:gd name="T16" fmla="*/ 272 w 272"/>
                <a:gd name="T17" fmla="*/ 0 h 67"/>
                <a:gd name="T18" fmla="*/ 272 w 272"/>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 h="67">
                  <a:moveTo>
                    <a:pt x="16" y="51"/>
                  </a:moveTo>
                  <a:lnTo>
                    <a:pt x="255" y="51"/>
                  </a:lnTo>
                  <a:lnTo>
                    <a:pt x="255" y="17"/>
                  </a:lnTo>
                  <a:lnTo>
                    <a:pt x="16" y="17"/>
                  </a:lnTo>
                  <a:lnTo>
                    <a:pt x="16" y="51"/>
                  </a:lnTo>
                  <a:close/>
                  <a:moveTo>
                    <a:pt x="272" y="67"/>
                  </a:moveTo>
                  <a:lnTo>
                    <a:pt x="0" y="67"/>
                  </a:lnTo>
                  <a:lnTo>
                    <a:pt x="0" y="0"/>
                  </a:lnTo>
                  <a:lnTo>
                    <a:pt x="272" y="0"/>
                  </a:lnTo>
                  <a:lnTo>
                    <a:pt x="272"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749">
              <a:extLst>
                <a:ext uri="{FF2B5EF4-FFF2-40B4-BE49-F238E27FC236}">
                  <a16:creationId xmlns:a16="http://schemas.microsoft.com/office/drawing/2014/main" id="{FBD68345-1598-12A2-5308-82F840162DD8}"/>
                </a:ext>
              </a:extLst>
            </p:cNvPr>
            <p:cNvSpPr>
              <a:spLocks noChangeArrowheads="1"/>
            </p:cNvSpPr>
            <p:nvPr/>
          </p:nvSpPr>
          <p:spPr bwMode="auto">
            <a:xfrm>
              <a:off x="1670050" y="1309688"/>
              <a:ext cx="11113"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750">
              <a:extLst>
                <a:ext uri="{FF2B5EF4-FFF2-40B4-BE49-F238E27FC236}">
                  <a16:creationId xmlns:a16="http://schemas.microsoft.com/office/drawing/2014/main" id="{B50B2B46-81C0-DC66-0F69-401751CFE46B}"/>
                </a:ext>
              </a:extLst>
            </p:cNvPr>
            <p:cNvSpPr>
              <a:spLocks/>
            </p:cNvSpPr>
            <p:nvPr/>
          </p:nvSpPr>
          <p:spPr bwMode="auto">
            <a:xfrm>
              <a:off x="1660525" y="1328738"/>
              <a:ext cx="15875" cy="15875"/>
            </a:xfrm>
            <a:custGeom>
              <a:avLst/>
              <a:gdLst>
                <a:gd name="T0" fmla="*/ 5 w 10"/>
                <a:gd name="T1" fmla="*/ 10 h 10"/>
                <a:gd name="T2" fmla="*/ 0 w 10"/>
                <a:gd name="T3" fmla="*/ 5 h 10"/>
                <a:gd name="T4" fmla="*/ 4 w 10"/>
                <a:gd name="T5" fmla="*/ 0 h 10"/>
                <a:gd name="T6" fmla="*/ 10 w 10"/>
                <a:gd name="T7" fmla="*/ 6 h 10"/>
                <a:gd name="T8" fmla="*/ 5 w 10"/>
                <a:gd name="T9" fmla="*/ 10 h 10"/>
              </a:gdLst>
              <a:ahLst/>
              <a:cxnLst>
                <a:cxn ang="0">
                  <a:pos x="T0" y="T1"/>
                </a:cxn>
                <a:cxn ang="0">
                  <a:pos x="T2" y="T3"/>
                </a:cxn>
                <a:cxn ang="0">
                  <a:pos x="T4" y="T5"/>
                </a:cxn>
                <a:cxn ang="0">
                  <a:pos x="T6" y="T7"/>
                </a:cxn>
                <a:cxn ang="0">
                  <a:pos x="T8" y="T9"/>
                </a:cxn>
              </a:cxnLst>
              <a:rect l="0" t="0" r="r" b="b"/>
              <a:pathLst>
                <a:path w="10" h="10">
                  <a:moveTo>
                    <a:pt x="5" y="10"/>
                  </a:moveTo>
                  <a:lnTo>
                    <a:pt x="0" y="5"/>
                  </a:lnTo>
                  <a:lnTo>
                    <a:pt x="4" y="0"/>
                  </a:lnTo>
                  <a:lnTo>
                    <a:pt x="10" y="6"/>
                  </a:lnTo>
                  <a:lnTo>
                    <a:pt x="5"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751">
              <a:extLst>
                <a:ext uri="{FF2B5EF4-FFF2-40B4-BE49-F238E27FC236}">
                  <a16:creationId xmlns:a16="http://schemas.microsoft.com/office/drawing/2014/main" id="{357AEC56-B9BB-7E09-E329-0EAD4DBAB05C}"/>
                </a:ext>
              </a:extLst>
            </p:cNvPr>
            <p:cNvSpPr>
              <a:spLocks/>
            </p:cNvSpPr>
            <p:nvPr/>
          </p:nvSpPr>
          <p:spPr bwMode="auto">
            <a:xfrm>
              <a:off x="1660525" y="1282701"/>
              <a:ext cx="15875" cy="15875"/>
            </a:xfrm>
            <a:custGeom>
              <a:avLst/>
              <a:gdLst>
                <a:gd name="T0" fmla="*/ 4 w 10"/>
                <a:gd name="T1" fmla="*/ 10 h 10"/>
                <a:gd name="T2" fmla="*/ 0 w 10"/>
                <a:gd name="T3" fmla="*/ 6 h 10"/>
                <a:gd name="T4" fmla="*/ 5 w 10"/>
                <a:gd name="T5" fmla="*/ 0 h 10"/>
                <a:gd name="T6" fmla="*/ 10 w 10"/>
                <a:gd name="T7" fmla="*/ 5 h 10"/>
                <a:gd name="T8" fmla="*/ 4 w 10"/>
                <a:gd name="T9" fmla="*/ 10 h 10"/>
              </a:gdLst>
              <a:ahLst/>
              <a:cxnLst>
                <a:cxn ang="0">
                  <a:pos x="T0" y="T1"/>
                </a:cxn>
                <a:cxn ang="0">
                  <a:pos x="T2" y="T3"/>
                </a:cxn>
                <a:cxn ang="0">
                  <a:pos x="T4" y="T5"/>
                </a:cxn>
                <a:cxn ang="0">
                  <a:pos x="T6" y="T7"/>
                </a:cxn>
                <a:cxn ang="0">
                  <a:pos x="T8" y="T9"/>
                </a:cxn>
              </a:cxnLst>
              <a:rect l="0" t="0" r="r" b="b"/>
              <a:pathLst>
                <a:path w="10" h="10">
                  <a:moveTo>
                    <a:pt x="4" y="10"/>
                  </a:moveTo>
                  <a:lnTo>
                    <a:pt x="0" y="6"/>
                  </a:lnTo>
                  <a:lnTo>
                    <a:pt x="5" y="0"/>
                  </a:lnTo>
                  <a:lnTo>
                    <a:pt x="10" y="5"/>
                  </a:lnTo>
                  <a:lnTo>
                    <a:pt x="4"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52">
              <a:extLst>
                <a:ext uri="{FF2B5EF4-FFF2-40B4-BE49-F238E27FC236}">
                  <a16:creationId xmlns:a16="http://schemas.microsoft.com/office/drawing/2014/main" id="{3180468E-FBD8-CCD1-0B05-65086AA19F3C}"/>
                </a:ext>
              </a:extLst>
            </p:cNvPr>
            <p:cNvSpPr>
              <a:spLocks noChangeArrowheads="1"/>
            </p:cNvSpPr>
            <p:nvPr/>
          </p:nvSpPr>
          <p:spPr bwMode="auto">
            <a:xfrm>
              <a:off x="1362075" y="1393826"/>
              <a:ext cx="31908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53434754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5CFAFED-88D7-432A-6806-7B9652FD8A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8" name="think-cell data - do not delete" hidden="1">
                        <a:extLst>
                          <a:ext uri="{FF2B5EF4-FFF2-40B4-BE49-F238E27FC236}">
                            <a16:creationId xmlns:a16="http://schemas.microsoft.com/office/drawing/2014/main" id="{B5CFAFED-88D7-432A-6806-7B9652FD8A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78E9E4-47B6-B190-3754-39282680B0C2}"/>
              </a:ext>
            </a:extLst>
          </p:cNvPr>
          <p:cNvSpPr>
            <a:spLocks noGrp="1"/>
          </p:cNvSpPr>
          <p:nvPr>
            <p:ph type="title"/>
          </p:nvPr>
        </p:nvSpPr>
        <p:spPr/>
        <p:txBody>
          <a:bodyPr vert="horz"/>
          <a:lstStyle/>
          <a:p>
            <a:r>
              <a:rPr lang="en-US"/>
              <a:t>Uber focuses its communication mainly on the Environmental and Safety Aspects of ESG to their drivers and customers</a:t>
            </a:r>
          </a:p>
        </p:txBody>
      </p:sp>
      <p:sp>
        <p:nvSpPr>
          <p:cNvPr id="4" name="Foliennummernplatzhalter 3">
            <a:extLst>
              <a:ext uri="{FF2B5EF4-FFF2-40B4-BE49-F238E27FC236}">
                <a16:creationId xmlns:a16="http://schemas.microsoft.com/office/drawing/2014/main" id="{59EEADDF-5D40-2320-49EB-6AB7BDD88AAD}"/>
              </a:ext>
            </a:extLst>
          </p:cNvPr>
          <p:cNvSpPr>
            <a:spLocks noGrp="1"/>
          </p:cNvSpPr>
          <p:nvPr>
            <p:ph type="sldNum" sz="quarter" idx="4"/>
          </p:nvPr>
        </p:nvSpPr>
        <p:spPr/>
        <p:txBody>
          <a:bodyPr/>
          <a:lstStyle/>
          <a:p>
            <a:fld id="{BAF04893-69FB-435D-AB2E-CA259D85B32F}" type="slidenum">
              <a:rPr lang="en-US" smtClean="0"/>
              <a:pPr/>
              <a:t>94</a:t>
            </a:fld>
            <a:endParaRPr lang="en-US"/>
          </a:p>
        </p:txBody>
      </p:sp>
      <p:sp>
        <p:nvSpPr>
          <p:cNvPr id="5" name="Inhaltsplatzhalter 4">
            <a:extLst>
              <a:ext uri="{FF2B5EF4-FFF2-40B4-BE49-F238E27FC236}">
                <a16:creationId xmlns:a16="http://schemas.microsoft.com/office/drawing/2014/main" id="{7E5F98BF-2CAA-2412-D9DC-2F20DC71AE73}"/>
              </a:ext>
            </a:extLst>
          </p:cNvPr>
          <p:cNvSpPr>
            <a:spLocks noGrp="1"/>
          </p:cNvSpPr>
          <p:nvPr>
            <p:ph idx="10"/>
          </p:nvPr>
        </p:nvSpPr>
        <p:spPr/>
        <p:txBody>
          <a:bodyPr/>
          <a:lstStyle/>
          <a:p>
            <a:r>
              <a:rPr lang="en-US"/>
              <a:t>ESG Communication – Integration</a:t>
            </a:r>
          </a:p>
        </p:txBody>
      </p:sp>
      <p:sp>
        <p:nvSpPr>
          <p:cNvPr id="6" name="Inhaltsplatzhalter 5">
            <a:extLst>
              <a:ext uri="{FF2B5EF4-FFF2-40B4-BE49-F238E27FC236}">
                <a16:creationId xmlns:a16="http://schemas.microsoft.com/office/drawing/2014/main" id="{D60FB8A0-AC42-55FB-1795-91591394DD3D}"/>
              </a:ext>
            </a:extLst>
          </p:cNvPr>
          <p:cNvSpPr>
            <a:spLocks noGrp="1"/>
          </p:cNvSpPr>
          <p:nvPr>
            <p:ph idx="11"/>
          </p:nvPr>
        </p:nvSpPr>
        <p:spPr/>
        <p:txBody>
          <a:bodyPr/>
          <a:lstStyle/>
          <a:p>
            <a:r>
              <a:rPr lang="en-US"/>
              <a:t>ESG-Report</a:t>
            </a:r>
          </a:p>
        </p:txBody>
      </p:sp>
      <p:sp>
        <p:nvSpPr>
          <p:cNvPr id="7" name="Inhaltsplatzhalter 6">
            <a:extLst>
              <a:ext uri="{FF2B5EF4-FFF2-40B4-BE49-F238E27FC236}">
                <a16:creationId xmlns:a16="http://schemas.microsoft.com/office/drawing/2014/main" id="{6D2A7B1D-C602-FEF9-285E-45E1A5C65B51}"/>
              </a:ext>
            </a:extLst>
          </p:cNvPr>
          <p:cNvSpPr>
            <a:spLocks noGrp="1"/>
          </p:cNvSpPr>
          <p:nvPr>
            <p:ph idx="12"/>
          </p:nvPr>
        </p:nvSpPr>
        <p:spPr/>
        <p:txBody>
          <a:bodyPr/>
          <a:lstStyle/>
          <a:p>
            <a:r>
              <a:rPr lang="en-US"/>
              <a:t>Stakeholder</a:t>
            </a:r>
          </a:p>
        </p:txBody>
      </p:sp>
      <p:sp>
        <p:nvSpPr>
          <p:cNvPr id="8" name="Textfeld 7">
            <a:extLst>
              <a:ext uri="{FF2B5EF4-FFF2-40B4-BE49-F238E27FC236}">
                <a16:creationId xmlns:a16="http://schemas.microsoft.com/office/drawing/2014/main" id="{8382F8B9-9B02-378F-FD9E-7E2120CCEC41}"/>
              </a:ext>
            </a:extLst>
          </p:cNvPr>
          <p:cNvSpPr txBox="1"/>
          <p:nvPr/>
        </p:nvSpPr>
        <p:spPr>
          <a:xfrm>
            <a:off x="364715" y="1982652"/>
            <a:ext cx="8563379" cy="523220"/>
          </a:xfrm>
          <a:prstGeom prst="rect">
            <a:avLst/>
          </a:prstGeom>
          <a:noFill/>
        </p:spPr>
        <p:txBody>
          <a:bodyPr wrap="square">
            <a:spAutoFit/>
          </a:bodyPr>
          <a:lstStyle/>
          <a:p>
            <a:r>
              <a:rPr lang="en-US" sz="1400" b="1"/>
              <a:t>Uber focusses its Stakeholder engagement on the Communication of the ESG-Progress and Impact through different categories.</a:t>
            </a:r>
          </a:p>
        </p:txBody>
      </p:sp>
      <p:sp>
        <p:nvSpPr>
          <p:cNvPr id="9" name="Rectangle 17">
            <a:extLst>
              <a:ext uri="{FF2B5EF4-FFF2-40B4-BE49-F238E27FC236}">
                <a16:creationId xmlns:a16="http://schemas.microsoft.com/office/drawing/2014/main" id="{113CF301-FF16-CB57-C120-506E44C08138}"/>
              </a:ext>
            </a:extLst>
          </p:cNvPr>
          <p:cNvSpPr/>
          <p:nvPr/>
        </p:nvSpPr>
        <p:spPr>
          <a:xfrm>
            <a:off x="359997" y="2639197"/>
            <a:ext cx="8155353" cy="87804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Need:</a:t>
            </a:r>
            <a:r>
              <a:rPr lang="en-US" sz="1200" kern="0">
                <a:solidFill>
                  <a:schemeClr val="tx1"/>
                </a:solidFill>
              </a:rPr>
              <a:t> Encouraged to provide more information on the experience of drivers and couriers earning on the platform</a:t>
            </a:r>
          </a:p>
          <a:p>
            <a:pPr marL="214313" indent="-214313" defTabSz="685800">
              <a:buFont typeface="Arial" panose="020B0604020202020204" pitchFamily="34" charset="0"/>
              <a:buChar char="•"/>
              <a:defRPr/>
            </a:pPr>
            <a:r>
              <a:rPr lang="en-US" sz="1200" b="1" kern="0">
                <a:solidFill>
                  <a:schemeClr val="tx1"/>
                </a:solidFill>
              </a:rPr>
              <a:t>Response: </a:t>
            </a:r>
            <a:r>
              <a:rPr lang="en-US" sz="1200" kern="0">
                <a:solidFill>
                  <a:schemeClr val="tx1"/>
                </a:solidFill>
              </a:rPr>
              <a:t>Uber included driver and courier well-being in the executive pay program. Uber advocated globally for driver and courier work flexibility and better benefits. Uber also shared outcomes of several studies, surveys, and growth opportunities for drivers and couriers</a:t>
            </a:r>
            <a:endParaRPr lang="en-US" sz="1200" b="1" kern="0">
              <a:solidFill>
                <a:schemeClr val="tx1"/>
              </a:solidFill>
            </a:endParaRPr>
          </a:p>
        </p:txBody>
      </p:sp>
      <p:sp>
        <p:nvSpPr>
          <p:cNvPr id="10" name="Rectangle 18">
            <a:extLst>
              <a:ext uri="{FF2B5EF4-FFF2-40B4-BE49-F238E27FC236}">
                <a16:creationId xmlns:a16="http://schemas.microsoft.com/office/drawing/2014/main" id="{8179BED9-75C1-CF3D-1D10-0B9299726973}"/>
              </a:ext>
            </a:extLst>
          </p:cNvPr>
          <p:cNvSpPr/>
          <p:nvPr/>
        </p:nvSpPr>
        <p:spPr>
          <a:xfrm>
            <a:off x="535622" y="2503045"/>
            <a:ext cx="1997436" cy="272302"/>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tx1"/>
                </a:solidFill>
              </a:rPr>
              <a:t>Driver and courier well-being</a:t>
            </a:r>
          </a:p>
        </p:txBody>
      </p:sp>
      <p:sp>
        <p:nvSpPr>
          <p:cNvPr id="12" name="Rectangle 17">
            <a:extLst>
              <a:ext uri="{FF2B5EF4-FFF2-40B4-BE49-F238E27FC236}">
                <a16:creationId xmlns:a16="http://schemas.microsoft.com/office/drawing/2014/main" id="{E1753A39-53AA-6878-AFDA-FA998761BF33}"/>
              </a:ext>
            </a:extLst>
          </p:cNvPr>
          <p:cNvSpPr/>
          <p:nvPr/>
        </p:nvSpPr>
        <p:spPr>
          <a:xfrm>
            <a:off x="359997" y="3709229"/>
            <a:ext cx="8155353" cy="66820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Need:</a:t>
            </a:r>
            <a:r>
              <a:rPr lang="en-US" sz="1200" kern="0">
                <a:solidFill>
                  <a:schemeClr val="tx1"/>
                </a:solidFill>
              </a:rPr>
              <a:t> Encouraged to continue disclosure, around safety and responsiveness to stakeholders impacted by the platform</a:t>
            </a:r>
          </a:p>
          <a:p>
            <a:pPr marL="214313" indent="-214313" defTabSz="685800">
              <a:buFont typeface="Arial" panose="020B0604020202020204" pitchFamily="34" charset="0"/>
              <a:buChar char="•"/>
              <a:defRPr/>
            </a:pPr>
            <a:r>
              <a:rPr lang="en-US" sz="1200" b="1" kern="0">
                <a:solidFill>
                  <a:schemeClr val="tx1"/>
                </a:solidFill>
              </a:rPr>
              <a:t>Response: </a:t>
            </a:r>
            <a:r>
              <a:rPr lang="en-US" sz="1200" kern="0">
                <a:solidFill>
                  <a:schemeClr val="tx1"/>
                </a:solidFill>
              </a:rPr>
              <a:t>Uber published the second US Safety Report to track progress, provide accountability and strengthen safety on the platform. Enhanced transparency of global, company-wide safety management system</a:t>
            </a:r>
          </a:p>
        </p:txBody>
      </p:sp>
      <p:sp>
        <p:nvSpPr>
          <p:cNvPr id="13" name="Rectangle 18">
            <a:extLst>
              <a:ext uri="{FF2B5EF4-FFF2-40B4-BE49-F238E27FC236}">
                <a16:creationId xmlns:a16="http://schemas.microsoft.com/office/drawing/2014/main" id="{60C7BCA3-5D83-D273-956E-A16C4AC47D3F}"/>
              </a:ext>
            </a:extLst>
          </p:cNvPr>
          <p:cNvSpPr/>
          <p:nvPr/>
        </p:nvSpPr>
        <p:spPr>
          <a:xfrm>
            <a:off x="535622" y="3573077"/>
            <a:ext cx="1997436" cy="207225"/>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tx1"/>
                </a:solidFill>
              </a:rPr>
              <a:t>Safety</a:t>
            </a:r>
          </a:p>
        </p:txBody>
      </p:sp>
      <p:sp>
        <p:nvSpPr>
          <p:cNvPr id="14" name="Rectangle 17">
            <a:extLst>
              <a:ext uri="{FF2B5EF4-FFF2-40B4-BE49-F238E27FC236}">
                <a16:creationId xmlns:a16="http://schemas.microsoft.com/office/drawing/2014/main" id="{1E74F517-113B-7DAD-7FAD-ADCAF396963A}"/>
              </a:ext>
            </a:extLst>
          </p:cNvPr>
          <p:cNvSpPr/>
          <p:nvPr/>
        </p:nvSpPr>
        <p:spPr>
          <a:xfrm>
            <a:off x="359996" y="4546391"/>
            <a:ext cx="8155353" cy="87804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Need:</a:t>
            </a:r>
            <a:r>
              <a:rPr lang="en-US" sz="1200" kern="0">
                <a:solidFill>
                  <a:schemeClr val="tx1"/>
                </a:solidFill>
              </a:rPr>
              <a:t> Encouraged to enhance climate change disclosures and communication of actions taken to meet emission reduction targets</a:t>
            </a:r>
          </a:p>
          <a:p>
            <a:pPr marL="214313" indent="-214313" defTabSz="685800">
              <a:buFont typeface="Arial" panose="020B0604020202020204" pitchFamily="34" charset="0"/>
              <a:buChar char="•"/>
              <a:defRPr/>
            </a:pPr>
            <a:r>
              <a:rPr lang="en-US" sz="1200" b="1" kern="0">
                <a:solidFill>
                  <a:schemeClr val="tx1"/>
                </a:solidFill>
              </a:rPr>
              <a:t>Response: </a:t>
            </a:r>
            <a:r>
              <a:rPr lang="en-US" sz="1200" kern="0">
                <a:solidFill>
                  <a:schemeClr val="tx1"/>
                </a:solidFill>
              </a:rPr>
              <a:t>Uber expanded climate disclosure to cover global Scope 1,2 and 3 emissions across mobility, delivery, and freight businesses. Published third Climate Assessment and Performance Report.</a:t>
            </a:r>
            <a:endParaRPr lang="en-US" sz="1200" b="1" kern="0">
              <a:solidFill>
                <a:schemeClr val="tx1"/>
              </a:solidFill>
            </a:endParaRPr>
          </a:p>
        </p:txBody>
      </p:sp>
      <p:sp>
        <p:nvSpPr>
          <p:cNvPr id="15" name="Rectangle 18">
            <a:extLst>
              <a:ext uri="{FF2B5EF4-FFF2-40B4-BE49-F238E27FC236}">
                <a16:creationId xmlns:a16="http://schemas.microsoft.com/office/drawing/2014/main" id="{B77AB291-6849-AF42-C529-F71EC75AB951}"/>
              </a:ext>
            </a:extLst>
          </p:cNvPr>
          <p:cNvSpPr/>
          <p:nvPr/>
        </p:nvSpPr>
        <p:spPr>
          <a:xfrm>
            <a:off x="535622" y="4442778"/>
            <a:ext cx="3235568" cy="207225"/>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tx1"/>
                </a:solidFill>
              </a:rPr>
              <a:t>Environmental sustainability and climate change</a:t>
            </a:r>
          </a:p>
        </p:txBody>
      </p:sp>
      <p:sp>
        <p:nvSpPr>
          <p:cNvPr id="16" name="Rectangle 17">
            <a:extLst>
              <a:ext uri="{FF2B5EF4-FFF2-40B4-BE49-F238E27FC236}">
                <a16:creationId xmlns:a16="http://schemas.microsoft.com/office/drawing/2014/main" id="{34A89B6C-FBF7-8A83-E9A4-828BA66FA3B8}"/>
              </a:ext>
            </a:extLst>
          </p:cNvPr>
          <p:cNvSpPr/>
          <p:nvPr/>
        </p:nvSpPr>
        <p:spPr>
          <a:xfrm>
            <a:off x="359996" y="5567565"/>
            <a:ext cx="8155353" cy="70319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214313" indent="-214313" defTabSz="685800">
              <a:buFont typeface="Arial" panose="020B0604020202020204" pitchFamily="34" charset="0"/>
              <a:buChar char="•"/>
              <a:defRPr/>
            </a:pPr>
            <a:r>
              <a:rPr lang="en-US" sz="1200" b="1" kern="0">
                <a:solidFill>
                  <a:schemeClr val="tx1"/>
                </a:solidFill>
              </a:rPr>
              <a:t>Need:</a:t>
            </a:r>
            <a:r>
              <a:rPr lang="en-US" sz="1200" kern="0">
                <a:solidFill>
                  <a:schemeClr val="tx1"/>
                </a:solidFill>
              </a:rPr>
              <a:t> Encouraged to share more information on progress toward 2020 racial equity commitments</a:t>
            </a:r>
          </a:p>
          <a:p>
            <a:pPr marL="214313" indent="-214313" defTabSz="685800">
              <a:buFont typeface="Arial" panose="020B0604020202020204" pitchFamily="34" charset="0"/>
              <a:buChar char="•"/>
              <a:defRPr/>
            </a:pPr>
            <a:r>
              <a:rPr lang="en-US" sz="1200" b="1" kern="0">
                <a:solidFill>
                  <a:schemeClr val="tx1"/>
                </a:solidFill>
              </a:rPr>
              <a:t>Response: </a:t>
            </a:r>
            <a:r>
              <a:rPr lang="en-US" sz="1200" kern="0">
                <a:solidFill>
                  <a:schemeClr val="tx1"/>
                </a:solidFill>
              </a:rPr>
              <a:t>Uber made significant strides in delivering on the 2020 commitments to become a more anti-racist company, through fulfilment of 11 of the original commitments published in the fifth People and Culture Report</a:t>
            </a:r>
          </a:p>
        </p:txBody>
      </p:sp>
      <p:sp>
        <p:nvSpPr>
          <p:cNvPr id="17" name="Rectangle 18">
            <a:extLst>
              <a:ext uri="{FF2B5EF4-FFF2-40B4-BE49-F238E27FC236}">
                <a16:creationId xmlns:a16="http://schemas.microsoft.com/office/drawing/2014/main" id="{EC47E702-F6B7-6B50-C517-9093433DEF41}"/>
              </a:ext>
            </a:extLst>
          </p:cNvPr>
          <p:cNvSpPr/>
          <p:nvPr/>
        </p:nvSpPr>
        <p:spPr>
          <a:xfrm>
            <a:off x="535622" y="5463952"/>
            <a:ext cx="1367012" cy="207225"/>
          </a:xfrm>
          <a:prstGeom prst="rect">
            <a:avLst/>
          </a:prstGeom>
          <a:solidFill>
            <a:schemeClr val="l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685800">
              <a:defRPr/>
            </a:pPr>
            <a:r>
              <a:rPr lang="en-US" sz="1200" b="1" kern="0">
                <a:solidFill>
                  <a:schemeClr val="tx1"/>
                </a:solidFill>
              </a:rPr>
              <a:t>People and culture</a:t>
            </a:r>
          </a:p>
        </p:txBody>
      </p:sp>
    </p:spTree>
    <p:extLst>
      <p:ext uri="{BB962C8B-B14F-4D97-AF65-F5344CB8AC3E}">
        <p14:creationId xmlns:p14="http://schemas.microsoft.com/office/powerpoint/2010/main" val="4013206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3F6D23B-50D1-9804-3ADF-9E5A486BEC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8" name="think-cell data - do not delete" hidden="1">
                        <a:extLst>
                          <a:ext uri="{FF2B5EF4-FFF2-40B4-BE49-F238E27FC236}">
                            <a16:creationId xmlns:a16="http://schemas.microsoft.com/office/drawing/2014/main" id="{93F6D23B-50D1-9804-3ADF-9E5A486BEC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B349D17-D0C4-20F7-C5E1-D5D59ED21408}"/>
              </a:ext>
            </a:extLst>
          </p:cNvPr>
          <p:cNvSpPr>
            <a:spLocks noGrp="1"/>
          </p:cNvSpPr>
          <p:nvPr>
            <p:ph type="title"/>
          </p:nvPr>
        </p:nvSpPr>
        <p:spPr/>
        <p:txBody>
          <a:bodyPr vert="horz"/>
          <a:lstStyle/>
          <a:p>
            <a:r>
              <a:rPr lang="en-US"/>
              <a:t>Ubers rapid growth often don’t align with the message of bein sustainable and reliable which can be problematic </a:t>
            </a:r>
          </a:p>
        </p:txBody>
      </p:sp>
      <p:sp>
        <p:nvSpPr>
          <p:cNvPr id="4" name="Foliennummernplatzhalter 3">
            <a:extLst>
              <a:ext uri="{FF2B5EF4-FFF2-40B4-BE49-F238E27FC236}">
                <a16:creationId xmlns:a16="http://schemas.microsoft.com/office/drawing/2014/main" id="{F62BDF4E-DD80-345B-C668-D4F50859A7CC}"/>
              </a:ext>
            </a:extLst>
          </p:cNvPr>
          <p:cNvSpPr>
            <a:spLocks noGrp="1"/>
          </p:cNvSpPr>
          <p:nvPr>
            <p:ph type="sldNum" sz="quarter" idx="4"/>
          </p:nvPr>
        </p:nvSpPr>
        <p:spPr/>
        <p:txBody>
          <a:bodyPr/>
          <a:lstStyle/>
          <a:p>
            <a:fld id="{BAF04893-69FB-435D-AB2E-CA259D85B32F}" type="slidenum">
              <a:rPr lang="en-US" smtClean="0"/>
              <a:pPr/>
              <a:t>95</a:t>
            </a:fld>
            <a:endParaRPr lang="en-US"/>
          </a:p>
        </p:txBody>
      </p:sp>
      <p:sp>
        <p:nvSpPr>
          <p:cNvPr id="5" name="Inhaltsplatzhalter 4">
            <a:extLst>
              <a:ext uri="{FF2B5EF4-FFF2-40B4-BE49-F238E27FC236}">
                <a16:creationId xmlns:a16="http://schemas.microsoft.com/office/drawing/2014/main" id="{225A2183-B7F3-EA02-06AD-69D9E73CFFCD}"/>
              </a:ext>
            </a:extLst>
          </p:cNvPr>
          <p:cNvSpPr>
            <a:spLocks noGrp="1"/>
          </p:cNvSpPr>
          <p:nvPr>
            <p:ph idx="10"/>
          </p:nvPr>
        </p:nvSpPr>
        <p:spPr/>
        <p:txBody>
          <a:bodyPr/>
          <a:lstStyle/>
          <a:p>
            <a:endParaRPr lang="en-US"/>
          </a:p>
        </p:txBody>
      </p:sp>
      <p:sp>
        <p:nvSpPr>
          <p:cNvPr id="6" name="Inhaltsplatzhalter 5">
            <a:extLst>
              <a:ext uri="{FF2B5EF4-FFF2-40B4-BE49-F238E27FC236}">
                <a16:creationId xmlns:a16="http://schemas.microsoft.com/office/drawing/2014/main" id="{E1881E36-B8B5-E089-DFBF-6DFB51292A72}"/>
              </a:ext>
            </a:extLst>
          </p:cNvPr>
          <p:cNvSpPr>
            <a:spLocks noGrp="1"/>
          </p:cNvSpPr>
          <p:nvPr>
            <p:ph idx="11"/>
          </p:nvPr>
        </p:nvSpPr>
        <p:spPr/>
        <p:txBody>
          <a:bodyPr/>
          <a:lstStyle/>
          <a:p>
            <a:r>
              <a:rPr lang="en-US">
                <a:hlinkClick r:id="rId6"/>
              </a:rPr>
              <a:t>[1]</a:t>
            </a:r>
            <a:r>
              <a:rPr lang="en-US"/>
              <a:t>, </a:t>
            </a:r>
            <a:r>
              <a:rPr lang="en-US">
                <a:hlinkClick r:id="rId7"/>
              </a:rPr>
              <a:t>[2]</a:t>
            </a:r>
            <a:endParaRPr lang="en-US"/>
          </a:p>
        </p:txBody>
      </p:sp>
      <p:sp>
        <p:nvSpPr>
          <p:cNvPr id="7" name="Inhaltsplatzhalter 6">
            <a:extLst>
              <a:ext uri="{FF2B5EF4-FFF2-40B4-BE49-F238E27FC236}">
                <a16:creationId xmlns:a16="http://schemas.microsoft.com/office/drawing/2014/main" id="{A3FDA1B2-AB85-3C4B-F6B4-69F1352DDE34}"/>
              </a:ext>
            </a:extLst>
          </p:cNvPr>
          <p:cNvSpPr>
            <a:spLocks noGrp="1"/>
          </p:cNvSpPr>
          <p:nvPr>
            <p:ph idx="12"/>
          </p:nvPr>
        </p:nvSpPr>
        <p:spPr/>
        <p:txBody>
          <a:bodyPr/>
          <a:lstStyle/>
          <a:p>
            <a:r>
              <a:rPr lang="en-US"/>
              <a:t>Stakeholder</a:t>
            </a:r>
          </a:p>
        </p:txBody>
      </p:sp>
      <p:sp>
        <p:nvSpPr>
          <p:cNvPr id="10" name="Textfeld 9">
            <a:extLst>
              <a:ext uri="{FF2B5EF4-FFF2-40B4-BE49-F238E27FC236}">
                <a16:creationId xmlns:a16="http://schemas.microsoft.com/office/drawing/2014/main" id="{FFC925B3-6CA3-ECF2-93D4-84322070F86C}"/>
              </a:ext>
            </a:extLst>
          </p:cNvPr>
          <p:cNvSpPr txBox="1"/>
          <p:nvPr/>
        </p:nvSpPr>
        <p:spPr>
          <a:xfrm>
            <a:off x="359997" y="3080687"/>
            <a:ext cx="3917630" cy="646331"/>
          </a:xfrm>
          <a:prstGeom prst="rect">
            <a:avLst/>
          </a:prstGeom>
          <a:noFill/>
        </p:spPr>
        <p:txBody>
          <a:bodyPr wrap="square">
            <a:spAutoFit/>
          </a:bodyPr>
          <a:lstStyle/>
          <a:p>
            <a:r>
              <a:rPr lang="en-US" sz="1200" b="1"/>
              <a:t>Transparent Compensation for Drivers: </a:t>
            </a:r>
            <a:r>
              <a:rPr lang="en-US" sz="1200"/>
              <a:t>Detailed disclosures of how drivers pay is determined should be made available. Including the specific base rates, bonuses.</a:t>
            </a:r>
            <a:r>
              <a:rPr lang="en-US" sz="1200" b="1"/>
              <a:t> </a:t>
            </a:r>
          </a:p>
        </p:txBody>
      </p:sp>
      <p:sp>
        <p:nvSpPr>
          <p:cNvPr id="18" name="Textfeld 17">
            <a:extLst>
              <a:ext uri="{FF2B5EF4-FFF2-40B4-BE49-F238E27FC236}">
                <a16:creationId xmlns:a16="http://schemas.microsoft.com/office/drawing/2014/main" id="{9C039F56-81F4-705C-3CAD-B5C247F1CE76}"/>
              </a:ext>
            </a:extLst>
          </p:cNvPr>
          <p:cNvSpPr txBox="1"/>
          <p:nvPr/>
        </p:nvSpPr>
        <p:spPr>
          <a:xfrm>
            <a:off x="364715" y="1982652"/>
            <a:ext cx="8563379" cy="461665"/>
          </a:xfrm>
          <a:prstGeom prst="rect">
            <a:avLst/>
          </a:prstGeom>
          <a:noFill/>
        </p:spPr>
        <p:txBody>
          <a:bodyPr wrap="square">
            <a:spAutoFit/>
          </a:bodyPr>
          <a:lstStyle/>
          <a:p>
            <a:r>
              <a:rPr lang="en-US" sz="1200"/>
              <a:t>Uber’s journey towards environmental and social excellence is ongoing, with significant strides yet to be made for it to secure an esteemed reputation in these domains.</a:t>
            </a:r>
          </a:p>
        </p:txBody>
      </p:sp>
      <p:sp>
        <p:nvSpPr>
          <p:cNvPr id="19" name="Textfeld 18">
            <a:extLst>
              <a:ext uri="{FF2B5EF4-FFF2-40B4-BE49-F238E27FC236}">
                <a16:creationId xmlns:a16="http://schemas.microsoft.com/office/drawing/2014/main" id="{C5E9F2FD-59A6-132C-33DB-60B45910BA8D}"/>
              </a:ext>
            </a:extLst>
          </p:cNvPr>
          <p:cNvSpPr txBox="1"/>
          <p:nvPr/>
        </p:nvSpPr>
        <p:spPr>
          <a:xfrm>
            <a:off x="292810" y="2645268"/>
            <a:ext cx="3917630" cy="307777"/>
          </a:xfrm>
          <a:prstGeom prst="rect">
            <a:avLst/>
          </a:prstGeom>
          <a:noFill/>
        </p:spPr>
        <p:txBody>
          <a:bodyPr wrap="square">
            <a:spAutoFit/>
          </a:bodyPr>
          <a:lstStyle/>
          <a:p>
            <a:r>
              <a:rPr lang="en-US" sz="1400" b="1"/>
              <a:t>Improvement potential for Uber:</a:t>
            </a:r>
          </a:p>
        </p:txBody>
      </p:sp>
      <p:sp>
        <p:nvSpPr>
          <p:cNvPr id="20" name="Textfeld 19">
            <a:extLst>
              <a:ext uri="{FF2B5EF4-FFF2-40B4-BE49-F238E27FC236}">
                <a16:creationId xmlns:a16="http://schemas.microsoft.com/office/drawing/2014/main" id="{25E94A19-5B8C-CF31-0FB9-4FEA600B4CBE}"/>
              </a:ext>
            </a:extLst>
          </p:cNvPr>
          <p:cNvSpPr txBox="1"/>
          <p:nvPr/>
        </p:nvSpPr>
        <p:spPr>
          <a:xfrm>
            <a:off x="359997" y="3727018"/>
            <a:ext cx="3917630" cy="1015663"/>
          </a:xfrm>
          <a:prstGeom prst="rect">
            <a:avLst/>
          </a:prstGeom>
          <a:noFill/>
        </p:spPr>
        <p:txBody>
          <a:bodyPr wrap="square">
            <a:spAutoFit/>
          </a:bodyPr>
          <a:lstStyle/>
          <a:p>
            <a:r>
              <a:rPr lang="en-US" sz="1200" b="1"/>
              <a:t>Extended Driver Benefits: </a:t>
            </a:r>
            <a:r>
              <a:rPr lang="en-US" sz="1200"/>
              <a:t>Uber should could differentiate itself from competitors and the problems of the gig-model, through the clear communication and  provision of health insurance benefits or by providing educational supportive communication for its drivers.</a:t>
            </a:r>
            <a:endParaRPr lang="en-US" sz="1200" b="1"/>
          </a:p>
        </p:txBody>
      </p:sp>
      <p:sp>
        <p:nvSpPr>
          <p:cNvPr id="21" name="Textfeld 20">
            <a:extLst>
              <a:ext uri="{FF2B5EF4-FFF2-40B4-BE49-F238E27FC236}">
                <a16:creationId xmlns:a16="http://schemas.microsoft.com/office/drawing/2014/main" id="{F6D8969F-8D76-1EB9-65B4-A76BF5BDB4A0}"/>
              </a:ext>
            </a:extLst>
          </p:cNvPr>
          <p:cNvSpPr txBox="1"/>
          <p:nvPr/>
        </p:nvSpPr>
        <p:spPr>
          <a:xfrm>
            <a:off x="359997" y="4700003"/>
            <a:ext cx="3917630" cy="646331"/>
          </a:xfrm>
          <a:prstGeom prst="rect">
            <a:avLst/>
          </a:prstGeom>
          <a:noFill/>
        </p:spPr>
        <p:txBody>
          <a:bodyPr wrap="square">
            <a:spAutoFit/>
          </a:bodyPr>
          <a:lstStyle/>
          <a:p>
            <a:r>
              <a:rPr lang="en-US" sz="1200" b="1"/>
              <a:t>Independent Environmental Evaluations: </a:t>
            </a:r>
            <a:r>
              <a:rPr lang="en-US" sz="1200"/>
              <a:t>Uber should publish comprehensive environmental impact analyses for each service it offers.</a:t>
            </a:r>
            <a:endParaRPr lang="en-US" sz="1200" b="1"/>
          </a:p>
        </p:txBody>
      </p:sp>
      <p:sp>
        <p:nvSpPr>
          <p:cNvPr id="22" name="Textfeld 21">
            <a:extLst>
              <a:ext uri="{FF2B5EF4-FFF2-40B4-BE49-F238E27FC236}">
                <a16:creationId xmlns:a16="http://schemas.microsoft.com/office/drawing/2014/main" id="{D246E2AF-6B50-FEFD-2D1E-6AA0BF812668}"/>
              </a:ext>
            </a:extLst>
          </p:cNvPr>
          <p:cNvSpPr txBox="1"/>
          <p:nvPr/>
        </p:nvSpPr>
        <p:spPr>
          <a:xfrm>
            <a:off x="359997" y="5320852"/>
            <a:ext cx="3917630" cy="1015663"/>
          </a:xfrm>
          <a:prstGeom prst="rect">
            <a:avLst/>
          </a:prstGeom>
          <a:noFill/>
        </p:spPr>
        <p:txBody>
          <a:bodyPr wrap="square">
            <a:spAutoFit/>
          </a:bodyPr>
          <a:lstStyle/>
          <a:p>
            <a:r>
              <a:rPr lang="en-US" sz="1200" b="1" i="0">
                <a:effectLst/>
                <a:latin typeface="Söhne"/>
              </a:rPr>
              <a:t>Traffic Congestion Mitigation</a:t>
            </a:r>
            <a:r>
              <a:rPr lang="en-US" sz="1200" b="1"/>
              <a:t>: </a:t>
            </a:r>
            <a:r>
              <a:rPr lang="en-US" sz="1200"/>
              <a:t>Uber should focus the communication and collaboration with city planners and local governments, to help to reduce traffic congestion and environmental damage through ride-sharing incentives and urban mobility planning.</a:t>
            </a:r>
            <a:endParaRPr lang="en-US" sz="1200" b="1"/>
          </a:p>
        </p:txBody>
      </p:sp>
      <p:cxnSp>
        <p:nvCxnSpPr>
          <p:cNvPr id="25" name="Gerader Verbinder 24">
            <a:extLst>
              <a:ext uri="{FF2B5EF4-FFF2-40B4-BE49-F238E27FC236}">
                <a16:creationId xmlns:a16="http://schemas.microsoft.com/office/drawing/2014/main" id="{93041E81-22EC-4C96-80F2-066935CF7FE1}"/>
              </a:ext>
            </a:extLst>
          </p:cNvPr>
          <p:cNvCxnSpPr>
            <a:cxnSpLocks/>
          </p:cNvCxnSpPr>
          <p:nvPr/>
        </p:nvCxnSpPr>
        <p:spPr>
          <a:xfrm>
            <a:off x="4644048" y="2667146"/>
            <a:ext cx="0" cy="3669369"/>
          </a:xfrm>
          <a:prstGeom prst="line">
            <a:avLst/>
          </a:prstGeom>
        </p:spPr>
        <p:style>
          <a:lnRef idx="1">
            <a:schemeClr val="dk1"/>
          </a:lnRef>
          <a:fillRef idx="0">
            <a:schemeClr val="dk1"/>
          </a:fillRef>
          <a:effectRef idx="0">
            <a:schemeClr val="dk1"/>
          </a:effectRef>
          <a:fontRef idx="minor">
            <a:schemeClr val="tx1"/>
          </a:fontRef>
        </p:style>
      </p:cxnSp>
      <p:sp>
        <p:nvSpPr>
          <p:cNvPr id="27" name="Textfeld 26">
            <a:extLst>
              <a:ext uri="{FF2B5EF4-FFF2-40B4-BE49-F238E27FC236}">
                <a16:creationId xmlns:a16="http://schemas.microsoft.com/office/drawing/2014/main" id="{A3F88A9F-D274-6923-53AB-958C1A3C3312}"/>
              </a:ext>
            </a:extLst>
          </p:cNvPr>
          <p:cNvSpPr txBox="1"/>
          <p:nvPr/>
        </p:nvSpPr>
        <p:spPr>
          <a:xfrm>
            <a:off x="4866373" y="3109078"/>
            <a:ext cx="3917630" cy="830997"/>
          </a:xfrm>
          <a:prstGeom prst="rect">
            <a:avLst/>
          </a:prstGeom>
          <a:noFill/>
        </p:spPr>
        <p:txBody>
          <a:bodyPr wrap="square">
            <a:spAutoFit/>
          </a:bodyPr>
          <a:lstStyle/>
          <a:p>
            <a:r>
              <a:rPr lang="en-US" sz="1200" b="1"/>
              <a:t>Growth Strategy: </a:t>
            </a:r>
            <a:r>
              <a:rPr lang="en-US" sz="1200"/>
              <a:t>In recent Interviews Khosrowshahi talked about Ubers shift from prioritizing growth at all cost to achieving profitable and sustainable growth, referring to the commitments the company made to different areas.</a:t>
            </a:r>
            <a:endParaRPr lang="en-US" sz="1200" b="1"/>
          </a:p>
        </p:txBody>
      </p:sp>
      <p:sp>
        <p:nvSpPr>
          <p:cNvPr id="28" name="Textfeld 27">
            <a:extLst>
              <a:ext uri="{FF2B5EF4-FFF2-40B4-BE49-F238E27FC236}">
                <a16:creationId xmlns:a16="http://schemas.microsoft.com/office/drawing/2014/main" id="{2AE60127-9933-30CD-7619-5A095B802F79}"/>
              </a:ext>
            </a:extLst>
          </p:cNvPr>
          <p:cNvSpPr txBox="1"/>
          <p:nvPr/>
        </p:nvSpPr>
        <p:spPr>
          <a:xfrm>
            <a:off x="4799186" y="2673659"/>
            <a:ext cx="3917630" cy="307777"/>
          </a:xfrm>
          <a:prstGeom prst="rect">
            <a:avLst/>
          </a:prstGeom>
          <a:noFill/>
        </p:spPr>
        <p:txBody>
          <a:bodyPr wrap="square">
            <a:spAutoFit/>
          </a:bodyPr>
          <a:lstStyle/>
          <a:p>
            <a:r>
              <a:rPr lang="en-US" sz="1400" b="1"/>
              <a:t>Insights Leadership Stakeholder Communication:</a:t>
            </a:r>
          </a:p>
        </p:txBody>
      </p:sp>
      <p:sp>
        <p:nvSpPr>
          <p:cNvPr id="32" name="Textfeld 31">
            <a:extLst>
              <a:ext uri="{FF2B5EF4-FFF2-40B4-BE49-F238E27FC236}">
                <a16:creationId xmlns:a16="http://schemas.microsoft.com/office/drawing/2014/main" id="{75A9BBAB-D432-C3D8-A8F0-A3642A02E6E6}"/>
              </a:ext>
            </a:extLst>
          </p:cNvPr>
          <p:cNvSpPr txBox="1"/>
          <p:nvPr/>
        </p:nvSpPr>
        <p:spPr>
          <a:xfrm>
            <a:off x="4866373" y="3912943"/>
            <a:ext cx="3917630" cy="1200329"/>
          </a:xfrm>
          <a:prstGeom prst="rect">
            <a:avLst/>
          </a:prstGeom>
          <a:noFill/>
        </p:spPr>
        <p:txBody>
          <a:bodyPr wrap="square">
            <a:spAutoFit/>
          </a:bodyPr>
          <a:lstStyle/>
          <a:p>
            <a:r>
              <a:rPr lang="en-US" sz="1200" b="1"/>
              <a:t>Regulatory Environment: </a:t>
            </a:r>
            <a:r>
              <a:rPr lang="en-US" sz="1200"/>
              <a:t>Khosrowshahi highlights the importance of working with regulators to find mutually beneficial solutions. He also highlights the commitment to the social aspects of ESG through for example the commitment to provide minimum earning standards or improved health care for its drivers and employees.</a:t>
            </a:r>
            <a:r>
              <a:rPr lang="en-US" sz="1200" b="1"/>
              <a:t> </a:t>
            </a:r>
          </a:p>
        </p:txBody>
      </p:sp>
      <p:sp>
        <p:nvSpPr>
          <p:cNvPr id="33" name="Textfeld 32">
            <a:extLst>
              <a:ext uri="{FF2B5EF4-FFF2-40B4-BE49-F238E27FC236}">
                <a16:creationId xmlns:a16="http://schemas.microsoft.com/office/drawing/2014/main" id="{1CDB0C0A-4E29-BF99-61AB-F14D7A13C582}"/>
              </a:ext>
            </a:extLst>
          </p:cNvPr>
          <p:cNvSpPr txBox="1"/>
          <p:nvPr/>
        </p:nvSpPr>
        <p:spPr>
          <a:xfrm>
            <a:off x="4866373" y="5110851"/>
            <a:ext cx="3917630" cy="1015663"/>
          </a:xfrm>
          <a:prstGeom prst="rect">
            <a:avLst/>
          </a:prstGeom>
          <a:noFill/>
        </p:spPr>
        <p:txBody>
          <a:bodyPr wrap="square">
            <a:spAutoFit/>
          </a:bodyPr>
          <a:lstStyle/>
          <a:p>
            <a:r>
              <a:rPr lang="en-US" sz="1200" b="1"/>
              <a:t>Company Philosophy: </a:t>
            </a:r>
            <a:r>
              <a:rPr lang="en-US" sz="1200"/>
              <a:t>Khosrowshahi highlights Ubers mission to be a daily reliable, sustainable and affordable utility in urban life for everyone and its commitment to being a responsible and corporate citizen, aiming to do good for the world.</a:t>
            </a:r>
            <a:endParaRPr lang="en-US" sz="1200" b="1"/>
          </a:p>
        </p:txBody>
      </p:sp>
    </p:spTree>
    <p:extLst>
      <p:ext uri="{BB962C8B-B14F-4D97-AF65-F5344CB8AC3E}">
        <p14:creationId xmlns:p14="http://schemas.microsoft.com/office/powerpoint/2010/main" val="131018007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7413AF6-606B-2B87-A383-BC14B48513A8}"/>
              </a:ext>
            </a:extLst>
          </p:cNvPr>
          <p:cNvGraphicFramePr>
            <a:graphicFrameLocks noChangeAspect="1"/>
          </p:cNvGraphicFramePr>
          <p:nvPr>
            <p:custDataLst>
              <p:tags r:id="rId1"/>
            </p:custDataLst>
            <p:extLst>
              <p:ext uri="{D42A27DB-BD31-4B8C-83A1-F6EECF244321}">
                <p14:modId xmlns:p14="http://schemas.microsoft.com/office/powerpoint/2010/main" val="2598872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8" name="think-cell data - do not delete" hidden="1">
                        <a:extLst>
                          <a:ext uri="{FF2B5EF4-FFF2-40B4-BE49-F238E27FC236}">
                            <a16:creationId xmlns:a16="http://schemas.microsoft.com/office/drawing/2014/main" id="{07413AF6-606B-2B87-A383-BC14B48513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re 2"/>
          <p:cNvSpPr>
            <a:spLocks noGrp="1"/>
          </p:cNvSpPr>
          <p:nvPr>
            <p:ph type="title"/>
          </p:nvPr>
        </p:nvSpPr>
        <p:spPr/>
        <p:txBody>
          <a:bodyPr vert="horz">
            <a:noAutofit/>
          </a:bodyPr>
          <a:lstStyle/>
          <a:p>
            <a:r>
              <a:rPr lang="en-US"/>
              <a:t>Clear Communication in different Situations and with different Stakeholders is crucial to be a responsible corporate citizen</a:t>
            </a:r>
          </a:p>
        </p:txBody>
      </p:sp>
      <p:sp>
        <p:nvSpPr>
          <p:cNvPr id="4" name="Inhaltsplatzhalter 3">
            <a:extLst>
              <a:ext uri="{FF2B5EF4-FFF2-40B4-BE49-F238E27FC236}">
                <a16:creationId xmlns:a16="http://schemas.microsoft.com/office/drawing/2014/main" id="{7467BC07-73BC-D70F-1024-47D0849911C0}"/>
              </a:ext>
            </a:extLst>
          </p:cNvPr>
          <p:cNvSpPr>
            <a:spLocks noGrp="1"/>
          </p:cNvSpPr>
          <p:nvPr>
            <p:ph idx="10"/>
          </p:nvPr>
        </p:nvSpPr>
        <p:spPr/>
        <p:txBody>
          <a:bodyPr/>
          <a:lstStyle/>
          <a:p>
            <a:r>
              <a:rPr lang="en-US"/>
              <a:t>Dara Khosrowshahi Communication Principles</a:t>
            </a:r>
            <a:endParaRPr lang="en-US">
              <a:solidFill>
                <a:schemeClr val="accent4"/>
              </a:solidFill>
            </a:endParaRPr>
          </a:p>
        </p:txBody>
      </p:sp>
      <p:sp>
        <p:nvSpPr>
          <p:cNvPr id="5" name="Inhaltsplatzhalter 4">
            <a:extLst>
              <a:ext uri="{FF2B5EF4-FFF2-40B4-BE49-F238E27FC236}">
                <a16:creationId xmlns:a16="http://schemas.microsoft.com/office/drawing/2014/main" id="{8AC33134-E36C-08C6-818E-2DE1BA2E6641}"/>
              </a:ext>
            </a:extLst>
          </p:cNvPr>
          <p:cNvSpPr>
            <a:spLocks noGrp="1"/>
          </p:cNvSpPr>
          <p:nvPr>
            <p:ph idx="11"/>
          </p:nvPr>
        </p:nvSpPr>
        <p:spPr/>
        <p:txBody>
          <a:bodyPr/>
          <a:lstStyle/>
          <a:p>
            <a:r>
              <a:rPr lang="en-US">
                <a:hlinkClick r:id="rId7"/>
              </a:rPr>
              <a:t>Crisis Communication Plan</a:t>
            </a:r>
            <a:r>
              <a:rPr lang="en-US"/>
              <a:t>, </a:t>
            </a:r>
            <a:r>
              <a:rPr lang="en-US">
                <a:hlinkClick r:id="rId8"/>
              </a:rPr>
              <a:t>ProvokeMedia</a:t>
            </a:r>
            <a:r>
              <a:rPr lang="en-US"/>
              <a:t>, </a:t>
            </a:r>
            <a:r>
              <a:rPr lang="en-US">
                <a:hlinkClick r:id="rId9"/>
              </a:rPr>
              <a:t>Forbes 2017</a:t>
            </a:r>
            <a:endParaRPr lang="en-US"/>
          </a:p>
        </p:txBody>
      </p:sp>
      <p:sp>
        <p:nvSpPr>
          <p:cNvPr id="6" name="Inhaltsplatzhalter 5">
            <a:extLst>
              <a:ext uri="{FF2B5EF4-FFF2-40B4-BE49-F238E27FC236}">
                <a16:creationId xmlns:a16="http://schemas.microsoft.com/office/drawing/2014/main" id="{1FEF047D-5790-D395-CD42-BF7396C785D3}"/>
              </a:ext>
            </a:extLst>
          </p:cNvPr>
          <p:cNvSpPr>
            <a:spLocks noGrp="1"/>
          </p:cNvSpPr>
          <p:nvPr>
            <p:ph idx="12"/>
          </p:nvPr>
        </p:nvSpPr>
        <p:spPr/>
        <p:txBody>
          <a:bodyPr/>
          <a:lstStyle/>
          <a:p>
            <a:r>
              <a:rPr lang="en-US"/>
              <a:t>Stakeholder</a:t>
            </a:r>
          </a:p>
        </p:txBody>
      </p:sp>
      <p:sp>
        <p:nvSpPr>
          <p:cNvPr id="42" name="TextBox 7"/>
          <p:cNvSpPr txBox="1"/>
          <p:nvPr/>
        </p:nvSpPr>
        <p:spPr>
          <a:xfrm>
            <a:off x="3303000" y="4702285"/>
            <a:ext cx="2538000" cy="830997"/>
          </a:xfrm>
          <a:prstGeom prst="rect">
            <a:avLst/>
          </a:prstGeom>
          <a:noFill/>
        </p:spPr>
        <p:txBody>
          <a:bodyPr wrap="square" rtlCol="0" anchor="ctr">
            <a:spAutoFit/>
          </a:bodyPr>
          <a:lstStyle/>
          <a:p>
            <a:pPr algn="ctr"/>
            <a:r>
              <a:rPr lang="en-US" sz="1200"/>
              <a:t>Clear commitment to safety and sustainability of the company. With a strong focus on Driver, Customer and Environmental Safety and benefits</a:t>
            </a:r>
          </a:p>
        </p:txBody>
      </p:sp>
      <p:sp>
        <p:nvSpPr>
          <p:cNvPr id="43" name="TextBox 7 - 2"/>
          <p:cNvSpPr txBox="1"/>
          <p:nvPr/>
        </p:nvSpPr>
        <p:spPr>
          <a:xfrm>
            <a:off x="6185509" y="4609951"/>
            <a:ext cx="2538000" cy="1015663"/>
          </a:xfrm>
          <a:prstGeom prst="rect">
            <a:avLst/>
          </a:prstGeom>
          <a:noFill/>
        </p:spPr>
        <p:txBody>
          <a:bodyPr wrap="square" rtlCol="0" anchor="ctr">
            <a:spAutoFit/>
          </a:bodyPr>
          <a:lstStyle/>
          <a:p>
            <a:pPr algn="ctr"/>
            <a:r>
              <a:rPr lang="en-US" sz="1200"/>
              <a:t>Emphasizing on integrity at the core of every decision for example through the proactive addressing of incidents to determine causes and to be prepared for backlash.</a:t>
            </a:r>
          </a:p>
        </p:txBody>
      </p:sp>
      <p:sp>
        <p:nvSpPr>
          <p:cNvPr id="44" name="ZoneTexte 11">
            <a:extLst>
              <a:ext uri="{FF2B5EF4-FFF2-40B4-BE49-F238E27FC236}">
                <a16:creationId xmlns:a16="http://schemas.microsoft.com/office/drawing/2014/main" id="{74A014B2-D5F4-43AC-89F4-8D11C6BEA7C3}"/>
              </a:ext>
            </a:extLst>
          </p:cNvPr>
          <p:cNvSpPr txBox="1"/>
          <p:nvPr/>
        </p:nvSpPr>
        <p:spPr>
          <a:xfrm>
            <a:off x="726703" y="4096174"/>
            <a:ext cx="1925592" cy="300082"/>
          </a:xfrm>
          <a:prstGeom prst="rect">
            <a:avLst/>
          </a:prstGeom>
          <a:noFill/>
        </p:spPr>
        <p:txBody>
          <a:bodyPr wrap="none" rtlCol="0">
            <a:spAutoFit/>
          </a:bodyPr>
          <a:lstStyle/>
          <a:p>
            <a:pPr algn="ctr"/>
            <a:r>
              <a:rPr lang="en-US" sz="1350" b="1">
                <a:solidFill>
                  <a:schemeClr val="accent1"/>
                </a:solidFill>
              </a:rPr>
              <a:t>Internal Communication</a:t>
            </a:r>
          </a:p>
        </p:txBody>
      </p:sp>
      <p:sp>
        <p:nvSpPr>
          <p:cNvPr id="45" name="ZoneTexte 12">
            <a:extLst>
              <a:ext uri="{FF2B5EF4-FFF2-40B4-BE49-F238E27FC236}">
                <a16:creationId xmlns:a16="http://schemas.microsoft.com/office/drawing/2014/main" id="{EBBCE548-B7DF-4268-9D66-F44618ADD21E}"/>
              </a:ext>
            </a:extLst>
          </p:cNvPr>
          <p:cNvSpPr txBox="1"/>
          <p:nvPr/>
        </p:nvSpPr>
        <p:spPr>
          <a:xfrm>
            <a:off x="3595583" y="4096174"/>
            <a:ext cx="1952842" cy="300082"/>
          </a:xfrm>
          <a:prstGeom prst="rect">
            <a:avLst/>
          </a:prstGeom>
          <a:noFill/>
        </p:spPr>
        <p:txBody>
          <a:bodyPr wrap="none" rtlCol="0">
            <a:spAutoFit/>
          </a:bodyPr>
          <a:lstStyle/>
          <a:p>
            <a:pPr algn="ctr"/>
            <a:r>
              <a:rPr lang="en-US" sz="1350" b="1">
                <a:solidFill>
                  <a:schemeClr val="accent2"/>
                </a:solidFill>
              </a:rPr>
              <a:t>External Communication</a:t>
            </a:r>
          </a:p>
        </p:txBody>
      </p:sp>
      <p:sp>
        <p:nvSpPr>
          <p:cNvPr id="46" name="ZoneTexte 13">
            <a:extLst>
              <a:ext uri="{FF2B5EF4-FFF2-40B4-BE49-F238E27FC236}">
                <a16:creationId xmlns:a16="http://schemas.microsoft.com/office/drawing/2014/main" id="{3A6AFEF1-6947-49FC-BED0-7578783C8312}"/>
              </a:ext>
            </a:extLst>
          </p:cNvPr>
          <p:cNvSpPr txBox="1"/>
          <p:nvPr/>
        </p:nvSpPr>
        <p:spPr>
          <a:xfrm>
            <a:off x="6585236" y="4096174"/>
            <a:ext cx="1738553" cy="300082"/>
          </a:xfrm>
          <a:prstGeom prst="rect">
            <a:avLst/>
          </a:prstGeom>
          <a:noFill/>
        </p:spPr>
        <p:txBody>
          <a:bodyPr wrap="none" rtlCol="0">
            <a:spAutoFit/>
          </a:bodyPr>
          <a:lstStyle/>
          <a:p>
            <a:pPr algn="ctr"/>
            <a:r>
              <a:rPr lang="en-US" sz="1350" b="1">
                <a:solidFill>
                  <a:schemeClr val="accent3"/>
                </a:solidFill>
              </a:rPr>
              <a:t>Crisis Communication</a:t>
            </a:r>
          </a:p>
        </p:txBody>
      </p:sp>
      <p:cxnSp>
        <p:nvCxnSpPr>
          <p:cNvPr id="65" name="Connecteur droit 5">
            <a:extLst>
              <a:ext uri="{FF2B5EF4-FFF2-40B4-BE49-F238E27FC236}">
                <a16:creationId xmlns:a16="http://schemas.microsoft.com/office/drawing/2014/main" id="{62F79C51-AB18-42D6-90C8-1402EE034DB0}"/>
              </a:ext>
            </a:extLst>
          </p:cNvPr>
          <p:cNvCxnSpPr/>
          <p:nvPr/>
        </p:nvCxnSpPr>
        <p:spPr>
          <a:xfrm>
            <a:off x="3130746" y="3325548"/>
            <a:ext cx="0" cy="2789139"/>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72" name="Connecteur droit 5">
            <a:extLst>
              <a:ext uri="{FF2B5EF4-FFF2-40B4-BE49-F238E27FC236}">
                <a16:creationId xmlns:a16="http://schemas.microsoft.com/office/drawing/2014/main" id="{1DF9FBC0-BE8E-4C99-A277-598238E05D19}"/>
              </a:ext>
            </a:extLst>
          </p:cNvPr>
          <p:cNvCxnSpPr/>
          <p:nvPr/>
        </p:nvCxnSpPr>
        <p:spPr>
          <a:xfrm>
            <a:off x="6013255" y="3325548"/>
            <a:ext cx="0" cy="2789139"/>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F111D800-C56B-C2FF-B089-9F4F21DED8DD}"/>
              </a:ext>
            </a:extLst>
          </p:cNvPr>
          <p:cNvSpPr txBox="1"/>
          <p:nvPr/>
        </p:nvSpPr>
        <p:spPr>
          <a:xfrm>
            <a:off x="364715" y="1982652"/>
            <a:ext cx="8563379" cy="646331"/>
          </a:xfrm>
          <a:prstGeom prst="rect">
            <a:avLst/>
          </a:prstGeom>
          <a:noFill/>
        </p:spPr>
        <p:txBody>
          <a:bodyPr wrap="square">
            <a:spAutoFit/>
          </a:bodyPr>
          <a:lstStyle/>
          <a:p>
            <a:r>
              <a:rPr lang="en-US" sz="1200"/>
              <a:t>Dara Khosrowshahi's leadership approach aligns with Democratic and Coaching styles based on Goleman, focusing on a clear internal vision for trust-building and external commitments to safety and sustainability. In crisis communication, he prioritizes integrity and proactive solutions.</a:t>
            </a:r>
            <a:endParaRPr lang="en-US" sz="1100" b="1"/>
          </a:p>
        </p:txBody>
      </p:sp>
      <p:grpSp>
        <p:nvGrpSpPr>
          <p:cNvPr id="2" name="Connections" descr="{&quot;Key&quot;:&quot;POWER_USER_SHAPE_ICON&quot;,&quot;Value&quot;:&quot;POWER_USER_SHAPE_ICON_STYLE_1&quot;}">
            <a:extLst>
              <a:ext uri="{FF2B5EF4-FFF2-40B4-BE49-F238E27FC236}">
                <a16:creationId xmlns:a16="http://schemas.microsoft.com/office/drawing/2014/main" id="{5CF298E2-C56B-4A0E-3037-11BF05C9BB4F}"/>
              </a:ext>
            </a:extLst>
          </p:cNvPr>
          <p:cNvGrpSpPr>
            <a:grpSpLocks noChangeAspect="1"/>
          </p:cNvGrpSpPr>
          <p:nvPr/>
        </p:nvGrpSpPr>
        <p:grpSpPr>
          <a:xfrm>
            <a:off x="795721" y="2502895"/>
            <a:ext cx="1650901" cy="2273553"/>
            <a:chOff x="2757700" y="670294"/>
            <a:chExt cx="1549585" cy="2134024"/>
          </a:xfrm>
        </p:grpSpPr>
        <p:sp>
          <p:nvSpPr>
            <p:cNvPr id="7" name="Arc 302">
              <a:extLst>
                <a:ext uri="{FF2B5EF4-FFF2-40B4-BE49-F238E27FC236}">
                  <a16:creationId xmlns:a16="http://schemas.microsoft.com/office/drawing/2014/main" id="{FBD7427F-17E6-3029-590D-2B4601DCCF21}"/>
                </a:ext>
              </a:extLst>
            </p:cNvPr>
            <p:cNvSpPr/>
            <p:nvPr/>
          </p:nvSpPr>
          <p:spPr>
            <a:xfrm>
              <a:off x="3072209" y="1883939"/>
              <a:ext cx="920379" cy="920379"/>
            </a:xfrm>
            <a:prstGeom prst="arc">
              <a:avLst>
                <a:gd name="adj1" fmla="val 17464626"/>
                <a:gd name="adj2" fmla="val 17899090"/>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Arc 303">
              <a:extLst>
                <a:ext uri="{FF2B5EF4-FFF2-40B4-BE49-F238E27FC236}">
                  <a16:creationId xmlns:a16="http://schemas.microsoft.com/office/drawing/2014/main" id="{B1CA1701-ABF4-E560-197A-F9EB58FEDE74}"/>
                </a:ext>
              </a:extLst>
            </p:cNvPr>
            <p:cNvSpPr/>
            <p:nvPr/>
          </p:nvSpPr>
          <p:spPr>
            <a:xfrm>
              <a:off x="3072209" y="1883939"/>
              <a:ext cx="920379" cy="920379"/>
            </a:xfrm>
            <a:prstGeom prst="arc">
              <a:avLst>
                <a:gd name="adj1" fmla="val 14600188"/>
                <a:gd name="adj2" fmla="val 16747057"/>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Oval 1408">
              <a:extLst>
                <a:ext uri="{FF2B5EF4-FFF2-40B4-BE49-F238E27FC236}">
                  <a16:creationId xmlns:a16="http://schemas.microsoft.com/office/drawing/2014/main" id="{DC4F11C9-6FCF-B09C-17F8-F41AF12E2BAC}"/>
                </a:ext>
              </a:extLst>
            </p:cNvPr>
            <p:cNvSpPr>
              <a:spLocks noChangeArrowheads="1"/>
            </p:cNvSpPr>
            <p:nvPr/>
          </p:nvSpPr>
          <p:spPr bwMode="auto">
            <a:xfrm>
              <a:off x="3248025" y="1444625"/>
              <a:ext cx="571500" cy="58578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Line 1412">
              <a:extLst>
                <a:ext uri="{FF2B5EF4-FFF2-40B4-BE49-F238E27FC236}">
                  <a16:creationId xmlns:a16="http://schemas.microsoft.com/office/drawing/2014/main" id="{01E32B21-E0F0-FC8D-AE7E-D7F0A2E6A722}"/>
                </a:ext>
              </a:extLst>
            </p:cNvPr>
            <p:cNvSpPr>
              <a:spLocks noChangeShapeType="1"/>
            </p:cNvSpPr>
            <p:nvPr/>
          </p:nvSpPr>
          <p:spPr bwMode="auto">
            <a:xfrm>
              <a:off x="3436937" y="1736724"/>
              <a:ext cx="382587" cy="1"/>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Line 1413">
              <a:extLst>
                <a:ext uri="{FF2B5EF4-FFF2-40B4-BE49-F238E27FC236}">
                  <a16:creationId xmlns:a16="http://schemas.microsoft.com/office/drawing/2014/main" id="{291FECAD-BC6E-14A4-D841-2012FE3C3909}"/>
                </a:ext>
              </a:extLst>
            </p:cNvPr>
            <p:cNvSpPr>
              <a:spLocks noChangeShapeType="1"/>
            </p:cNvSpPr>
            <p:nvPr/>
          </p:nvSpPr>
          <p:spPr bwMode="auto">
            <a:xfrm flipH="1">
              <a:off x="3533774" y="1444625"/>
              <a:ext cx="1" cy="9525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Oval 1415">
              <a:extLst>
                <a:ext uri="{FF2B5EF4-FFF2-40B4-BE49-F238E27FC236}">
                  <a16:creationId xmlns:a16="http://schemas.microsoft.com/office/drawing/2014/main" id="{BABEBD72-082F-630A-609B-DD49A7906F8A}"/>
                </a:ext>
              </a:extLst>
            </p:cNvPr>
            <p:cNvSpPr>
              <a:spLocks noChangeArrowheads="1"/>
            </p:cNvSpPr>
            <p:nvPr/>
          </p:nvSpPr>
          <p:spPr bwMode="auto">
            <a:xfrm>
              <a:off x="3344863" y="1689100"/>
              <a:ext cx="92075" cy="95250"/>
            </a:xfrm>
            <a:prstGeom prst="ellips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Oval 1417">
              <a:extLst>
                <a:ext uri="{FF2B5EF4-FFF2-40B4-BE49-F238E27FC236}">
                  <a16:creationId xmlns:a16="http://schemas.microsoft.com/office/drawing/2014/main" id="{724C8B84-B3A4-59AB-A696-18B174C7FFEA}"/>
                </a:ext>
              </a:extLst>
            </p:cNvPr>
            <p:cNvSpPr>
              <a:spLocks noChangeArrowheads="1"/>
            </p:cNvSpPr>
            <p:nvPr/>
          </p:nvSpPr>
          <p:spPr bwMode="auto">
            <a:xfrm>
              <a:off x="3606800" y="1849438"/>
              <a:ext cx="92075" cy="95250"/>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Oval 1419">
              <a:extLst>
                <a:ext uri="{FF2B5EF4-FFF2-40B4-BE49-F238E27FC236}">
                  <a16:creationId xmlns:a16="http://schemas.microsoft.com/office/drawing/2014/main" id="{95863D5A-4B2B-694B-9901-EC7E1C7ACCEF}"/>
                </a:ext>
              </a:extLst>
            </p:cNvPr>
            <p:cNvSpPr>
              <a:spLocks noChangeArrowheads="1"/>
            </p:cNvSpPr>
            <p:nvPr/>
          </p:nvSpPr>
          <p:spPr bwMode="auto">
            <a:xfrm>
              <a:off x="3487738" y="1543050"/>
              <a:ext cx="92075" cy="95250"/>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Line 1412">
              <a:extLst>
                <a:ext uri="{FF2B5EF4-FFF2-40B4-BE49-F238E27FC236}">
                  <a16:creationId xmlns:a16="http://schemas.microsoft.com/office/drawing/2014/main" id="{04230636-C40B-3873-FAE5-3E649B5BA2DA}"/>
                </a:ext>
              </a:extLst>
            </p:cNvPr>
            <p:cNvSpPr>
              <a:spLocks noChangeShapeType="1"/>
            </p:cNvSpPr>
            <p:nvPr/>
          </p:nvSpPr>
          <p:spPr bwMode="auto">
            <a:xfrm flipV="1">
              <a:off x="3248025" y="1736724"/>
              <a:ext cx="92075" cy="1"/>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Line 1413">
              <a:extLst>
                <a:ext uri="{FF2B5EF4-FFF2-40B4-BE49-F238E27FC236}">
                  <a16:creationId xmlns:a16="http://schemas.microsoft.com/office/drawing/2014/main" id="{F5E43307-6517-A58D-6719-D1C2D381B065}"/>
                </a:ext>
              </a:extLst>
            </p:cNvPr>
            <p:cNvSpPr>
              <a:spLocks noChangeShapeType="1"/>
            </p:cNvSpPr>
            <p:nvPr/>
          </p:nvSpPr>
          <p:spPr bwMode="auto">
            <a:xfrm>
              <a:off x="3533775" y="1638177"/>
              <a:ext cx="0" cy="39223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Oval 1415">
              <a:extLst>
                <a:ext uri="{FF2B5EF4-FFF2-40B4-BE49-F238E27FC236}">
                  <a16:creationId xmlns:a16="http://schemas.microsoft.com/office/drawing/2014/main" id="{D681D5E2-A472-FD9F-799D-409D560EB49F}"/>
                </a:ext>
              </a:extLst>
            </p:cNvPr>
            <p:cNvSpPr>
              <a:spLocks noChangeArrowheads="1"/>
            </p:cNvSpPr>
            <p:nvPr/>
          </p:nvSpPr>
          <p:spPr bwMode="auto">
            <a:xfrm>
              <a:off x="3344863" y="1689100"/>
              <a:ext cx="92075" cy="95250"/>
            </a:xfrm>
            <a:prstGeom prst="ellips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Arc 313">
              <a:extLst>
                <a:ext uri="{FF2B5EF4-FFF2-40B4-BE49-F238E27FC236}">
                  <a16:creationId xmlns:a16="http://schemas.microsoft.com/office/drawing/2014/main" id="{EC234362-19B1-9A82-2003-243584CBE356}"/>
                </a:ext>
              </a:extLst>
            </p:cNvPr>
            <p:cNvSpPr/>
            <p:nvPr/>
          </p:nvSpPr>
          <p:spPr>
            <a:xfrm>
              <a:off x="3386906" y="1273731"/>
              <a:ext cx="920379" cy="920379"/>
            </a:xfrm>
            <a:prstGeom prst="arc">
              <a:avLst>
                <a:gd name="adj1" fmla="val 11136032"/>
                <a:gd name="adj2" fmla="val 13122483"/>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Arc 314">
              <a:extLst>
                <a:ext uri="{FF2B5EF4-FFF2-40B4-BE49-F238E27FC236}">
                  <a16:creationId xmlns:a16="http://schemas.microsoft.com/office/drawing/2014/main" id="{2329ADBB-898D-D5D2-2323-5380AF084F21}"/>
                </a:ext>
              </a:extLst>
            </p:cNvPr>
            <p:cNvSpPr/>
            <p:nvPr/>
          </p:nvSpPr>
          <p:spPr>
            <a:xfrm>
              <a:off x="3386906" y="1273731"/>
              <a:ext cx="920379" cy="920379"/>
            </a:xfrm>
            <a:prstGeom prst="arc">
              <a:avLst>
                <a:gd name="adj1" fmla="val 8421100"/>
                <a:gd name="adj2" fmla="val 10382316"/>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Arc 315">
              <a:extLst>
                <a:ext uri="{FF2B5EF4-FFF2-40B4-BE49-F238E27FC236}">
                  <a16:creationId xmlns:a16="http://schemas.microsoft.com/office/drawing/2014/main" id="{5399BC02-EFA0-9E61-C1D3-19CB92C44390}"/>
                </a:ext>
              </a:extLst>
            </p:cNvPr>
            <p:cNvSpPr/>
            <p:nvPr/>
          </p:nvSpPr>
          <p:spPr>
            <a:xfrm flipH="1">
              <a:off x="2757700" y="1286061"/>
              <a:ext cx="920379" cy="920379"/>
            </a:xfrm>
            <a:prstGeom prst="arc">
              <a:avLst>
                <a:gd name="adj1" fmla="val 10050938"/>
                <a:gd name="adj2" fmla="val 13232858"/>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rc 316">
              <a:extLst>
                <a:ext uri="{FF2B5EF4-FFF2-40B4-BE49-F238E27FC236}">
                  <a16:creationId xmlns:a16="http://schemas.microsoft.com/office/drawing/2014/main" id="{58812D48-ED19-09D1-3176-16272F32BFFE}"/>
                </a:ext>
              </a:extLst>
            </p:cNvPr>
            <p:cNvSpPr/>
            <p:nvPr/>
          </p:nvSpPr>
          <p:spPr>
            <a:xfrm flipH="1">
              <a:off x="2757700" y="1286061"/>
              <a:ext cx="920379" cy="920379"/>
            </a:xfrm>
            <a:prstGeom prst="arc">
              <a:avLst>
                <a:gd name="adj1" fmla="val 8574268"/>
                <a:gd name="adj2" fmla="val 9283416"/>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Arc 317">
              <a:extLst>
                <a:ext uri="{FF2B5EF4-FFF2-40B4-BE49-F238E27FC236}">
                  <a16:creationId xmlns:a16="http://schemas.microsoft.com/office/drawing/2014/main" id="{EA1A6378-C14C-8240-26A3-109960CCDF15}"/>
                </a:ext>
              </a:extLst>
            </p:cNvPr>
            <p:cNvSpPr/>
            <p:nvPr/>
          </p:nvSpPr>
          <p:spPr>
            <a:xfrm flipH="1">
              <a:off x="3072209" y="670294"/>
              <a:ext cx="920379" cy="920379"/>
            </a:xfrm>
            <a:prstGeom prst="arc">
              <a:avLst>
                <a:gd name="adj1" fmla="val 3811302"/>
                <a:gd name="adj2" fmla="val 5104727"/>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Arc 318">
              <a:extLst>
                <a:ext uri="{FF2B5EF4-FFF2-40B4-BE49-F238E27FC236}">
                  <a16:creationId xmlns:a16="http://schemas.microsoft.com/office/drawing/2014/main" id="{8F96D4A7-90CE-72B0-676C-7D4A399E6FF5}"/>
                </a:ext>
              </a:extLst>
            </p:cNvPr>
            <p:cNvSpPr/>
            <p:nvPr/>
          </p:nvSpPr>
          <p:spPr>
            <a:xfrm flipH="1">
              <a:off x="3072209" y="670294"/>
              <a:ext cx="920379" cy="920379"/>
            </a:xfrm>
            <a:prstGeom prst="arc">
              <a:avLst>
                <a:gd name="adj1" fmla="val 5765953"/>
                <a:gd name="adj2" fmla="val 7010808"/>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6" name="Connection3" descr="{&quot;Key&quot;:&quot;POWER_USER_SHAPE_ICON&quot;,&quot;Value&quot;:&quot;POWER_USER_SHAPE_ICON_STYLE_1&quot;}">
            <a:extLst>
              <a:ext uri="{FF2B5EF4-FFF2-40B4-BE49-F238E27FC236}">
                <a16:creationId xmlns:a16="http://schemas.microsoft.com/office/drawing/2014/main" id="{FC18EEF3-8F0F-DE8A-80EB-7099097A8A95}"/>
              </a:ext>
            </a:extLst>
          </p:cNvPr>
          <p:cNvGrpSpPr>
            <a:grpSpLocks noChangeAspect="1"/>
          </p:cNvGrpSpPr>
          <p:nvPr/>
        </p:nvGrpSpPr>
        <p:grpSpPr>
          <a:xfrm>
            <a:off x="4191361" y="3204244"/>
            <a:ext cx="764790" cy="762000"/>
            <a:chOff x="7158039" y="1946276"/>
            <a:chExt cx="434975" cy="433388"/>
          </a:xfrm>
          <a:solidFill>
            <a:schemeClr val="accent2"/>
          </a:solidFill>
        </p:grpSpPr>
        <p:sp>
          <p:nvSpPr>
            <p:cNvPr id="27" name="Freeform 564">
              <a:extLst>
                <a:ext uri="{FF2B5EF4-FFF2-40B4-BE49-F238E27FC236}">
                  <a16:creationId xmlns:a16="http://schemas.microsoft.com/office/drawing/2014/main" id="{D254E35B-C97A-690D-BC02-2F2A8F58F7F2}"/>
                </a:ext>
              </a:extLst>
            </p:cNvPr>
            <p:cNvSpPr>
              <a:spLocks noEditPoints="1"/>
            </p:cNvSpPr>
            <p:nvPr/>
          </p:nvSpPr>
          <p:spPr bwMode="auto">
            <a:xfrm>
              <a:off x="7218364" y="2005014"/>
              <a:ext cx="317500" cy="317500"/>
            </a:xfrm>
            <a:custGeom>
              <a:avLst/>
              <a:gdLst>
                <a:gd name="T0" fmla="*/ 208 w 416"/>
                <a:gd name="T1" fmla="*/ 16 h 416"/>
                <a:gd name="T2" fmla="*/ 16 w 416"/>
                <a:gd name="T3" fmla="*/ 208 h 416"/>
                <a:gd name="T4" fmla="*/ 208 w 416"/>
                <a:gd name="T5" fmla="*/ 399 h 416"/>
                <a:gd name="T6" fmla="*/ 399 w 416"/>
                <a:gd name="T7" fmla="*/ 208 h 416"/>
                <a:gd name="T8" fmla="*/ 208 w 416"/>
                <a:gd name="T9" fmla="*/ 16 h 416"/>
                <a:gd name="T10" fmla="*/ 208 w 416"/>
                <a:gd name="T11" fmla="*/ 416 h 416"/>
                <a:gd name="T12" fmla="*/ 0 w 416"/>
                <a:gd name="T13" fmla="*/ 208 h 416"/>
                <a:gd name="T14" fmla="*/ 208 w 416"/>
                <a:gd name="T15" fmla="*/ 0 h 416"/>
                <a:gd name="T16" fmla="*/ 416 w 416"/>
                <a:gd name="T17" fmla="*/ 208 h 416"/>
                <a:gd name="T18" fmla="*/ 208 w 416"/>
                <a:gd name="T19"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6" h="416">
                  <a:moveTo>
                    <a:pt x="208" y="16"/>
                  </a:moveTo>
                  <a:cubicBezTo>
                    <a:pt x="102" y="16"/>
                    <a:pt x="16" y="102"/>
                    <a:pt x="16" y="208"/>
                  </a:cubicBezTo>
                  <a:cubicBezTo>
                    <a:pt x="16" y="313"/>
                    <a:pt x="102" y="399"/>
                    <a:pt x="208" y="399"/>
                  </a:cubicBezTo>
                  <a:cubicBezTo>
                    <a:pt x="313" y="399"/>
                    <a:pt x="399" y="313"/>
                    <a:pt x="399" y="208"/>
                  </a:cubicBezTo>
                  <a:cubicBezTo>
                    <a:pt x="399" y="102"/>
                    <a:pt x="313" y="16"/>
                    <a:pt x="208" y="16"/>
                  </a:cubicBezTo>
                  <a:close/>
                  <a:moveTo>
                    <a:pt x="208" y="416"/>
                  </a:moveTo>
                  <a:cubicBezTo>
                    <a:pt x="93" y="416"/>
                    <a:pt x="0" y="322"/>
                    <a:pt x="0" y="208"/>
                  </a:cubicBezTo>
                  <a:cubicBezTo>
                    <a:pt x="0" y="93"/>
                    <a:pt x="93" y="0"/>
                    <a:pt x="208" y="0"/>
                  </a:cubicBezTo>
                  <a:cubicBezTo>
                    <a:pt x="323" y="0"/>
                    <a:pt x="416" y="93"/>
                    <a:pt x="416" y="208"/>
                  </a:cubicBezTo>
                  <a:cubicBezTo>
                    <a:pt x="416" y="322"/>
                    <a:pt x="323" y="416"/>
                    <a:pt x="208" y="4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565">
              <a:extLst>
                <a:ext uri="{FF2B5EF4-FFF2-40B4-BE49-F238E27FC236}">
                  <a16:creationId xmlns:a16="http://schemas.microsoft.com/office/drawing/2014/main" id="{FABAE239-B0B8-7C95-D6C3-D81B8F4F29D9}"/>
                </a:ext>
              </a:extLst>
            </p:cNvPr>
            <p:cNvSpPr>
              <a:spLocks/>
            </p:cNvSpPr>
            <p:nvPr/>
          </p:nvSpPr>
          <p:spPr bwMode="auto">
            <a:xfrm>
              <a:off x="7275514" y="2043114"/>
              <a:ext cx="204788" cy="36513"/>
            </a:xfrm>
            <a:custGeom>
              <a:avLst/>
              <a:gdLst>
                <a:gd name="T0" fmla="*/ 134 w 268"/>
                <a:gd name="T1" fmla="*/ 47 h 47"/>
                <a:gd name="T2" fmla="*/ 24 w 268"/>
                <a:gd name="T3" fmla="*/ 23 h 47"/>
                <a:gd name="T4" fmla="*/ 0 w 268"/>
                <a:gd name="T5" fmla="*/ 16 h 47"/>
                <a:gd name="T6" fmla="*/ 5 w 268"/>
                <a:gd name="T7" fmla="*/ 0 h 47"/>
                <a:gd name="T8" fmla="*/ 29 w 268"/>
                <a:gd name="T9" fmla="*/ 7 h 47"/>
                <a:gd name="T10" fmla="*/ 134 w 268"/>
                <a:gd name="T11" fmla="*/ 30 h 47"/>
                <a:gd name="T12" fmla="*/ 239 w 268"/>
                <a:gd name="T13" fmla="*/ 7 h 47"/>
                <a:gd name="T14" fmla="*/ 263 w 268"/>
                <a:gd name="T15" fmla="*/ 0 h 47"/>
                <a:gd name="T16" fmla="*/ 268 w 268"/>
                <a:gd name="T17" fmla="*/ 16 h 47"/>
                <a:gd name="T18" fmla="*/ 244 w 268"/>
                <a:gd name="T19" fmla="*/ 23 h 47"/>
                <a:gd name="T20" fmla="*/ 134 w 268"/>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 h="47">
                  <a:moveTo>
                    <a:pt x="134" y="47"/>
                  </a:moveTo>
                  <a:cubicBezTo>
                    <a:pt x="94" y="47"/>
                    <a:pt x="57" y="34"/>
                    <a:pt x="24" y="23"/>
                  </a:cubicBezTo>
                  <a:cubicBezTo>
                    <a:pt x="15" y="21"/>
                    <a:pt x="8" y="18"/>
                    <a:pt x="0" y="16"/>
                  </a:cubicBezTo>
                  <a:lnTo>
                    <a:pt x="5" y="0"/>
                  </a:lnTo>
                  <a:cubicBezTo>
                    <a:pt x="13" y="2"/>
                    <a:pt x="21" y="5"/>
                    <a:pt x="29" y="7"/>
                  </a:cubicBezTo>
                  <a:cubicBezTo>
                    <a:pt x="61" y="18"/>
                    <a:pt x="97" y="30"/>
                    <a:pt x="134" y="30"/>
                  </a:cubicBezTo>
                  <a:cubicBezTo>
                    <a:pt x="171" y="30"/>
                    <a:pt x="207" y="18"/>
                    <a:pt x="239" y="7"/>
                  </a:cubicBezTo>
                  <a:cubicBezTo>
                    <a:pt x="247" y="5"/>
                    <a:pt x="255" y="2"/>
                    <a:pt x="263" y="0"/>
                  </a:cubicBezTo>
                  <a:lnTo>
                    <a:pt x="268" y="16"/>
                  </a:lnTo>
                  <a:cubicBezTo>
                    <a:pt x="260" y="18"/>
                    <a:pt x="252" y="20"/>
                    <a:pt x="244" y="23"/>
                  </a:cubicBezTo>
                  <a:cubicBezTo>
                    <a:pt x="211" y="34"/>
                    <a:pt x="174" y="47"/>
                    <a:pt x="134"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566">
              <a:extLst>
                <a:ext uri="{FF2B5EF4-FFF2-40B4-BE49-F238E27FC236}">
                  <a16:creationId xmlns:a16="http://schemas.microsoft.com/office/drawing/2014/main" id="{DFF87C93-769B-2C09-2E91-6C0FFBFC0868}"/>
                </a:ext>
              </a:extLst>
            </p:cNvPr>
            <p:cNvSpPr>
              <a:spLocks/>
            </p:cNvSpPr>
            <p:nvPr/>
          </p:nvSpPr>
          <p:spPr bwMode="auto">
            <a:xfrm>
              <a:off x="7286626" y="2257426"/>
              <a:ext cx="182563" cy="31750"/>
            </a:xfrm>
            <a:custGeom>
              <a:avLst/>
              <a:gdLst>
                <a:gd name="T0" fmla="*/ 236 w 240"/>
                <a:gd name="T1" fmla="*/ 42 h 42"/>
                <a:gd name="T2" fmla="*/ 120 w 240"/>
                <a:gd name="T3" fmla="*/ 17 h 42"/>
                <a:gd name="T4" fmla="*/ 5 w 240"/>
                <a:gd name="T5" fmla="*/ 42 h 42"/>
                <a:gd name="T6" fmla="*/ 1 w 240"/>
                <a:gd name="T7" fmla="*/ 34 h 42"/>
                <a:gd name="T8" fmla="*/ 0 w 240"/>
                <a:gd name="T9" fmla="*/ 26 h 42"/>
                <a:gd name="T10" fmla="*/ 120 w 240"/>
                <a:gd name="T11" fmla="*/ 0 h 42"/>
                <a:gd name="T12" fmla="*/ 240 w 240"/>
                <a:gd name="T13" fmla="*/ 26 h 42"/>
                <a:gd name="T14" fmla="*/ 236 w 240"/>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42">
                  <a:moveTo>
                    <a:pt x="236" y="42"/>
                  </a:moveTo>
                  <a:cubicBezTo>
                    <a:pt x="200" y="30"/>
                    <a:pt x="162" y="17"/>
                    <a:pt x="120" y="17"/>
                  </a:cubicBezTo>
                  <a:cubicBezTo>
                    <a:pt x="78" y="17"/>
                    <a:pt x="39" y="30"/>
                    <a:pt x="5" y="42"/>
                  </a:cubicBezTo>
                  <a:lnTo>
                    <a:pt x="1" y="34"/>
                  </a:lnTo>
                  <a:lnTo>
                    <a:pt x="0" y="26"/>
                  </a:lnTo>
                  <a:cubicBezTo>
                    <a:pt x="33" y="14"/>
                    <a:pt x="75" y="0"/>
                    <a:pt x="120" y="0"/>
                  </a:cubicBezTo>
                  <a:cubicBezTo>
                    <a:pt x="164" y="0"/>
                    <a:pt x="206" y="14"/>
                    <a:pt x="240" y="26"/>
                  </a:cubicBezTo>
                  <a:lnTo>
                    <a:pt x="23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567">
              <a:extLst>
                <a:ext uri="{FF2B5EF4-FFF2-40B4-BE49-F238E27FC236}">
                  <a16:creationId xmlns:a16="http://schemas.microsoft.com/office/drawing/2014/main" id="{F0310C50-AABA-AC9F-BF4F-FE897E39E35E}"/>
                </a:ext>
              </a:extLst>
            </p:cNvPr>
            <p:cNvSpPr>
              <a:spLocks noEditPoints="1"/>
            </p:cNvSpPr>
            <p:nvPr/>
          </p:nvSpPr>
          <p:spPr bwMode="auto">
            <a:xfrm>
              <a:off x="7315201" y="2005014"/>
              <a:ext cx="123825" cy="317500"/>
            </a:xfrm>
            <a:custGeom>
              <a:avLst/>
              <a:gdLst>
                <a:gd name="T0" fmla="*/ 81 w 162"/>
                <a:gd name="T1" fmla="*/ 16 h 416"/>
                <a:gd name="T2" fmla="*/ 16 w 162"/>
                <a:gd name="T3" fmla="*/ 208 h 416"/>
                <a:gd name="T4" fmla="*/ 81 w 162"/>
                <a:gd name="T5" fmla="*/ 399 h 416"/>
                <a:gd name="T6" fmla="*/ 145 w 162"/>
                <a:gd name="T7" fmla="*/ 208 h 416"/>
                <a:gd name="T8" fmla="*/ 81 w 162"/>
                <a:gd name="T9" fmla="*/ 16 h 416"/>
                <a:gd name="T10" fmla="*/ 81 w 162"/>
                <a:gd name="T11" fmla="*/ 416 h 416"/>
                <a:gd name="T12" fmla="*/ 0 w 162"/>
                <a:gd name="T13" fmla="*/ 208 h 416"/>
                <a:gd name="T14" fmla="*/ 81 w 162"/>
                <a:gd name="T15" fmla="*/ 0 h 416"/>
                <a:gd name="T16" fmla="*/ 162 w 162"/>
                <a:gd name="T17" fmla="*/ 208 h 416"/>
                <a:gd name="T18" fmla="*/ 81 w 162"/>
                <a:gd name="T19"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416">
                  <a:moveTo>
                    <a:pt x="81" y="16"/>
                  </a:moveTo>
                  <a:cubicBezTo>
                    <a:pt x="50" y="16"/>
                    <a:pt x="16" y="95"/>
                    <a:pt x="16" y="208"/>
                  </a:cubicBezTo>
                  <a:cubicBezTo>
                    <a:pt x="16" y="321"/>
                    <a:pt x="50" y="399"/>
                    <a:pt x="81" y="399"/>
                  </a:cubicBezTo>
                  <a:cubicBezTo>
                    <a:pt x="111" y="399"/>
                    <a:pt x="145" y="321"/>
                    <a:pt x="145" y="208"/>
                  </a:cubicBezTo>
                  <a:cubicBezTo>
                    <a:pt x="145" y="95"/>
                    <a:pt x="111" y="16"/>
                    <a:pt x="81" y="16"/>
                  </a:cubicBezTo>
                  <a:close/>
                  <a:moveTo>
                    <a:pt x="81" y="416"/>
                  </a:moveTo>
                  <a:cubicBezTo>
                    <a:pt x="35" y="416"/>
                    <a:pt x="0" y="326"/>
                    <a:pt x="0" y="208"/>
                  </a:cubicBezTo>
                  <a:cubicBezTo>
                    <a:pt x="0" y="89"/>
                    <a:pt x="35" y="0"/>
                    <a:pt x="81" y="0"/>
                  </a:cubicBezTo>
                  <a:cubicBezTo>
                    <a:pt x="127" y="0"/>
                    <a:pt x="162" y="89"/>
                    <a:pt x="162" y="208"/>
                  </a:cubicBezTo>
                  <a:cubicBezTo>
                    <a:pt x="162" y="326"/>
                    <a:pt x="127" y="416"/>
                    <a:pt x="81" y="4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568">
              <a:extLst>
                <a:ext uri="{FF2B5EF4-FFF2-40B4-BE49-F238E27FC236}">
                  <a16:creationId xmlns:a16="http://schemas.microsoft.com/office/drawing/2014/main" id="{BBEDD0E2-444C-E5E4-08F3-AEE62B2A30D5}"/>
                </a:ext>
              </a:extLst>
            </p:cNvPr>
            <p:cNvSpPr>
              <a:spLocks noChangeArrowheads="1"/>
            </p:cNvSpPr>
            <p:nvPr/>
          </p:nvSpPr>
          <p:spPr bwMode="auto">
            <a:xfrm>
              <a:off x="7224714" y="2120901"/>
              <a:ext cx="3048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569">
              <a:extLst>
                <a:ext uri="{FF2B5EF4-FFF2-40B4-BE49-F238E27FC236}">
                  <a16:creationId xmlns:a16="http://schemas.microsoft.com/office/drawing/2014/main" id="{96F6BBB5-B56E-A652-C825-E06904B8AE41}"/>
                </a:ext>
              </a:extLst>
            </p:cNvPr>
            <p:cNvSpPr>
              <a:spLocks noChangeArrowheads="1"/>
            </p:cNvSpPr>
            <p:nvPr/>
          </p:nvSpPr>
          <p:spPr bwMode="auto">
            <a:xfrm>
              <a:off x="7224714" y="2193926"/>
              <a:ext cx="3048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570">
              <a:extLst>
                <a:ext uri="{FF2B5EF4-FFF2-40B4-BE49-F238E27FC236}">
                  <a16:creationId xmlns:a16="http://schemas.microsoft.com/office/drawing/2014/main" id="{8CA13AA1-D595-C34E-1A55-F9EEC1178D01}"/>
                </a:ext>
              </a:extLst>
            </p:cNvPr>
            <p:cNvSpPr>
              <a:spLocks/>
            </p:cNvSpPr>
            <p:nvPr/>
          </p:nvSpPr>
          <p:spPr bwMode="auto">
            <a:xfrm>
              <a:off x="7312026" y="1949451"/>
              <a:ext cx="38100" cy="49213"/>
            </a:xfrm>
            <a:custGeom>
              <a:avLst/>
              <a:gdLst>
                <a:gd name="T0" fmla="*/ 13 w 24"/>
                <a:gd name="T1" fmla="*/ 31 h 31"/>
                <a:gd name="T2" fmla="*/ 6 w 24"/>
                <a:gd name="T3" fmla="*/ 27 h 31"/>
                <a:gd name="T4" fmla="*/ 13 w 24"/>
                <a:gd name="T5" fmla="*/ 14 h 31"/>
                <a:gd name="T6" fmla="*/ 0 w 24"/>
                <a:gd name="T7" fmla="*/ 7 h 31"/>
                <a:gd name="T8" fmla="*/ 5 w 24"/>
                <a:gd name="T9" fmla="*/ 0 h 31"/>
                <a:gd name="T10" fmla="*/ 24 w 24"/>
                <a:gd name="T11" fmla="*/ 11 h 31"/>
                <a:gd name="T12" fmla="*/ 13 w 2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4" h="31">
                  <a:moveTo>
                    <a:pt x="13" y="31"/>
                  </a:moveTo>
                  <a:lnTo>
                    <a:pt x="6" y="27"/>
                  </a:lnTo>
                  <a:lnTo>
                    <a:pt x="13" y="14"/>
                  </a:lnTo>
                  <a:lnTo>
                    <a:pt x="0" y="7"/>
                  </a:lnTo>
                  <a:lnTo>
                    <a:pt x="5" y="0"/>
                  </a:lnTo>
                  <a:lnTo>
                    <a:pt x="24" y="11"/>
                  </a:lnTo>
                  <a:lnTo>
                    <a:pt x="13"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571">
              <a:extLst>
                <a:ext uri="{FF2B5EF4-FFF2-40B4-BE49-F238E27FC236}">
                  <a16:creationId xmlns:a16="http://schemas.microsoft.com/office/drawing/2014/main" id="{4335CDF6-6DC5-78AB-3040-9AC6116E2E35}"/>
                </a:ext>
              </a:extLst>
            </p:cNvPr>
            <p:cNvSpPr>
              <a:spLocks/>
            </p:cNvSpPr>
            <p:nvPr/>
          </p:nvSpPr>
          <p:spPr bwMode="auto">
            <a:xfrm>
              <a:off x="7210426" y="2290764"/>
              <a:ext cx="38100" cy="41275"/>
            </a:xfrm>
            <a:custGeom>
              <a:avLst/>
              <a:gdLst>
                <a:gd name="T0" fmla="*/ 2 w 24"/>
                <a:gd name="T1" fmla="*/ 26 h 26"/>
                <a:gd name="T2" fmla="*/ 0 w 24"/>
                <a:gd name="T3" fmla="*/ 2 h 26"/>
                <a:gd name="T4" fmla="*/ 23 w 24"/>
                <a:gd name="T5" fmla="*/ 0 h 26"/>
                <a:gd name="T6" fmla="*/ 24 w 24"/>
                <a:gd name="T7" fmla="*/ 8 h 26"/>
                <a:gd name="T8" fmla="*/ 8 w 24"/>
                <a:gd name="T9" fmla="*/ 10 h 26"/>
                <a:gd name="T10" fmla="*/ 10 w 24"/>
                <a:gd name="T11" fmla="*/ 25 h 26"/>
                <a:gd name="T12" fmla="*/ 2 w 24"/>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4" h="26">
                  <a:moveTo>
                    <a:pt x="2" y="26"/>
                  </a:moveTo>
                  <a:lnTo>
                    <a:pt x="0" y="2"/>
                  </a:lnTo>
                  <a:lnTo>
                    <a:pt x="23" y="0"/>
                  </a:lnTo>
                  <a:lnTo>
                    <a:pt x="24" y="8"/>
                  </a:lnTo>
                  <a:lnTo>
                    <a:pt x="8" y="10"/>
                  </a:lnTo>
                  <a:lnTo>
                    <a:pt x="10" y="25"/>
                  </a:lnTo>
                  <a:lnTo>
                    <a:pt x="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572">
              <a:extLst>
                <a:ext uri="{FF2B5EF4-FFF2-40B4-BE49-F238E27FC236}">
                  <a16:creationId xmlns:a16="http://schemas.microsoft.com/office/drawing/2014/main" id="{3F8FA509-2D32-EB7B-47CC-BEC6E31CF887}"/>
                </a:ext>
              </a:extLst>
            </p:cNvPr>
            <p:cNvSpPr>
              <a:spLocks/>
            </p:cNvSpPr>
            <p:nvPr/>
          </p:nvSpPr>
          <p:spPr bwMode="auto">
            <a:xfrm>
              <a:off x="7167564" y="1966914"/>
              <a:ext cx="168275" cy="250825"/>
            </a:xfrm>
            <a:custGeom>
              <a:avLst/>
              <a:gdLst>
                <a:gd name="T0" fmla="*/ 7 w 221"/>
                <a:gd name="T1" fmla="*/ 329 h 329"/>
                <a:gd name="T2" fmla="*/ 0 w 221"/>
                <a:gd name="T3" fmla="*/ 268 h 329"/>
                <a:gd name="T4" fmla="*/ 218 w 221"/>
                <a:gd name="T5" fmla="*/ 0 h 329"/>
                <a:gd name="T6" fmla="*/ 221 w 221"/>
                <a:gd name="T7" fmla="*/ 16 h 329"/>
                <a:gd name="T8" fmla="*/ 17 w 221"/>
                <a:gd name="T9" fmla="*/ 268 h 329"/>
                <a:gd name="T10" fmla="*/ 23 w 221"/>
                <a:gd name="T11" fmla="*/ 325 h 329"/>
                <a:gd name="T12" fmla="*/ 7 w 221"/>
                <a:gd name="T13" fmla="*/ 329 h 329"/>
              </a:gdLst>
              <a:ahLst/>
              <a:cxnLst>
                <a:cxn ang="0">
                  <a:pos x="T0" y="T1"/>
                </a:cxn>
                <a:cxn ang="0">
                  <a:pos x="T2" y="T3"/>
                </a:cxn>
                <a:cxn ang="0">
                  <a:pos x="T4" y="T5"/>
                </a:cxn>
                <a:cxn ang="0">
                  <a:pos x="T6" y="T7"/>
                </a:cxn>
                <a:cxn ang="0">
                  <a:pos x="T8" y="T9"/>
                </a:cxn>
                <a:cxn ang="0">
                  <a:pos x="T10" y="T11"/>
                </a:cxn>
                <a:cxn ang="0">
                  <a:pos x="T12" y="T13"/>
                </a:cxn>
              </a:cxnLst>
              <a:rect l="0" t="0" r="r" b="b"/>
              <a:pathLst>
                <a:path w="221" h="329">
                  <a:moveTo>
                    <a:pt x="7" y="329"/>
                  </a:moveTo>
                  <a:cubicBezTo>
                    <a:pt x="2" y="309"/>
                    <a:pt x="0" y="288"/>
                    <a:pt x="0" y="268"/>
                  </a:cubicBezTo>
                  <a:cubicBezTo>
                    <a:pt x="0" y="138"/>
                    <a:pt x="92" y="26"/>
                    <a:pt x="218" y="0"/>
                  </a:cubicBezTo>
                  <a:lnTo>
                    <a:pt x="221" y="16"/>
                  </a:lnTo>
                  <a:cubicBezTo>
                    <a:pt x="103" y="40"/>
                    <a:pt x="17" y="146"/>
                    <a:pt x="17" y="268"/>
                  </a:cubicBezTo>
                  <a:cubicBezTo>
                    <a:pt x="17" y="287"/>
                    <a:pt x="19" y="306"/>
                    <a:pt x="23" y="325"/>
                  </a:cubicBezTo>
                  <a:lnTo>
                    <a:pt x="7" y="3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573">
              <a:extLst>
                <a:ext uri="{FF2B5EF4-FFF2-40B4-BE49-F238E27FC236}">
                  <a16:creationId xmlns:a16="http://schemas.microsoft.com/office/drawing/2014/main" id="{092DA720-EA83-D4B3-3F9E-D220A1DE2FC7}"/>
                </a:ext>
              </a:extLst>
            </p:cNvPr>
            <p:cNvSpPr>
              <a:spLocks/>
            </p:cNvSpPr>
            <p:nvPr/>
          </p:nvSpPr>
          <p:spPr bwMode="auto">
            <a:xfrm>
              <a:off x="7545389" y="2211389"/>
              <a:ext cx="47625" cy="36513"/>
            </a:xfrm>
            <a:custGeom>
              <a:avLst/>
              <a:gdLst>
                <a:gd name="T0" fmla="*/ 11 w 30"/>
                <a:gd name="T1" fmla="*/ 23 h 23"/>
                <a:gd name="T2" fmla="*/ 0 w 30"/>
                <a:gd name="T3" fmla="*/ 4 h 23"/>
                <a:gd name="T4" fmla="*/ 7 w 30"/>
                <a:gd name="T5" fmla="*/ 0 h 23"/>
                <a:gd name="T6" fmla="*/ 14 w 30"/>
                <a:gd name="T7" fmla="*/ 12 h 23"/>
                <a:gd name="T8" fmla="*/ 26 w 30"/>
                <a:gd name="T9" fmla="*/ 4 h 23"/>
                <a:gd name="T10" fmla="*/ 30 w 30"/>
                <a:gd name="T11" fmla="*/ 12 h 23"/>
                <a:gd name="T12" fmla="*/ 11 w 30"/>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30" h="23">
                  <a:moveTo>
                    <a:pt x="11" y="23"/>
                  </a:moveTo>
                  <a:lnTo>
                    <a:pt x="0" y="4"/>
                  </a:lnTo>
                  <a:lnTo>
                    <a:pt x="7" y="0"/>
                  </a:lnTo>
                  <a:lnTo>
                    <a:pt x="14" y="12"/>
                  </a:lnTo>
                  <a:lnTo>
                    <a:pt x="26" y="4"/>
                  </a:lnTo>
                  <a:lnTo>
                    <a:pt x="30" y="12"/>
                  </a:lnTo>
                  <a:lnTo>
                    <a:pt x="1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574">
              <a:extLst>
                <a:ext uri="{FF2B5EF4-FFF2-40B4-BE49-F238E27FC236}">
                  <a16:creationId xmlns:a16="http://schemas.microsoft.com/office/drawing/2014/main" id="{63F14248-330E-21FD-1CA3-BCA1824F7253}"/>
                </a:ext>
              </a:extLst>
            </p:cNvPr>
            <p:cNvSpPr>
              <a:spLocks/>
            </p:cNvSpPr>
            <p:nvPr/>
          </p:nvSpPr>
          <p:spPr bwMode="auto">
            <a:xfrm>
              <a:off x="7219951" y="2301876"/>
              <a:ext cx="298450" cy="77788"/>
            </a:xfrm>
            <a:custGeom>
              <a:avLst/>
              <a:gdLst>
                <a:gd name="T0" fmla="*/ 204 w 391"/>
                <a:gd name="T1" fmla="*/ 102 h 102"/>
                <a:gd name="T2" fmla="*/ 0 w 391"/>
                <a:gd name="T3" fmla="*/ 11 h 102"/>
                <a:gd name="T4" fmla="*/ 13 w 391"/>
                <a:gd name="T5" fmla="*/ 0 h 102"/>
                <a:gd name="T6" fmla="*/ 204 w 391"/>
                <a:gd name="T7" fmla="*/ 85 h 102"/>
                <a:gd name="T8" fmla="*/ 379 w 391"/>
                <a:gd name="T9" fmla="*/ 17 h 102"/>
                <a:gd name="T10" fmla="*/ 391 w 391"/>
                <a:gd name="T11" fmla="*/ 29 h 102"/>
                <a:gd name="T12" fmla="*/ 204 w 39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91" h="102">
                  <a:moveTo>
                    <a:pt x="204" y="102"/>
                  </a:moveTo>
                  <a:cubicBezTo>
                    <a:pt x="127" y="102"/>
                    <a:pt x="52" y="69"/>
                    <a:pt x="0" y="11"/>
                  </a:cubicBezTo>
                  <a:lnTo>
                    <a:pt x="13" y="0"/>
                  </a:lnTo>
                  <a:cubicBezTo>
                    <a:pt x="62" y="54"/>
                    <a:pt x="131" y="85"/>
                    <a:pt x="204" y="85"/>
                  </a:cubicBezTo>
                  <a:cubicBezTo>
                    <a:pt x="270" y="85"/>
                    <a:pt x="332" y="61"/>
                    <a:pt x="379" y="17"/>
                  </a:cubicBezTo>
                  <a:lnTo>
                    <a:pt x="391" y="29"/>
                  </a:lnTo>
                  <a:cubicBezTo>
                    <a:pt x="340" y="76"/>
                    <a:pt x="274" y="102"/>
                    <a:pt x="204"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575">
              <a:extLst>
                <a:ext uri="{FF2B5EF4-FFF2-40B4-BE49-F238E27FC236}">
                  <a16:creationId xmlns:a16="http://schemas.microsoft.com/office/drawing/2014/main" id="{AF4D0190-F150-D40E-854A-328C46493C1F}"/>
                </a:ext>
              </a:extLst>
            </p:cNvPr>
            <p:cNvSpPr>
              <a:spLocks/>
            </p:cNvSpPr>
            <p:nvPr/>
          </p:nvSpPr>
          <p:spPr bwMode="auto">
            <a:xfrm>
              <a:off x="7432676" y="1971676"/>
              <a:ext cx="150813" cy="261938"/>
            </a:xfrm>
            <a:custGeom>
              <a:avLst/>
              <a:gdLst>
                <a:gd name="T0" fmla="*/ 186 w 198"/>
                <a:gd name="T1" fmla="*/ 343 h 343"/>
                <a:gd name="T2" fmla="*/ 170 w 198"/>
                <a:gd name="T3" fmla="*/ 338 h 343"/>
                <a:gd name="T4" fmla="*/ 181 w 198"/>
                <a:gd name="T5" fmla="*/ 262 h 343"/>
                <a:gd name="T6" fmla="*/ 0 w 198"/>
                <a:gd name="T7" fmla="*/ 16 h 343"/>
                <a:gd name="T8" fmla="*/ 5 w 198"/>
                <a:gd name="T9" fmla="*/ 0 h 343"/>
                <a:gd name="T10" fmla="*/ 198 w 198"/>
                <a:gd name="T11" fmla="*/ 262 h 343"/>
                <a:gd name="T12" fmla="*/ 186 w 198"/>
                <a:gd name="T13" fmla="*/ 343 h 343"/>
              </a:gdLst>
              <a:ahLst/>
              <a:cxnLst>
                <a:cxn ang="0">
                  <a:pos x="T0" y="T1"/>
                </a:cxn>
                <a:cxn ang="0">
                  <a:pos x="T2" y="T3"/>
                </a:cxn>
                <a:cxn ang="0">
                  <a:pos x="T4" y="T5"/>
                </a:cxn>
                <a:cxn ang="0">
                  <a:pos x="T6" y="T7"/>
                </a:cxn>
                <a:cxn ang="0">
                  <a:pos x="T8" y="T9"/>
                </a:cxn>
                <a:cxn ang="0">
                  <a:pos x="T10" y="T11"/>
                </a:cxn>
                <a:cxn ang="0">
                  <a:pos x="T12" y="T13"/>
                </a:cxn>
              </a:cxnLst>
              <a:rect l="0" t="0" r="r" b="b"/>
              <a:pathLst>
                <a:path w="198" h="343">
                  <a:moveTo>
                    <a:pt x="186" y="343"/>
                  </a:moveTo>
                  <a:lnTo>
                    <a:pt x="170" y="338"/>
                  </a:lnTo>
                  <a:cubicBezTo>
                    <a:pt x="177" y="313"/>
                    <a:pt x="181" y="288"/>
                    <a:pt x="181" y="262"/>
                  </a:cubicBezTo>
                  <a:cubicBezTo>
                    <a:pt x="181" y="148"/>
                    <a:pt x="108" y="49"/>
                    <a:pt x="0" y="16"/>
                  </a:cubicBezTo>
                  <a:lnTo>
                    <a:pt x="5" y="0"/>
                  </a:lnTo>
                  <a:cubicBezTo>
                    <a:pt x="120" y="35"/>
                    <a:pt x="198" y="140"/>
                    <a:pt x="198" y="262"/>
                  </a:cubicBezTo>
                  <a:cubicBezTo>
                    <a:pt x="198" y="289"/>
                    <a:pt x="194" y="317"/>
                    <a:pt x="186"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576">
              <a:extLst>
                <a:ext uri="{FF2B5EF4-FFF2-40B4-BE49-F238E27FC236}">
                  <a16:creationId xmlns:a16="http://schemas.microsoft.com/office/drawing/2014/main" id="{1462EE1F-C1A2-C8F8-06DF-C1F9B473B7B8}"/>
                </a:ext>
              </a:extLst>
            </p:cNvPr>
            <p:cNvSpPr>
              <a:spLocks noEditPoints="1"/>
            </p:cNvSpPr>
            <p:nvPr/>
          </p:nvSpPr>
          <p:spPr bwMode="auto">
            <a:xfrm>
              <a:off x="7158039" y="2208214"/>
              <a:ext cx="50800" cy="50800"/>
            </a:xfrm>
            <a:custGeom>
              <a:avLst/>
              <a:gdLst>
                <a:gd name="T0" fmla="*/ 34 w 67"/>
                <a:gd name="T1" fmla="*/ 17 h 67"/>
                <a:gd name="T2" fmla="*/ 17 w 67"/>
                <a:gd name="T3" fmla="*/ 34 h 67"/>
                <a:gd name="T4" fmla="*/ 34 w 67"/>
                <a:gd name="T5" fmla="*/ 50 h 67"/>
                <a:gd name="T6" fmla="*/ 50 w 67"/>
                <a:gd name="T7" fmla="*/ 34 h 67"/>
                <a:gd name="T8" fmla="*/ 34 w 67"/>
                <a:gd name="T9" fmla="*/ 17 h 67"/>
                <a:gd name="T10" fmla="*/ 34 w 67"/>
                <a:gd name="T11" fmla="*/ 67 h 67"/>
                <a:gd name="T12" fmla="*/ 0 w 67"/>
                <a:gd name="T13" fmla="*/ 34 h 67"/>
                <a:gd name="T14" fmla="*/ 34 w 67"/>
                <a:gd name="T15" fmla="*/ 0 h 67"/>
                <a:gd name="T16" fmla="*/ 67 w 67"/>
                <a:gd name="T17" fmla="*/ 34 h 67"/>
                <a:gd name="T18" fmla="*/ 34 w 67"/>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4" y="17"/>
                  </a:moveTo>
                  <a:cubicBezTo>
                    <a:pt x="24" y="17"/>
                    <a:pt x="17" y="25"/>
                    <a:pt x="17" y="34"/>
                  </a:cubicBezTo>
                  <a:cubicBezTo>
                    <a:pt x="17" y="43"/>
                    <a:pt x="24" y="50"/>
                    <a:pt x="34" y="50"/>
                  </a:cubicBezTo>
                  <a:cubicBezTo>
                    <a:pt x="43" y="50"/>
                    <a:pt x="50" y="43"/>
                    <a:pt x="50" y="34"/>
                  </a:cubicBezTo>
                  <a:cubicBezTo>
                    <a:pt x="50" y="25"/>
                    <a:pt x="43" y="17"/>
                    <a:pt x="34" y="17"/>
                  </a:cubicBezTo>
                  <a:close/>
                  <a:moveTo>
                    <a:pt x="34" y="67"/>
                  </a:moveTo>
                  <a:cubicBezTo>
                    <a:pt x="15" y="67"/>
                    <a:pt x="0" y="52"/>
                    <a:pt x="0" y="34"/>
                  </a:cubicBezTo>
                  <a:cubicBezTo>
                    <a:pt x="0" y="15"/>
                    <a:pt x="15" y="0"/>
                    <a:pt x="34" y="0"/>
                  </a:cubicBezTo>
                  <a:cubicBezTo>
                    <a:pt x="52" y="0"/>
                    <a:pt x="67" y="15"/>
                    <a:pt x="67" y="34"/>
                  </a:cubicBezTo>
                  <a:cubicBezTo>
                    <a:pt x="67" y="52"/>
                    <a:pt x="52" y="67"/>
                    <a:pt x="34"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577">
              <a:extLst>
                <a:ext uri="{FF2B5EF4-FFF2-40B4-BE49-F238E27FC236}">
                  <a16:creationId xmlns:a16="http://schemas.microsoft.com/office/drawing/2014/main" id="{A1200615-9986-8F9F-1C0D-B44F858587FE}"/>
                </a:ext>
              </a:extLst>
            </p:cNvPr>
            <p:cNvSpPr>
              <a:spLocks noEditPoints="1"/>
            </p:cNvSpPr>
            <p:nvPr/>
          </p:nvSpPr>
          <p:spPr bwMode="auto">
            <a:xfrm>
              <a:off x="7391401" y="1946276"/>
              <a:ext cx="50800" cy="52388"/>
            </a:xfrm>
            <a:custGeom>
              <a:avLst/>
              <a:gdLst>
                <a:gd name="T0" fmla="*/ 33 w 66"/>
                <a:gd name="T1" fmla="*/ 17 h 67"/>
                <a:gd name="T2" fmla="*/ 16 w 66"/>
                <a:gd name="T3" fmla="*/ 34 h 67"/>
                <a:gd name="T4" fmla="*/ 33 w 66"/>
                <a:gd name="T5" fmla="*/ 50 h 67"/>
                <a:gd name="T6" fmla="*/ 50 w 66"/>
                <a:gd name="T7" fmla="*/ 34 h 67"/>
                <a:gd name="T8" fmla="*/ 33 w 66"/>
                <a:gd name="T9" fmla="*/ 17 h 67"/>
                <a:gd name="T10" fmla="*/ 33 w 66"/>
                <a:gd name="T11" fmla="*/ 67 h 67"/>
                <a:gd name="T12" fmla="*/ 0 w 66"/>
                <a:gd name="T13" fmla="*/ 34 h 67"/>
                <a:gd name="T14" fmla="*/ 33 w 66"/>
                <a:gd name="T15" fmla="*/ 0 h 67"/>
                <a:gd name="T16" fmla="*/ 66 w 66"/>
                <a:gd name="T17" fmla="*/ 34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17"/>
                  </a:moveTo>
                  <a:cubicBezTo>
                    <a:pt x="24" y="17"/>
                    <a:pt x="16" y="24"/>
                    <a:pt x="16" y="34"/>
                  </a:cubicBezTo>
                  <a:cubicBezTo>
                    <a:pt x="16" y="43"/>
                    <a:pt x="24" y="50"/>
                    <a:pt x="33" y="50"/>
                  </a:cubicBezTo>
                  <a:cubicBezTo>
                    <a:pt x="42" y="50"/>
                    <a:pt x="50" y="43"/>
                    <a:pt x="50" y="34"/>
                  </a:cubicBezTo>
                  <a:cubicBezTo>
                    <a:pt x="50" y="24"/>
                    <a:pt x="42" y="17"/>
                    <a:pt x="33" y="17"/>
                  </a:cubicBezTo>
                  <a:close/>
                  <a:moveTo>
                    <a:pt x="33" y="67"/>
                  </a:moveTo>
                  <a:cubicBezTo>
                    <a:pt x="15" y="67"/>
                    <a:pt x="0" y="52"/>
                    <a:pt x="0" y="34"/>
                  </a:cubicBezTo>
                  <a:cubicBezTo>
                    <a:pt x="0" y="15"/>
                    <a:pt x="15" y="0"/>
                    <a:pt x="33" y="0"/>
                  </a:cubicBezTo>
                  <a:cubicBezTo>
                    <a:pt x="51" y="0"/>
                    <a:pt x="66" y="15"/>
                    <a:pt x="66" y="34"/>
                  </a:cubicBezTo>
                  <a:cubicBezTo>
                    <a:pt x="66" y="52"/>
                    <a:pt x="51" y="67"/>
                    <a:pt x="33"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578">
              <a:extLst>
                <a:ext uri="{FF2B5EF4-FFF2-40B4-BE49-F238E27FC236}">
                  <a16:creationId xmlns:a16="http://schemas.microsoft.com/office/drawing/2014/main" id="{F9417E4E-8A41-0A75-F58B-8DF675CDEEF0}"/>
                </a:ext>
              </a:extLst>
            </p:cNvPr>
            <p:cNvSpPr>
              <a:spLocks noEditPoints="1"/>
            </p:cNvSpPr>
            <p:nvPr/>
          </p:nvSpPr>
          <p:spPr bwMode="auto">
            <a:xfrm>
              <a:off x="7500939" y="2279651"/>
              <a:ext cx="50800" cy="50800"/>
            </a:xfrm>
            <a:custGeom>
              <a:avLst/>
              <a:gdLst>
                <a:gd name="T0" fmla="*/ 33 w 67"/>
                <a:gd name="T1" fmla="*/ 16 h 66"/>
                <a:gd name="T2" fmla="*/ 17 w 67"/>
                <a:gd name="T3" fmla="*/ 33 h 66"/>
                <a:gd name="T4" fmla="*/ 33 w 67"/>
                <a:gd name="T5" fmla="*/ 50 h 66"/>
                <a:gd name="T6" fmla="*/ 50 w 67"/>
                <a:gd name="T7" fmla="*/ 33 h 66"/>
                <a:gd name="T8" fmla="*/ 33 w 67"/>
                <a:gd name="T9" fmla="*/ 16 h 66"/>
                <a:gd name="T10" fmla="*/ 33 w 67"/>
                <a:gd name="T11" fmla="*/ 66 h 66"/>
                <a:gd name="T12" fmla="*/ 0 w 67"/>
                <a:gd name="T13" fmla="*/ 33 h 66"/>
                <a:gd name="T14" fmla="*/ 33 w 67"/>
                <a:gd name="T15" fmla="*/ 0 h 66"/>
                <a:gd name="T16" fmla="*/ 67 w 67"/>
                <a:gd name="T17" fmla="*/ 33 h 66"/>
                <a:gd name="T18" fmla="*/ 33 w 67"/>
                <a:gd name="T1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6">
                  <a:moveTo>
                    <a:pt x="33" y="16"/>
                  </a:moveTo>
                  <a:cubicBezTo>
                    <a:pt x="24" y="16"/>
                    <a:pt x="17" y="24"/>
                    <a:pt x="17" y="33"/>
                  </a:cubicBezTo>
                  <a:cubicBezTo>
                    <a:pt x="17" y="42"/>
                    <a:pt x="24" y="50"/>
                    <a:pt x="33" y="50"/>
                  </a:cubicBezTo>
                  <a:cubicBezTo>
                    <a:pt x="43" y="50"/>
                    <a:pt x="50" y="42"/>
                    <a:pt x="50" y="33"/>
                  </a:cubicBezTo>
                  <a:cubicBezTo>
                    <a:pt x="50" y="24"/>
                    <a:pt x="43" y="16"/>
                    <a:pt x="33" y="16"/>
                  </a:cubicBezTo>
                  <a:close/>
                  <a:moveTo>
                    <a:pt x="33" y="66"/>
                  </a:moveTo>
                  <a:cubicBezTo>
                    <a:pt x="15" y="66"/>
                    <a:pt x="0" y="51"/>
                    <a:pt x="0" y="33"/>
                  </a:cubicBezTo>
                  <a:cubicBezTo>
                    <a:pt x="0" y="15"/>
                    <a:pt x="15" y="0"/>
                    <a:pt x="33" y="0"/>
                  </a:cubicBezTo>
                  <a:cubicBezTo>
                    <a:pt x="52" y="0"/>
                    <a:pt x="67" y="15"/>
                    <a:pt x="67" y="33"/>
                  </a:cubicBezTo>
                  <a:cubicBezTo>
                    <a:pt x="67" y="51"/>
                    <a:pt x="52" y="66"/>
                    <a:pt x="3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8" name="Tornado2" descr="{&quot;Key&quot;:&quot;POWER_USER_SHAPE_ICON&quot;,&quot;Value&quot;:&quot;POWER_USER_SHAPE_ICON_STYLE_1&quot;}">
            <a:extLst>
              <a:ext uri="{FF2B5EF4-FFF2-40B4-BE49-F238E27FC236}">
                <a16:creationId xmlns:a16="http://schemas.microsoft.com/office/drawing/2014/main" id="{84E2EEF1-7877-A4F9-697E-1F2CD0A27339}"/>
              </a:ext>
            </a:extLst>
          </p:cNvPr>
          <p:cNvGrpSpPr>
            <a:grpSpLocks noChangeAspect="1"/>
          </p:cNvGrpSpPr>
          <p:nvPr>
            <p:custDataLst>
              <p:tags r:id="rId2"/>
            </p:custDataLst>
          </p:nvPr>
        </p:nvGrpSpPr>
        <p:grpSpPr>
          <a:xfrm>
            <a:off x="7087017" y="3179216"/>
            <a:ext cx="702684" cy="762000"/>
            <a:chOff x="4919663" y="4487863"/>
            <a:chExt cx="733425" cy="795337"/>
          </a:xfrm>
          <a:noFill/>
        </p:grpSpPr>
        <p:sp>
          <p:nvSpPr>
            <p:cNvPr id="69" name="Freeform 56">
              <a:extLst>
                <a:ext uri="{FF2B5EF4-FFF2-40B4-BE49-F238E27FC236}">
                  <a16:creationId xmlns:a16="http://schemas.microsoft.com/office/drawing/2014/main" id="{8465003D-8964-543F-AD91-1D21D5B9BE46}"/>
                </a:ext>
              </a:extLst>
            </p:cNvPr>
            <p:cNvSpPr>
              <a:spLocks/>
            </p:cNvSpPr>
            <p:nvPr/>
          </p:nvSpPr>
          <p:spPr bwMode="auto">
            <a:xfrm>
              <a:off x="5156201" y="5232400"/>
              <a:ext cx="0" cy="1588"/>
            </a:xfrm>
            <a:custGeom>
              <a:avLst/>
              <a:gdLst>
                <a:gd name="T0" fmla="*/ 1 w 1"/>
                <a:gd name="T1" fmla="*/ 2 h 2"/>
                <a:gd name="T2" fmla="*/ 1 w 1"/>
                <a:gd name="T3" fmla="*/ 2 h 2"/>
                <a:gd name="T4" fmla="*/ 1 w 1"/>
                <a:gd name="T5" fmla="*/ 2 h 2"/>
              </a:gdLst>
              <a:ahLst/>
              <a:cxnLst>
                <a:cxn ang="0">
                  <a:pos x="T0" y="T1"/>
                </a:cxn>
                <a:cxn ang="0">
                  <a:pos x="T2" y="T3"/>
                </a:cxn>
                <a:cxn ang="0">
                  <a:pos x="T4" y="T5"/>
                </a:cxn>
              </a:cxnLst>
              <a:rect l="0" t="0" r="r" b="b"/>
              <a:pathLst>
                <a:path w="1" h="2">
                  <a:moveTo>
                    <a:pt x="1" y="2"/>
                  </a:moveTo>
                  <a:lnTo>
                    <a:pt x="1" y="2"/>
                  </a:lnTo>
                  <a:cubicBezTo>
                    <a:pt x="0" y="0"/>
                    <a:pt x="0" y="1"/>
                    <a:pt x="1" y="2"/>
                  </a:cubicBezTo>
                  <a:close/>
                </a:path>
              </a:pathLst>
            </a:custGeom>
            <a:grp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57">
              <a:extLst>
                <a:ext uri="{FF2B5EF4-FFF2-40B4-BE49-F238E27FC236}">
                  <a16:creationId xmlns:a16="http://schemas.microsoft.com/office/drawing/2014/main" id="{350BFE25-7095-77CA-0570-C8051D33D421}"/>
                </a:ext>
              </a:extLst>
            </p:cNvPr>
            <p:cNvSpPr>
              <a:spLocks/>
            </p:cNvSpPr>
            <p:nvPr/>
          </p:nvSpPr>
          <p:spPr bwMode="auto">
            <a:xfrm>
              <a:off x="5116513" y="5156200"/>
              <a:ext cx="309563" cy="127000"/>
            </a:xfrm>
            <a:custGeom>
              <a:avLst/>
              <a:gdLst>
                <a:gd name="T0" fmla="*/ 327 w 406"/>
                <a:gd name="T1" fmla="*/ 87 h 166"/>
                <a:gd name="T2" fmla="*/ 313 w 406"/>
                <a:gd name="T3" fmla="*/ 89 h 166"/>
                <a:gd name="T4" fmla="*/ 212 w 406"/>
                <a:gd name="T5" fmla="*/ 39 h 166"/>
                <a:gd name="T6" fmla="*/ 150 w 406"/>
                <a:gd name="T7" fmla="*/ 55 h 166"/>
                <a:gd name="T8" fmla="*/ 153 w 406"/>
                <a:gd name="T9" fmla="*/ 8 h 166"/>
                <a:gd name="T10" fmla="*/ 0 w 406"/>
                <a:gd name="T11" fmla="*/ 0 h 166"/>
                <a:gd name="T12" fmla="*/ 53 w 406"/>
                <a:gd name="T13" fmla="*/ 102 h 166"/>
                <a:gd name="T14" fmla="*/ 53 w 406"/>
                <a:gd name="T15" fmla="*/ 102 h 166"/>
                <a:gd name="T16" fmla="*/ 19 w 406"/>
                <a:gd name="T17" fmla="*/ 166 h 166"/>
                <a:gd name="T18" fmla="*/ 406 w 406"/>
                <a:gd name="T19" fmla="*/ 166 h 166"/>
                <a:gd name="T20" fmla="*/ 327 w 406"/>
                <a:gd name="T21" fmla="*/ 8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166">
                  <a:moveTo>
                    <a:pt x="327" y="87"/>
                  </a:moveTo>
                  <a:cubicBezTo>
                    <a:pt x="322" y="87"/>
                    <a:pt x="317" y="88"/>
                    <a:pt x="313" y="89"/>
                  </a:cubicBezTo>
                  <a:cubicBezTo>
                    <a:pt x="289" y="59"/>
                    <a:pt x="253" y="39"/>
                    <a:pt x="212" y="39"/>
                  </a:cubicBezTo>
                  <a:cubicBezTo>
                    <a:pt x="191" y="39"/>
                    <a:pt x="168" y="46"/>
                    <a:pt x="150" y="55"/>
                  </a:cubicBezTo>
                  <a:cubicBezTo>
                    <a:pt x="150" y="39"/>
                    <a:pt x="151" y="23"/>
                    <a:pt x="153" y="8"/>
                  </a:cubicBezTo>
                  <a:cubicBezTo>
                    <a:pt x="153" y="8"/>
                    <a:pt x="80" y="17"/>
                    <a:pt x="0" y="0"/>
                  </a:cubicBezTo>
                  <a:cubicBezTo>
                    <a:pt x="22" y="45"/>
                    <a:pt x="43" y="85"/>
                    <a:pt x="53" y="102"/>
                  </a:cubicBezTo>
                  <a:cubicBezTo>
                    <a:pt x="53" y="102"/>
                    <a:pt x="53" y="102"/>
                    <a:pt x="53" y="102"/>
                  </a:cubicBezTo>
                  <a:cubicBezTo>
                    <a:pt x="32" y="116"/>
                    <a:pt x="19" y="139"/>
                    <a:pt x="19" y="166"/>
                  </a:cubicBezTo>
                  <a:lnTo>
                    <a:pt x="406" y="166"/>
                  </a:lnTo>
                  <a:cubicBezTo>
                    <a:pt x="406" y="123"/>
                    <a:pt x="371" y="87"/>
                    <a:pt x="327" y="87"/>
                  </a:cubicBezTo>
                  <a:close/>
                </a:path>
              </a:pathLst>
            </a:custGeom>
            <a:grp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58">
              <a:extLst>
                <a:ext uri="{FF2B5EF4-FFF2-40B4-BE49-F238E27FC236}">
                  <a16:creationId xmlns:a16="http://schemas.microsoft.com/office/drawing/2014/main" id="{1304A2EA-1F10-B986-B4F1-4E2F3975196F}"/>
                </a:ext>
              </a:extLst>
            </p:cNvPr>
            <p:cNvSpPr>
              <a:spLocks noEditPoints="1"/>
            </p:cNvSpPr>
            <p:nvPr/>
          </p:nvSpPr>
          <p:spPr bwMode="auto">
            <a:xfrm>
              <a:off x="5010151" y="4987925"/>
              <a:ext cx="322263" cy="152400"/>
            </a:xfrm>
            <a:custGeom>
              <a:avLst/>
              <a:gdLst>
                <a:gd name="T0" fmla="*/ 76 w 422"/>
                <a:gd name="T1" fmla="*/ 75 h 199"/>
                <a:gd name="T2" fmla="*/ 94 w 422"/>
                <a:gd name="T3" fmla="*/ 120 h 199"/>
                <a:gd name="T4" fmla="*/ 49 w 422"/>
                <a:gd name="T5" fmla="*/ 90 h 199"/>
                <a:gd name="T6" fmla="*/ 76 w 422"/>
                <a:gd name="T7" fmla="*/ 75 h 199"/>
                <a:gd name="T8" fmla="*/ 344 w 422"/>
                <a:gd name="T9" fmla="*/ 95 h 199"/>
                <a:gd name="T10" fmla="*/ 373 w 422"/>
                <a:gd name="T11" fmla="*/ 117 h 199"/>
                <a:gd name="T12" fmla="*/ 319 w 422"/>
                <a:gd name="T13" fmla="*/ 139 h 199"/>
                <a:gd name="T14" fmla="*/ 344 w 422"/>
                <a:gd name="T15" fmla="*/ 95 h 199"/>
                <a:gd name="T16" fmla="*/ 1 w 422"/>
                <a:gd name="T17" fmla="*/ 86 h 199"/>
                <a:gd name="T18" fmla="*/ 8 w 422"/>
                <a:gd name="T19" fmla="*/ 116 h 199"/>
                <a:gd name="T20" fmla="*/ 204 w 422"/>
                <a:gd name="T21" fmla="*/ 192 h 199"/>
                <a:gd name="T22" fmla="*/ 409 w 422"/>
                <a:gd name="T23" fmla="*/ 149 h 199"/>
                <a:gd name="T24" fmla="*/ 421 w 422"/>
                <a:gd name="T25" fmla="*/ 121 h 199"/>
                <a:gd name="T26" fmla="*/ 400 w 422"/>
                <a:gd name="T27" fmla="*/ 74 h 199"/>
                <a:gd name="T28" fmla="*/ 218 w 422"/>
                <a:gd name="T29" fmla="*/ 53 h 199"/>
                <a:gd name="T30" fmla="*/ 49 w 422"/>
                <a:gd name="T31" fmla="*/ 0 h 199"/>
                <a:gd name="T32" fmla="*/ 60 w 422"/>
                <a:gd name="T33" fmla="*/ 29 h 199"/>
                <a:gd name="T34" fmla="*/ 1 w 422"/>
                <a:gd name="T35" fmla="*/ 8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2" h="199">
                  <a:moveTo>
                    <a:pt x="76" y="75"/>
                  </a:moveTo>
                  <a:cubicBezTo>
                    <a:pt x="82" y="90"/>
                    <a:pt x="88" y="105"/>
                    <a:pt x="94" y="120"/>
                  </a:cubicBezTo>
                  <a:cubicBezTo>
                    <a:pt x="65" y="108"/>
                    <a:pt x="50" y="96"/>
                    <a:pt x="49" y="90"/>
                  </a:cubicBezTo>
                  <a:cubicBezTo>
                    <a:pt x="49" y="89"/>
                    <a:pt x="56" y="82"/>
                    <a:pt x="76" y="75"/>
                  </a:cubicBezTo>
                  <a:close/>
                  <a:moveTo>
                    <a:pt x="344" y="95"/>
                  </a:moveTo>
                  <a:cubicBezTo>
                    <a:pt x="366" y="106"/>
                    <a:pt x="372" y="115"/>
                    <a:pt x="373" y="117"/>
                  </a:cubicBezTo>
                  <a:cubicBezTo>
                    <a:pt x="371" y="123"/>
                    <a:pt x="353" y="133"/>
                    <a:pt x="319" y="139"/>
                  </a:cubicBezTo>
                  <a:cubicBezTo>
                    <a:pt x="326" y="124"/>
                    <a:pt x="335" y="109"/>
                    <a:pt x="344" y="95"/>
                  </a:cubicBezTo>
                  <a:close/>
                  <a:moveTo>
                    <a:pt x="1" y="86"/>
                  </a:moveTo>
                  <a:cubicBezTo>
                    <a:pt x="0" y="97"/>
                    <a:pt x="3" y="107"/>
                    <a:pt x="8" y="116"/>
                  </a:cubicBezTo>
                  <a:cubicBezTo>
                    <a:pt x="33" y="159"/>
                    <a:pt x="120" y="186"/>
                    <a:pt x="204" y="192"/>
                  </a:cubicBezTo>
                  <a:cubicBezTo>
                    <a:pt x="309" y="199"/>
                    <a:pt x="380" y="182"/>
                    <a:pt x="409" y="149"/>
                  </a:cubicBezTo>
                  <a:cubicBezTo>
                    <a:pt x="417" y="139"/>
                    <a:pt x="420" y="129"/>
                    <a:pt x="421" y="121"/>
                  </a:cubicBezTo>
                  <a:cubicBezTo>
                    <a:pt x="422" y="108"/>
                    <a:pt x="418" y="91"/>
                    <a:pt x="400" y="74"/>
                  </a:cubicBezTo>
                  <a:cubicBezTo>
                    <a:pt x="342" y="74"/>
                    <a:pt x="280" y="66"/>
                    <a:pt x="218" y="53"/>
                  </a:cubicBezTo>
                  <a:cubicBezTo>
                    <a:pt x="157" y="40"/>
                    <a:pt x="100" y="22"/>
                    <a:pt x="49" y="0"/>
                  </a:cubicBezTo>
                  <a:cubicBezTo>
                    <a:pt x="53" y="10"/>
                    <a:pt x="56" y="20"/>
                    <a:pt x="60" y="29"/>
                  </a:cubicBezTo>
                  <a:cubicBezTo>
                    <a:pt x="14" y="45"/>
                    <a:pt x="2" y="69"/>
                    <a:pt x="1" y="86"/>
                  </a:cubicBezTo>
                </a:path>
              </a:pathLst>
            </a:custGeom>
            <a:grp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59">
              <a:extLst>
                <a:ext uri="{FF2B5EF4-FFF2-40B4-BE49-F238E27FC236}">
                  <a16:creationId xmlns:a16="http://schemas.microsoft.com/office/drawing/2014/main" id="{77A04B3A-26E9-C3AA-1B7B-50CEB648E76F}"/>
                </a:ext>
              </a:extLst>
            </p:cNvPr>
            <p:cNvSpPr>
              <a:spLocks noEditPoints="1"/>
            </p:cNvSpPr>
            <p:nvPr/>
          </p:nvSpPr>
          <p:spPr bwMode="auto">
            <a:xfrm>
              <a:off x="4919663" y="4487863"/>
              <a:ext cx="733425" cy="527050"/>
            </a:xfrm>
            <a:custGeom>
              <a:avLst/>
              <a:gdLst>
                <a:gd name="T0" fmla="*/ 909 w 963"/>
                <a:gd name="T1" fmla="*/ 254 h 692"/>
                <a:gd name="T2" fmla="*/ 716 w 963"/>
                <a:gd name="T3" fmla="*/ 313 h 692"/>
                <a:gd name="T4" fmla="*/ 672 w 963"/>
                <a:gd name="T5" fmla="*/ 312 h 692"/>
                <a:gd name="T6" fmla="*/ 812 w 963"/>
                <a:gd name="T7" fmla="*/ 255 h 692"/>
                <a:gd name="T8" fmla="*/ 749 w 963"/>
                <a:gd name="T9" fmla="*/ 171 h 692"/>
                <a:gd name="T10" fmla="*/ 769 w 963"/>
                <a:gd name="T11" fmla="*/ 220 h 692"/>
                <a:gd name="T12" fmla="*/ 457 w 963"/>
                <a:gd name="T13" fmla="*/ 263 h 692"/>
                <a:gd name="T14" fmla="*/ 255 w 963"/>
                <a:gd name="T15" fmla="*/ 192 h 692"/>
                <a:gd name="T16" fmla="*/ 185 w 963"/>
                <a:gd name="T17" fmla="*/ 107 h 692"/>
                <a:gd name="T18" fmla="*/ 378 w 963"/>
                <a:gd name="T19" fmla="*/ 48 h 692"/>
                <a:gd name="T20" fmla="*/ 489 w 963"/>
                <a:gd name="T21" fmla="*/ 55 h 692"/>
                <a:gd name="T22" fmla="*/ 285 w 963"/>
                <a:gd name="T23" fmla="*/ 112 h 692"/>
                <a:gd name="T24" fmla="*/ 348 w 963"/>
                <a:gd name="T25" fmla="*/ 195 h 692"/>
                <a:gd name="T26" fmla="*/ 329 w 963"/>
                <a:gd name="T27" fmla="*/ 147 h 692"/>
                <a:gd name="T28" fmla="*/ 640 w 963"/>
                <a:gd name="T29" fmla="*/ 103 h 692"/>
                <a:gd name="T30" fmla="*/ 845 w 963"/>
                <a:gd name="T31" fmla="*/ 172 h 692"/>
                <a:gd name="T32" fmla="*/ 909 w 963"/>
                <a:gd name="T33" fmla="*/ 254 h 692"/>
                <a:gd name="T34" fmla="*/ 694 w 963"/>
                <a:gd name="T35" fmla="*/ 593 h 692"/>
                <a:gd name="T36" fmla="*/ 558 w 963"/>
                <a:gd name="T37" fmla="*/ 644 h 692"/>
                <a:gd name="T38" fmla="*/ 680 w 963"/>
                <a:gd name="T39" fmla="*/ 555 h 692"/>
                <a:gd name="T40" fmla="*/ 694 w 963"/>
                <a:gd name="T41" fmla="*/ 593 h 692"/>
                <a:gd name="T42" fmla="*/ 49 w 963"/>
                <a:gd name="T43" fmla="*/ 452 h 692"/>
                <a:gd name="T44" fmla="*/ 111 w 963"/>
                <a:gd name="T45" fmla="*/ 420 h 692"/>
                <a:gd name="T46" fmla="*/ 137 w 963"/>
                <a:gd name="T47" fmla="*/ 549 h 692"/>
                <a:gd name="T48" fmla="*/ 49 w 963"/>
                <a:gd name="T49" fmla="*/ 452 h 692"/>
                <a:gd name="T50" fmla="*/ 852 w 963"/>
                <a:gd name="T51" fmla="*/ 119 h 692"/>
                <a:gd name="T52" fmla="*/ 580 w 963"/>
                <a:gd name="T53" fmla="*/ 21 h 692"/>
                <a:gd name="T54" fmla="*/ 378 w 963"/>
                <a:gd name="T55" fmla="*/ 0 h 692"/>
                <a:gd name="T56" fmla="*/ 138 w 963"/>
                <a:gd name="T57" fmla="*/ 97 h 692"/>
                <a:gd name="T58" fmla="*/ 106 w 963"/>
                <a:gd name="T59" fmla="*/ 372 h 692"/>
                <a:gd name="T60" fmla="*/ 2 w 963"/>
                <a:gd name="T61" fmla="*/ 445 h 692"/>
                <a:gd name="T62" fmla="*/ 3 w 963"/>
                <a:gd name="T63" fmla="*/ 475 h 692"/>
                <a:gd name="T64" fmla="*/ 340 w 963"/>
                <a:gd name="T65" fmla="*/ 671 h 692"/>
                <a:gd name="T66" fmla="*/ 525 w 963"/>
                <a:gd name="T67" fmla="*/ 692 h 692"/>
                <a:gd name="T68" fmla="*/ 728 w 963"/>
                <a:gd name="T69" fmla="*/ 631 h 692"/>
                <a:gd name="T70" fmla="*/ 741 w 963"/>
                <a:gd name="T71" fmla="*/ 603 h 692"/>
                <a:gd name="T72" fmla="*/ 722 w 963"/>
                <a:gd name="T73" fmla="*/ 531 h 692"/>
                <a:gd name="T74" fmla="*/ 771 w 963"/>
                <a:gd name="T75" fmla="*/ 507 h 692"/>
                <a:gd name="T76" fmla="*/ 956 w 963"/>
                <a:gd name="T77" fmla="*/ 264 h 692"/>
                <a:gd name="T78" fmla="*/ 852 w 963"/>
                <a:gd name="T79" fmla="*/ 119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63" h="692">
                  <a:moveTo>
                    <a:pt x="909" y="254"/>
                  </a:moveTo>
                  <a:cubicBezTo>
                    <a:pt x="903" y="283"/>
                    <a:pt x="841" y="313"/>
                    <a:pt x="716" y="313"/>
                  </a:cubicBezTo>
                  <a:cubicBezTo>
                    <a:pt x="702" y="313"/>
                    <a:pt x="687" y="313"/>
                    <a:pt x="672" y="312"/>
                  </a:cubicBezTo>
                  <a:cubicBezTo>
                    <a:pt x="750" y="309"/>
                    <a:pt x="805" y="288"/>
                    <a:pt x="812" y="255"/>
                  </a:cubicBezTo>
                  <a:cubicBezTo>
                    <a:pt x="818" y="228"/>
                    <a:pt x="793" y="199"/>
                    <a:pt x="749" y="171"/>
                  </a:cubicBezTo>
                  <a:cubicBezTo>
                    <a:pt x="765" y="188"/>
                    <a:pt x="772" y="205"/>
                    <a:pt x="769" y="220"/>
                  </a:cubicBezTo>
                  <a:cubicBezTo>
                    <a:pt x="757" y="275"/>
                    <a:pt x="618" y="294"/>
                    <a:pt x="457" y="263"/>
                  </a:cubicBezTo>
                  <a:cubicBezTo>
                    <a:pt x="373" y="246"/>
                    <a:pt x="303" y="223"/>
                    <a:pt x="255" y="192"/>
                  </a:cubicBezTo>
                  <a:cubicBezTo>
                    <a:pt x="207" y="162"/>
                    <a:pt x="181" y="129"/>
                    <a:pt x="185" y="107"/>
                  </a:cubicBezTo>
                  <a:cubicBezTo>
                    <a:pt x="191" y="78"/>
                    <a:pt x="254" y="48"/>
                    <a:pt x="378" y="48"/>
                  </a:cubicBezTo>
                  <a:cubicBezTo>
                    <a:pt x="413" y="48"/>
                    <a:pt x="450" y="51"/>
                    <a:pt x="489" y="55"/>
                  </a:cubicBezTo>
                  <a:cubicBezTo>
                    <a:pt x="378" y="49"/>
                    <a:pt x="294" y="70"/>
                    <a:pt x="285" y="112"/>
                  </a:cubicBezTo>
                  <a:cubicBezTo>
                    <a:pt x="280" y="139"/>
                    <a:pt x="304" y="168"/>
                    <a:pt x="348" y="195"/>
                  </a:cubicBezTo>
                  <a:cubicBezTo>
                    <a:pt x="333" y="179"/>
                    <a:pt x="326" y="162"/>
                    <a:pt x="329" y="147"/>
                  </a:cubicBezTo>
                  <a:cubicBezTo>
                    <a:pt x="340" y="91"/>
                    <a:pt x="479" y="72"/>
                    <a:pt x="640" y="103"/>
                  </a:cubicBezTo>
                  <a:cubicBezTo>
                    <a:pt x="724" y="120"/>
                    <a:pt x="797" y="141"/>
                    <a:pt x="845" y="172"/>
                  </a:cubicBezTo>
                  <a:cubicBezTo>
                    <a:pt x="890" y="201"/>
                    <a:pt x="914" y="233"/>
                    <a:pt x="909" y="254"/>
                  </a:cubicBezTo>
                  <a:close/>
                  <a:moveTo>
                    <a:pt x="694" y="593"/>
                  </a:moveTo>
                  <a:cubicBezTo>
                    <a:pt x="689" y="618"/>
                    <a:pt x="639" y="639"/>
                    <a:pt x="558" y="644"/>
                  </a:cubicBezTo>
                  <a:cubicBezTo>
                    <a:pt x="598" y="609"/>
                    <a:pt x="640" y="579"/>
                    <a:pt x="680" y="555"/>
                  </a:cubicBezTo>
                  <a:cubicBezTo>
                    <a:pt x="688" y="566"/>
                    <a:pt x="697" y="580"/>
                    <a:pt x="694" y="593"/>
                  </a:cubicBezTo>
                  <a:close/>
                  <a:moveTo>
                    <a:pt x="49" y="452"/>
                  </a:moveTo>
                  <a:cubicBezTo>
                    <a:pt x="50" y="445"/>
                    <a:pt x="71" y="426"/>
                    <a:pt x="111" y="420"/>
                  </a:cubicBezTo>
                  <a:cubicBezTo>
                    <a:pt x="117" y="464"/>
                    <a:pt x="126" y="507"/>
                    <a:pt x="137" y="549"/>
                  </a:cubicBezTo>
                  <a:cubicBezTo>
                    <a:pt x="76" y="516"/>
                    <a:pt x="45" y="480"/>
                    <a:pt x="49" y="452"/>
                  </a:cubicBezTo>
                  <a:close/>
                  <a:moveTo>
                    <a:pt x="852" y="119"/>
                  </a:moveTo>
                  <a:cubicBezTo>
                    <a:pt x="782" y="78"/>
                    <a:pt x="685" y="43"/>
                    <a:pt x="580" y="21"/>
                  </a:cubicBezTo>
                  <a:cubicBezTo>
                    <a:pt x="510" y="7"/>
                    <a:pt x="440" y="0"/>
                    <a:pt x="378" y="0"/>
                  </a:cubicBezTo>
                  <a:cubicBezTo>
                    <a:pt x="238" y="0"/>
                    <a:pt x="151" y="35"/>
                    <a:pt x="138" y="97"/>
                  </a:cubicBezTo>
                  <a:cubicBezTo>
                    <a:pt x="106" y="180"/>
                    <a:pt x="98" y="278"/>
                    <a:pt x="106" y="372"/>
                  </a:cubicBezTo>
                  <a:cubicBezTo>
                    <a:pt x="50" y="380"/>
                    <a:pt x="7" y="409"/>
                    <a:pt x="2" y="445"/>
                  </a:cubicBezTo>
                  <a:cubicBezTo>
                    <a:pt x="0" y="455"/>
                    <a:pt x="1" y="465"/>
                    <a:pt x="3" y="475"/>
                  </a:cubicBezTo>
                  <a:cubicBezTo>
                    <a:pt x="21" y="564"/>
                    <a:pt x="178" y="637"/>
                    <a:pt x="340" y="671"/>
                  </a:cubicBezTo>
                  <a:cubicBezTo>
                    <a:pt x="402" y="685"/>
                    <a:pt x="467" y="692"/>
                    <a:pt x="525" y="692"/>
                  </a:cubicBezTo>
                  <a:cubicBezTo>
                    <a:pt x="618" y="692"/>
                    <a:pt x="697" y="674"/>
                    <a:pt x="728" y="631"/>
                  </a:cubicBezTo>
                  <a:cubicBezTo>
                    <a:pt x="735" y="622"/>
                    <a:pt x="739" y="613"/>
                    <a:pt x="741" y="603"/>
                  </a:cubicBezTo>
                  <a:cubicBezTo>
                    <a:pt x="745" y="586"/>
                    <a:pt x="744" y="561"/>
                    <a:pt x="722" y="531"/>
                  </a:cubicBezTo>
                  <a:cubicBezTo>
                    <a:pt x="740" y="522"/>
                    <a:pt x="756" y="514"/>
                    <a:pt x="771" y="507"/>
                  </a:cubicBezTo>
                  <a:cubicBezTo>
                    <a:pt x="936" y="434"/>
                    <a:pt x="954" y="297"/>
                    <a:pt x="956" y="264"/>
                  </a:cubicBezTo>
                  <a:cubicBezTo>
                    <a:pt x="963" y="231"/>
                    <a:pt x="950" y="179"/>
                    <a:pt x="852" y="119"/>
                  </a:cubicBezTo>
                </a:path>
              </a:pathLst>
            </a:custGeom>
            <a:grp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4" name="TextBox 7">
            <a:extLst>
              <a:ext uri="{FF2B5EF4-FFF2-40B4-BE49-F238E27FC236}">
                <a16:creationId xmlns:a16="http://schemas.microsoft.com/office/drawing/2014/main" id="{83D4BB2A-E6D0-A296-7935-50B9A977DF54}"/>
              </a:ext>
            </a:extLst>
          </p:cNvPr>
          <p:cNvSpPr txBox="1"/>
          <p:nvPr/>
        </p:nvSpPr>
        <p:spPr>
          <a:xfrm>
            <a:off x="402586" y="4609951"/>
            <a:ext cx="2538000" cy="1015663"/>
          </a:xfrm>
          <a:prstGeom prst="rect">
            <a:avLst/>
          </a:prstGeom>
          <a:noFill/>
        </p:spPr>
        <p:txBody>
          <a:bodyPr wrap="square" rtlCol="0" anchor="ctr">
            <a:spAutoFit/>
          </a:bodyPr>
          <a:lstStyle/>
          <a:p>
            <a:pPr algn="ctr"/>
            <a:r>
              <a:rPr lang="en-US" sz="1200"/>
              <a:t>It is crucial to not just tell employees what to do but also provide a clear vision of where the company is headed. This allows to build trust and rally various stakeholders</a:t>
            </a:r>
          </a:p>
        </p:txBody>
      </p:sp>
    </p:spTree>
    <p:extLst>
      <p:ext uri="{BB962C8B-B14F-4D97-AF65-F5344CB8AC3E}">
        <p14:creationId xmlns:p14="http://schemas.microsoft.com/office/powerpoint/2010/main" val="78354792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FB00D73-B624-9437-94DF-1AEB8EE8E8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11" name="think-cell data - do not delete" hidden="1">
                        <a:extLst>
                          <a:ext uri="{FF2B5EF4-FFF2-40B4-BE49-F238E27FC236}">
                            <a16:creationId xmlns:a16="http://schemas.microsoft.com/office/drawing/2014/main" id="{3FB00D73-B624-9437-94DF-1AEB8EE8E8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9E026891-9074-5DE5-6147-87E72B4536A9}"/>
              </a:ext>
            </a:extLst>
          </p:cNvPr>
          <p:cNvSpPr/>
          <p:nvPr/>
        </p:nvSpPr>
        <p:spPr>
          <a:xfrm>
            <a:off x="4672964" y="2034682"/>
            <a:ext cx="4314234" cy="4320682"/>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BB261A67-E7F4-3E4D-F69F-969A19AAD897}"/>
              </a:ext>
            </a:extLst>
          </p:cNvPr>
          <p:cNvSpPr>
            <a:spLocks noGrp="1"/>
          </p:cNvSpPr>
          <p:nvPr>
            <p:ph type="title"/>
          </p:nvPr>
        </p:nvSpPr>
        <p:spPr/>
        <p:txBody>
          <a:bodyPr vert="horz"/>
          <a:lstStyle/>
          <a:p>
            <a:r>
              <a:rPr lang="en-US"/>
              <a:t>Primary and secondary Stakeholders have different interests in an organization</a:t>
            </a:r>
          </a:p>
        </p:txBody>
      </p:sp>
      <p:sp>
        <p:nvSpPr>
          <p:cNvPr id="4" name="Foliennummernplatzhalter 3">
            <a:extLst>
              <a:ext uri="{FF2B5EF4-FFF2-40B4-BE49-F238E27FC236}">
                <a16:creationId xmlns:a16="http://schemas.microsoft.com/office/drawing/2014/main" id="{879753C8-B78B-A1CB-10B0-EFC6E96DC861}"/>
              </a:ext>
            </a:extLst>
          </p:cNvPr>
          <p:cNvSpPr>
            <a:spLocks noGrp="1"/>
          </p:cNvSpPr>
          <p:nvPr>
            <p:ph type="sldNum" sz="quarter" idx="4"/>
          </p:nvPr>
        </p:nvSpPr>
        <p:spPr/>
        <p:txBody>
          <a:bodyPr/>
          <a:lstStyle/>
          <a:p>
            <a:fld id="{BAF04893-69FB-435D-AB2E-CA259D85B32F}" type="slidenum">
              <a:rPr lang="en-US" smtClean="0"/>
              <a:pPr/>
              <a:t>97</a:t>
            </a:fld>
            <a:endParaRPr lang="en-US"/>
          </a:p>
        </p:txBody>
      </p:sp>
      <p:sp>
        <p:nvSpPr>
          <p:cNvPr id="5" name="Inhaltsplatzhalter 4">
            <a:extLst>
              <a:ext uri="{FF2B5EF4-FFF2-40B4-BE49-F238E27FC236}">
                <a16:creationId xmlns:a16="http://schemas.microsoft.com/office/drawing/2014/main" id="{A4CCB9AF-22DE-A9F8-D563-DA854989CF82}"/>
              </a:ext>
            </a:extLst>
          </p:cNvPr>
          <p:cNvSpPr>
            <a:spLocks noGrp="1"/>
          </p:cNvSpPr>
          <p:nvPr>
            <p:ph idx="10"/>
          </p:nvPr>
        </p:nvSpPr>
        <p:spPr/>
        <p:txBody>
          <a:bodyPr/>
          <a:lstStyle/>
          <a:p>
            <a:r>
              <a:rPr lang="en-US"/>
              <a:t>Uber Stakeholder Overview</a:t>
            </a:r>
          </a:p>
        </p:txBody>
      </p:sp>
      <p:sp>
        <p:nvSpPr>
          <p:cNvPr id="6" name="Inhaltsplatzhalter 5">
            <a:extLst>
              <a:ext uri="{FF2B5EF4-FFF2-40B4-BE49-F238E27FC236}">
                <a16:creationId xmlns:a16="http://schemas.microsoft.com/office/drawing/2014/main" id="{10B81DC4-7806-495A-8027-37209D8B6BB3}"/>
              </a:ext>
            </a:extLst>
          </p:cNvPr>
          <p:cNvSpPr>
            <a:spLocks noGrp="1"/>
          </p:cNvSpPr>
          <p:nvPr>
            <p:ph idx="11"/>
          </p:nvPr>
        </p:nvSpPr>
        <p:spPr/>
        <p:txBody>
          <a:bodyPr/>
          <a:lstStyle/>
          <a:p>
            <a:r>
              <a:rPr lang="en-US"/>
              <a:t>Own Representation</a:t>
            </a:r>
          </a:p>
        </p:txBody>
      </p:sp>
      <p:sp>
        <p:nvSpPr>
          <p:cNvPr id="7" name="Inhaltsplatzhalter 6">
            <a:extLst>
              <a:ext uri="{FF2B5EF4-FFF2-40B4-BE49-F238E27FC236}">
                <a16:creationId xmlns:a16="http://schemas.microsoft.com/office/drawing/2014/main" id="{4CC22B2F-9A24-0FFE-55CA-92C8AE5480AE}"/>
              </a:ext>
            </a:extLst>
          </p:cNvPr>
          <p:cNvSpPr>
            <a:spLocks noGrp="1"/>
          </p:cNvSpPr>
          <p:nvPr>
            <p:ph idx="12"/>
          </p:nvPr>
        </p:nvSpPr>
        <p:spPr/>
        <p:txBody>
          <a:bodyPr/>
          <a:lstStyle/>
          <a:p>
            <a:r>
              <a:rPr lang="en-US"/>
              <a:t>Stakeholder</a:t>
            </a:r>
          </a:p>
        </p:txBody>
      </p:sp>
      <p:sp>
        <p:nvSpPr>
          <p:cNvPr id="8" name="Rechteck 7">
            <a:extLst>
              <a:ext uri="{FF2B5EF4-FFF2-40B4-BE49-F238E27FC236}">
                <a16:creationId xmlns:a16="http://schemas.microsoft.com/office/drawing/2014/main" id="{09DA7079-80AB-36AF-5B3A-F89B09C60FE5}"/>
              </a:ext>
            </a:extLst>
          </p:cNvPr>
          <p:cNvSpPr/>
          <p:nvPr/>
        </p:nvSpPr>
        <p:spPr>
          <a:xfrm>
            <a:off x="359997" y="2034682"/>
            <a:ext cx="4314234" cy="4320682"/>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a:extLst>
              <a:ext uri="{FF2B5EF4-FFF2-40B4-BE49-F238E27FC236}">
                <a16:creationId xmlns:a16="http://schemas.microsoft.com/office/drawing/2014/main" id="{462E83F7-5A5C-8B1A-1DDB-3924BD6E17B7}"/>
              </a:ext>
            </a:extLst>
          </p:cNvPr>
          <p:cNvSpPr/>
          <p:nvPr/>
        </p:nvSpPr>
        <p:spPr>
          <a:xfrm>
            <a:off x="361264" y="2034682"/>
            <a:ext cx="4314234" cy="322312"/>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r>
              <a:rPr lang="en-US" sz="1400" b="1"/>
              <a:t>Primary Stakeholder</a:t>
            </a:r>
          </a:p>
        </p:txBody>
      </p:sp>
      <p:sp>
        <p:nvSpPr>
          <p:cNvPr id="10" name="Textfeld 9">
            <a:extLst>
              <a:ext uri="{FF2B5EF4-FFF2-40B4-BE49-F238E27FC236}">
                <a16:creationId xmlns:a16="http://schemas.microsoft.com/office/drawing/2014/main" id="{0EC66004-7EE0-403C-1D91-C580274DF75B}"/>
              </a:ext>
            </a:extLst>
          </p:cNvPr>
          <p:cNvSpPr txBox="1"/>
          <p:nvPr/>
        </p:nvSpPr>
        <p:spPr>
          <a:xfrm>
            <a:off x="358730" y="2356994"/>
            <a:ext cx="4314234" cy="3600986"/>
          </a:xfrm>
          <a:prstGeom prst="rect">
            <a:avLst/>
          </a:prstGeom>
          <a:noFill/>
        </p:spPr>
        <p:txBody>
          <a:bodyPr wrap="square" rtlCol="0">
            <a:spAutoFit/>
          </a:bodyPr>
          <a:lstStyle/>
          <a:p>
            <a:pPr marL="342900" indent="-342900">
              <a:buAutoNum type="arabicPeriod"/>
            </a:pPr>
            <a:r>
              <a:rPr lang="en-US" sz="1200" b="1"/>
              <a:t>Employees and Drivers:</a:t>
            </a:r>
          </a:p>
          <a:p>
            <a:pPr marL="742950" lvl="1" indent="-285750">
              <a:buFont typeface="Arial" panose="020B0604020202020204" pitchFamily="34" charset="0"/>
              <a:buChar char="•"/>
            </a:pPr>
            <a:r>
              <a:rPr lang="en-US" sz="1200" b="1"/>
              <a:t>Full-time Employees</a:t>
            </a:r>
            <a:r>
              <a:rPr lang="en-US" sz="1200"/>
              <a:t>: Engaged in corporate functions, management and planning</a:t>
            </a:r>
          </a:p>
          <a:p>
            <a:pPr marL="742950" lvl="1" indent="-285750">
              <a:buFont typeface="Arial" panose="020B0604020202020204" pitchFamily="34" charset="0"/>
              <a:buChar char="•"/>
            </a:pPr>
            <a:r>
              <a:rPr lang="en-US" sz="1200" b="1"/>
              <a:t>Uber Drivers (Independent Contractors): Essential</a:t>
            </a:r>
            <a:r>
              <a:rPr lang="en-US" sz="1200"/>
              <a:t> </a:t>
            </a:r>
            <a:r>
              <a:rPr lang="en-US" sz="1200" b="1"/>
              <a:t>to</a:t>
            </a:r>
            <a:r>
              <a:rPr lang="en-US" sz="1200"/>
              <a:t> the functioning of </a:t>
            </a:r>
            <a:r>
              <a:rPr lang="en-US" sz="1200" b="1"/>
              <a:t>Ubers operations</a:t>
            </a:r>
            <a:r>
              <a:rPr lang="en-US" sz="1200"/>
              <a:t>, as they </a:t>
            </a:r>
            <a:r>
              <a:rPr lang="en-US" sz="1200" b="1"/>
              <a:t>provide</a:t>
            </a:r>
            <a:r>
              <a:rPr lang="en-US" sz="1200"/>
              <a:t> the </a:t>
            </a:r>
            <a:r>
              <a:rPr lang="en-US" sz="1200" b="1"/>
              <a:t>service</a:t>
            </a:r>
            <a:r>
              <a:rPr lang="en-US" sz="1200"/>
              <a:t> that is crucial for the company's success</a:t>
            </a:r>
          </a:p>
          <a:p>
            <a:pPr marL="342900" indent="-342900">
              <a:buFont typeface="+mj-lt"/>
              <a:buAutoNum type="arabicPeriod"/>
            </a:pPr>
            <a:r>
              <a:rPr lang="en-US" sz="1200" b="1"/>
              <a:t>Customers</a:t>
            </a:r>
          </a:p>
          <a:p>
            <a:pPr marL="800100" lvl="1" indent="-342900">
              <a:buFont typeface="Arial" panose="020B0604020202020204" pitchFamily="34" charset="0"/>
              <a:buChar char="•"/>
            </a:pPr>
            <a:r>
              <a:rPr lang="en-US" sz="1200" b="1"/>
              <a:t>Riders</a:t>
            </a:r>
            <a:r>
              <a:rPr lang="en-US" sz="1200"/>
              <a:t>: Individuals who use Uber for travel </a:t>
            </a:r>
          </a:p>
          <a:p>
            <a:pPr marL="800100" lvl="1" indent="-342900">
              <a:buFont typeface="Arial" panose="020B0604020202020204" pitchFamily="34" charset="0"/>
              <a:buChar char="•"/>
            </a:pPr>
            <a:r>
              <a:rPr lang="en-US" sz="1200" b="1"/>
              <a:t>Business</a:t>
            </a:r>
            <a:r>
              <a:rPr lang="en-US" sz="1200"/>
              <a:t> </a:t>
            </a:r>
            <a:r>
              <a:rPr lang="en-US" sz="1200" b="1"/>
              <a:t>Clients</a:t>
            </a:r>
            <a:r>
              <a:rPr lang="en-US" sz="1200"/>
              <a:t>: Companies that use Uber for travel or logistics</a:t>
            </a:r>
          </a:p>
          <a:p>
            <a:pPr marL="342900" indent="-342900">
              <a:buFont typeface="+mj-lt"/>
              <a:buAutoNum type="arabicPeriod"/>
            </a:pPr>
            <a:r>
              <a:rPr lang="en-US" sz="1200" b="1"/>
              <a:t>Investors and Shareholders:</a:t>
            </a:r>
          </a:p>
          <a:p>
            <a:pPr marL="742950" lvl="1" indent="-285750">
              <a:buFont typeface="Arial" panose="020B0604020202020204" pitchFamily="34" charset="0"/>
              <a:buChar char="•"/>
            </a:pPr>
            <a:r>
              <a:rPr lang="en-US" sz="1200" b="1"/>
              <a:t>Private Investors</a:t>
            </a:r>
            <a:r>
              <a:rPr lang="en-US" sz="1200"/>
              <a:t>: Venture capitalists and angel investors from early funding rounds</a:t>
            </a:r>
          </a:p>
          <a:p>
            <a:pPr marL="742950" lvl="1" indent="-285750">
              <a:buFont typeface="Arial" panose="020B0604020202020204" pitchFamily="34" charset="0"/>
              <a:buChar char="•"/>
            </a:pPr>
            <a:r>
              <a:rPr lang="en-US" sz="1200" b="1"/>
              <a:t>Public</a:t>
            </a:r>
            <a:r>
              <a:rPr lang="en-US" sz="1200"/>
              <a:t> </a:t>
            </a:r>
            <a:r>
              <a:rPr lang="en-US" sz="1200" b="1"/>
              <a:t>Stakeholders</a:t>
            </a:r>
            <a:r>
              <a:rPr lang="en-US" sz="1200"/>
              <a:t>: Investors owning stock post-IPO</a:t>
            </a:r>
            <a:r>
              <a:rPr lang="en-US" sz="1200" baseline="30000"/>
              <a:t>1</a:t>
            </a:r>
          </a:p>
          <a:p>
            <a:pPr marL="342900" indent="-342900">
              <a:buFont typeface="+mj-lt"/>
              <a:buAutoNum type="arabicPeriod"/>
            </a:pPr>
            <a:r>
              <a:rPr lang="en-US" sz="1200" b="1"/>
              <a:t>Business</a:t>
            </a:r>
            <a:r>
              <a:rPr lang="en-US" sz="1200"/>
              <a:t> </a:t>
            </a:r>
            <a:r>
              <a:rPr lang="en-US" sz="1200" b="1"/>
              <a:t>Partners</a:t>
            </a:r>
          </a:p>
          <a:p>
            <a:pPr marL="800100" lvl="1" indent="-342900">
              <a:buFont typeface="Arial" panose="020B0604020202020204" pitchFamily="34" charset="0"/>
              <a:buChar char="•"/>
            </a:pPr>
            <a:r>
              <a:rPr lang="en-US" sz="1200" b="1"/>
              <a:t>Technology Partners: </a:t>
            </a:r>
            <a:r>
              <a:rPr lang="en-US" sz="1200"/>
              <a:t>Providers of software and hardware supporting Uber’s platform</a:t>
            </a:r>
          </a:p>
          <a:p>
            <a:pPr marL="800100" lvl="1" indent="-342900">
              <a:buFont typeface="Arial" panose="020B0604020202020204" pitchFamily="34" charset="0"/>
              <a:buChar char="•"/>
            </a:pPr>
            <a:r>
              <a:rPr lang="en-US" sz="1200" b="1"/>
              <a:t>Service Partners: </a:t>
            </a:r>
            <a:r>
              <a:rPr lang="en-US" sz="1200"/>
              <a:t>Companies collaborating with Uber for services like UberEats or UberFreight</a:t>
            </a:r>
          </a:p>
        </p:txBody>
      </p:sp>
      <p:sp>
        <p:nvSpPr>
          <p:cNvPr id="13" name="Textfeld 12">
            <a:extLst>
              <a:ext uri="{FF2B5EF4-FFF2-40B4-BE49-F238E27FC236}">
                <a16:creationId xmlns:a16="http://schemas.microsoft.com/office/drawing/2014/main" id="{2D9FE939-B39D-2767-7B78-80FFABF1BA0F}"/>
              </a:ext>
            </a:extLst>
          </p:cNvPr>
          <p:cNvSpPr txBox="1"/>
          <p:nvPr/>
        </p:nvSpPr>
        <p:spPr>
          <a:xfrm>
            <a:off x="358730" y="6139920"/>
            <a:ext cx="2619671" cy="215444"/>
          </a:xfrm>
          <a:prstGeom prst="rect">
            <a:avLst/>
          </a:prstGeom>
          <a:noFill/>
        </p:spPr>
        <p:txBody>
          <a:bodyPr wrap="square">
            <a:spAutoFit/>
          </a:bodyPr>
          <a:lstStyle/>
          <a:p>
            <a:r>
              <a:rPr lang="en-US" sz="800"/>
              <a:t>1) After the company has gone public</a:t>
            </a:r>
          </a:p>
        </p:txBody>
      </p:sp>
      <p:sp>
        <p:nvSpPr>
          <p:cNvPr id="14" name="Rechteck 13">
            <a:extLst>
              <a:ext uri="{FF2B5EF4-FFF2-40B4-BE49-F238E27FC236}">
                <a16:creationId xmlns:a16="http://schemas.microsoft.com/office/drawing/2014/main" id="{0B7B7703-F73A-3F29-CDEF-98E8B6F32511}"/>
              </a:ext>
            </a:extLst>
          </p:cNvPr>
          <p:cNvSpPr/>
          <p:nvPr/>
        </p:nvSpPr>
        <p:spPr>
          <a:xfrm>
            <a:off x="4675498" y="2034682"/>
            <a:ext cx="4314234" cy="322312"/>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r>
              <a:rPr lang="en-US" sz="1400" b="1"/>
              <a:t>Secondary Stakeholders</a:t>
            </a:r>
          </a:p>
        </p:txBody>
      </p:sp>
      <p:sp>
        <p:nvSpPr>
          <p:cNvPr id="15" name="Textfeld 14">
            <a:extLst>
              <a:ext uri="{FF2B5EF4-FFF2-40B4-BE49-F238E27FC236}">
                <a16:creationId xmlns:a16="http://schemas.microsoft.com/office/drawing/2014/main" id="{1BBF0ED2-2965-8138-998D-58FDD5F47D17}"/>
              </a:ext>
            </a:extLst>
          </p:cNvPr>
          <p:cNvSpPr txBox="1"/>
          <p:nvPr/>
        </p:nvSpPr>
        <p:spPr>
          <a:xfrm>
            <a:off x="4672964" y="2356994"/>
            <a:ext cx="4314234" cy="3785652"/>
          </a:xfrm>
          <a:prstGeom prst="rect">
            <a:avLst/>
          </a:prstGeom>
          <a:noFill/>
        </p:spPr>
        <p:txBody>
          <a:bodyPr wrap="square" rtlCol="0">
            <a:spAutoFit/>
          </a:bodyPr>
          <a:lstStyle/>
          <a:p>
            <a:pPr marL="342900" indent="-342900">
              <a:buFont typeface="+mj-lt"/>
              <a:buAutoNum type="arabicPeriod" startAt="5"/>
            </a:pPr>
            <a:r>
              <a:rPr lang="en-US" sz="1200" b="1" i="0">
                <a:effectLst/>
                <a:latin typeface="Söhne"/>
              </a:rPr>
              <a:t>Regulatory Bodies</a:t>
            </a:r>
            <a:r>
              <a:rPr lang="en-US" sz="1200" b="1"/>
              <a:t>:</a:t>
            </a:r>
          </a:p>
          <a:p>
            <a:pPr marL="742950" lvl="1" indent="-285750">
              <a:buFont typeface="Arial" panose="020B0604020202020204" pitchFamily="34" charset="0"/>
              <a:buChar char="•"/>
            </a:pPr>
            <a:r>
              <a:rPr lang="en-US" sz="1200"/>
              <a:t>Local Governments: Regulate transport services, labor laws, and compliance</a:t>
            </a:r>
          </a:p>
          <a:p>
            <a:pPr marL="742950" lvl="1" indent="-285750">
              <a:buFont typeface="Arial" panose="020B0604020202020204" pitchFamily="34" charset="0"/>
              <a:buChar char="•"/>
            </a:pPr>
            <a:r>
              <a:rPr lang="en-US" sz="1200"/>
              <a:t>Transportation Authorities: Oversee public transportation systems and their integration with services like Uber</a:t>
            </a:r>
          </a:p>
          <a:p>
            <a:pPr marL="285750" indent="-285750">
              <a:buFont typeface="+mj-lt"/>
              <a:buAutoNum type="arabicPeriod" startAt="5"/>
            </a:pPr>
            <a:r>
              <a:rPr lang="en-US" sz="1200" b="1"/>
              <a:t>Competitors</a:t>
            </a:r>
          </a:p>
          <a:p>
            <a:pPr marL="800100" lvl="1" indent="-342900">
              <a:buFont typeface="Arial" panose="020B0604020202020204" pitchFamily="34" charset="0"/>
              <a:buChar char="•"/>
            </a:pPr>
            <a:r>
              <a:rPr lang="en-US" sz="1200" b="1"/>
              <a:t>Other Ride-Sharing Companies</a:t>
            </a:r>
            <a:r>
              <a:rPr lang="en-US" sz="1200"/>
              <a:t>: Direct competitors</a:t>
            </a:r>
          </a:p>
          <a:p>
            <a:pPr marL="800100" lvl="1" indent="-342900">
              <a:buFont typeface="Arial" panose="020B0604020202020204" pitchFamily="34" charset="0"/>
              <a:buChar char="•"/>
            </a:pPr>
            <a:r>
              <a:rPr lang="en-US" sz="1200" b="1"/>
              <a:t>Public Transportation Services</a:t>
            </a:r>
            <a:r>
              <a:rPr lang="en-US" sz="1200"/>
              <a:t>: Indirect competition, offering alternative transport modes</a:t>
            </a:r>
          </a:p>
          <a:p>
            <a:pPr marL="342900" indent="-342900">
              <a:buFont typeface="+mj-lt"/>
              <a:buAutoNum type="arabicPeriod" startAt="5"/>
            </a:pPr>
            <a:r>
              <a:rPr lang="en-US" sz="1200" b="1"/>
              <a:t>Suppliers:</a:t>
            </a:r>
          </a:p>
          <a:p>
            <a:pPr marL="742950" lvl="1" indent="-285750">
              <a:buFont typeface="Arial" panose="020B0604020202020204" pitchFamily="34" charset="0"/>
              <a:buChar char="•"/>
            </a:pPr>
            <a:r>
              <a:rPr lang="en-US" sz="1200" b="1"/>
              <a:t>Vehicle Manufacturers: </a:t>
            </a:r>
            <a:r>
              <a:rPr lang="en-US" sz="1200"/>
              <a:t>Supply cars to drivers or for Ubers autonomous vehicle projects</a:t>
            </a:r>
          </a:p>
          <a:p>
            <a:pPr marL="742950" lvl="1" indent="-285750">
              <a:buFont typeface="Arial" panose="020B0604020202020204" pitchFamily="34" charset="0"/>
              <a:buChar char="•"/>
            </a:pPr>
            <a:r>
              <a:rPr lang="en-US" sz="1200" b="1"/>
              <a:t>Tech Suppliers</a:t>
            </a:r>
            <a:r>
              <a:rPr lang="en-US" sz="1200"/>
              <a:t>: Provide software and hardware for Uber app, infrastructure and AI research</a:t>
            </a:r>
            <a:endParaRPr lang="en-US" sz="1200" baseline="30000"/>
          </a:p>
          <a:p>
            <a:pPr marL="342900" indent="-342900">
              <a:buFont typeface="+mj-lt"/>
              <a:buAutoNum type="arabicPeriod" startAt="5"/>
            </a:pPr>
            <a:r>
              <a:rPr lang="en-US" sz="1200" b="1"/>
              <a:t>Community and Society:</a:t>
            </a:r>
          </a:p>
          <a:p>
            <a:pPr marL="800100" lvl="1" indent="-342900">
              <a:buFont typeface="Arial" panose="020B0604020202020204" pitchFamily="34" charset="0"/>
              <a:buChar char="•"/>
            </a:pPr>
            <a:r>
              <a:rPr lang="en-US" sz="1200" b="1"/>
              <a:t>Local Communities: </a:t>
            </a:r>
            <a:r>
              <a:rPr lang="en-US" sz="1200"/>
              <a:t>Affected by increased traffic, environmental impact and employment opportunities</a:t>
            </a:r>
          </a:p>
          <a:p>
            <a:pPr marL="800100" lvl="1" indent="-342900">
              <a:buFont typeface="Arial" panose="020B0604020202020204" pitchFamily="34" charset="0"/>
              <a:buChar char="•"/>
            </a:pPr>
            <a:r>
              <a:rPr lang="en-US" sz="1200" b="1"/>
              <a:t>Organizations: </a:t>
            </a:r>
            <a:r>
              <a:rPr lang="en-US" sz="1200"/>
              <a:t>Labor rights organizations, environmental groups and urban planning entities</a:t>
            </a:r>
          </a:p>
        </p:txBody>
      </p:sp>
    </p:spTree>
    <p:extLst>
      <p:ext uri="{BB962C8B-B14F-4D97-AF65-F5344CB8AC3E}">
        <p14:creationId xmlns:p14="http://schemas.microsoft.com/office/powerpoint/2010/main" val="63656538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8351F88-465A-ECC4-BF08-2E7DE98F5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5" name="think-cell data - do not delete" hidden="1">
                        <a:extLst>
                          <a:ext uri="{FF2B5EF4-FFF2-40B4-BE49-F238E27FC236}">
                            <a16:creationId xmlns:a16="http://schemas.microsoft.com/office/drawing/2014/main" id="{98351F88-465A-ECC4-BF08-2E7DE98F5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4AD4928-F65C-7D0B-194F-4554F1369009}"/>
              </a:ext>
            </a:extLst>
          </p:cNvPr>
          <p:cNvSpPr>
            <a:spLocks noGrp="1"/>
          </p:cNvSpPr>
          <p:nvPr>
            <p:ph type="title"/>
          </p:nvPr>
        </p:nvSpPr>
        <p:spPr/>
        <p:txBody>
          <a:bodyPr vert="horz"/>
          <a:lstStyle/>
          <a:p>
            <a:r>
              <a:rPr lang="en-US"/>
              <a:t>Primary and secondary Stakeholders have different interests in an organization</a:t>
            </a:r>
          </a:p>
        </p:txBody>
      </p:sp>
      <p:sp>
        <p:nvSpPr>
          <p:cNvPr id="4" name="Foliennummernplatzhalter 3">
            <a:extLst>
              <a:ext uri="{FF2B5EF4-FFF2-40B4-BE49-F238E27FC236}">
                <a16:creationId xmlns:a16="http://schemas.microsoft.com/office/drawing/2014/main" id="{7605E686-7D4C-0D84-167E-89C88D7C23CF}"/>
              </a:ext>
            </a:extLst>
          </p:cNvPr>
          <p:cNvSpPr>
            <a:spLocks noGrp="1"/>
          </p:cNvSpPr>
          <p:nvPr>
            <p:ph type="sldNum" sz="quarter" idx="4"/>
          </p:nvPr>
        </p:nvSpPr>
        <p:spPr/>
        <p:txBody>
          <a:bodyPr/>
          <a:lstStyle/>
          <a:p>
            <a:fld id="{BAF04893-69FB-435D-AB2E-CA259D85B32F}" type="slidenum">
              <a:rPr lang="en-US" smtClean="0"/>
              <a:pPr/>
              <a:t>98</a:t>
            </a:fld>
            <a:endParaRPr lang="en-US"/>
          </a:p>
        </p:txBody>
      </p:sp>
      <p:sp>
        <p:nvSpPr>
          <p:cNvPr id="6" name="Inhaltsplatzhalter 5">
            <a:extLst>
              <a:ext uri="{FF2B5EF4-FFF2-40B4-BE49-F238E27FC236}">
                <a16:creationId xmlns:a16="http://schemas.microsoft.com/office/drawing/2014/main" id="{BDDB07A2-10BA-4AE2-9ABE-F378ADFE4F7D}"/>
              </a:ext>
            </a:extLst>
          </p:cNvPr>
          <p:cNvSpPr>
            <a:spLocks noGrp="1"/>
          </p:cNvSpPr>
          <p:nvPr>
            <p:ph idx="11"/>
          </p:nvPr>
        </p:nvSpPr>
        <p:spPr/>
        <p:txBody>
          <a:bodyPr/>
          <a:lstStyle/>
          <a:p>
            <a:r>
              <a:rPr lang="en-US"/>
              <a:t>Own Representation</a:t>
            </a:r>
          </a:p>
        </p:txBody>
      </p:sp>
      <p:sp>
        <p:nvSpPr>
          <p:cNvPr id="7" name="Inhaltsplatzhalter 6">
            <a:extLst>
              <a:ext uri="{FF2B5EF4-FFF2-40B4-BE49-F238E27FC236}">
                <a16:creationId xmlns:a16="http://schemas.microsoft.com/office/drawing/2014/main" id="{4754D030-CCEC-F65E-5A03-165E5F49C959}"/>
              </a:ext>
            </a:extLst>
          </p:cNvPr>
          <p:cNvSpPr>
            <a:spLocks noGrp="1"/>
          </p:cNvSpPr>
          <p:nvPr>
            <p:ph idx="12"/>
          </p:nvPr>
        </p:nvSpPr>
        <p:spPr/>
        <p:txBody>
          <a:bodyPr/>
          <a:lstStyle/>
          <a:p>
            <a:r>
              <a:rPr lang="en-US"/>
              <a:t>Stakeholder</a:t>
            </a:r>
          </a:p>
        </p:txBody>
      </p:sp>
      <p:sp>
        <p:nvSpPr>
          <p:cNvPr id="8" name="Rechteck 7">
            <a:extLst>
              <a:ext uri="{FF2B5EF4-FFF2-40B4-BE49-F238E27FC236}">
                <a16:creationId xmlns:a16="http://schemas.microsoft.com/office/drawing/2014/main" id="{7D79839B-20FA-E36F-1272-443DE4DD3A09}"/>
              </a:ext>
            </a:extLst>
          </p:cNvPr>
          <p:cNvSpPr/>
          <p:nvPr/>
        </p:nvSpPr>
        <p:spPr>
          <a:xfrm>
            <a:off x="359997" y="2034682"/>
            <a:ext cx="4314234" cy="2630636"/>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a:extLst>
              <a:ext uri="{FF2B5EF4-FFF2-40B4-BE49-F238E27FC236}">
                <a16:creationId xmlns:a16="http://schemas.microsoft.com/office/drawing/2014/main" id="{A39C5AC4-747A-3C22-4B53-47081DDBE0BF}"/>
              </a:ext>
            </a:extLst>
          </p:cNvPr>
          <p:cNvSpPr/>
          <p:nvPr/>
        </p:nvSpPr>
        <p:spPr>
          <a:xfrm>
            <a:off x="361264" y="2034682"/>
            <a:ext cx="4314234" cy="322312"/>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r>
              <a:rPr lang="en-US" sz="1400" b="1"/>
              <a:t>Secondary Stakeholders</a:t>
            </a:r>
          </a:p>
        </p:txBody>
      </p:sp>
      <p:sp>
        <p:nvSpPr>
          <p:cNvPr id="10" name="Textfeld 9">
            <a:extLst>
              <a:ext uri="{FF2B5EF4-FFF2-40B4-BE49-F238E27FC236}">
                <a16:creationId xmlns:a16="http://schemas.microsoft.com/office/drawing/2014/main" id="{63905025-CE5E-58C8-9B4A-C539E97C8E15}"/>
              </a:ext>
            </a:extLst>
          </p:cNvPr>
          <p:cNvSpPr txBox="1"/>
          <p:nvPr/>
        </p:nvSpPr>
        <p:spPr>
          <a:xfrm>
            <a:off x="358730" y="2356994"/>
            <a:ext cx="4314234" cy="2308324"/>
          </a:xfrm>
          <a:prstGeom prst="rect">
            <a:avLst/>
          </a:prstGeom>
          <a:noFill/>
        </p:spPr>
        <p:txBody>
          <a:bodyPr wrap="square" rtlCol="0">
            <a:spAutoFit/>
          </a:bodyPr>
          <a:lstStyle/>
          <a:p>
            <a:pPr marL="342900" indent="-342900">
              <a:buAutoNum type="arabicPeriod"/>
            </a:pPr>
            <a:r>
              <a:rPr lang="en-US" sz="1200" b="1" i="0">
                <a:effectLst/>
                <a:latin typeface="Söhne"/>
              </a:rPr>
              <a:t>Environmental Groups</a:t>
            </a:r>
            <a:r>
              <a:rPr lang="en-US" sz="1200" b="1"/>
              <a:t>:</a:t>
            </a:r>
          </a:p>
          <a:p>
            <a:pPr marL="742950" lvl="1" indent="-285750">
              <a:buFont typeface="Arial" panose="020B0604020202020204" pitchFamily="34" charset="0"/>
              <a:buChar char="•"/>
            </a:pPr>
            <a:r>
              <a:rPr lang="en-US" sz="1200"/>
              <a:t>Concerned with the carbon footprint and ecological impact of Uber's operations</a:t>
            </a:r>
          </a:p>
          <a:p>
            <a:pPr marL="285750" indent="-285750">
              <a:buFont typeface="+mj-lt"/>
              <a:buAutoNum type="arabicPeriod"/>
            </a:pPr>
            <a:r>
              <a:rPr lang="en-US" sz="1200" b="1" i="0">
                <a:effectLst/>
                <a:latin typeface="Söhne"/>
              </a:rPr>
              <a:t>Media and Public Opinion</a:t>
            </a:r>
          </a:p>
          <a:p>
            <a:pPr marL="742950" lvl="1" indent="-285750">
              <a:buFont typeface="Arial" panose="020B0604020202020204" pitchFamily="34" charset="0"/>
              <a:buChar char="•"/>
            </a:pPr>
            <a:r>
              <a:rPr lang="en-US" sz="1200"/>
              <a:t>Influence and are influenced by Uber's public image and reputation</a:t>
            </a:r>
          </a:p>
          <a:p>
            <a:pPr marL="285750" indent="-285750">
              <a:buFont typeface="+mj-lt"/>
              <a:buAutoNum type="arabicPeriod"/>
            </a:pPr>
            <a:r>
              <a:rPr lang="en-US" sz="1200" b="1"/>
              <a:t>Academic Institutions and Researchers</a:t>
            </a:r>
          </a:p>
          <a:p>
            <a:pPr marL="742950" lvl="1" indent="-285750">
              <a:buFont typeface="Arial" panose="020B0604020202020204" pitchFamily="34" charset="0"/>
              <a:buChar char="•"/>
            </a:pPr>
            <a:r>
              <a:rPr lang="en-US" sz="1200"/>
              <a:t>Analyze Uber’s impact on urban mobility, labor markets, and technology</a:t>
            </a:r>
          </a:p>
          <a:p>
            <a:pPr marL="285750" indent="-285750">
              <a:buFont typeface="+mj-lt"/>
              <a:buAutoNum type="arabicPeriod"/>
            </a:pPr>
            <a:r>
              <a:rPr lang="en-US" sz="1200" b="1"/>
              <a:t>International Market Stakeholders</a:t>
            </a:r>
          </a:p>
          <a:p>
            <a:pPr marL="742950" lvl="1" indent="-285750">
              <a:buFont typeface="Arial" panose="020B0604020202020204" pitchFamily="34" charset="0"/>
              <a:buChar char="•"/>
            </a:pPr>
            <a:r>
              <a:rPr lang="en-US" sz="1200"/>
              <a:t>Varying stakeholders in different countries based on local market dynamics and regulations</a:t>
            </a:r>
          </a:p>
        </p:txBody>
      </p:sp>
      <p:sp>
        <p:nvSpPr>
          <p:cNvPr id="11" name="Inhaltsplatzhalter 4">
            <a:extLst>
              <a:ext uri="{FF2B5EF4-FFF2-40B4-BE49-F238E27FC236}">
                <a16:creationId xmlns:a16="http://schemas.microsoft.com/office/drawing/2014/main" id="{E1F82110-D39F-6D09-E9D4-8FCC1A5D0B6B}"/>
              </a:ext>
            </a:extLst>
          </p:cNvPr>
          <p:cNvSpPr txBox="1">
            <a:spLocks/>
          </p:cNvSpPr>
          <p:nvPr/>
        </p:nvSpPr>
        <p:spPr>
          <a:xfrm>
            <a:off x="359997" y="912307"/>
            <a:ext cx="8568103" cy="28466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baseline="0">
                <a:solidFill>
                  <a:schemeClr val="tx1"/>
                </a:solidFill>
                <a:latin typeface="+mn-lt"/>
                <a:ea typeface="+mn-ea"/>
                <a:cs typeface="+mn-cs"/>
              </a:defRPr>
            </a:lvl1pPr>
            <a:lvl2pPr marL="179388" marR="0" indent="-179388" algn="l" defTabSz="896938" rtl="0" eaLnBrk="1" fontAlgn="auto" latinLnBrk="0" hangingPunct="1">
              <a:lnSpc>
                <a:spcPct val="90000"/>
              </a:lnSpc>
              <a:spcBef>
                <a:spcPts val="500"/>
              </a:spcBef>
              <a:spcAft>
                <a:spcPts val="0"/>
              </a:spcAft>
              <a:buClrTx/>
              <a:buSzTx/>
              <a:buFont typeface="Arial" panose="020B0604020202020204" pitchFamily="34" charset="0"/>
              <a:buNone/>
              <a:tabLst/>
              <a:defRPr sz="1600" kern="1200" baseline="0">
                <a:solidFill>
                  <a:schemeClr val="tx1"/>
                </a:solidFill>
                <a:latin typeface="+mn-lt"/>
                <a:ea typeface="+mn-ea"/>
                <a:cs typeface="+mn-cs"/>
              </a:defRPr>
            </a:lvl2pPr>
            <a:lvl3pPr marL="358775"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Uber Stakeholder Overview</a:t>
            </a:r>
          </a:p>
        </p:txBody>
      </p:sp>
    </p:spTree>
    <p:extLst>
      <p:ext uri="{BB962C8B-B14F-4D97-AF65-F5344CB8AC3E}">
        <p14:creationId xmlns:p14="http://schemas.microsoft.com/office/powerpoint/2010/main" val="268391704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5B7595D-04AC-147F-23F4-D2B4348942C5}"/>
              </a:ext>
            </a:extLst>
          </p:cNvPr>
          <p:cNvGraphicFramePr>
            <a:graphicFrameLocks noChangeAspect="1"/>
          </p:cNvGraphicFramePr>
          <p:nvPr>
            <p:custDataLst>
              <p:tags r:id="rId1"/>
            </p:custDataLst>
            <p:extLst>
              <p:ext uri="{D42A27DB-BD31-4B8C-83A1-F6EECF244321}">
                <p14:modId xmlns:p14="http://schemas.microsoft.com/office/powerpoint/2010/main" val="1600523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5" name="think-cell data - do not delete" hidden="1">
                        <a:extLst>
                          <a:ext uri="{FF2B5EF4-FFF2-40B4-BE49-F238E27FC236}">
                            <a16:creationId xmlns:a16="http://schemas.microsoft.com/office/drawing/2014/main" id="{15B7595D-04AC-147F-23F4-D2B4348942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A0BBB3-AB17-7595-AA69-41A8A67BBE94}"/>
              </a:ext>
            </a:extLst>
          </p:cNvPr>
          <p:cNvSpPr>
            <a:spLocks noGrp="1"/>
          </p:cNvSpPr>
          <p:nvPr>
            <p:ph type="title"/>
          </p:nvPr>
        </p:nvSpPr>
        <p:spPr>
          <a:xfrm>
            <a:off x="360000" y="1980000"/>
            <a:ext cx="8550000" cy="1384995"/>
          </a:xfrm>
        </p:spPr>
        <p:txBody>
          <a:bodyPr vert="horz"/>
          <a:lstStyle/>
          <a:p>
            <a:r>
              <a:rPr lang="en-US"/>
              <a:t>Frage 7: Covid-19 Response – Folien 3</a:t>
            </a:r>
          </a:p>
        </p:txBody>
      </p:sp>
      <p:sp>
        <p:nvSpPr>
          <p:cNvPr id="3" name="Textplatzhalter 2">
            <a:extLst>
              <a:ext uri="{FF2B5EF4-FFF2-40B4-BE49-F238E27FC236}">
                <a16:creationId xmlns:a16="http://schemas.microsoft.com/office/drawing/2014/main" id="{CBC82189-63D8-854D-848A-5E78BDC53F9C}"/>
              </a:ext>
            </a:extLst>
          </p:cNvPr>
          <p:cNvSpPr>
            <a:spLocks noGrp="1"/>
          </p:cNvSpPr>
          <p:nvPr>
            <p:ph type="body" idx="1"/>
          </p:nvPr>
        </p:nvSpPr>
        <p:spPr/>
        <p:txBody>
          <a:bodyPr/>
          <a:lstStyle/>
          <a:p>
            <a:r>
              <a:rPr lang="en-US"/>
              <a:t>Klara Schröder</a:t>
            </a:r>
          </a:p>
        </p:txBody>
      </p:sp>
    </p:spTree>
    <p:extLst>
      <p:ext uri="{BB962C8B-B14F-4D97-AF65-F5344CB8AC3E}">
        <p14:creationId xmlns:p14="http://schemas.microsoft.com/office/powerpoint/2010/main" val="2428482573"/>
      </p:ext>
    </p:extLst>
  </p:cSld>
  <p:clrMapOvr>
    <a:masterClrMapping/>
  </p:clrMapOvr>
  <p:extLst>
    <p:ext uri="{6950BFC3-D8DA-4A85-94F7-54DA5524770B}">
      <p188:commentRel xmlns:p188="http://schemas.microsoft.com/office/powerpoint/2018/8/main" r:id="rId4"/>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hurricane*tornado*catastrophy*nature*disaster"/>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logo*brand*technology*digital*social network*facebook*like*approve*appreciate*good*"/>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POWER_USER_ID_TEMPLATES" val="BCG_Matrix"/>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logo*brand*technology*digital*social network*facebook*like*approve*appreciate*good*"/>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hurricane*tornado*catastrophy*nature*disaster"/>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POWER_USER_ID_TEMPLATES" val="Value_chain_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AC86177_87F6_4784_B4D5_44326B0A870E&quot;,&quot;SourceFullName&quot;:&quot;https://fachhochschulewestkueste-my.sharepoint.com/personal/kevcla12_student_fh-westkueste_de/Documents/kleinerUberSpaß.xlsx&quot;,&quot;LastUpdate&quot;:&quot;2023-11-23 8:02 PM&quot;,&quot;UpdatedBy&quot;:&quot;jaydi&quot;,&quot;IsLinked&quot;:false,&quot;IsBrokenLink&quot;:false,&quot;Type&quot;:1}"/>
</p:tagLst>
</file>

<file path=ppt/tags/tag2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EF591F4_38EB_411B_985F_6D04EFFE9BDF&quot;,&quot;SourceFullName&quot;:&quot;https://fachhochschulewestkueste-my.sharepoint.com/personal/kevcla12_student_fh-westkueste_de/Documents/kleinerUberSpaß.xlsx&quot;,&quot;LastUpdate&quot;:&quot;2023-11-24 11:17 AM&quot;,&quot;UpdatedBy&quot;:&quot;jaydi&quot;,&quot;IsLinked&quot;:false,&quot;IsBrokenLink&quot;:false,&quot;Type&quot;: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5672C9B_EB2C_4CBF_AC6A_44EC48853260&quot;,&quot;SourceFullName&quot;:&quot;https://fachhochschulewestkueste-my.sharepoint.com/personal/kevcla12_student_fh-westkueste_de/Documents/kleinerUberSpaß.xlsx&quot;,&quot;LastUpdate&quot;:&quot;2023-11-24 11:31 AM&quot;,&quot;UpdatedBy&quot;:&quot;jaydi&quot;,&quot;IsLinked&quot;:false,&quot;IsBrokenLink&quot;:false,&quot;Type&quot;:1}"/>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car"/>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car"/>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car"/>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ca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F87E5F1_9BAF_467E_826C_5BF1266D3A8D&quot;,&quot;SourceFullName&quot;:&quot;https://fachhochschulewestkueste-my.sharepoint.com/personal/kevcla12_student_fh-westkueste_de/Documents/kleinerUberSpaß.xlsx&quot;,&quot;LastUpdate&quot;:&quot;2023-11-24 2:13 PM&quot;,&quot;UpdatedBy&quot;:&quot;jaydi&quot;,&quot;IsLinked&quot;:false,&quot;IsBrokenLink&quot;:false,&quot;Type&quot;:1}"/>
</p:tagLst>
</file>

<file path=ppt/tags/tag3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99692E0_3AA2_4F91_86A2_2A408EFE433B&quot;,&quot;SourceFullName&quot;:&quot;https://fachhochschulewestkueste-my.sharepoint.com/personal/kevcla12_student_fh-westkueste_de/Documents/kleinerUberSpaß.xlsx&quot;,&quot;LastUpdate&quot;:&quot;2023-11-24 3:01 PM&quot;,&quot;UpdatedBy&quot;:&quot;jaydi&quot;,&quot;IsLinked&quot;:false,&quot;IsBrokenLink&quot;:false,&quot;Type&quot;:1}"/>
</p:tagLst>
</file>

<file path=ppt/tags/tag3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3AB557C_8789_46DB_A9E7_42DDDEF613FC&quot;,&quot;SourceFullName&quot;:&quot;https://fachhochschulewestkueste-my.sharepoint.com/personal/kevcla12_student_fh-westkueste_de/Documents/kleinerUberSpaß.xlsx&quot;,&quot;LastUpdate&quot;:&quot;2023-11-24 3:03 PM&quot;,&quot;UpdatedBy&quot;:&quot;jaydi&quot;,&quot;IsLinked&quot;:false,&quot;IsBrokenLink&quot;:false,&quot;Type&quot;:1}"/>
</p:tagLst>
</file>

<file path=ppt/tags/tag3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17F78F4_EB07_41EB_AB68_EB41009031FD&quot;,&quot;SourceFullName&quot;:&quot;https://fachhochschulewestkueste-my.sharepoint.com/personal/kevcla12_student_fh-westkueste_de/Documents/kleinerUberSpaß.xlsx&quot;,&quot;LastUpdate&quot;:&quot;2023-11-24 3:05 PM&quot;,&quot;UpdatedBy&quot;:&quot;jaydi&quot;,&quot;IsLinked&quot;:false,&quot;IsBrokenLink&quot;:false,&quot;Type&quot;:1}"/>
</p:tagLst>
</file>

<file path=ppt/tags/tag3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2E90B15_0629_471D_B7FB_3914B157CFD6&quot;,&quot;SourceFullName&quot;:&quot;https://fachhochschulewestkueste.sharepoint.com/sites/GUF-Sprint2/Freigegebene Dokumente/General/Kevin/KPI.xlsx&quot;,&quot;LastUpdate&quot;:&quot;2023-12-02 5:33 PM&quot;,&quot;UpdatedBy&quot;:&quot;jaydi&quot;,&quot;IsLinked&quot;:false,&quot;IsBrokenLink&quot;:false,&quot;Type&quot;: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E3A19D7_B7F5_4DC9_94C4_3C7D21D5BEC6&quot;,&quot;SourceFullName&quot;:&quot;https://fachhochschulewestkueste.sharepoint.com/sites/GUF-Sprint2/Freigegebene Dokumente/General/Kevin/KPI.xlsx&quot;,&quot;LastUpdate&quot;:&quot;2023-12-02 4:10 PM&quot;,&quot;UpdatedBy&quot;:&quot;jaydi&quot;,&quot;IsLinked&quot;:false,&quot;IsBrokenLink&quot;:false,&quot;Type&quot;:1}"/>
</p:tagLst>
</file>

<file path=ppt/tags/tag3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F057E21_C460_4812_803A_DCAC75F42617&quot;,&quot;SourceFullName&quot;:&quot;https://fachhochschulewestkueste.sharepoint.com/sites/GUF-Sprint2/Freigegebene Dokumente/General/Kevin/KPI.xlsx&quot;,&quot;LastUpdate&quot;:&quot;2023-12-02 4:57 PM&quot;,&quot;UpdatedBy&quot;:&quot;jaydi&quot;,&quot;IsLinked&quot;:false,&quot;IsBrokenLink&quot;:false,&quot;Type&quot;: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C7E043B_A770_4F9F_BED8_F35B2FA9AF5D&quot;,&quot;SourceFullName&quot;:&quot;https://fachhochschulewestkueste-my.sharepoint.com/personal/kevcla12_student_fh-westkueste_de/Documents/kleinerUberSpaß.xlsx&quot;,&quot;LastUpdate&quot;:&quot;2023-11-24 6:55 PM&quot;,&quot;UpdatedBy&quot;:&quot;jaydi&quot;,&quot;IsLinked&quot;:false,&quot;IsBrokenLink&quot;:false,&quot;Type&quot;: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66E5B25_C8AB_415E_B834_FE4F51DA8E79&quot;,&quot;SourceFullName&quot;:&quot;https://fachhochschulewestkueste-my.sharepoint.com/personal/kevcla12_student_fh-westkueste_de/Documents/kleinerUberSpaß.xlsx&quot;,&quot;LastUpdate&quot;:&quot;2023-11-24 1:33 PM&quot;,&quot;UpdatedBy&quot;:&quot;jaydi&quot;,&quot;IsLinked&quot;:false,&quot;IsBrokenLink&quot;:false,&quot;Type&quot;:1}"/>
</p:tagLst>
</file>

<file path=ppt/tags/tag4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8E458C7_7BE8_4371_A4D0_2DE2793F4023&quot;,&quot;SourceFullName&quot;:&quot;https://fachhochschulewestkueste-my.sharepoint.com/personal/kevcla12_student_fh-westkueste_de/Documents/kleinerUberSpaß.xlsx&quot;,&quot;LastUpdate&quot;:&quot;2023-11-24 1:38 PM&quot;,&quot;UpdatedBy&quot;:&quot;jaydi&quot;,&quot;IsLinked&quot;:false,&quot;IsBrokenLink&quot;:false,&quot;Type&quot;: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0AEBA2B_5948_4E38_B4D4_ADADC8E906C2&quot;,&quot;SourceFullName&quot;:&quot;C:\\Users\\jaydi\\Downloads\\Uber\\statistic_id946298_ubers-number-of-rides-worldwide-by-quarter-2017-2023.xlsx&quot;,&quot;LastUpdate&quot;:&quot;2023-11-23 1:47 PM&quot;,&quot;UpdatedBy&quot;:&quot;jaydi&quot;,&quot;IsLinked&quot;:false,&quot;IsBrokenLink&quot;:true,&quot;Type&quot;:1}"/>
</p:tagLst>
</file>

<file path=ppt/tags/tag4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E82087C_95DD_4D5D_9C52_E6B773BD8E7A&quot;,&quot;SourceFullName&quot;:&quot;Mappe1&quot;,&quot;LastUpdate&quot;:&quot;2023-11-22 9:15 PM&quot;,&quot;UpdatedBy&quot;:&quot;jaydi&quot;,&quot;IsLinked&quot;:true,&quot;IsBrokenLink&quot;:false,&quot;Type&quot;: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86EBA9F_B555_47CC_AF59_1611629003AA&quot;,&quot;SourceFullName&quot;:&quot;https://fachhochschulewestkueste-my.sharepoint.com/personal/kevcla12_student_fh-westkueste_de/Documents/kleinerUberSpaß.xlsx&quot;,&quot;LastUpdate&quot;:&quot;2023-11-24 6:02 PM&quot;,&quot;UpdatedBy&quot;:&quot;jaydi&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ID_TEMPLATES" val="Business_model_canvas__Osterwalder_2010_"/>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C7E043B_A770_4F9F_BED8_F35B2FA9AF5D&quot;,&quot;SourceFullName&quot;:&quot;https://fachhochschulewestkueste-my.sharepoint.com/personal/kevcla12_student_fh-westkueste_de/Documents/kleinerUberSpaß.xlsx&quot;,&quot;LastUpdate&quot;:&quot;2023-11-24 6:55 PM&quot;,&quot;UpdatedBy&quot;:&quot;jaydi&quot;,&quot;IsLinked&quot;:false,&quot;IsBrokenLink&quot;:false,&quot;Type&quot;: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POWER_USER_ID_TEMPLATES" val="Horizontal_text_frames_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POWER_USER_ID_TEMPLATES" val="Two_columns_of_icons"/>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gas_POWER_USER_SEPARATOR_ICONS_car_POWER_USER_SEPARATOR_ICONS_energy_POWER_USER_SEPARATOR_ICONS_fuel_POWER_USER_SEPARATOR_ICONS_gas-station_POWER_USER_SEPARATOR_ICONS_highway_POWER_USER_SEPARATOR_ICONS_humanitarian_POWER_USER_SEPARATOR_ICONS_logistics_POWER_USER_SEPARATOR_ICONS_transportation"/>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OWER_USER_ID_TEMPLATES" val="Consequences_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POWER_USER_ID_TEMPLATES" val="Consequences_4"/>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POWER_USER_ID_TEMPLATES" val="Consequences_4"/>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POWER_USER_ID_TEMPLATES" val="Consequences_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hhochschule Westküste">
  <a:themeElements>
    <a:clrScheme name="Fachhochschule Westküste">
      <a:dk1>
        <a:srgbClr val="0065AD"/>
      </a:dk1>
      <a:lt1>
        <a:sysClr val="window" lastClr="FFFFFF"/>
      </a:lt1>
      <a:dk2>
        <a:srgbClr val="000000"/>
      </a:dk2>
      <a:lt2>
        <a:srgbClr val="999999"/>
      </a:lt2>
      <a:accent1>
        <a:srgbClr val="F59C00"/>
      </a:accent1>
      <a:accent2>
        <a:srgbClr val="85C2EB"/>
      </a:accent2>
      <a:accent3>
        <a:srgbClr val="00849D"/>
      </a:accent3>
      <a:accent4>
        <a:srgbClr val="CF0565"/>
      </a:accent4>
      <a:accent5>
        <a:srgbClr val="194278"/>
      </a:accent5>
      <a:accent6>
        <a:srgbClr val="A2C613"/>
      </a:accent6>
      <a:hlink>
        <a:srgbClr val="85C2EB"/>
      </a:hlink>
      <a:folHlink>
        <a:srgbClr val="F59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PPT_20180907.pptx [Schreibgeschützt]" id="{E69B78DB-B050-451E-ACE7-7DC5055287AD}" vid="{BE47B9F8-1218-4FF4-865E-8C9B14E7FE30}"/>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A72802C03AF9043B0B8E5876C073C02" ma:contentTypeVersion="3" ma:contentTypeDescription="Ein neues Dokument erstellen." ma:contentTypeScope="" ma:versionID="464cba95c26d1ffb70f59885409f352b">
  <xsd:schema xmlns:xsd="http://www.w3.org/2001/XMLSchema" xmlns:xs="http://www.w3.org/2001/XMLSchema" xmlns:p="http://schemas.microsoft.com/office/2006/metadata/properties" xmlns:ns2="d1ee1a67-dc6a-4e34-8ee5-bcdffff3d1fa" targetNamespace="http://schemas.microsoft.com/office/2006/metadata/properties" ma:root="true" ma:fieldsID="26f479c7e07c60db339192b5ac1d6330" ns2:_="">
    <xsd:import namespace="d1ee1a67-dc6a-4e34-8ee5-bcdffff3d1fa"/>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ee1a67-dc6a-4e34-8ee5-bcdffff3d1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D2980DF-90C9-470D-ABD7-BC5F806ECFEB}">
  <ds:schemaRefs>
    <ds:schemaRef ds:uri="d1ee1a67-dc6a-4e34-8ee5-bcdffff3d1f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722B8AC-8C61-410B-A645-6E698C6595C6}">
  <ds:schemaRefs>
    <ds:schemaRef ds:uri="http://schemas.microsoft.com/sharepoint/v3/contenttype/forms"/>
  </ds:schemaRefs>
</ds:datastoreItem>
</file>

<file path=customXml/itemProps3.xml><?xml version="1.0" encoding="utf-8"?>
<ds:datastoreItem xmlns:ds="http://schemas.openxmlformats.org/officeDocument/2006/customXml" ds:itemID="{D5D7FA77-7761-433C-9756-10C0B7051CF2}">
  <ds:schemaRefs>
    <ds:schemaRef ds:uri="d1ee1a67-dc6a-4e34-8ee5-bcdffff3d1f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mplate PPT neue Titelbilder_20180907</Template>
  <TotalTime>0</TotalTime>
  <Application>Microsoft Office PowerPoint</Application>
  <PresentationFormat>On-screen Show (4:3)</PresentationFormat>
  <Slides>111</Slides>
  <Notes>106</Notes>
  <HiddenSlides>0</HiddenSlides>
  <ScaleCrop>false</ScaleCrop>
  <HeadingPairs>
    <vt:vector size="4" baseType="variant">
      <vt:variant>
        <vt:lpstr>Theme</vt:lpstr>
      </vt:variant>
      <vt:variant>
        <vt:i4>1</vt:i4>
      </vt:variant>
      <vt:variant>
        <vt:lpstr>Slide Titles</vt:lpstr>
      </vt:variant>
      <vt:variant>
        <vt:i4>111</vt:i4>
      </vt:variant>
    </vt:vector>
  </HeadingPairs>
  <TitlesOfParts>
    <vt:vector size="112" baseType="lpstr">
      <vt:lpstr>Fachhochschule Westküste</vt:lpstr>
      <vt:lpstr>Frage 1: Strategic Direction Main – 6 Folien  </vt:lpstr>
      <vt:lpstr>Ubers langfristige strategische Ausrichtung ist es, den Transportsektor durch Technologie zu transformieren</vt:lpstr>
      <vt:lpstr>Uber betreibt ein mehr seitiges Plattform-Model das Fahrer mit Kunden verbindet </vt:lpstr>
      <vt:lpstr>PowerPoint Presentation</vt:lpstr>
      <vt:lpstr>PowerPoint Presentation</vt:lpstr>
      <vt:lpstr>PowerPoint Presentation</vt:lpstr>
      <vt:lpstr>PowerPoint Presentation</vt:lpstr>
      <vt:lpstr>Frage 1: Strategic Direction Anhang</vt:lpstr>
      <vt:lpstr>Mit der SWOT-Analyse kann Ubers Geschäftsmodell bewertet werden</vt:lpstr>
      <vt:lpstr>Um das Hauptgeschäftsmodell von Uber zu optimieren, müssen die Störungen bewältigt und die Verbesserungen in Angriff genommen werden</vt:lpstr>
      <vt:lpstr>In Ubers Wertschöpfungskette gibt es mehrere kritische Schritte und Prozesse, die für den reibungslosen Betrieb und den Erfolg des Unternehmens entscheidend sind </vt:lpstr>
      <vt:lpstr>Ubers langfristige strategische Ausrichtung ist es, den Transportsektor durch Technologie zu transformieren</vt:lpstr>
      <vt:lpstr>Uber hat drei Teilstrategien definiert, um die Hauptstrategie zu unterstützen und zu erreichen</vt:lpstr>
      <vt:lpstr>Die Teilstrategien sind echte Strategien und Geschäftsaufbaumaß-nahmen, sind aber beide relevant für die Hauptstrategie</vt:lpstr>
      <vt:lpstr>Treiber für das Wertversprechen von Uber sind vor allem die bequemen und flexiblen Transportmöglichkeiten und die Transparenz bei den Kosten </vt:lpstr>
      <vt:lpstr>Da Uber ein Plattform-Unternehmen ist, gibt es zwei Seiten von Stakeholdergruppen</vt:lpstr>
      <vt:lpstr>Die vertikale Integration der Wertschöpfungskette ist bei Uber wenig bis gar nicht ausgeprägt</vt:lpstr>
      <vt:lpstr>Die horizontale Integration der Wertschöpfungskette ist bei Uber durch UberEats oder Uber Freight ausgeprägter </vt:lpstr>
      <vt:lpstr>Uber und Lyft sind sich in ihren Tätigkeiten sehr ähnlich unterscheiden sich jedoch in der globalen Präsenz</vt:lpstr>
      <vt:lpstr>Zwischen UberEats und Lieferando gibt es sehr viel mehr Unterschiede als Ähnlichkeiten</vt:lpstr>
      <vt:lpstr>Uber behauptet sich in der Branche als führendes Technologieunternehmen im Bereich Mobilität</vt:lpstr>
      <vt:lpstr>In der Ride-Hailing Branche gibt es viele aktuelle Herausforderungen, die für die Zukunft gelöst werden müssen</vt:lpstr>
      <vt:lpstr>Frage 2: Corporate Lifecycle – Main – 6 Folien</vt:lpstr>
      <vt:lpstr>Uber can be placed at the end of the Growth Stage as one of the pioneers in the transportation platform industry</vt:lpstr>
      <vt:lpstr>Ubers revenue distribution hasn’t really changed in recent years with, a strong focus on the North American and European markets</vt:lpstr>
      <vt:lpstr>Ubers revenue distribution shifted in the last years due to several factors and shows Ubers increased diversification over the years</vt:lpstr>
      <vt:lpstr>Uber has established itself in the food delivery business and is the second largest player in the important US market</vt:lpstr>
      <vt:lpstr>Uber and Lyft are spending significantly more per customer on advertising than other 2-sided Platform businesses</vt:lpstr>
      <vt:lpstr>Uber is the first company in the industry to reach a positive operational cash-flow highlighting its slow transition into maturity</vt:lpstr>
      <vt:lpstr>Frage 2: Corporate Lifecycle - Anhang</vt:lpstr>
      <vt:lpstr>While Ubers competitors had a slow revenue growth, Uber managed to diversify and successfully grow</vt:lpstr>
      <vt:lpstr>Uber managed to achieve a steady growth with a small downward turn during the pandemic</vt:lpstr>
      <vt:lpstr>Uber spends significantly more per customer on advertising and marketing than its direct competitor Lyft</vt:lpstr>
      <vt:lpstr>Uber is the first company in the industry to reach a positive operational cash-flow highlighting its slow transition into maturity</vt:lpstr>
      <vt:lpstr>Uber faces numerous future challenges through its wide diversification and a huge number of different stakeholders</vt:lpstr>
      <vt:lpstr>Uber has to find ways to implement itself in already established markets with strong established competitors</vt:lpstr>
      <vt:lpstr>Ubers main reason for its successful position is its focus on diversification and expansion over the last years</vt:lpstr>
      <vt:lpstr>Frage 3: Culture &amp; Leadership – 5 Folien </vt:lpstr>
      <vt:lpstr>Acht Werte charakterisieren die neue Unternehmenskultur von Uber</vt:lpstr>
      <vt:lpstr>Dara und Travis unterscheiden sich in der Führung in verschiedenen Bereichen</vt:lpstr>
      <vt:lpstr>Transactionale und Transormationale Führung unterscheiden sich in vielen Punkten</vt:lpstr>
      <vt:lpstr>PowerPoint Presentation</vt:lpstr>
      <vt:lpstr>PowerPoint Presentation</vt:lpstr>
      <vt:lpstr>Aktuelle Kultur von UBER</vt:lpstr>
      <vt:lpstr>Relevante Kompetenzen im Top-, Middle- und Lower-Management von UBER</vt:lpstr>
      <vt:lpstr>UBER reagiert auf unterschiedliche Art und Weise auf Probleme in der Branche und dem Wettbewerb</vt:lpstr>
      <vt:lpstr>Anhang Culture &amp; Leadership</vt:lpstr>
      <vt:lpstr>Dara und Travis hatten unterschiedliche Vorstellungen bei der Führung von Mitarbeitern    </vt:lpstr>
      <vt:lpstr>Dara und Travis hatten unterschiedliche Ansichten bei Kunden    </vt:lpstr>
      <vt:lpstr>Frage 4: ESG Main – 4 Folien</vt:lpstr>
      <vt:lpstr>As a global and very diversified Company Uber faces numerous ESG-Problems that are represented in their Goals</vt:lpstr>
      <vt:lpstr>Uber generally aligns well with the SDG Goals of the United Nations through its different ESG-Initiatives</vt:lpstr>
      <vt:lpstr>The SASB standards provide industry specific metrics to enable parties to rate and compare different entities in these industries</vt:lpstr>
      <vt:lpstr>The utilization of sustainable transportation options can have many positive consequences for Uber and the communities it operates in</vt:lpstr>
      <vt:lpstr>Frage 4: ESG Anhang</vt:lpstr>
      <vt:lpstr>As a Transportation Company Uber puts its focus on the reduction of emissions and tries to mitigate its climate impact</vt:lpstr>
      <vt:lpstr>Ubers Social ESG-Goals focus mainly on the wellbeing of their Workforce, their customers and the impact on the community</vt:lpstr>
      <vt:lpstr>Ubers Governance structure, plays a huge role in the implementation of different strategies through a diverse skillset</vt:lpstr>
      <vt:lpstr>The Board of Directors is directly involved in many different ESG-Subjects through different means</vt:lpstr>
      <vt:lpstr>PowerPoint Presentation</vt:lpstr>
      <vt:lpstr>PowerPoint Presentation</vt:lpstr>
      <vt:lpstr>Uber aligns itself well in the topic of Sustainability through the focused increased usage of sustainable Transport options</vt:lpstr>
      <vt:lpstr>Uber relates to various other companies and organizations to further bolster its Environmental efforts</vt:lpstr>
      <vt:lpstr>Uber offers a variety of different supportive initiatives to try to support its workforce and communities it operates in</vt:lpstr>
      <vt:lpstr>Uber provides equal employment opportunities in local communities by providing flexible gig-economy jobs</vt:lpstr>
      <vt:lpstr>Uber tries to put a great focus on the diversity and transparency of its governance structures to further increase representation for all</vt:lpstr>
      <vt:lpstr>Uber tries to underline its Ethical Business Practices through transparent ESG-Reporting and industry standard verification</vt:lpstr>
      <vt:lpstr>The Board of directors, is directly involved through reports on the ESG-Topics of Uber</vt:lpstr>
      <vt:lpstr>Uber communicates its commitment to sustainability through different frameworks to third-parties</vt:lpstr>
      <vt:lpstr>ESG-Initiatives provide different financial, environmental and social benefits for companies</vt:lpstr>
      <vt:lpstr>ESG integration is pivotal for Ubers revenue growth and market positioning</vt:lpstr>
      <vt:lpstr>Uber can improve its financial valuation through ESG and secure better long-term sustainability by adreesing key priorities</vt:lpstr>
      <vt:lpstr>Through the implementation of ESG-Initiatives, Uber can enhance ist workplace environment and elevate employee engagement</vt:lpstr>
      <vt:lpstr>Uber should support and encourage its drivers to use sustainable transportation options to make a positive impact </vt:lpstr>
      <vt:lpstr>The utilization of sustainable transportation options can have many positive consequences for Uber and the communities it operates in</vt:lpstr>
      <vt:lpstr>MSCIs ESG Rating evaluates a company’s ESG-Performance to assess its sustainability and responsible business practices</vt:lpstr>
      <vt:lpstr>Uber is rated as average among other companies in the road &amp; rail transport industry</vt:lpstr>
      <vt:lpstr>Use of the MSCI ESG-Rating provides opportunities of change, to make Uber more attractive for investors</vt:lpstr>
      <vt:lpstr>Frage 5: Innovation Strategy – Main Folien: 2</vt:lpstr>
      <vt:lpstr>UBER hat sich über die Jahre immer weiter diversifiziert und weitere Geschäftsfelder durch neue Technologien revolutioniert</vt:lpstr>
      <vt:lpstr>UBER hat sich über die Jahre immer weiter diversifiziert und weitere Geschäftsfelder durch neue Technologien revolutioniert</vt:lpstr>
      <vt:lpstr>Innovation gilt als Schlüssel zum Erfolg in der Mobilitätsbranche für UBER</vt:lpstr>
      <vt:lpstr>Innovation ist in der Strategie von Uber fest verankert, diese besteht aus vier Säulen </vt:lpstr>
      <vt:lpstr>Ubers innovative Strategien in der Personenbeförderungsbranche</vt:lpstr>
      <vt:lpstr>Anwendung Uber – Lean-Startup-Methode </vt:lpstr>
      <vt:lpstr>Frage 6: Stakeholder Main – Folien 3</vt:lpstr>
      <vt:lpstr>Uber must engage a diverse group of stakeholders through numerous channels each with different expectations and concerns</vt:lpstr>
      <vt:lpstr>Uber prioritizes the communication of its services for different stakeholders highlighting its mission of providing reliable transport</vt:lpstr>
      <vt:lpstr>Khosrowshahi managed to transform the communication of Ubers Leadership to a more sustainable and cooperative form</vt:lpstr>
      <vt:lpstr>Frage 6: Stakeholder Anhang</vt:lpstr>
      <vt:lpstr>Uber must manage a big and diverse group of Stakeholders that all have different interests and influences on Ubers Operations</vt:lpstr>
      <vt:lpstr>Uber implements ESG into its communication to further highlight their mission of providing sustainable and reliable transport</vt:lpstr>
      <vt:lpstr>Different forms of communication based on the ESG-Goals can have a big impact on the attractiveness and compliance of Uber</vt:lpstr>
      <vt:lpstr>Uber focuses its communication mainly on the Environmental and Safety Aspects of ESG to their drivers and customers</vt:lpstr>
      <vt:lpstr>Ubers rapid growth often don’t align with the message of bein sustainable and reliable which can be problematic </vt:lpstr>
      <vt:lpstr>Clear Communication in different Situations and with different Stakeholders is crucial to be a responsible corporate citizen</vt:lpstr>
      <vt:lpstr>Primary and secondary Stakeholders have different interests in an organization</vt:lpstr>
      <vt:lpstr>Primary and secondary Stakeholders have different interests in an organization</vt:lpstr>
      <vt:lpstr>Frage 7: Covid-19 Response – Folien 3</vt:lpstr>
      <vt:lpstr>Uber hat flexible und anpassungsfähig auf die Covid-19-Pandemie reagiert</vt:lpstr>
      <vt:lpstr>Uber hat sein Geschäftsmodell von den Fahrdiensten hin zu den Lieferdiensten verlagert</vt:lpstr>
      <vt:lpstr>Uber hat verschiedene Maßnahmen ergriffen, um in der Covid-19-Pandemie zu unterstützen</vt:lpstr>
      <vt:lpstr>Die Pandemie hatte Auswirkungen auf den Umsatz, dem durch die Anpassung des Geschäftsmodells entgegengewirkt werden konnte</vt:lpstr>
      <vt:lpstr>Uber will bei seiner strategischen Ausrichtung die Betonung langfristig auf Diversifizierung setzen</vt:lpstr>
      <vt:lpstr>Die größte Lessons learned von Uber war, langfristig agil und anpassungsfähig bleiben zu müssen</vt:lpstr>
      <vt:lpstr>Die sechs Strategien im Bereich „Reagieren“ am Beispiel der Covid-19 Pandemie</vt:lpstr>
      <vt:lpstr>Die sechs Strategien im Bereich „Wiederherstellen“ am Beispiel der Covid-19 Pandemie (1/2)</vt:lpstr>
      <vt:lpstr>Die sechs Strategien im Bereich „Wiederherstellen“ am Beispiel der Covid-19 Pandemie (2/2)</vt:lpstr>
      <vt:lpstr>Das Bruttobuchungsvolumen erlitt einen Einbruch während der Covid-19-Pandemie</vt:lpstr>
      <vt:lpstr>Die Anzahl der Fahrten erlitten einen Einbruch während der Covid-19-Pandemie</vt:lpstr>
      <vt:lpstr>Die monatliche Anzahl der Uber User erlitt einen Einbruch während der Covid-19-Pandemie</vt:lpstr>
    </vt:vector>
  </TitlesOfParts>
  <Company>Fachhochschule Westküs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tauff, Ingmar Georg</dc:creator>
  <cp:revision>1</cp:revision>
  <dcterms:created xsi:type="dcterms:W3CDTF">2019-05-04T08:12:45Z</dcterms:created>
  <dcterms:modified xsi:type="dcterms:W3CDTF">2023-12-03T23:5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72802C03AF9043B0B8E5876C073C02</vt:lpwstr>
  </property>
  <property fmtid="{D5CDD505-2E9C-101B-9397-08002B2CF9AE}" pid="3" name="MediaServiceImageTags">
    <vt:lpwstr/>
  </property>
</Properties>
</file>